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86.xml" ContentType="application/vnd.openxmlformats-officedocument.presentationml.tags+xml"/>
  <Override PartName="/ppt/theme/theme3.xml" ContentType="application/vnd.openxmlformats-officedocument.them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3" r:id="rId2"/>
  </p:sldMasterIdLst>
  <p:notesMasterIdLst>
    <p:notesMasterId r:id="rId13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D5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9" d="100"/>
          <a:sy n="69" d="100"/>
        </p:scale>
        <p:origin x="78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498123333144458E-3"/>
          <c:y val="3.3787418901326548E-2"/>
          <c:w val="0.95930137622236078"/>
          <c:h val="0.868704987058502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e GDP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84B-4D91-AE4C-E9E54AD5E61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Gujarat</c:v>
                </c:pt>
                <c:pt idx="1">
                  <c:v>Karnataka</c:v>
                </c:pt>
                <c:pt idx="2">
                  <c:v>Odisha</c:v>
                </c:pt>
                <c:pt idx="3">
                  <c:v>Andhra Pradesh</c:v>
                </c:pt>
                <c:pt idx="4">
                  <c:v>Tamil Nadu</c:v>
                </c:pt>
                <c:pt idx="5">
                  <c:v>Maharashtra</c:v>
                </c:pt>
                <c:pt idx="6">
                  <c:v>Goa</c:v>
                </c:pt>
                <c:pt idx="7">
                  <c:v>Kerala</c:v>
                </c:pt>
                <c:pt idx="8">
                  <c:v>West Bengal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9.8299999999999998E-2</c:v>
                </c:pt>
                <c:pt idx="1">
                  <c:v>9.2600000000000002E-2</c:v>
                </c:pt>
                <c:pt idx="2">
                  <c:v>7.5300000000000006E-2</c:v>
                </c:pt>
                <c:pt idx="3">
                  <c:v>7.3599999999999999E-2</c:v>
                </c:pt>
                <c:pt idx="4">
                  <c:v>7.1199999999999999E-2</c:v>
                </c:pt>
                <c:pt idx="5">
                  <c:v>6.88E-2</c:v>
                </c:pt>
                <c:pt idx="6">
                  <c:v>6.7000000000000004E-2</c:v>
                </c:pt>
                <c:pt idx="7">
                  <c:v>6.3399999999999998E-2</c:v>
                </c:pt>
                <c:pt idx="8">
                  <c:v>5.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84B-4D91-AE4C-E9E54AD5E61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900347024"/>
        <c:axId val="90034505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India GDP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0</c:f>
              <c:strCache>
                <c:ptCount val="9"/>
                <c:pt idx="0">
                  <c:v>Gujarat</c:v>
                </c:pt>
                <c:pt idx="1">
                  <c:v>Karnataka</c:v>
                </c:pt>
                <c:pt idx="2">
                  <c:v>Odisha</c:v>
                </c:pt>
                <c:pt idx="3">
                  <c:v>Andhra Pradesh</c:v>
                </c:pt>
                <c:pt idx="4">
                  <c:v>Tamil Nadu</c:v>
                </c:pt>
                <c:pt idx="5">
                  <c:v>Maharashtra</c:v>
                </c:pt>
                <c:pt idx="6">
                  <c:v>Goa</c:v>
                </c:pt>
                <c:pt idx="7">
                  <c:v>Kerala</c:v>
                </c:pt>
                <c:pt idx="8">
                  <c:v>West Bengal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7.0999999999999994E-2</c:v>
                </c:pt>
                <c:pt idx="1">
                  <c:v>7.0999999999999994E-2</c:v>
                </c:pt>
                <c:pt idx="2">
                  <c:v>7.0999999999999994E-2</c:v>
                </c:pt>
                <c:pt idx="3">
                  <c:v>7.0999999999999994E-2</c:v>
                </c:pt>
                <c:pt idx="4">
                  <c:v>7.0999999999999994E-2</c:v>
                </c:pt>
                <c:pt idx="5">
                  <c:v>7.0999999999999994E-2</c:v>
                </c:pt>
                <c:pt idx="6">
                  <c:v>7.0999999999999994E-2</c:v>
                </c:pt>
                <c:pt idx="7">
                  <c:v>7.0999999999999994E-2</c:v>
                </c:pt>
                <c:pt idx="8">
                  <c:v>7.099999999999999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84B-4D91-AE4C-E9E54AD5E6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17236032"/>
        <c:axId val="1817226192"/>
      </c:lineChart>
      <c:catAx>
        <c:axId val="900347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00345056"/>
        <c:crosses val="autoZero"/>
        <c:auto val="1"/>
        <c:lblAlgn val="ctr"/>
        <c:lblOffset val="100"/>
        <c:noMultiLvlLbl val="0"/>
      </c:catAx>
      <c:valAx>
        <c:axId val="900345056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900347024"/>
        <c:crosses val="autoZero"/>
        <c:crossBetween val="between"/>
      </c:valAx>
      <c:valAx>
        <c:axId val="1817226192"/>
        <c:scaling>
          <c:orientation val="minMax"/>
        </c:scaling>
        <c:delete val="1"/>
        <c:axPos val="r"/>
        <c:numFmt formatCode="0%" sourceLinked="1"/>
        <c:majorTickMark val="out"/>
        <c:minorTickMark val="none"/>
        <c:tickLblPos val="nextTo"/>
        <c:crossAx val="1817236032"/>
        <c:crosses val="max"/>
        <c:crossBetween val="between"/>
      </c:valAx>
      <c:catAx>
        <c:axId val="18172360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172261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affic at non majot port in Karnataka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FY 14</c:v>
                </c:pt>
                <c:pt idx="1">
                  <c:v>FY 15</c:v>
                </c:pt>
                <c:pt idx="2">
                  <c:v>FY 16</c:v>
                </c:pt>
                <c:pt idx="3">
                  <c:v>FY 17</c:v>
                </c:pt>
                <c:pt idx="4">
                  <c:v>FY 18</c:v>
                </c:pt>
                <c:pt idx="5">
                  <c:v>FY 19</c:v>
                </c:pt>
                <c:pt idx="6">
                  <c:v>FY 20 (P)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03</c:v>
                </c:pt>
                <c:pt idx="1">
                  <c:v>651</c:v>
                </c:pt>
                <c:pt idx="2">
                  <c:v>835</c:v>
                </c:pt>
                <c:pt idx="3">
                  <c:v>691</c:v>
                </c:pt>
                <c:pt idx="4">
                  <c:v>680</c:v>
                </c:pt>
                <c:pt idx="5">
                  <c:v>1044</c:v>
                </c:pt>
                <c:pt idx="6">
                  <c:v>9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0A-42BC-982D-8C36CD5BDE2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73035919"/>
        <c:axId val="1790485919"/>
      </c:barChart>
      <c:catAx>
        <c:axId val="2073035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0485919"/>
        <c:crosses val="autoZero"/>
        <c:auto val="1"/>
        <c:lblAlgn val="ctr"/>
        <c:lblOffset val="100"/>
        <c:noMultiLvlLbl val="0"/>
      </c:catAx>
      <c:valAx>
        <c:axId val="17904859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0730359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270C0B-D9EB-4AF1-8683-9699E883F42B}" type="datetimeFigureOut">
              <a:rPr lang="en-GB" smtClean="0"/>
              <a:t>01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00963F-BCA5-40E4-ABF8-032F5348581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6798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9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4.xml"/><Relationship Id="rId10" Type="http://schemas.openxmlformats.org/officeDocument/2006/relationships/tags" Target="../tags/tag129.xml"/><Relationship Id="rId4" Type="http://schemas.openxmlformats.org/officeDocument/2006/relationships/tags" Target="../tags/tag123.xml"/><Relationship Id="rId9" Type="http://schemas.openxmlformats.org/officeDocument/2006/relationships/tags" Target="../tags/tag12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5" Type="http://schemas.openxmlformats.org/officeDocument/2006/relationships/tags" Target="../tags/tag175.xml"/><Relationship Id="rId4" Type="http://schemas.openxmlformats.org/officeDocument/2006/relationships/tags" Target="../tags/tag17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4" Type="http://schemas.openxmlformats.org/officeDocument/2006/relationships/tags" Target="../tags/tag181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Logo with Panels"/>
          <p:cNvGrpSpPr/>
          <p:nvPr/>
        </p:nvGrpSpPr>
        <p:grpSpPr>
          <a:xfrm>
            <a:off x="1370144" y="0"/>
            <a:ext cx="10821856" cy="6457244"/>
            <a:chOff x="1130368" y="0"/>
            <a:chExt cx="8928031" cy="7318210"/>
          </a:xfrm>
        </p:grpSpPr>
        <p:grpSp>
          <p:nvGrpSpPr>
            <p:cNvPr id="4" name="Logo Shapes"/>
            <p:cNvGrpSpPr/>
            <p:nvPr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/>
            </p:nvSpPr>
            <p:spPr bwMode="gray">
              <a:xfrm>
                <a:off x="1828800" y="1057864"/>
                <a:ext cx="6492240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/>
            </p:nvSpPr>
            <p:spPr bwMode="gray">
              <a:xfrm>
                <a:off x="1828800" y="1057864"/>
                <a:ext cx="6248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7" name="Rectangle 9"/>
              <p:cNvSpPr/>
              <p:nvPr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</p:grpSp>
        <p:grpSp>
          <p:nvGrpSpPr>
            <p:cNvPr id="36" name="Logo"/>
            <p:cNvGrpSpPr/>
            <p:nvPr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>
            <p:custDataLst>
              <p:tags r:id="rId1"/>
            </p:custDataLst>
          </p:nvPr>
        </p:nvSpPr>
        <p:spPr bwMode="white">
          <a:xfrm>
            <a:off x="2493818" y="598467"/>
            <a:ext cx="3206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882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white">
          <a:xfrm>
            <a:off x="2493113" y="1112680"/>
            <a:ext cx="7204364" cy="391057"/>
          </a:xfrm>
        </p:spPr>
        <p:txBody>
          <a:bodyPr vert="horz" lIns="0" tIns="0" rIns="0" bIns="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2493113" y="1546412"/>
            <a:ext cx="7204364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45" name="Confidentiality Stamp"/>
          <p:cNvSpPr txBox="1"/>
          <p:nvPr>
            <p:custDataLst>
              <p:tags r:id="rId4"/>
            </p:custDataLst>
          </p:nvPr>
        </p:nvSpPr>
        <p:spPr>
          <a:xfrm>
            <a:off x="642851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2" name="Draft Stamp"/>
          <p:cNvSpPr txBox="1"/>
          <p:nvPr>
            <p:custDataLst>
              <p:tags r:id="rId5"/>
            </p:custDataLst>
          </p:nvPr>
        </p:nvSpPr>
        <p:spPr bwMode="black">
          <a:xfrm>
            <a:off x="642851" y="3566160"/>
            <a:ext cx="1662545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3" name="Report Date"/>
          <p:cNvSpPr txBox="1"/>
          <p:nvPr>
            <p:custDataLst>
              <p:tags r:id="rId6"/>
            </p:custDataLst>
          </p:nvPr>
        </p:nvSpPr>
        <p:spPr bwMode="black"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/>
        </p:nvCxnSpPr>
        <p:spPr>
          <a:xfrm flipV="1">
            <a:off x="461818" y="3171487"/>
            <a:ext cx="1662545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ver image"/>
          <p:cNvSpPr txBox="1"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1363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158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815353"/>
            <a:ext cx="5364480" cy="2081605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815353"/>
            <a:ext cx="5364480" cy="2081605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4034118"/>
            <a:ext cx="5364480" cy="2081605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4034118"/>
            <a:ext cx="5364480" cy="2081605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50" name="Page Number"/>
          <p:cNvSpPr txBox="1"/>
          <p:nvPr>
            <p:custDataLst>
              <p:tags r:id="rId1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51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4" name="Presentation Disclaimer"/>
          <p:cNvSpPr txBox="1"/>
          <p:nvPr>
            <p:custDataLst>
              <p:tags r:id="rId3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56" name="Straight Connector 55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ction Footer"/>
          <p:cNvSpPr txBox="1"/>
          <p:nvPr>
            <p:custDataLst>
              <p:tags r:id="rId4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6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>
            <p:custDataLst>
              <p:tags r:id="rId6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30" name="Rectangle 29"/>
          <p:cNvSpPr/>
          <p:nvPr>
            <p:custDataLst>
              <p:tags r:id="rId7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33" name="Draft stamp"/>
          <p:cNvSpPr txBox="1"/>
          <p:nvPr>
            <p:custDataLst>
              <p:tags r:id="rId8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7" name="Date/Filepath" hidden="1"/>
          <p:cNvSpPr txBox="1"/>
          <p:nvPr>
            <p:custDataLst>
              <p:tags r:id="rId9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21" name="Slide Tags" hidden="1"/>
          <p:cNvSpPr txBox="1"/>
          <p:nvPr>
            <p:custDataLst>
              <p:tags r:id="rId10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3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502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>
            <p:custDataLst>
              <p:tags r:id="rId1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8" name="Rectangle 7"/>
          <p:cNvSpPr/>
          <p:nvPr>
            <p:custDataLst>
              <p:tags r:id="rId2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5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3554523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158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>
            <p:custDataLst>
              <p:tags r:id="rId2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15" name="Rectangle 14"/>
          <p:cNvSpPr/>
          <p:nvPr>
            <p:custDataLst>
              <p:tags r:id="rId3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8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13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3265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2" name="Page Number"/>
          <p:cNvSpPr txBox="1"/>
          <p:nvPr>
            <p:custDataLst>
              <p:tags r:id="rId1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13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" name="Presentation Disclaimer"/>
          <p:cNvSpPr txBox="1"/>
          <p:nvPr>
            <p:custDataLst>
              <p:tags r:id="rId3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ection Footer"/>
          <p:cNvSpPr txBox="1"/>
          <p:nvPr>
            <p:custDataLst>
              <p:tags r:id="rId4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18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>
            <p:custDataLst>
              <p:tags r:id="rId6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25" name="Rectangle 24"/>
          <p:cNvSpPr/>
          <p:nvPr>
            <p:custDataLst>
              <p:tags r:id="rId7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10" name="Draft stamp"/>
          <p:cNvSpPr txBox="1"/>
          <p:nvPr>
            <p:custDataLst>
              <p:tags r:id="rId8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6" name="Date/Filepath" hidden="1"/>
          <p:cNvSpPr txBox="1"/>
          <p:nvPr>
            <p:custDataLst>
              <p:tags r:id="rId9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7" name="Slide Tags" hidden="1"/>
          <p:cNvSpPr txBox="1"/>
          <p:nvPr>
            <p:custDataLst>
              <p:tags r:id="rId10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1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6769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2" name="Page Number"/>
          <p:cNvSpPr txBox="1"/>
          <p:nvPr>
            <p:custDataLst>
              <p:tags r:id="rId1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13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" name="Presentation Disclaimer"/>
          <p:cNvSpPr txBox="1"/>
          <p:nvPr>
            <p:custDataLst>
              <p:tags r:id="rId3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Footer"/>
          <p:cNvSpPr txBox="1"/>
          <p:nvPr>
            <p:custDataLst>
              <p:tags r:id="rId4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10" name="Draft stamp"/>
          <p:cNvSpPr txBox="1"/>
          <p:nvPr>
            <p:custDataLst>
              <p:tags r:id="rId5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6" name="Date/Filepath" hidden="1"/>
          <p:cNvSpPr txBox="1"/>
          <p:nvPr>
            <p:custDataLst>
              <p:tags r:id="rId6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7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15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6378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41455" y="886235"/>
            <a:ext cx="3504394" cy="869212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>
            <p:custDataLst>
              <p:tags r:id="rId2"/>
            </p:custDataLst>
          </p:nvPr>
        </p:nvSpPr>
        <p:spPr>
          <a:xfrm>
            <a:off x="4350545" y="908471"/>
            <a:ext cx="7204364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3" name="Page Number"/>
          <p:cNvSpPr txBox="1"/>
          <p:nvPr>
            <p:custDataLst>
              <p:tags r:id="rId3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4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Presentation Disclaimer"/>
          <p:cNvSpPr txBox="1"/>
          <p:nvPr>
            <p:custDataLst>
              <p:tags r:id="rId5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Footer"/>
          <p:cNvSpPr txBox="1"/>
          <p:nvPr>
            <p:custDataLst>
              <p:tags r:id="rId6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Section Header"/>
          <p:cNvSpPr txBox="1"/>
          <p:nvPr>
            <p:custDataLst>
              <p:tags r:id="rId7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8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9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1" name="Slide Tags" hidden="1"/>
          <p:cNvSpPr txBox="1"/>
          <p:nvPr>
            <p:custDataLst>
              <p:tags r:id="rId10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0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0147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42850" y="886235"/>
            <a:ext cx="3513514" cy="869212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8" name="DividerTOCPlaceholder"/>
          <p:cNvSpPr txBox="1"/>
          <p:nvPr>
            <p:custDataLst>
              <p:tags r:id="rId2"/>
            </p:custDataLst>
          </p:nvPr>
        </p:nvSpPr>
        <p:spPr>
          <a:xfrm>
            <a:off x="4350545" y="908470"/>
            <a:ext cx="7204364" cy="52094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0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5" name="Page Number"/>
          <p:cNvSpPr txBox="1"/>
          <p:nvPr>
            <p:custDataLst>
              <p:tags r:id="rId3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6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0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7" name="Presentation Disclaimer"/>
          <p:cNvSpPr txBox="1"/>
          <p:nvPr>
            <p:custDataLst>
              <p:tags r:id="rId5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ction Footer"/>
          <p:cNvSpPr txBox="1"/>
          <p:nvPr>
            <p:custDataLst>
              <p:tags r:id="rId6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19" name="Section Header"/>
          <p:cNvSpPr txBox="1"/>
          <p:nvPr>
            <p:custDataLst>
              <p:tags r:id="rId7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3" name="Draft stamp"/>
          <p:cNvSpPr txBox="1"/>
          <p:nvPr>
            <p:custDataLst>
              <p:tags r:id="rId8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9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6" name="Slide Tags" hidden="1"/>
          <p:cNvSpPr txBox="1"/>
          <p:nvPr>
            <p:custDataLst>
              <p:tags r:id="rId10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8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4568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642851" y="941294"/>
            <a:ext cx="3513513" cy="742278"/>
          </a:xfrm>
        </p:spPr>
        <p:txBody>
          <a:bodyPr wrap="square" tIns="0" bIns="0" anchor="t">
            <a:noAutofit/>
          </a:bodyPr>
          <a:lstStyle>
            <a:lvl1pPr algn="l">
              <a:defRPr sz="1324" b="1" i="0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At a glance</a:t>
            </a:r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4346182" y="941293"/>
            <a:ext cx="7202967" cy="74227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8990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971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dirty="0"/>
              <a:t>PwC view – Insert text here</a:t>
            </a:r>
          </a:p>
        </p:txBody>
      </p:sp>
      <p:sp>
        <p:nvSpPr>
          <p:cNvPr id="18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3" name="Page Number"/>
          <p:cNvSpPr txBox="1"/>
          <p:nvPr>
            <p:custDataLst>
              <p:tags r:id="rId1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6" name="Presentation Disclaimer"/>
          <p:cNvSpPr txBox="1"/>
          <p:nvPr>
            <p:custDataLst>
              <p:tags r:id="rId2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>
            <p:custDataLst>
              <p:tags r:id="rId3"/>
            </p:custDataLst>
          </p:nvPr>
        </p:nvSpPr>
        <p:spPr>
          <a:xfrm>
            <a:off x="4344785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Section Footer"/>
          <p:cNvSpPr txBox="1"/>
          <p:nvPr>
            <p:custDataLst>
              <p:tags r:id="rId4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6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7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1" name="Slide Tags" hidden="1"/>
          <p:cNvSpPr txBox="1"/>
          <p:nvPr/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2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37825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642851" y="941294"/>
            <a:ext cx="3513513" cy="742278"/>
          </a:xfrm>
        </p:spPr>
        <p:txBody>
          <a:bodyPr wrap="square" tIns="0" bIns="0" anchor="t">
            <a:noAutofit/>
          </a:bodyPr>
          <a:lstStyle>
            <a:lvl1pPr algn="l">
              <a:defRPr sz="1324" b="1" i="0" cap="none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/>
              <a:t>At a glance – our views</a:t>
            </a:r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4346182" y="941293"/>
            <a:ext cx="7204364" cy="74227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8990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971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dirty="0"/>
              <a:t>Insert text her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31"/>
          </p:nvPr>
        </p:nvSpPr>
        <p:spPr>
          <a:xfrm>
            <a:off x="642851" y="1815353"/>
            <a:ext cx="3513513" cy="4308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32"/>
          </p:nvPr>
        </p:nvSpPr>
        <p:spPr>
          <a:xfrm>
            <a:off x="4344785" y="1815353"/>
            <a:ext cx="3513513" cy="4308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3" name="Content Placeholder 4"/>
          <p:cNvSpPr>
            <a:spLocks noGrp="1"/>
          </p:cNvSpPr>
          <p:nvPr>
            <p:ph sz="quarter" idx="33"/>
          </p:nvPr>
        </p:nvSpPr>
        <p:spPr>
          <a:xfrm>
            <a:off x="8035636" y="1815353"/>
            <a:ext cx="3513513" cy="43084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3" name="Page Number"/>
          <p:cNvSpPr txBox="1"/>
          <p:nvPr>
            <p:custDataLst>
              <p:tags r:id="rId1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6" name="Presentation Disclaimer"/>
          <p:cNvSpPr txBox="1"/>
          <p:nvPr>
            <p:custDataLst>
              <p:tags r:id="rId2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>
            <p:custDataLst>
              <p:tags r:id="rId3"/>
            </p:custDataLst>
          </p:nvPr>
        </p:nvSpPr>
        <p:spPr>
          <a:xfrm>
            <a:off x="4344785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Section Footer"/>
          <p:cNvSpPr txBox="1"/>
          <p:nvPr>
            <p:custDataLst>
              <p:tags r:id="rId4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6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7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1" name="Slide Tags" hidden="1"/>
          <p:cNvSpPr txBox="1"/>
          <p:nvPr/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7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86288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642851" y="941294"/>
            <a:ext cx="3513513" cy="742278"/>
          </a:xfrm>
        </p:spPr>
        <p:txBody>
          <a:bodyPr wrap="square" tIns="0" bIns="0" anchor="t">
            <a:noAutofit/>
          </a:bodyPr>
          <a:lstStyle>
            <a:lvl1pPr algn="l">
              <a:defRPr sz="1324" b="1" i="0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At a glance – our views</a:t>
            </a:r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4346182" y="941293"/>
            <a:ext cx="7204364" cy="74227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8990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971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dirty="0"/>
              <a:t>Insert text her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31"/>
          </p:nvPr>
        </p:nvSpPr>
        <p:spPr>
          <a:xfrm>
            <a:off x="642851" y="1815353"/>
            <a:ext cx="3513513" cy="20816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32"/>
          </p:nvPr>
        </p:nvSpPr>
        <p:spPr>
          <a:xfrm>
            <a:off x="4344784" y="1815353"/>
            <a:ext cx="3513513" cy="20816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3" name="Content Placeholder 4"/>
          <p:cNvSpPr>
            <a:spLocks noGrp="1"/>
          </p:cNvSpPr>
          <p:nvPr>
            <p:ph sz="quarter" idx="33"/>
          </p:nvPr>
        </p:nvSpPr>
        <p:spPr>
          <a:xfrm>
            <a:off x="8035635" y="1815353"/>
            <a:ext cx="3513513" cy="20816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6" name="Content Placeholder 5"/>
          <p:cNvSpPr>
            <a:spLocks noGrp="1"/>
          </p:cNvSpPr>
          <p:nvPr>
            <p:ph sz="quarter" idx="34"/>
          </p:nvPr>
        </p:nvSpPr>
        <p:spPr>
          <a:xfrm>
            <a:off x="642851" y="4034118"/>
            <a:ext cx="3513513" cy="20816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35"/>
          </p:nvPr>
        </p:nvSpPr>
        <p:spPr>
          <a:xfrm>
            <a:off x="4344784" y="4034118"/>
            <a:ext cx="3513513" cy="20816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0" name="Content Placeholder 7"/>
          <p:cNvSpPr>
            <a:spLocks noGrp="1"/>
          </p:cNvSpPr>
          <p:nvPr>
            <p:ph sz="quarter" idx="36"/>
          </p:nvPr>
        </p:nvSpPr>
        <p:spPr>
          <a:xfrm>
            <a:off x="8035635" y="4034118"/>
            <a:ext cx="3513513" cy="20816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3" name="Page Number"/>
          <p:cNvSpPr txBox="1"/>
          <p:nvPr>
            <p:custDataLst>
              <p:tags r:id="rId1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6" name="Presentation Disclaimer"/>
          <p:cNvSpPr txBox="1"/>
          <p:nvPr>
            <p:custDataLst>
              <p:tags r:id="rId2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>
            <p:custDataLst>
              <p:tags r:id="rId3"/>
            </p:custDataLst>
          </p:nvPr>
        </p:nvSpPr>
        <p:spPr>
          <a:xfrm>
            <a:off x="4344785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4" name="Section Footer"/>
          <p:cNvSpPr txBox="1"/>
          <p:nvPr>
            <p:custDataLst>
              <p:tags r:id="rId4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6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7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1" name="Slide Tags" hidden="1"/>
          <p:cNvSpPr txBox="1"/>
          <p:nvPr/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7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1900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5360785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971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heading here</a:t>
            </a:r>
            <a:r>
              <a:rPr lang="en-GB" dirty="0"/>
              <a:t> – Insert text here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6188362" y="944096"/>
            <a:ext cx="5364480" cy="74239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971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dirty="0"/>
              <a:t>PwC view – Inserted text here should not be bold.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15" name="Page Number"/>
          <p:cNvSpPr txBox="1"/>
          <p:nvPr>
            <p:custDataLst>
              <p:tags r:id="rId2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30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Presentation Disclaimer"/>
          <p:cNvSpPr txBox="1"/>
          <p:nvPr>
            <p:custDataLst>
              <p:tags r:id="rId4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35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>
            <p:custDataLst>
              <p:tags r:id="rId5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>
            <p:custDataLst>
              <p:tags r:id="rId7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>
            <p:custDataLst>
              <p:tags r:id="rId8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21" name="Draft stamp"/>
          <p:cNvSpPr txBox="1"/>
          <p:nvPr>
            <p:custDataLst>
              <p:tags r:id="rId9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3" name="Date/Filepath" hidden="1"/>
          <p:cNvSpPr txBox="1"/>
          <p:nvPr>
            <p:custDataLst>
              <p:tags r:id="rId10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24" name="Slide Tags" hidden="1"/>
          <p:cNvSpPr txBox="1"/>
          <p:nvPr>
            <p:custDataLst>
              <p:tags r:id="rId1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19722580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/>
        </p:nvGrpSpPr>
        <p:grpSpPr>
          <a:xfrm>
            <a:off x="1370144" y="0"/>
            <a:ext cx="10821856" cy="6457244"/>
            <a:chOff x="1130368" y="0"/>
            <a:chExt cx="8928031" cy="7318210"/>
          </a:xfrm>
        </p:grpSpPr>
        <p:grpSp>
          <p:nvGrpSpPr>
            <p:cNvPr id="5" name="Logo Shapes"/>
            <p:cNvGrpSpPr/>
            <p:nvPr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/>
            </p:nvSpPr>
            <p:spPr bwMode="gray">
              <a:xfrm>
                <a:off x="1828800" y="1057382"/>
                <a:ext cx="6492240" cy="5708197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/>
            </p:nvSpPr>
            <p:spPr bwMode="gray">
              <a:xfrm>
                <a:off x="1828800" y="1057382"/>
                <a:ext cx="6248400" cy="5708197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27" name="Rectangle 9"/>
              <p:cNvSpPr/>
              <p:nvPr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noProof="0" dirty="0"/>
              </a:p>
            </p:txBody>
          </p:sp>
        </p:grpSp>
        <p:grpSp>
          <p:nvGrpSpPr>
            <p:cNvPr id="6" name="Logo"/>
            <p:cNvGrpSpPr/>
            <p:nvPr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1" name="Descriptor"/>
          <p:cNvSpPr txBox="1"/>
          <p:nvPr>
            <p:custDataLst>
              <p:tags r:id="rId1"/>
            </p:custDataLst>
          </p:nvPr>
        </p:nvSpPr>
        <p:spPr bwMode="white">
          <a:xfrm>
            <a:off x="2493818" y="594041"/>
            <a:ext cx="3206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882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2" name="Report 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white">
          <a:xfrm>
            <a:off x="2493113" y="1112680"/>
            <a:ext cx="7204364" cy="391057"/>
          </a:xfrm>
        </p:spPr>
        <p:txBody>
          <a:bodyPr vert="horz" lIns="0" tIns="0" rIns="0" bIns="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31" name="Report 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2493113" y="1546412"/>
            <a:ext cx="7204364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42" name="Confidentiality Stamp"/>
          <p:cNvSpPr txBox="1"/>
          <p:nvPr>
            <p:custDataLst>
              <p:tags r:id="rId4"/>
            </p:custDataLst>
          </p:nvPr>
        </p:nvSpPr>
        <p:spPr>
          <a:xfrm>
            <a:off x="642851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4" name="Draft Stamp"/>
          <p:cNvSpPr txBox="1"/>
          <p:nvPr>
            <p:custDataLst>
              <p:tags r:id="rId5"/>
            </p:custDataLst>
          </p:nvPr>
        </p:nvSpPr>
        <p:spPr bwMode="black">
          <a:xfrm>
            <a:off x="642851" y="3566160"/>
            <a:ext cx="1662545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>
            <p:custDataLst>
              <p:tags r:id="rId6"/>
            </p:custDataLst>
          </p:nvPr>
        </p:nvSpPr>
        <p:spPr bwMode="black"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/>
        </p:nvCxnSpPr>
        <p:spPr>
          <a:xfrm flipV="1">
            <a:off x="461818" y="3170816"/>
            <a:ext cx="1662545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642851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  <p:sp>
        <p:nvSpPr>
          <p:cNvPr id="36" name="Cover image"/>
          <p:cNvSpPr txBox="1">
            <a:spLocks noChangeAspect="1"/>
          </p:cNvSpPr>
          <p:nvPr>
            <p:custDataLst>
              <p:tags r:id="rId8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8147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EA376-FFB9-47C5-A810-36BCB43AB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17093A-DA06-4FD6-B884-6B6C9FBDD5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73DC4A-03D7-4AD5-BECE-F7D5AE61C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F246F-8704-4541-AD83-5EA063874B0E}" type="datetime1">
              <a:rPr lang="en-GB" smtClean="0"/>
              <a:t>01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227FC-5472-475C-AB6A-7C721FAD0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ritime India Summ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5B595E-0D5D-47B2-9605-957C45E0A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08193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6003-E085-4FA1-944B-CABFA109D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D34D7A-DA84-4B3B-B9BF-CB6D83749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A329E-F788-4E7F-B897-92013F35F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5993D-D32E-4D40-9964-0E17D0AA516A}" type="datetime1">
              <a:rPr lang="en-GB" smtClean="0"/>
              <a:t>01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6BBD47-7547-4EBD-9498-83E0F3876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ritime India Summ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96D8D9-E474-4549-9198-D7E534794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36238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3662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9EA376-FFB9-47C5-A810-36BCB43AB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17093A-DA06-4FD6-B884-6B6C9FBDD5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73DC4A-03D7-4AD5-BECE-F7D5AE61C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59A5F-63B3-4606-925C-EDB75EB62630}" type="datetime1">
              <a:rPr lang="en-GB" smtClean="0"/>
              <a:t>01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6227FC-5472-475C-AB6A-7C721FAD0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ritime India Summ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5B595E-0D5D-47B2-9605-957C45E0A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03445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56003-E085-4FA1-944B-CABFA109D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D34D7A-DA84-4B3B-B9BF-CB6D837494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EA329E-F788-4E7F-B897-92013F35FF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AE7FB-DF76-476D-8707-6CC82413DFC4}" type="datetime1">
              <a:rPr lang="en-GB" smtClean="0"/>
              <a:t>01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6BBD47-7547-4EBD-9498-83E0F3876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aritime India Summ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96D8D9-E474-4549-9198-D7E534794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273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5360785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971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heading here</a:t>
            </a:r>
            <a:r>
              <a:rPr lang="en-GB" dirty="0"/>
              <a:t> – Insert text here</a:t>
            </a:r>
          </a:p>
        </p:txBody>
      </p:sp>
      <p:sp>
        <p:nvSpPr>
          <p:cNvPr id="35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6188362" y="944096"/>
            <a:ext cx="5364480" cy="74239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971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dirty="0"/>
              <a:t>PwC view – Inserted text here should not be bold.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2" y="1815353"/>
            <a:ext cx="5359977" cy="4308438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9327" y="1815353"/>
            <a:ext cx="5364480" cy="430843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37" name="Straight Connector 36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27" name="Page Number"/>
          <p:cNvSpPr txBox="1"/>
          <p:nvPr>
            <p:custDataLst>
              <p:tags r:id="rId3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8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Presentation Disclaimer"/>
          <p:cNvSpPr txBox="1"/>
          <p:nvPr>
            <p:custDataLst>
              <p:tags r:id="rId5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Footer"/>
          <p:cNvSpPr txBox="1"/>
          <p:nvPr>
            <p:custDataLst>
              <p:tags r:id="rId6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Section Header"/>
          <p:cNvSpPr txBox="1"/>
          <p:nvPr>
            <p:custDataLst>
              <p:tags r:id="rId7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>
            <p:custDataLst>
              <p:tags r:id="rId8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41" name="Rectangle 40"/>
          <p:cNvSpPr/>
          <p:nvPr>
            <p:custDataLst>
              <p:tags r:id="rId9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25" name="Draft stamp"/>
          <p:cNvSpPr txBox="1"/>
          <p:nvPr>
            <p:custDataLst>
              <p:tags r:id="rId10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1" name="Date/Filepath" hidden="1"/>
          <p:cNvSpPr txBox="1"/>
          <p:nvPr>
            <p:custDataLst>
              <p:tags r:id="rId1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9" name="Slide Tags" hidden="1"/>
          <p:cNvSpPr txBox="1"/>
          <p:nvPr>
            <p:custDataLst>
              <p:tags r:id="rId1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6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2200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5360785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971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heading here</a:t>
            </a:r>
            <a:r>
              <a:rPr lang="en-GB" dirty="0"/>
              <a:t> – Insert text here</a:t>
            </a:r>
          </a:p>
        </p:txBody>
      </p:sp>
      <p:sp>
        <p:nvSpPr>
          <p:cNvPr id="53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6188362" y="944096"/>
            <a:ext cx="5364480" cy="74239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971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dirty="0"/>
              <a:t>PwC view – Inserted text here should not be bold.</a:t>
            </a:r>
          </a:p>
        </p:txBody>
      </p:sp>
      <p:sp>
        <p:nvSpPr>
          <p:cNvPr id="41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46" name="Page Number"/>
          <p:cNvSpPr txBox="1"/>
          <p:nvPr>
            <p:custDataLst>
              <p:tags r:id="rId1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47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0" name="Presentation Disclaimer"/>
          <p:cNvSpPr txBox="1"/>
          <p:nvPr>
            <p:custDataLst>
              <p:tags r:id="rId3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Footer"/>
          <p:cNvSpPr txBox="1"/>
          <p:nvPr>
            <p:custDataLst>
              <p:tags r:id="rId4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2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>
            <p:custDataLst>
              <p:tags r:id="rId6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24" name="Rectangle 23"/>
          <p:cNvSpPr/>
          <p:nvPr>
            <p:custDataLst>
              <p:tags r:id="rId7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44" name="Draft stamp"/>
          <p:cNvSpPr txBox="1"/>
          <p:nvPr>
            <p:custDataLst>
              <p:tags r:id="rId8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30" name="Date/Filepath" hidden="1"/>
          <p:cNvSpPr txBox="1"/>
          <p:nvPr>
            <p:custDataLst>
              <p:tags r:id="rId9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7" name="Slide Tags" hidden="1"/>
          <p:cNvSpPr txBox="1"/>
          <p:nvPr>
            <p:custDataLst>
              <p:tags r:id="rId10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1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3230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158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31" name="Page Number"/>
          <p:cNvSpPr txBox="1"/>
          <p:nvPr>
            <p:custDataLst>
              <p:tags r:id="rId2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Presentation Disclaimer"/>
          <p:cNvSpPr txBox="1"/>
          <p:nvPr>
            <p:custDataLst>
              <p:tags r:id="rId4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>
            <p:custDataLst>
              <p:tags r:id="rId5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>
            <p:custDataLst>
              <p:tags r:id="rId6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>
            <p:custDataLst>
              <p:tags r:id="rId7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29" name="Rectangle 28"/>
          <p:cNvSpPr/>
          <p:nvPr>
            <p:custDataLst>
              <p:tags r:id="rId8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27" name="Draft stamp"/>
          <p:cNvSpPr txBox="1"/>
          <p:nvPr>
            <p:custDataLst>
              <p:tags r:id="rId9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1" name="Date/Filepath" hidden="1"/>
          <p:cNvSpPr txBox="1"/>
          <p:nvPr>
            <p:custDataLst>
              <p:tags r:id="rId10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9" name="Slide Tags" hidden="1"/>
          <p:cNvSpPr txBox="1"/>
          <p:nvPr>
            <p:custDataLst>
              <p:tags r:id="rId1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6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735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158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5364480" cy="4308438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815353"/>
            <a:ext cx="5364480" cy="4308438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4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31" name="Page Number"/>
          <p:cNvSpPr txBox="1"/>
          <p:nvPr>
            <p:custDataLst>
              <p:tags r:id="rId3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45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Presentation Disclaimer"/>
          <p:cNvSpPr txBox="1"/>
          <p:nvPr>
            <p:custDataLst>
              <p:tags r:id="rId5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>
            <p:custDataLst>
              <p:tags r:id="rId6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>
            <p:custDataLst>
              <p:tags r:id="rId7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>
            <p:custDataLst>
              <p:tags r:id="rId8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32" name="Rectangle 31"/>
          <p:cNvSpPr/>
          <p:nvPr>
            <p:custDataLst>
              <p:tags r:id="rId9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27" name="Draft stamp"/>
          <p:cNvSpPr txBox="1"/>
          <p:nvPr>
            <p:custDataLst>
              <p:tags r:id="rId10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1" name="Date/Filepath" hidden="1"/>
          <p:cNvSpPr txBox="1"/>
          <p:nvPr>
            <p:custDataLst>
              <p:tags r:id="rId1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9" name="Slide Tags" hidden="1"/>
          <p:cNvSpPr txBox="1"/>
          <p:nvPr>
            <p:custDataLst>
              <p:tags r:id="rId1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2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5802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158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7219758" cy="4308438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7" y="1815353"/>
            <a:ext cx="3506124" cy="4308438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31" name="Page Number"/>
          <p:cNvSpPr txBox="1"/>
          <p:nvPr>
            <p:custDataLst>
              <p:tags r:id="rId3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45" name="HeaderTOCPlaceholder"/>
          <p:cNvSpPr txBox="1"/>
          <p:nvPr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Presentation Disclaimer"/>
          <p:cNvSpPr txBox="1"/>
          <p:nvPr>
            <p:custDataLst>
              <p:tags r:id="rId5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>
            <p:custDataLst>
              <p:tags r:id="rId6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>
            <p:custDataLst>
              <p:tags r:id="rId7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>
            <p:custDataLst>
              <p:tags r:id="rId8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32" name="Rectangle 31"/>
          <p:cNvSpPr/>
          <p:nvPr>
            <p:custDataLst>
              <p:tags r:id="rId9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27" name="Draft stamp"/>
          <p:cNvSpPr txBox="1"/>
          <p:nvPr>
            <p:custDataLst>
              <p:tags r:id="rId10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1" name="Date/Filepath" hidden="1"/>
          <p:cNvSpPr txBox="1"/>
          <p:nvPr>
            <p:custDataLst>
              <p:tags r:id="rId1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19" name="Slide Tags" hidden="1"/>
          <p:cNvSpPr txBox="1"/>
          <p:nvPr>
            <p:custDataLst>
              <p:tags r:id="rId1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2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2475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158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0" y="1815353"/>
            <a:ext cx="5360787" cy="2084294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0" y="4034118"/>
            <a:ext cx="5360787" cy="2081605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8364" y="1815353"/>
            <a:ext cx="5364480" cy="4308438"/>
          </a:xfrm>
        </p:spPr>
        <p:txBody>
          <a:bodyPr t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6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43" name="Page Number"/>
          <p:cNvSpPr txBox="1"/>
          <p:nvPr>
            <p:custDataLst>
              <p:tags r:id="rId4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44" name="HeaderTOCPlaceholder"/>
          <p:cNvSpPr txBox="1"/>
          <p:nvPr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8" name="Presentation Disclaimer"/>
          <p:cNvSpPr txBox="1"/>
          <p:nvPr>
            <p:custDataLst>
              <p:tags r:id="rId6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650182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Footer"/>
          <p:cNvSpPr txBox="1"/>
          <p:nvPr>
            <p:custDataLst>
              <p:tags r:id="rId7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Section Header"/>
          <p:cNvSpPr txBox="1"/>
          <p:nvPr>
            <p:custDataLst>
              <p:tags r:id="rId8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>
            <p:custDataLst>
              <p:tags r:id="rId9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31" name="Rectangle 30"/>
          <p:cNvSpPr/>
          <p:nvPr>
            <p:custDataLst>
              <p:tags r:id="rId10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30" name="Draft stamp"/>
          <p:cNvSpPr txBox="1"/>
          <p:nvPr>
            <p:custDataLst>
              <p:tags r:id="rId11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5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20" name="Slide Tags" hidden="1"/>
          <p:cNvSpPr txBox="1"/>
          <p:nvPr>
            <p:custDataLst>
              <p:tags r:id="rId1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2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1817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158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642851" y="1815353"/>
            <a:ext cx="5364480" cy="13473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84669" y="1815353"/>
            <a:ext cx="5364480" cy="13473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642851" y="3294530"/>
            <a:ext cx="10906298" cy="28238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PwC Text"/>
          <p:cNvSpPr txBox="1"/>
          <p:nvPr/>
        </p:nvSpPr>
        <p:spPr>
          <a:xfrm>
            <a:off x="642851" y="6454589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794" noProof="1">
                <a:latin typeface="+mn-lt"/>
                <a:cs typeface="Arial" pitchFamily="34" charset="0"/>
              </a:rPr>
              <a:t>PwC</a:t>
            </a:r>
          </a:p>
        </p:txBody>
      </p:sp>
      <p:sp>
        <p:nvSpPr>
          <p:cNvPr id="45" name="Page Number"/>
          <p:cNvSpPr txBox="1"/>
          <p:nvPr>
            <p:custDataLst>
              <p:tags r:id="rId1"/>
            </p:custDataLst>
          </p:nvPr>
        </p:nvSpPr>
        <p:spPr>
          <a:xfrm>
            <a:off x="11172306" y="6454588"/>
            <a:ext cx="387927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46" name="HeaderTOCPlaceholder"/>
          <p:cNvSpPr txBox="1"/>
          <p:nvPr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9" name="Presentation Disclaimer"/>
          <p:cNvSpPr txBox="1"/>
          <p:nvPr>
            <p:custDataLst>
              <p:tags r:id="rId3"/>
            </p:custDataLst>
          </p:nvPr>
        </p:nvSpPr>
        <p:spPr>
          <a:xfrm>
            <a:off x="4344786" y="6317429"/>
            <a:ext cx="2830903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794" noProof="1"/>
              <a:t>Confidential Information for the sole benefit and use of PwC’s Client.</a:t>
            </a:r>
          </a:p>
        </p:txBody>
      </p:sp>
      <p:cxnSp>
        <p:nvCxnSpPr>
          <p:cNvPr id="51" name="Straight Connector 50"/>
          <p:cNvCxnSpPr/>
          <p:nvPr/>
        </p:nvCxnSpPr>
        <p:spPr>
          <a:xfrm>
            <a:off x="642851" y="6252882"/>
            <a:ext cx="10906299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41455" y="1748118"/>
            <a:ext cx="10904727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ction Footer"/>
          <p:cNvSpPr txBox="1"/>
          <p:nvPr>
            <p:custDataLst>
              <p:tags r:id="rId4"/>
            </p:custDataLst>
          </p:nvPr>
        </p:nvSpPr>
        <p:spPr>
          <a:xfrm>
            <a:off x="642851" y="6317421"/>
            <a:ext cx="3513513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1" name="Section Header"/>
          <p:cNvSpPr txBox="1"/>
          <p:nvPr>
            <p:custDataLst>
              <p:tags r:id="rId5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>
            <p:custDataLst>
              <p:tags r:id="rId6"/>
            </p:custDataLst>
          </p:nvPr>
        </p:nvSpPr>
        <p:spPr>
          <a:xfrm>
            <a:off x="-3048000" y="4677344"/>
            <a:ext cx="2586182" cy="325832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algn="l"/>
            <a:endParaRPr lang="en-GB" sz="1588" noProof="1"/>
          </a:p>
        </p:txBody>
      </p:sp>
      <p:sp>
        <p:nvSpPr>
          <p:cNvPr id="32" name="Rectangle 31"/>
          <p:cNvSpPr/>
          <p:nvPr>
            <p:custDataLst>
              <p:tags r:id="rId7"/>
            </p:custDataLst>
          </p:nvPr>
        </p:nvSpPr>
        <p:spPr>
          <a:xfrm>
            <a:off x="-3232727" y="1564057"/>
            <a:ext cx="2955636" cy="2173068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5"/>
            </a:solidFill>
          </a:ln>
        </p:spPr>
        <p:txBody>
          <a:bodyPr vert="horz" wrap="square" lIns="80682" tIns="40341" rIns="80682" bIns="40341" rtlCol="0" anchor="t">
            <a:spAutoFit/>
          </a:bodyPr>
          <a:lstStyle/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 the divider control box below to make the slide title appear in your primary TOC and section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ease follow these steps: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ype ‘Divider’ in the control box provided below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the Divider command on the Smart ribbon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er the text that you’d like to appear in the TOCs and select a divider level.</a:t>
            </a: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ick Update. The slide title should now appear on all TOCs.</a:t>
            </a:r>
          </a:p>
          <a:p>
            <a:pPr rtl="0"/>
            <a:endParaRPr lang="en-GB" sz="971" kern="1200" baseline="0" noProof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GB" sz="971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remove the slide title from your TOCs, delete the ‘Divider’ text from the divider control box and hit Update.</a:t>
            </a:r>
            <a:endParaRPr lang="en-GB" sz="1588" noProof="1"/>
          </a:p>
        </p:txBody>
      </p:sp>
      <p:sp>
        <p:nvSpPr>
          <p:cNvPr id="27" name="Draft stamp"/>
          <p:cNvSpPr txBox="1"/>
          <p:nvPr>
            <p:custDataLst>
              <p:tags r:id="rId8"/>
            </p:custDataLst>
          </p:nvPr>
        </p:nvSpPr>
        <p:spPr>
          <a:xfrm>
            <a:off x="4344786" y="6439538"/>
            <a:ext cx="258248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94" noProof="1"/>
              <a:t>Draft</a:t>
            </a:r>
          </a:p>
        </p:txBody>
      </p:sp>
      <p:sp>
        <p:nvSpPr>
          <p:cNvPr id="22" name="Date/Filepath" hidden="1"/>
          <p:cNvSpPr txBox="1"/>
          <p:nvPr>
            <p:custDataLst>
              <p:tags r:id="rId9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9/13/2012 C:\Documents and Settings\SDAY016\Desktop\Smart\Content\PowerPoint\Templates\1 New Design\1 TS Global Report (New Design).potx</a:t>
            </a:r>
          </a:p>
        </p:txBody>
      </p:sp>
      <p:sp>
        <p:nvSpPr>
          <p:cNvPr id="21" name="Slide Tags" hidden="1"/>
          <p:cNvSpPr txBox="1"/>
          <p:nvPr>
            <p:custDataLst>
              <p:tags r:id="rId10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cxnSp>
        <p:nvCxnSpPr>
          <p:cNvPr id="28" name="Frame Line"/>
          <p:cNvCxnSpPr/>
          <p:nvPr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7953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86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" name="Grid" hidden="1"/>
          <p:cNvGrpSpPr/>
          <p:nvPr>
            <p:custDataLst>
              <p:tags r:id="rId25"/>
            </p:custDataLst>
          </p:nvPr>
        </p:nvGrpSpPr>
        <p:grpSpPr>
          <a:xfrm>
            <a:off x="642851" y="540572"/>
            <a:ext cx="10906298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1" y="943983"/>
            <a:ext cx="10906298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1" y="1815353"/>
            <a:ext cx="10906298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9A08FE-8B85-44A8-A3E5-579FA6C74B5C}" type="datetime1">
              <a:rPr lang="en-GB" smtClean="0"/>
              <a:t>01/03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1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Maritime India Summ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1C0064F-7851-47A5-AF68-751737027AA0}" type="slidenum">
              <a:rPr lang="en-GB" smtClean="0"/>
              <a:t>‹#›</a:t>
            </a:fld>
            <a:endParaRPr lang="en-GB"/>
          </a:p>
        </p:txBody>
      </p:sp>
      <p:graphicFrame>
        <p:nvGraphicFramePr>
          <p:cNvPr id="58" name="Object 57" hidden="1">
            <a:extLst>
              <a:ext uri="{FF2B5EF4-FFF2-40B4-BE49-F238E27FC236}">
                <a16:creationId xmlns:a16="http://schemas.microsoft.com/office/drawing/2014/main" id="{B49ACB2F-3265-4E93-A2B6-90EBF48163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240406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7" imgW="421" imgH="423" progId="TCLayout.ActiveDocument.1">
                  <p:embed/>
                </p:oleObj>
              </mc:Choice>
              <mc:Fallback>
                <p:oleObj name="think-cell Slide" r:id="rId27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E25B2A9-EB42-4451-88FF-E2601F34C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2743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hf hdr="0" dt="0"/>
  <p:txStyles>
    <p:titleStyle>
      <a:lvl1pPr algn="l" defTabSz="899010" rtl="0" eaLnBrk="1" latinLnBrk="0" hangingPunct="1">
        <a:spcBef>
          <a:spcPct val="0"/>
        </a:spcBef>
        <a:buNone/>
        <a:defRPr sz="1235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6482" indent="-203305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2963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3092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prstGeom prst="rect">
            <a:avLst/>
          </a:prstGeom>
        </p:spPr>
        <p:txBody>
          <a:bodyPr vert="horz" lIns="0" tIns="50941" rIns="0" bIns="50941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3935" y="1882589"/>
            <a:ext cx="10839796" cy="4088747"/>
          </a:xfrm>
          <a:prstGeom prst="rect">
            <a:avLst/>
          </a:prstGeom>
        </p:spPr>
        <p:txBody>
          <a:bodyPr vert="horz" lIns="0" tIns="50941" rIns="0" bIns="50941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13B786-C597-4AB0-85E5-B604BCCCB391}" type="datetime1">
              <a:rPr lang="en-GB" smtClean="0"/>
              <a:t>01/03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ct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Maritime India Summ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C0064F-7851-47A5-AF68-751737027AA0}" type="slidenum">
              <a:rPr lang="en-GB" smtClean="0"/>
              <a:t>‹#›</a:t>
            </a:fld>
            <a:endParaRPr lang="en-GB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F7BDAC1-CC0A-4B55-BFE2-B484571C9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43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421" imgH="423" progId="TCLayout.ActiveDocument.1">
                  <p:embed/>
                </p:oleObj>
              </mc:Choice>
              <mc:Fallback>
                <p:oleObj name="think-cell Slide" r:id="rId7" imgW="421" imgH="423" progId="TCLayout.ActiveDocument.1">
                  <p:embed/>
                  <p:pic>
                    <p:nvPicPr>
                      <p:cNvPr id="58" name="Object 57" hidden="1">
                        <a:extLst>
                          <a:ext uri="{FF2B5EF4-FFF2-40B4-BE49-F238E27FC236}">
                            <a16:creationId xmlns:a16="http://schemas.microsoft.com/office/drawing/2014/main" id="{B49ACB2F-3265-4E93-A2B6-90EBF48163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452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</p:sldLayoutIdLst>
  <p:hf hdr="0" dt="0"/>
  <p:txStyles>
    <p:titleStyle>
      <a:lvl1pPr algn="l" defTabSz="899010" rtl="0" eaLnBrk="1" latinLnBrk="0" hangingPunct="1">
        <a:spcBef>
          <a:spcPct val="0"/>
        </a:spcBef>
        <a:buNone/>
        <a:defRPr sz="158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5920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505693" marR="0" indent="-200316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Arial" charset="0"/>
        <a:buChar char="–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809668" marR="0" indent="-203118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Tx/>
        <a:buChar char="&gt;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1112243" marR="0" indent="-201717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Tx/>
        <a:buChar char="»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5pPr>
      <a:lvl6pPr marL="2472279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6pPr>
      <a:lvl7pPr marL="2921785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7pPr>
      <a:lvl8pPr marL="3371290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8pPr>
      <a:lvl9pPr marL="3820796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18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3.jpeg"/><Relationship Id="rId2" Type="http://schemas.openxmlformats.org/officeDocument/2006/relationships/tags" Target="../tags/tag19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94.xml"/><Relationship Id="rId7" Type="http://schemas.openxmlformats.org/officeDocument/2006/relationships/image" Target="../media/image5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11EDDD-B6E8-4335-9C14-0E72C35DDC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192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4DB600-53B8-4050-A8DA-21F1015A08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solidFill>
            <a:schemeClr val="tx2">
              <a:lumMod val="75000"/>
            </a:schemeClr>
          </a:solidFill>
        </p:spPr>
        <p:txBody>
          <a:bodyPr vert="horz"/>
          <a:lstStyle/>
          <a:p>
            <a:r>
              <a:rPr lang="en-GB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ne Investment Opportunities in Karnataka</a:t>
            </a:r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63DE133D-9BA8-41F9-861F-6D9A37AAE9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solidFill>
            <a:schemeClr val="tx2">
              <a:lumMod val="40000"/>
              <a:lumOff val="60000"/>
            </a:schemeClr>
          </a:solidFill>
        </p:spPr>
        <p:txBody>
          <a:bodyPr/>
          <a:lstStyle/>
          <a:p>
            <a:r>
              <a:rPr lang="en-GB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 </a:t>
            </a:r>
            <a:r>
              <a:rPr lang="en-GB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time India Summit </a:t>
            </a:r>
            <a:r>
              <a:rPr lang="en-GB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  <a:p>
            <a:r>
              <a:rPr lang="en-GB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: Capt. C. </a:t>
            </a:r>
            <a:r>
              <a:rPr lang="en-GB" sz="28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amy</a:t>
            </a:r>
            <a:r>
              <a:rPr lang="en-GB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irector Ports</a:t>
            </a:r>
            <a:endParaRPr lang="en-GB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fidentiality Stamp">
            <a:extLst>
              <a:ext uri="{FF2B5EF4-FFF2-40B4-BE49-F238E27FC236}">
                <a16:creationId xmlns:a16="http://schemas.microsoft.com/office/drawing/2014/main" id="{E6FC87B9-B04D-4A7B-88EE-33D862C25C2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2841" y="5420830"/>
            <a:ext cx="1742101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Strictly private and confidential</a:t>
            </a:r>
          </a:p>
        </p:txBody>
      </p:sp>
      <p:sp>
        <p:nvSpPr>
          <p:cNvPr id="12" name="Report Date">
            <a:extLst>
              <a:ext uri="{FF2B5EF4-FFF2-40B4-BE49-F238E27FC236}">
                <a16:creationId xmlns:a16="http://schemas.microsoft.com/office/drawing/2014/main" id="{C89F3CF6-A673-4E16-9DD7-8DD860A947E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252841" y="5728607"/>
            <a:ext cx="174210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i="1" dirty="0">
                <a:latin typeface="Georgia" pitchFamily="18" charset="0"/>
              </a:rPr>
              <a:t>March 2021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E97BE5A-E690-45EE-AF84-1E60F23EEA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6303C85-EECD-43D7-9C30-2CCE67FA9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09367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B5C439-7636-4BD1-A4CB-ECE44CE41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596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CBA40C4-D1E8-4C81-9EFD-6328ECFB8867}"/>
              </a:ext>
            </a:extLst>
          </p:cNvPr>
          <p:cNvSpPr/>
          <p:nvPr/>
        </p:nvSpPr>
        <p:spPr>
          <a:xfrm>
            <a:off x="3491345" y="2715490"/>
            <a:ext cx="4890655" cy="207818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800" b="1" i="1" dirty="0"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123FCEA-154F-42E0-A17D-0F3A51CBC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3A77D9-D261-4950-A3CF-29CB85AA6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06571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4D85E3-90F7-4F8E-B15A-49DDF8165B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146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002DA-830E-448A-AA7E-B242D74DC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25" y="919779"/>
            <a:ext cx="10835212" cy="806824"/>
          </a:xfrm>
          <a:ln>
            <a:solidFill>
              <a:schemeClr val="accent1"/>
            </a:solidFill>
            <a:prstDash val="sysDash"/>
          </a:ln>
        </p:spPr>
        <p:txBody>
          <a:bodyPr vert="horz"/>
          <a:lstStyle/>
          <a:p>
            <a:pPr algn="ctr"/>
            <a:r>
              <a:rPr lang="en-GB" sz="2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d industrial hinterland and picturesque coastal landscape provides multitudes of  opportunities in maritime sector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C733ECA-A944-46D8-890F-CA7C370FA644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975" y="2865596"/>
            <a:ext cx="2885950" cy="167693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D7EF037-1F7F-4D57-9C07-B990747D184E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4735" y="2892892"/>
            <a:ext cx="2885950" cy="167693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FB30BF4-A786-461D-BFD5-A0656A410876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5494" y="2865596"/>
            <a:ext cx="2885950" cy="167693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E935077-937B-49A4-92C7-50423C2A4BB6}"/>
              </a:ext>
            </a:extLst>
          </p:cNvPr>
          <p:cNvSpPr/>
          <p:nvPr/>
        </p:nvSpPr>
        <p:spPr>
          <a:xfrm>
            <a:off x="672474" y="2043507"/>
            <a:ext cx="2885950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Developed industrial hinterlan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A518118-946F-4BBD-B63F-FC3F3345ECE5}"/>
              </a:ext>
            </a:extLst>
          </p:cNvPr>
          <p:cNvSpPr/>
          <p:nvPr/>
        </p:nvSpPr>
        <p:spPr>
          <a:xfrm>
            <a:off x="4658984" y="2043507"/>
            <a:ext cx="2885950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Waterway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555D4E6-42D1-4981-B59B-95954F5FC59A}"/>
              </a:ext>
            </a:extLst>
          </p:cNvPr>
          <p:cNvSpPr/>
          <p:nvPr/>
        </p:nvSpPr>
        <p:spPr>
          <a:xfrm>
            <a:off x="8645494" y="2043507"/>
            <a:ext cx="2885950" cy="5486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Serene beaches and picturesque landscape </a:t>
            </a:r>
            <a:endParaRPr lang="en-GB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E3AE5DC-D8F4-40BC-ADE5-84E16A56CCFC}"/>
              </a:ext>
            </a:extLst>
          </p:cNvPr>
          <p:cNvSpPr/>
          <p:nvPr/>
        </p:nvSpPr>
        <p:spPr>
          <a:xfrm>
            <a:off x="658825" y="4947729"/>
            <a:ext cx="2885950" cy="63290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cs typeface="Arial" pitchFamily="34" charset="0"/>
              </a:rPr>
              <a:t>Karnataka has well-developed industrial hinterland distributed across the State</a:t>
            </a:r>
            <a:endParaRPr lang="en-GB" sz="14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13071CD-26CA-4631-8962-563FA4C4EB63}"/>
              </a:ext>
            </a:extLst>
          </p:cNvPr>
          <p:cNvSpPr/>
          <p:nvPr/>
        </p:nvSpPr>
        <p:spPr>
          <a:xfrm>
            <a:off x="4679455" y="4947729"/>
            <a:ext cx="2885950" cy="63290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cs typeface="Arial" pitchFamily="34" charset="0"/>
              </a:rPr>
              <a:t>State has several waterways including Kali, </a:t>
            </a:r>
            <a:r>
              <a:rPr lang="en-GB" sz="1400" dirty="0" err="1">
                <a:cs typeface="Arial" pitchFamily="34" charset="0"/>
              </a:rPr>
              <a:t>Suvarna</a:t>
            </a:r>
            <a:r>
              <a:rPr lang="en-GB" sz="1400" dirty="0">
                <a:cs typeface="Arial" pitchFamily="34" charset="0"/>
              </a:rPr>
              <a:t>, and </a:t>
            </a:r>
            <a:r>
              <a:rPr lang="en-GB" sz="1400" dirty="0" err="1">
                <a:cs typeface="Arial" pitchFamily="34" charset="0"/>
              </a:rPr>
              <a:t>Gurupur</a:t>
            </a:r>
            <a:r>
              <a:rPr lang="en-GB" sz="1400" dirty="0">
                <a:cs typeface="Arial" pitchFamily="34" charset="0"/>
              </a:rPr>
              <a:t> which can be considered for tourism development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2D03150-D6E7-4F2B-A4C2-75AA06831D5D}"/>
              </a:ext>
            </a:extLst>
          </p:cNvPr>
          <p:cNvSpPr/>
          <p:nvPr/>
        </p:nvSpPr>
        <p:spPr>
          <a:xfrm>
            <a:off x="8700085" y="4947729"/>
            <a:ext cx="2885950" cy="63290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cs typeface="Arial" pitchFamily="34" charset="0"/>
              </a:rPr>
              <a:t>State has a long coast line with tourist spots such as Karwar, </a:t>
            </a:r>
            <a:r>
              <a:rPr lang="en-GB" sz="1400" dirty="0" err="1">
                <a:cs typeface="Arial" pitchFamily="34" charset="0"/>
              </a:rPr>
              <a:t>Kundapura</a:t>
            </a:r>
            <a:r>
              <a:rPr lang="en-GB" sz="1400" dirty="0">
                <a:cs typeface="Arial" pitchFamily="34" charset="0"/>
              </a:rPr>
              <a:t>, </a:t>
            </a:r>
            <a:r>
              <a:rPr lang="en-GB" sz="1400" dirty="0" err="1">
                <a:cs typeface="Arial" pitchFamily="34" charset="0"/>
              </a:rPr>
              <a:t>Gokarna</a:t>
            </a:r>
            <a:r>
              <a:rPr lang="en-GB" sz="1400" dirty="0">
                <a:cs typeface="Arial" pitchFamily="34" charset="0"/>
              </a:rPr>
              <a:t>, Udupi, etc. and wildlife sanctuari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3D9E09D-0C6B-4EA5-8A37-A2B197DAE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6ACA939-2792-4ED9-97C0-89C24665D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186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C89826-FF67-4721-B8D0-634655019C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634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D3068341-4ACE-49FF-80A4-75F8FE921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ln>
            <a:solidFill>
              <a:schemeClr val="accent1"/>
            </a:solidFill>
            <a:prstDash val="sysDash"/>
          </a:ln>
        </p:spPr>
        <p:txBody>
          <a:bodyPr vert="horz"/>
          <a:lstStyle/>
          <a:p>
            <a:pPr algn="ctr"/>
            <a:r>
              <a:rPr lang="en-GB" sz="2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has a very well developed industrial hinterland with power, steel, cement, petrochemicals, aerospace, automotive, etc. among major sectors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0E3B6742-51E7-464C-B71D-767EED5F6F13}"/>
              </a:ext>
            </a:extLst>
          </p:cNvPr>
          <p:cNvSpPr/>
          <p:nvPr/>
        </p:nvSpPr>
        <p:spPr>
          <a:xfrm>
            <a:off x="669700" y="2054353"/>
            <a:ext cx="1664067" cy="4005254"/>
          </a:xfrm>
          <a:prstGeom prst="homePlate">
            <a:avLst>
              <a:gd name="adj" fmla="val 27889"/>
            </a:avLst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200000"/>
              </a:lnSpc>
            </a:pP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Major Industries in Karnataka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8F016F7-1B9C-4C91-ACE7-A0A540531895}"/>
              </a:ext>
            </a:extLst>
          </p:cNvPr>
          <p:cNvGrpSpPr/>
          <p:nvPr/>
        </p:nvGrpSpPr>
        <p:grpSpPr>
          <a:xfrm>
            <a:off x="5769065" y="2099804"/>
            <a:ext cx="1523983" cy="2526787"/>
            <a:chOff x="4608511" y="2907896"/>
            <a:chExt cx="1592883" cy="265345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4641B7D-386A-4F57-8E22-D6A9910A7167}"/>
                </a:ext>
              </a:extLst>
            </p:cNvPr>
            <p:cNvGrpSpPr/>
            <p:nvPr/>
          </p:nvGrpSpPr>
          <p:grpSpPr>
            <a:xfrm>
              <a:off x="4608511" y="2907896"/>
              <a:ext cx="1592883" cy="2653452"/>
              <a:chOff x="10598707" y="2635600"/>
              <a:chExt cx="1698565" cy="2700600"/>
            </a:xfrm>
          </p:grpSpPr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B086C1AB-D6D6-446C-B2EF-FDCC109DE9D9}"/>
                  </a:ext>
                </a:extLst>
              </p:cNvPr>
              <p:cNvGrpSpPr/>
              <p:nvPr/>
            </p:nvGrpSpPr>
            <p:grpSpPr>
              <a:xfrm>
                <a:off x="10715407" y="3465104"/>
                <a:ext cx="156960" cy="128647"/>
                <a:chOff x="8389251" y="2294527"/>
                <a:chExt cx="612000" cy="612000"/>
              </a:xfrm>
            </p:grpSpPr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77260235-FC6D-4F35-B3E9-1BC71CA6F2EC}"/>
                    </a:ext>
                  </a:extLst>
                </p:cNvPr>
                <p:cNvSpPr/>
                <p:nvPr/>
              </p:nvSpPr>
              <p:spPr bwMode="ltGray">
                <a:xfrm>
                  <a:off x="8389251" y="2294527"/>
                  <a:ext cx="612000" cy="612000"/>
                </a:xfrm>
                <a:prstGeom prst="ellipse">
                  <a:avLst/>
                </a:prstGeom>
                <a:solidFill>
                  <a:srgbClr val="E36A00"/>
                </a:solidFill>
                <a:ln w="3175">
                  <a:solidFill>
                    <a:srgbClr val="E36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" name="Freeform 4869">
                  <a:extLst>
                    <a:ext uri="{FF2B5EF4-FFF2-40B4-BE49-F238E27FC236}">
                      <a16:creationId xmlns:a16="http://schemas.microsoft.com/office/drawing/2014/main" id="{11483CDD-F986-4067-8D57-1CA2E1FA76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515948" y="2423799"/>
                  <a:ext cx="358606" cy="358608"/>
                </a:xfrm>
                <a:custGeom>
                  <a:avLst/>
                  <a:gdLst>
                    <a:gd name="T0" fmla="*/ 122 w 296"/>
                    <a:gd name="T1" fmla="*/ 20 h 296"/>
                    <a:gd name="T2" fmla="*/ 98 w 296"/>
                    <a:gd name="T3" fmla="*/ 4 h 296"/>
                    <a:gd name="T4" fmla="*/ 58 w 296"/>
                    <a:gd name="T5" fmla="*/ 0 h 296"/>
                    <a:gd name="T6" fmla="*/ 20 w 296"/>
                    <a:gd name="T7" fmla="*/ 20 h 296"/>
                    <a:gd name="T8" fmla="*/ 6 w 296"/>
                    <a:gd name="T9" fmla="*/ 44 h 296"/>
                    <a:gd name="T10" fmla="*/ 2 w 296"/>
                    <a:gd name="T11" fmla="*/ 86 h 296"/>
                    <a:gd name="T12" fmla="*/ 20 w 296"/>
                    <a:gd name="T13" fmla="*/ 122 h 296"/>
                    <a:gd name="T14" fmla="*/ 174 w 296"/>
                    <a:gd name="T15" fmla="*/ 276 h 296"/>
                    <a:gd name="T16" fmla="*/ 210 w 296"/>
                    <a:gd name="T17" fmla="*/ 296 h 296"/>
                    <a:gd name="T18" fmla="*/ 252 w 296"/>
                    <a:gd name="T19" fmla="*/ 292 h 296"/>
                    <a:gd name="T20" fmla="*/ 276 w 296"/>
                    <a:gd name="T21" fmla="*/ 276 h 296"/>
                    <a:gd name="T22" fmla="*/ 296 w 296"/>
                    <a:gd name="T23" fmla="*/ 238 h 296"/>
                    <a:gd name="T24" fmla="*/ 292 w 296"/>
                    <a:gd name="T25" fmla="*/ 198 h 296"/>
                    <a:gd name="T26" fmla="*/ 276 w 296"/>
                    <a:gd name="T27" fmla="*/ 174 h 296"/>
                    <a:gd name="T28" fmla="*/ 36 w 296"/>
                    <a:gd name="T29" fmla="*/ 108 h 296"/>
                    <a:gd name="T30" fmla="*/ 20 w 296"/>
                    <a:gd name="T31" fmla="*/ 82 h 296"/>
                    <a:gd name="T32" fmla="*/ 24 w 296"/>
                    <a:gd name="T33" fmla="*/ 52 h 296"/>
                    <a:gd name="T34" fmla="*/ 36 w 296"/>
                    <a:gd name="T35" fmla="*/ 34 h 296"/>
                    <a:gd name="T36" fmla="*/ 58 w 296"/>
                    <a:gd name="T37" fmla="*/ 22 h 296"/>
                    <a:gd name="T38" fmla="*/ 62 w 296"/>
                    <a:gd name="T39" fmla="*/ 22 h 296"/>
                    <a:gd name="T40" fmla="*/ 52 w 296"/>
                    <a:gd name="T41" fmla="*/ 40 h 296"/>
                    <a:gd name="T42" fmla="*/ 58 w 296"/>
                    <a:gd name="T43" fmla="*/ 54 h 296"/>
                    <a:gd name="T44" fmla="*/ 72 w 296"/>
                    <a:gd name="T45" fmla="*/ 60 h 296"/>
                    <a:gd name="T46" fmla="*/ 90 w 296"/>
                    <a:gd name="T47" fmla="*/ 48 h 296"/>
                    <a:gd name="T48" fmla="*/ 90 w 296"/>
                    <a:gd name="T49" fmla="*/ 32 h 296"/>
                    <a:gd name="T50" fmla="*/ 76 w 296"/>
                    <a:gd name="T51" fmla="*/ 20 h 296"/>
                    <a:gd name="T52" fmla="*/ 94 w 296"/>
                    <a:gd name="T53" fmla="*/ 24 h 296"/>
                    <a:gd name="T54" fmla="*/ 170 w 296"/>
                    <a:gd name="T55" fmla="*/ 98 h 296"/>
                    <a:gd name="T56" fmla="*/ 262 w 296"/>
                    <a:gd name="T57" fmla="*/ 262 h 296"/>
                    <a:gd name="T58" fmla="*/ 236 w 296"/>
                    <a:gd name="T59" fmla="*/ 278 h 296"/>
                    <a:gd name="T60" fmla="*/ 224 w 296"/>
                    <a:gd name="T61" fmla="*/ 278 h 296"/>
                    <a:gd name="T62" fmla="*/ 204 w 296"/>
                    <a:gd name="T63" fmla="*/ 274 h 296"/>
                    <a:gd name="T64" fmla="*/ 186 w 296"/>
                    <a:gd name="T65" fmla="*/ 262 h 296"/>
                    <a:gd name="T66" fmla="*/ 184 w 296"/>
                    <a:gd name="T67" fmla="*/ 252 h 296"/>
                    <a:gd name="T68" fmla="*/ 190 w 296"/>
                    <a:gd name="T69" fmla="*/ 246 h 296"/>
                    <a:gd name="T70" fmla="*/ 200 w 296"/>
                    <a:gd name="T71" fmla="*/ 248 h 296"/>
                    <a:gd name="T72" fmla="*/ 212 w 296"/>
                    <a:gd name="T73" fmla="*/ 256 h 296"/>
                    <a:gd name="T74" fmla="*/ 224 w 296"/>
                    <a:gd name="T75" fmla="*/ 258 h 296"/>
                    <a:gd name="T76" fmla="*/ 238 w 296"/>
                    <a:gd name="T77" fmla="*/ 256 h 296"/>
                    <a:gd name="T78" fmla="*/ 248 w 296"/>
                    <a:gd name="T79" fmla="*/ 248 h 296"/>
                    <a:gd name="T80" fmla="*/ 260 w 296"/>
                    <a:gd name="T81" fmla="*/ 246 h 296"/>
                    <a:gd name="T82" fmla="*/ 264 w 296"/>
                    <a:gd name="T83" fmla="*/ 252 h 296"/>
                    <a:gd name="T84" fmla="*/ 262 w 296"/>
                    <a:gd name="T85" fmla="*/ 262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96" h="296">
                      <a:moveTo>
                        <a:pt x="276" y="174"/>
                      </a:moveTo>
                      <a:lnTo>
                        <a:pt x="200" y="98"/>
                      </a:lnTo>
                      <a:lnTo>
                        <a:pt x="122" y="20"/>
                      </a:lnTo>
                      <a:lnTo>
                        <a:pt x="122" y="20"/>
                      </a:lnTo>
                      <a:lnTo>
                        <a:pt x="112" y="12"/>
                      </a:lnTo>
                      <a:lnTo>
                        <a:pt x="98" y="4"/>
                      </a:lnTo>
                      <a:lnTo>
                        <a:pt x="86" y="0"/>
                      </a:lnTo>
                      <a:lnTo>
                        <a:pt x="72" y="0"/>
                      </a:lnTo>
                      <a:lnTo>
                        <a:pt x="58" y="0"/>
                      </a:lnTo>
                      <a:lnTo>
                        <a:pt x="44" y="4"/>
                      </a:lnTo>
                      <a:lnTo>
                        <a:pt x="32" y="12"/>
                      </a:lnTo>
                      <a:lnTo>
                        <a:pt x="20" y="20"/>
                      </a:lnTo>
                      <a:lnTo>
                        <a:pt x="20" y="20"/>
                      </a:lnTo>
                      <a:lnTo>
                        <a:pt x="12" y="32"/>
                      </a:lnTo>
                      <a:lnTo>
                        <a:pt x="6" y="44"/>
                      </a:lnTo>
                      <a:lnTo>
                        <a:pt x="2" y="58"/>
                      </a:lnTo>
                      <a:lnTo>
                        <a:pt x="0" y="72"/>
                      </a:lnTo>
                      <a:lnTo>
                        <a:pt x="2" y="86"/>
                      </a:lnTo>
                      <a:lnTo>
                        <a:pt x="6" y="98"/>
                      </a:lnTo>
                      <a:lnTo>
                        <a:pt x="12" y="112"/>
                      </a:lnTo>
                      <a:lnTo>
                        <a:pt x="20" y="122"/>
                      </a:lnTo>
                      <a:lnTo>
                        <a:pt x="98" y="198"/>
                      </a:lnTo>
                      <a:lnTo>
                        <a:pt x="174" y="276"/>
                      </a:lnTo>
                      <a:lnTo>
                        <a:pt x="174" y="276"/>
                      </a:lnTo>
                      <a:lnTo>
                        <a:pt x="184" y="284"/>
                      </a:lnTo>
                      <a:lnTo>
                        <a:pt x="198" y="292"/>
                      </a:lnTo>
                      <a:lnTo>
                        <a:pt x="210" y="296"/>
                      </a:lnTo>
                      <a:lnTo>
                        <a:pt x="224" y="296"/>
                      </a:lnTo>
                      <a:lnTo>
                        <a:pt x="238" y="296"/>
                      </a:lnTo>
                      <a:lnTo>
                        <a:pt x="252" y="292"/>
                      </a:lnTo>
                      <a:lnTo>
                        <a:pt x="264" y="284"/>
                      </a:lnTo>
                      <a:lnTo>
                        <a:pt x="276" y="276"/>
                      </a:lnTo>
                      <a:lnTo>
                        <a:pt x="276" y="276"/>
                      </a:lnTo>
                      <a:lnTo>
                        <a:pt x="284" y="264"/>
                      </a:lnTo>
                      <a:lnTo>
                        <a:pt x="292" y="252"/>
                      </a:lnTo>
                      <a:lnTo>
                        <a:pt x="296" y="238"/>
                      </a:lnTo>
                      <a:lnTo>
                        <a:pt x="296" y="224"/>
                      </a:lnTo>
                      <a:lnTo>
                        <a:pt x="296" y="210"/>
                      </a:lnTo>
                      <a:lnTo>
                        <a:pt x="292" y="198"/>
                      </a:lnTo>
                      <a:lnTo>
                        <a:pt x="284" y="184"/>
                      </a:lnTo>
                      <a:lnTo>
                        <a:pt x="276" y="174"/>
                      </a:lnTo>
                      <a:lnTo>
                        <a:pt x="276" y="174"/>
                      </a:lnTo>
                      <a:close/>
                      <a:moveTo>
                        <a:pt x="98" y="170"/>
                      </a:moveTo>
                      <a:lnTo>
                        <a:pt x="36" y="108"/>
                      </a:lnTo>
                      <a:lnTo>
                        <a:pt x="36" y="108"/>
                      </a:lnTo>
                      <a:lnTo>
                        <a:pt x="28" y="100"/>
                      </a:lnTo>
                      <a:lnTo>
                        <a:pt x="24" y="92"/>
                      </a:lnTo>
                      <a:lnTo>
                        <a:pt x="20" y="82"/>
                      </a:lnTo>
                      <a:lnTo>
                        <a:pt x="20" y="72"/>
                      </a:lnTo>
                      <a:lnTo>
                        <a:pt x="20" y="62"/>
                      </a:lnTo>
                      <a:lnTo>
                        <a:pt x="24" y="52"/>
                      </a:lnTo>
                      <a:lnTo>
                        <a:pt x="28" y="44"/>
                      </a:lnTo>
                      <a:lnTo>
                        <a:pt x="36" y="34"/>
                      </a:lnTo>
                      <a:lnTo>
                        <a:pt x="36" y="34"/>
                      </a:lnTo>
                      <a:lnTo>
                        <a:pt x="42" y="28"/>
                      </a:lnTo>
                      <a:lnTo>
                        <a:pt x="50" y="24"/>
                      </a:lnTo>
                      <a:lnTo>
                        <a:pt x="58" y="22"/>
                      </a:lnTo>
                      <a:lnTo>
                        <a:pt x="68" y="20"/>
                      </a:lnTo>
                      <a:lnTo>
                        <a:pt x="68" y="20"/>
                      </a:lnTo>
                      <a:lnTo>
                        <a:pt x="62" y="22"/>
                      </a:lnTo>
                      <a:lnTo>
                        <a:pt x="56" y="26"/>
                      </a:lnTo>
                      <a:lnTo>
                        <a:pt x="54" y="32"/>
                      </a:lnTo>
                      <a:lnTo>
                        <a:pt x="52" y="40"/>
                      </a:lnTo>
                      <a:lnTo>
                        <a:pt x="52" y="40"/>
                      </a:lnTo>
                      <a:lnTo>
                        <a:pt x="54" y="48"/>
                      </a:lnTo>
                      <a:lnTo>
                        <a:pt x="58" y="54"/>
                      </a:lnTo>
                      <a:lnTo>
                        <a:pt x="64" y="58"/>
                      </a:lnTo>
                      <a:lnTo>
                        <a:pt x="72" y="60"/>
                      </a:lnTo>
                      <a:lnTo>
                        <a:pt x="72" y="60"/>
                      </a:lnTo>
                      <a:lnTo>
                        <a:pt x="80" y="58"/>
                      </a:lnTo>
                      <a:lnTo>
                        <a:pt x="86" y="54"/>
                      </a:lnTo>
                      <a:lnTo>
                        <a:pt x="90" y="48"/>
                      </a:lnTo>
                      <a:lnTo>
                        <a:pt x="92" y="40"/>
                      </a:lnTo>
                      <a:lnTo>
                        <a:pt x="92" y="40"/>
                      </a:lnTo>
                      <a:lnTo>
                        <a:pt x="90" y="32"/>
                      </a:lnTo>
                      <a:lnTo>
                        <a:pt x="88" y="26"/>
                      </a:lnTo>
                      <a:lnTo>
                        <a:pt x="82" y="22"/>
                      </a:lnTo>
                      <a:lnTo>
                        <a:pt x="76" y="20"/>
                      </a:lnTo>
                      <a:lnTo>
                        <a:pt x="76" y="20"/>
                      </a:lnTo>
                      <a:lnTo>
                        <a:pt x="84" y="22"/>
                      </a:lnTo>
                      <a:lnTo>
                        <a:pt x="94" y="24"/>
                      </a:lnTo>
                      <a:lnTo>
                        <a:pt x="102" y="28"/>
                      </a:lnTo>
                      <a:lnTo>
                        <a:pt x="108" y="34"/>
                      </a:lnTo>
                      <a:lnTo>
                        <a:pt x="170" y="98"/>
                      </a:lnTo>
                      <a:lnTo>
                        <a:pt x="98" y="170"/>
                      </a:lnTo>
                      <a:close/>
                      <a:moveTo>
                        <a:pt x="262" y="262"/>
                      </a:moveTo>
                      <a:lnTo>
                        <a:pt x="262" y="262"/>
                      </a:lnTo>
                      <a:lnTo>
                        <a:pt x="254" y="270"/>
                      </a:lnTo>
                      <a:lnTo>
                        <a:pt x="246" y="274"/>
                      </a:lnTo>
                      <a:lnTo>
                        <a:pt x="236" y="278"/>
                      </a:lnTo>
                      <a:lnTo>
                        <a:pt x="224" y="278"/>
                      </a:lnTo>
                      <a:lnTo>
                        <a:pt x="224" y="278"/>
                      </a:lnTo>
                      <a:lnTo>
                        <a:pt x="224" y="278"/>
                      </a:lnTo>
                      <a:lnTo>
                        <a:pt x="224" y="278"/>
                      </a:lnTo>
                      <a:lnTo>
                        <a:pt x="214" y="278"/>
                      </a:lnTo>
                      <a:lnTo>
                        <a:pt x="204" y="274"/>
                      </a:lnTo>
                      <a:lnTo>
                        <a:pt x="194" y="270"/>
                      </a:lnTo>
                      <a:lnTo>
                        <a:pt x="186" y="262"/>
                      </a:lnTo>
                      <a:lnTo>
                        <a:pt x="186" y="262"/>
                      </a:lnTo>
                      <a:lnTo>
                        <a:pt x="184" y="260"/>
                      </a:lnTo>
                      <a:lnTo>
                        <a:pt x="184" y="256"/>
                      </a:lnTo>
                      <a:lnTo>
                        <a:pt x="184" y="252"/>
                      </a:lnTo>
                      <a:lnTo>
                        <a:pt x="186" y="248"/>
                      </a:lnTo>
                      <a:lnTo>
                        <a:pt x="186" y="248"/>
                      </a:lnTo>
                      <a:lnTo>
                        <a:pt x="190" y="246"/>
                      </a:lnTo>
                      <a:lnTo>
                        <a:pt x="194" y="246"/>
                      </a:lnTo>
                      <a:lnTo>
                        <a:pt x="198" y="246"/>
                      </a:lnTo>
                      <a:lnTo>
                        <a:pt x="200" y="248"/>
                      </a:lnTo>
                      <a:lnTo>
                        <a:pt x="200" y="248"/>
                      </a:lnTo>
                      <a:lnTo>
                        <a:pt x="206" y="252"/>
                      </a:lnTo>
                      <a:lnTo>
                        <a:pt x="212" y="256"/>
                      </a:lnTo>
                      <a:lnTo>
                        <a:pt x="218" y="258"/>
                      </a:lnTo>
                      <a:lnTo>
                        <a:pt x="224" y="258"/>
                      </a:lnTo>
                      <a:lnTo>
                        <a:pt x="224" y="258"/>
                      </a:lnTo>
                      <a:lnTo>
                        <a:pt x="224" y="258"/>
                      </a:lnTo>
                      <a:lnTo>
                        <a:pt x="232" y="258"/>
                      </a:lnTo>
                      <a:lnTo>
                        <a:pt x="238" y="256"/>
                      </a:lnTo>
                      <a:lnTo>
                        <a:pt x="244" y="252"/>
                      </a:lnTo>
                      <a:lnTo>
                        <a:pt x="248" y="248"/>
                      </a:lnTo>
                      <a:lnTo>
                        <a:pt x="248" y="248"/>
                      </a:lnTo>
                      <a:lnTo>
                        <a:pt x="252" y="246"/>
                      </a:lnTo>
                      <a:lnTo>
                        <a:pt x="256" y="246"/>
                      </a:lnTo>
                      <a:lnTo>
                        <a:pt x="260" y="246"/>
                      </a:lnTo>
                      <a:lnTo>
                        <a:pt x="262" y="248"/>
                      </a:lnTo>
                      <a:lnTo>
                        <a:pt x="262" y="248"/>
                      </a:lnTo>
                      <a:lnTo>
                        <a:pt x="264" y="252"/>
                      </a:lnTo>
                      <a:lnTo>
                        <a:pt x="266" y="256"/>
                      </a:lnTo>
                      <a:lnTo>
                        <a:pt x="264" y="260"/>
                      </a:lnTo>
                      <a:lnTo>
                        <a:pt x="262" y="262"/>
                      </a:lnTo>
                      <a:lnTo>
                        <a:pt x="262" y="262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CE6391E-3DC4-4497-8751-2396A066FD9C}"/>
                  </a:ext>
                </a:extLst>
              </p:cNvPr>
              <p:cNvGrpSpPr/>
              <p:nvPr/>
            </p:nvGrpSpPr>
            <p:grpSpPr>
              <a:xfrm>
                <a:off x="10716280" y="3731393"/>
                <a:ext cx="156960" cy="128647"/>
                <a:chOff x="2280990" y="2276326"/>
                <a:chExt cx="612000" cy="612000"/>
              </a:xfrm>
            </p:grpSpPr>
            <p:sp>
              <p:nvSpPr>
                <p:cNvPr id="70" name="Oval 69">
                  <a:extLst>
                    <a:ext uri="{FF2B5EF4-FFF2-40B4-BE49-F238E27FC236}">
                      <a16:creationId xmlns:a16="http://schemas.microsoft.com/office/drawing/2014/main" id="{950A672F-A1CC-4F43-B207-3821E32C7D1D}"/>
                    </a:ext>
                  </a:extLst>
                </p:cNvPr>
                <p:cNvSpPr/>
                <p:nvPr/>
              </p:nvSpPr>
              <p:spPr bwMode="ltGray">
                <a:xfrm>
                  <a:off x="2280990" y="2276326"/>
                  <a:ext cx="612000" cy="612000"/>
                </a:xfrm>
                <a:prstGeom prst="ellipse">
                  <a:avLst/>
                </a:prstGeom>
                <a:solidFill>
                  <a:srgbClr val="ABA591"/>
                </a:solidFill>
                <a:ln w="3175">
                  <a:solidFill>
                    <a:srgbClr val="ABA59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" name="Freeform 4805">
                  <a:extLst>
                    <a:ext uri="{FF2B5EF4-FFF2-40B4-BE49-F238E27FC236}">
                      <a16:creationId xmlns:a16="http://schemas.microsoft.com/office/drawing/2014/main" id="{4FDA1009-828F-4B3E-AA12-59700D00560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368809" y="2381660"/>
                  <a:ext cx="436362" cy="330949"/>
                </a:xfrm>
                <a:custGeom>
                  <a:avLst/>
                  <a:gdLst>
                    <a:gd name="T0" fmla="*/ 324 w 356"/>
                    <a:gd name="T1" fmla="*/ 64 h 270"/>
                    <a:gd name="T2" fmla="*/ 280 w 356"/>
                    <a:gd name="T3" fmla="*/ 10 h 270"/>
                    <a:gd name="T4" fmla="*/ 234 w 356"/>
                    <a:gd name="T5" fmla="*/ 2 h 270"/>
                    <a:gd name="T6" fmla="*/ 92 w 356"/>
                    <a:gd name="T7" fmla="*/ 4 h 270"/>
                    <a:gd name="T8" fmla="*/ 64 w 356"/>
                    <a:gd name="T9" fmla="*/ 18 h 270"/>
                    <a:gd name="T10" fmla="*/ 32 w 356"/>
                    <a:gd name="T11" fmla="*/ 64 h 270"/>
                    <a:gd name="T12" fmla="*/ 8 w 356"/>
                    <a:gd name="T13" fmla="*/ 108 h 270"/>
                    <a:gd name="T14" fmla="*/ 0 w 356"/>
                    <a:gd name="T15" fmla="*/ 168 h 270"/>
                    <a:gd name="T16" fmla="*/ 6 w 356"/>
                    <a:gd name="T17" fmla="*/ 224 h 270"/>
                    <a:gd name="T18" fmla="*/ 12 w 356"/>
                    <a:gd name="T19" fmla="*/ 232 h 270"/>
                    <a:gd name="T20" fmla="*/ 22 w 356"/>
                    <a:gd name="T21" fmla="*/ 232 h 270"/>
                    <a:gd name="T22" fmla="*/ 26 w 356"/>
                    <a:gd name="T23" fmla="*/ 266 h 270"/>
                    <a:gd name="T24" fmla="*/ 60 w 356"/>
                    <a:gd name="T25" fmla="*/ 270 h 270"/>
                    <a:gd name="T26" fmla="*/ 72 w 356"/>
                    <a:gd name="T27" fmla="*/ 258 h 270"/>
                    <a:gd name="T28" fmla="*/ 284 w 356"/>
                    <a:gd name="T29" fmla="*/ 258 h 270"/>
                    <a:gd name="T30" fmla="*/ 292 w 356"/>
                    <a:gd name="T31" fmla="*/ 268 h 270"/>
                    <a:gd name="T32" fmla="*/ 326 w 356"/>
                    <a:gd name="T33" fmla="*/ 268 h 270"/>
                    <a:gd name="T34" fmla="*/ 334 w 356"/>
                    <a:gd name="T35" fmla="*/ 232 h 270"/>
                    <a:gd name="T36" fmla="*/ 340 w 356"/>
                    <a:gd name="T37" fmla="*/ 232 h 270"/>
                    <a:gd name="T38" fmla="*/ 350 w 356"/>
                    <a:gd name="T39" fmla="*/ 224 h 270"/>
                    <a:gd name="T40" fmla="*/ 356 w 356"/>
                    <a:gd name="T41" fmla="*/ 168 h 270"/>
                    <a:gd name="T42" fmla="*/ 352 w 356"/>
                    <a:gd name="T43" fmla="*/ 120 h 270"/>
                    <a:gd name="T44" fmla="*/ 330 w 356"/>
                    <a:gd name="T45" fmla="*/ 72 h 270"/>
                    <a:gd name="T46" fmla="*/ 138 w 356"/>
                    <a:gd name="T47" fmla="*/ 20 h 270"/>
                    <a:gd name="T48" fmla="*/ 246 w 356"/>
                    <a:gd name="T49" fmla="*/ 22 h 270"/>
                    <a:gd name="T50" fmla="*/ 296 w 356"/>
                    <a:gd name="T51" fmla="*/ 62 h 270"/>
                    <a:gd name="T52" fmla="*/ 298 w 356"/>
                    <a:gd name="T53" fmla="*/ 76 h 270"/>
                    <a:gd name="T54" fmla="*/ 284 w 356"/>
                    <a:gd name="T55" fmla="*/ 80 h 270"/>
                    <a:gd name="T56" fmla="*/ 72 w 356"/>
                    <a:gd name="T57" fmla="*/ 80 h 270"/>
                    <a:gd name="T58" fmla="*/ 56 w 356"/>
                    <a:gd name="T59" fmla="*/ 74 h 270"/>
                    <a:gd name="T60" fmla="*/ 70 w 356"/>
                    <a:gd name="T61" fmla="*/ 46 h 270"/>
                    <a:gd name="T62" fmla="*/ 262 w 356"/>
                    <a:gd name="T63" fmla="*/ 136 h 270"/>
                    <a:gd name="T64" fmla="*/ 244 w 356"/>
                    <a:gd name="T65" fmla="*/ 154 h 270"/>
                    <a:gd name="T66" fmla="*/ 100 w 356"/>
                    <a:gd name="T67" fmla="*/ 148 h 270"/>
                    <a:gd name="T68" fmla="*/ 46 w 356"/>
                    <a:gd name="T69" fmla="*/ 152 h 270"/>
                    <a:gd name="T70" fmla="*/ 22 w 356"/>
                    <a:gd name="T71" fmla="*/ 136 h 270"/>
                    <a:gd name="T72" fmla="*/ 28 w 356"/>
                    <a:gd name="T73" fmla="*/ 106 h 270"/>
                    <a:gd name="T74" fmla="*/ 56 w 356"/>
                    <a:gd name="T75" fmla="*/ 102 h 270"/>
                    <a:gd name="T76" fmla="*/ 72 w 356"/>
                    <a:gd name="T77" fmla="*/ 126 h 270"/>
                    <a:gd name="T78" fmla="*/ 46 w 356"/>
                    <a:gd name="T79" fmla="*/ 152 h 270"/>
                    <a:gd name="T80" fmla="*/ 156 w 356"/>
                    <a:gd name="T81" fmla="*/ 212 h 270"/>
                    <a:gd name="T82" fmla="*/ 70 w 356"/>
                    <a:gd name="T83" fmla="*/ 198 h 270"/>
                    <a:gd name="T84" fmla="*/ 152 w 356"/>
                    <a:gd name="T85" fmla="*/ 184 h 270"/>
                    <a:gd name="T86" fmla="*/ 274 w 356"/>
                    <a:gd name="T87" fmla="*/ 186 h 270"/>
                    <a:gd name="T88" fmla="*/ 288 w 356"/>
                    <a:gd name="T89" fmla="*/ 212 h 270"/>
                    <a:gd name="T90" fmla="*/ 292 w 356"/>
                    <a:gd name="T91" fmla="*/ 144 h 270"/>
                    <a:gd name="T92" fmla="*/ 286 w 356"/>
                    <a:gd name="T93" fmla="*/ 116 h 270"/>
                    <a:gd name="T94" fmla="*/ 310 w 356"/>
                    <a:gd name="T95" fmla="*/ 100 h 270"/>
                    <a:gd name="T96" fmla="*/ 336 w 356"/>
                    <a:gd name="T97" fmla="*/ 126 h 270"/>
                    <a:gd name="T98" fmla="*/ 320 w 356"/>
                    <a:gd name="T99" fmla="*/ 150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56" h="270">
                      <a:moveTo>
                        <a:pt x="330" y="72"/>
                      </a:moveTo>
                      <a:lnTo>
                        <a:pt x="330" y="72"/>
                      </a:lnTo>
                      <a:lnTo>
                        <a:pt x="324" y="64"/>
                      </a:lnTo>
                      <a:lnTo>
                        <a:pt x="324" y="64"/>
                      </a:lnTo>
                      <a:lnTo>
                        <a:pt x="314" y="46"/>
                      </a:lnTo>
                      <a:lnTo>
                        <a:pt x="302" y="32"/>
                      </a:lnTo>
                      <a:lnTo>
                        <a:pt x="292" y="18"/>
                      </a:lnTo>
                      <a:lnTo>
                        <a:pt x="280" y="10"/>
                      </a:lnTo>
                      <a:lnTo>
                        <a:pt x="280" y="10"/>
                      </a:lnTo>
                      <a:lnTo>
                        <a:pt x="274" y="6"/>
                      </a:lnTo>
                      <a:lnTo>
                        <a:pt x="264" y="4"/>
                      </a:lnTo>
                      <a:lnTo>
                        <a:pt x="234" y="2"/>
                      </a:lnTo>
                      <a:lnTo>
                        <a:pt x="178" y="0"/>
                      </a:lnTo>
                      <a:lnTo>
                        <a:pt x="178" y="0"/>
                      </a:lnTo>
                      <a:lnTo>
                        <a:pt x="122" y="2"/>
                      </a:lnTo>
                      <a:lnTo>
                        <a:pt x="92" y="4"/>
                      </a:lnTo>
                      <a:lnTo>
                        <a:pt x="82" y="6"/>
                      </a:lnTo>
                      <a:lnTo>
                        <a:pt x="76" y="10"/>
                      </a:lnTo>
                      <a:lnTo>
                        <a:pt x="76" y="10"/>
                      </a:lnTo>
                      <a:lnTo>
                        <a:pt x="64" y="18"/>
                      </a:lnTo>
                      <a:lnTo>
                        <a:pt x="54" y="32"/>
                      </a:lnTo>
                      <a:lnTo>
                        <a:pt x="42" y="46"/>
                      </a:lnTo>
                      <a:lnTo>
                        <a:pt x="32" y="64"/>
                      </a:lnTo>
                      <a:lnTo>
                        <a:pt x="32" y="64"/>
                      </a:lnTo>
                      <a:lnTo>
                        <a:pt x="26" y="72"/>
                      </a:lnTo>
                      <a:lnTo>
                        <a:pt x="26" y="72"/>
                      </a:lnTo>
                      <a:lnTo>
                        <a:pt x="16" y="88"/>
                      </a:lnTo>
                      <a:lnTo>
                        <a:pt x="8" y="108"/>
                      </a:lnTo>
                      <a:lnTo>
                        <a:pt x="4" y="120"/>
                      </a:lnTo>
                      <a:lnTo>
                        <a:pt x="2" y="134"/>
                      </a:lnTo>
                      <a:lnTo>
                        <a:pt x="0" y="150"/>
                      </a:lnTo>
                      <a:lnTo>
                        <a:pt x="0" y="168"/>
                      </a:lnTo>
                      <a:lnTo>
                        <a:pt x="0" y="168"/>
                      </a:lnTo>
                      <a:lnTo>
                        <a:pt x="0" y="192"/>
                      </a:lnTo>
                      <a:lnTo>
                        <a:pt x="2" y="210"/>
                      </a:lnTo>
                      <a:lnTo>
                        <a:pt x="6" y="224"/>
                      </a:lnTo>
                      <a:lnTo>
                        <a:pt x="6" y="224"/>
                      </a:lnTo>
                      <a:lnTo>
                        <a:pt x="6" y="228"/>
                      </a:lnTo>
                      <a:lnTo>
                        <a:pt x="10" y="230"/>
                      </a:lnTo>
                      <a:lnTo>
                        <a:pt x="12" y="232"/>
                      </a:lnTo>
                      <a:lnTo>
                        <a:pt x="16" y="232"/>
                      </a:lnTo>
                      <a:lnTo>
                        <a:pt x="16" y="232"/>
                      </a:lnTo>
                      <a:lnTo>
                        <a:pt x="16" y="232"/>
                      </a:lnTo>
                      <a:lnTo>
                        <a:pt x="22" y="232"/>
                      </a:lnTo>
                      <a:lnTo>
                        <a:pt x="22" y="258"/>
                      </a:lnTo>
                      <a:lnTo>
                        <a:pt x="22" y="258"/>
                      </a:lnTo>
                      <a:lnTo>
                        <a:pt x="24" y="262"/>
                      </a:lnTo>
                      <a:lnTo>
                        <a:pt x="26" y="266"/>
                      </a:lnTo>
                      <a:lnTo>
                        <a:pt x="30" y="268"/>
                      </a:lnTo>
                      <a:lnTo>
                        <a:pt x="34" y="270"/>
                      </a:lnTo>
                      <a:lnTo>
                        <a:pt x="60" y="270"/>
                      </a:lnTo>
                      <a:lnTo>
                        <a:pt x="60" y="270"/>
                      </a:lnTo>
                      <a:lnTo>
                        <a:pt x="64" y="268"/>
                      </a:lnTo>
                      <a:lnTo>
                        <a:pt x="68" y="266"/>
                      </a:lnTo>
                      <a:lnTo>
                        <a:pt x="70" y="262"/>
                      </a:lnTo>
                      <a:lnTo>
                        <a:pt x="72" y="258"/>
                      </a:lnTo>
                      <a:lnTo>
                        <a:pt x="72" y="232"/>
                      </a:lnTo>
                      <a:lnTo>
                        <a:pt x="178" y="232"/>
                      </a:lnTo>
                      <a:lnTo>
                        <a:pt x="284" y="232"/>
                      </a:lnTo>
                      <a:lnTo>
                        <a:pt x="284" y="258"/>
                      </a:lnTo>
                      <a:lnTo>
                        <a:pt x="284" y="258"/>
                      </a:lnTo>
                      <a:lnTo>
                        <a:pt x="286" y="262"/>
                      </a:lnTo>
                      <a:lnTo>
                        <a:pt x="288" y="266"/>
                      </a:lnTo>
                      <a:lnTo>
                        <a:pt x="292" y="268"/>
                      </a:lnTo>
                      <a:lnTo>
                        <a:pt x="296" y="270"/>
                      </a:lnTo>
                      <a:lnTo>
                        <a:pt x="322" y="270"/>
                      </a:lnTo>
                      <a:lnTo>
                        <a:pt x="322" y="270"/>
                      </a:lnTo>
                      <a:lnTo>
                        <a:pt x="326" y="268"/>
                      </a:lnTo>
                      <a:lnTo>
                        <a:pt x="330" y="266"/>
                      </a:lnTo>
                      <a:lnTo>
                        <a:pt x="332" y="262"/>
                      </a:lnTo>
                      <a:lnTo>
                        <a:pt x="334" y="258"/>
                      </a:lnTo>
                      <a:lnTo>
                        <a:pt x="334" y="232"/>
                      </a:lnTo>
                      <a:lnTo>
                        <a:pt x="340" y="232"/>
                      </a:lnTo>
                      <a:lnTo>
                        <a:pt x="340" y="232"/>
                      </a:lnTo>
                      <a:lnTo>
                        <a:pt x="340" y="232"/>
                      </a:lnTo>
                      <a:lnTo>
                        <a:pt x="340" y="232"/>
                      </a:lnTo>
                      <a:lnTo>
                        <a:pt x="344" y="232"/>
                      </a:lnTo>
                      <a:lnTo>
                        <a:pt x="346" y="230"/>
                      </a:lnTo>
                      <a:lnTo>
                        <a:pt x="350" y="228"/>
                      </a:lnTo>
                      <a:lnTo>
                        <a:pt x="350" y="224"/>
                      </a:lnTo>
                      <a:lnTo>
                        <a:pt x="350" y="224"/>
                      </a:lnTo>
                      <a:lnTo>
                        <a:pt x="354" y="210"/>
                      </a:lnTo>
                      <a:lnTo>
                        <a:pt x="356" y="192"/>
                      </a:lnTo>
                      <a:lnTo>
                        <a:pt x="356" y="168"/>
                      </a:lnTo>
                      <a:lnTo>
                        <a:pt x="356" y="168"/>
                      </a:lnTo>
                      <a:lnTo>
                        <a:pt x="356" y="150"/>
                      </a:lnTo>
                      <a:lnTo>
                        <a:pt x="354" y="134"/>
                      </a:lnTo>
                      <a:lnTo>
                        <a:pt x="352" y="120"/>
                      </a:lnTo>
                      <a:lnTo>
                        <a:pt x="348" y="108"/>
                      </a:lnTo>
                      <a:lnTo>
                        <a:pt x="340" y="88"/>
                      </a:lnTo>
                      <a:lnTo>
                        <a:pt x="330" y="72"/>
                      </a:lnTo>
                      <a:lnTo>
                        <a:pt x="330" y="72"/>
                      </a:lnTo>
                      <a:close/>
                      <a:moveTo>
                        <a:pt x="88" y="26"/>
                      </a:moveTo>
                      <a:lnTo>
                        <a:pt x="88" y="26"/>
                      </a:lnTo>
                      <a:lnTo>
                        <a:pt x="110" y="22"/>
                      </a:lnTo>
                      <a:lnTo>
                        <a:pt x="138" y="20"/>
                      </a:lnTo>
                      <a:lnTo>
                        <a:pt x="178" y="20"/>
                      </a:lnTo>
                      <a:lnTo>
                        <a:pt x="178" y="20"/>
                      </a:lnTo>
                      <a:lnTo>
                        <a:pt x="218" y="20"/>
                      </a:lnTo>
                      <a:lnTo>
                        <a:pt x="246" y="22"/>
                      </a:lnTo>
                      <a:lnTo>
                        <a:pt x="268" y="26"/>
                      </a:lnTo>
                      <a:lnTo>
                        <a:pt x="268" y="26"/>
                      </a:lnTo>
                      <a:lnTo>
                        <a:pt x="286" y="46"/>
                      </a:lnTo>
                      <a:lnTo>
                        <a:pt x="296" y="62"/>
                      </a:lnTo>
                      <a:lnTo>
                        <a:pt x="298" y="70"/>
                      </a:lnTo>
                      <a:lnTo>
                        <a:pt x="300" y="74"/>
                      </a:lnTo>
                      <a:lnTo>
                        <a:pt x="300" y="74"/>
                      </a:lnTo>
                      <a:lnTo>
                        <a:pt x="298" y="76"/>
                      </a:lnTo>
                      <a:lnTo>
                        <a:pt x="296" y="78"/>
                      </a:lnTo>
                      <a:lnTo>
                        <a:pt x="292" y="80"/>
                      </a:lnTo>
                      <a:lnTo>
                        <a:pt x="284" y="80"/>
                      </a:lnTo>
                      <a:lnTo>
                        <a:pt x="284" y="80"/>
                      </a:lnTo>
                      <a:lnTo>
                        <a:pt x="178" y="80"/>
                      </a:lnTo>
                      <a:lnTo>
                        <a:pt x="178" y="80"/>
                      </a:lnTo>
                      <a:lnTo>
                        <a:pt x="72" y="80"/>
                      </a:lnTo>
                      <a:lnTo>
                        <a:pt x="72" y="80"/>
                      </a:lnTo>
                      <a:lnTo>
                        <a:pt x="64" y="80"/>
                      </a:lnTo>
                      <a:lnTo>
                        <a:pt x="60" y="78"/>
                      </a:lnTo>
                      <a:lnTo>
                        <a:pt x="58" y="76"/>
                      </a:lnTo>
                      <a:lnTo>
                        <a:pt x="56" y="74"/>
                      </a:lnTo>
                      <a:lnTo>
                        <a:pt x="56" y="74"/>
                      </a:lnTo>
                      <a:lnTo>
                        <a:pt x="58" y="70"/>
                      </a:lnTo>
                      <a:lnTo>
                        <a:pt x="60" y="62"/>
                      </a:lnTo>
                      <a:lnTo>
                        <a:pt x="70" y="46"/>
                      </a:lnTo>
                      <a:lnTo>
                        <a:pt x="88" y="26"/>
                      </a:lnTo>
                      <a:lnTo>
                        <a:pt x="88" y="26"/>
                      </a:lnTo>
                      <a:close/>
                      <a:moveTo>
                        <a:pt x="262" y="136"/>
                      </a:moveTo>
                      <a:lnTo>
                        <a:pt x="262" y="136"/>
                      </a:lnTo>
                      <a:lnTo>
                        <a:pt x="260" y="144"/>
                      </a:lnTo>
                      <a:lnTo>
                        <a:pt x="256" y="148"/>
                      </a:lnTo>
                      <a:lnTo>
                        <a:pt x="252" y="152"/>
                      </a:lnTo>
                      <a:lnTo>
                        <a:pt x="244" y="154"/>
                      </a:lnTo>
                      <a:lnTo>
                        <a:pt x="112" y="154"/>
                      </a:lnTo>
                      <a:lnTo>
                        <a:pt x="112" y="154"/>
                      </a:lnTo>
                      <a:lnTo>
                        <a:pt x="104" y="152"/>
                      </a:lnTo>
                      <a:lnTo>
                        <a:pt x="100" y="148"/>
                      </a:lnTo>
                      <a:lnTo>
                        <a:pt x="96" y="144"/>
                      </a:lnTo>
                      <a:lnTo>
                        <a:pt x="94" y="136"/>
                      </a:lnTo>
                      <a:lnTo>
                        <a:pt x="262" y="136"/>
                      </a:lnTo>
                      <a:close/>
                      <a:moveTo>
                        <a:pt x="46" y="152"/>
                      </a:moveTo>
                      <a:lnTo>
                        <a:pt x="46" y="152"/>
                      </a:lnTo>
                      <a:lnTo>
                        <a:pt x="36" y="150"/>
                      </a:lnTo>
                      <a:lnTo>
                        <a:pt x="28" y="144"/>
                      </a:lnTo>
                      <a:lnTo>
                        <a:pt x="22" y="136"/>
                      </a:lnTo>
                      <a:lnTo>
                        <a:pt x="20" y="126"/>
                      </a:lnTo>
                      <a:lnTo>
                        <a:pt x="20" y="126"/>
                      </a:lnTo>
                      <a:lnTo>
                        <a:pt x="22" y="116"/>
                      </a:lnTo>
                      <a:lnTo>
                        <a:pt x="28" y="106"/>
                      </a:lnTo>
                      <a:lnTo>
                        <a:pt x="36" y="102"/>
                      </a:lnTo>
                      <a:lnTo>
                        <a:pt x="46" y="100"/>
                      </a:lnTo>
                      <a:lnTo>
                        <a:pt x="46" y="100"/>
                      </a:lnTo>
                      <a:lnTo>
                        <a:pt x="56" y="102"/>
                      </a:lnTo>
                      <a:lnTo>
                        <a:pt x="64" y="106"/>
                      </a:lnTo>
                      <a:lnTo>
                        <a:pt x="70" y="116"/>
                      </a:lnTo>
                      <a:lnTo>
                        <a:pt x="72" y="126"/>
                      </a:lnTo>
                      <a:lnTo>
                        <a:pt x="72" y="126"/>
                      </a:lnTo>
                      <a:lnTo>
                        <a:pt x="70" y="136"/>
                      </a:lnTo>
                      <a:lnTo>
                        <a:pt x="64" y="144"/>
                      </a:lnTo>
                      <a:lnTo>
                        <a:pt x="56" y="150"/>
                      </a:lnTo>
                      <a:lnTo>
                        <a:pt x="46" y="152"/>
                      </a:lnTo>
                      <a:lnTo>
                        <a:pt x="46" y="152"/>
                      </a:lnTo>
                      <a:close/>
                      <a:moveTo>
                        <a:pt x="288" y="212"/>
                      </a:moveTo>
                      <a:lnTo>
                        <a:pt x="204" y="212"/>
                      </a:lnTo>
                      <a:lnTo>
                        <a:pt x="156" y="212"/>
                      </a:lnTo>
                      <a:lnTo>
                        <a:pt x="68" y="212"/>
                      </a:lnTo>
                      <a:lnTo>
                        <a:pt x="68" y="206"/>
                      </a:lnTo>
                      <a:lnTo>
                        <a:pt x="68" y="206"/>
                      </a:lnTo>
                      <a:lnTo>
                        <a:pt x="70" y="198"/>
                      </a:lnTo>
                      <a:lnTo>
                        <a:pt x="76" y="190"/>
                      </a:lnTo>
                      <a:lnTo>
                        <a:pt x="82" y="186"/>
                      </a:lnTo>
                      <a:lnTo>
                        <a:pt x="90" y="184"/>
                      </a:lnTo>
                      <a:lnTo>
                        <a:pt x="152" y="184"/>
                      </a:lnTo>
                      <a:lnTo>
                        <a:pt x="208" y="184"/>
                      </a:lnTo>
                      <a:lnTo>
                        <a:pt x="266" y="184"/>
                      </a:lnTo>
                      <a:lnTo>
                        <a:pt x="266" y="184"/>
                      </a:lnTo>
                      <a:lnTo>
                        <a:pt x="274" y="186"/>
                      </a:lnTo>
                      <a:lnTo>
                        <a:pt x="280" y="190"/>
                      </a:lnTo>
                      <a:lnTo>
                        <a:pt x="286" y="198"/>
                      </a:lnTo>
                      <a:lnTo>
                        <a:pt x="288" y="206"/>
                      </a:lnTo>
                      <a:lnTo>
                        <a:pt x="288" y="212"/>
                      </a:lnTo>
                      <a:close/>
                      <a:moveTo>
                        <a:pt x="310" y="152"/>
                      </a:moveTo>
                      <a:lnTo>
                        <a:pt x="310" y="152"/>
                      </a:lnTo>
                      <a:lnTo>
                        <a:pt x="300" y="150"/>
                      </a:lnTo>
                      <a:lnTo>
                        <a:pt x="292" y="144"/>
                      </a:lnTo>
                      <a:lnTo>
                        <a:pt x="286" y="136"/>
                      </a:lnTo>
                      <a:lnTo>
                        <a:pt x="284" y="126"/>
                      </a:lnTo>
                      <a:lnTo>
                        <a:pt x="284" y="126"/>
                      </a:lnTo>
                      <a:lnTo>
                        <a:pt x="286" y="116"/>
                      </a:lnTo>
                      <a:lnTo>
                        <a:pt x="292" y="106"/>
                      </a:lnTo>
                      <a:lnTo>
                        <a:pt x="300" y="102"/>
                      </a:lnTo>
                      <a:lnTo>
                        <a:pt x="310" y="100"/>
                      </a:lnTo>
                      <a:lnTo>
                        <a:pt x="310" y="100"/>
                      </a:lnTo>
                      <a:lnTo>
                        <a:pt x="320" y="102"/>
                      </a:lnTo>
                      <a:lnTo>
                        <a:pt x="328" y="106"/>
                      </a:lnTo>
                      <a:lnTo>
                        <a:pt x="334" y="116"/>
                      </a:lnTo>
                      <a:lnTo>
                        <a:pt x="336" y="126"/>
                      </a:lnTo>
                      <a:lnTo>
                        <a:pt x="336" y="126"/>
                      </a:lnTo>
                      <a:lnTo>
                        <a:pt x="334" y="136"/>
                      </a:lnTo>
                      <a:lnTo>
                        <a:pt x="328" y="144"/>
                      </a:lnTo>
                      <a:lnTo>
                        <a:pt x="320" y="150"/>
                      </a:lnTo>
                      <a:lnTo>
                        <a:pt x="310" y="152"/>
                      </a:lnTo>
                      <a:lnTo>
                        <a:pt x="310" y="15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6D8E31F9-14E0-4B3C-9ECD-F2E3A9E4A211}"/>
                  </a:ext>
                </a:extLst>
              </p:cNvPr>
              <p:cNvGrpSpPr/>
              <p:nvPr/>
            </p:nvGrpSpPr>
            <p:grpSpPr>
              <a:xfrm>
                <a:off x="10720883" y="3990458"/>
                <a:ext cx="166539" cy="128810"/>
                <a:chOff x="4220847" y="2258092"/>
                <a:chExt cx="649345" cy="612775"/>
              </a:xfrm>
            </p:grpSpPr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0601F0E1-AA1A-482C-8166-BA46A759E1A9}"/>
                    </a:ext>
                  </a:extLst>
                </p:cNvPr>
                <p:cNvSpPr/>
                <p:nvPr/>
              </p:nvSpPr>
              <p:spPr bwMode="ltGray">
                <a:xfrm>
                  <a:off x="4220847" y="2258092"/>
                  <a:ext cx="612775" cy="612775"/>
                </a:xfrm>
                <a:prstGeom prst="ellipse">
                  <a:avLst/>
                </a:prstGeom>
                <a:solidFill>
                  <a:srgbClr val="933401"/>
                </a:solidFill>
                <a:ln w="38100">
                  <a:solidFill>
                    <a:srgbClr val="93340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3303D542-A205-4AB7-B4A5-8B7E7C54EE1B}"/>
                    </a:ext>
                  </a:extLst>
                </p:cNvPr>
                <p:cNvGrpSpPr/>
                <p:nvPr/>
              </p:nvGrpSpPr>
              <p:grpSpPr>
                <a:xfrm>
                  <a:off x="4290203" y="2306352"/>
                  <a:ext cx="579989" cy="527458"/>
                  <a:chOff x="6101608" y="239712"/>
                  <a:chExt cx="1597025" cy="1452385"/>
                </a:xfrm>
                <a:solidFill>
                  <a:schemeClr val="bg2"/>
                </a:solidFill>
              </p:grpSpPr>
              <p:sp>
                <p:nvSpPr>
                  <p:cNvPr id="66" name="Freeform 7400">
                    <a:extLst>
                      <a:ext uri="{FF2B5EF4-FFF2-40B4-BE49-F238E27FC236}">
                        <a16:creationId xmlns:a16="http://schemas.microsoft.com/office/drawing/2014/main" id="{EBF1B7BD-71CF-4594-A452-1D2FA97977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95283" y="239712"/>
                    <a:ext cx="536575" cy="333375"/>
                  </a:xfrm>
                  <a:custGeom>
                    <a:avLst/>
                    <a:gdLst>
                      <a:gd name="T0" fmla="*/ 286 w 338"/>
                      <a:gd name="T1" fmla="*/ 8 h 210"/>
                      <a:gd name="T2" fmla="*/ 274 w 338"/>
                      <a:gd name="T3" fmla="*/ 6 h 210"/>
                      <a:gd name="T4" fmla="*/ 248 w 338"/>
                      <a:gd name="T5" fmla="*/ 0 h 210"/>
                      <a:gd name="T6" fmla="*/ 240 w 338"/>
                      <a:gd name="T7" fmla="*/ 6 h 210"/>
                      <a:gd name="T8" fmla="*/ 228 w 338"/>
                      <a:gd name="T9" fmla="*/ 10 h 210"/>
                      <a:gd name="T10" fmla="*/ 200 w 338"/>
                      <a:gd name="T11" fmla="*/ 8 h 210"/>
                      <a:gd name="T12" fmla="*/ 190 w 338"/>
                      <a:gd name="T13" fmla="*/ 16 h 210"/>
                      <a:gd name="T14" fmla="*/ 180 w 338"/>
                      <a:gd name="T15" fmla="*/ 42 h 210"/>
                      <a:gd name="T16" fmla="*/ 182 w 338"/>
                      <a:gd name="T17" fmla="*/ 50 h 210"/>
                      <a:gd name="T18" fmla="*/ 162 w 338"/>
                      <a:gd name="T19" fmla="*/ 58 h 210"/>
                      <a:gd name="T20" fmla="*/ 156 w 338"/>
                      <a:gd name="T21" fmla="*/ 46 h 210"/>
                      <a:gd name="T22" fmla="*/ 130 w 338"/>
                      <a:gd name="T23" fmla="*/ 38 h 210"/>
                      <a:gd name="T24" fmla="*/ 118 w 338"/>
                      <a:gd name="T25" fmla="*/ 44 h 210"/>
                      <a:gd name="T26" fmla="*/ 110 w 338"/>
                      <a:gd name="T27" fmla="*/ 72 h 210"/>
                      <a:gd name="T28" fmla="*/ 86 w 338"/>
                      <a:gd name="T29" fmla="*/ 72 h 210"/>
                      <a:gd name="T30" fmla="*/ 70 w 338"/>
                      <a:gd name="T31" fmla="*/ 84 h 210"/>
                      <a:gd name="T32" fmla="*/ 56 w 338"/>
                      <a:gd name="T33" fmla="*/ 84 h 210"/>
                      <a:gd name="T34" fmla="*/ 46 w 338"/>
                      <a:gd name="T35" fmla="*/ 92 h 210"/>
                      <a:gd name="T36" fmla="*/ 38 w 338"/>
                      <a:gd name="T37" fmla="*/ 130 h 210"/>
                      <a:gd name="T38" fmla="*/ 26 w 338"/>
                      <a:gd name="T39" fmla="*/ 132 h 210"/>
                      <a:gd name="T40" fmla="*/ 0 w 338"/>
                      <a:gd name="T41" fmla="*/ 158 h 210"/>
                      <a:gd name="T42" fmla="*/ 2 w 338"/>
                      <a:gd name="T43" fmla="*/ 168 h 210"/>
                      <a:gd name="T44" fmla="*/ 18 w 338"/>
                      <a:gd name="T45" fmla="*/ 178 h 210"/>
                      <a:gd name="T46" fmla="*/ 12 w 338"/>
                      <a:gd name="T47" fmla="*/ 188 h 210"/>
                      <a:gd name="T48" fmla="*/ 14 w 338"/>
                      <a:gd name="T49" fmla="*/ 198 h 210"/>
                      <a:gd name="T50" fmla="*/ 28 w 338"/>
                      <a:gd name="T51" fmla="*/ 210 h 210"/>
                      <a:gd name="T52" fmla="*/ 50 w 338"/>
                      <a:gd name="T53" fmla="*/ 208 h 210"/>
                      <a:gd name="T54" fmla="*/ 70 w 338"/>
                      <a:gd name="T55" fmla="*/ 184 h 210"/>
                      <a:gd name="T56" fmla="*/ 68 w 338"/>
                      <a:gd name="T57" fmla="*/ 176 h 210"/>
                      <a:gd name="T58" fmla="*/ 72 w 338"/>
                      <a:gd name="T59" fmla="*/ 168 h 210"/>
                      <a:gd name="T60" fmla="*/ 74 w 338"/>
                      <a:gd name="T61" fmla="*/ 166 h 210"/>
                      <a:gd name="T62" fmla="*/ 88 w 338"/>
                      <a:gd name="T63" fmla="*/ 170 h 210"/>
                      <a:gd name="T64" fmla="*/ 100 w 338"/>
                      <a:gd name="T65" fmla="*/ 166 h 210"/>
                      <a:gd name="T66" fmla="*/ 116 w 338"/>
                      <a:gd name="T67" fmla="*/ 160 h 210"/>
                      <a:gd name="T68" fmla="*/ 124 w 338"/>
                      <a:gd name="T69" fmla="*/ 162 h 210"/>
                      <a:gd name="T70" fmla="*/ 138 w 338"/>
                      <a:gd name="T71" fmla="*/ 152 h 210"/>
                      <a:gd name="T72" fmla="*/ 150 w 338"/>
                      <a:gd name="T73" fmla="*/ 146 h 210"/>
                      <a:gd name="T74" fmla="*/ 190 w 338"/>
                      <a:gd name="T75" fmla="*/ 142 h 210"/>
                      <a:gd name="T76" fmla="*/ 214 w 338"/>
                      <a:gd name="T77" fmla="*/ 126 h 210"/>
                      <a:gd name="T78" fmla="*/ 226 w 338"/>
                      <a:gd name="T79" fmla="*/ 108 h 210"/>
                      <a:gd name="T80" fmla="*/ 248 w 338"/>
                      <a:gd name="T81" fmla="*/ 104 h 210"/>
                      <a:gd name="T82" fmla="*/ 268 w 338"/>
                      <a:gd name="T83" fmla="*/ 90 h 210"/>
                      <a:gd name="T84" fmla="*/ 276 w 338"/>
                      <a:gd name="T85" fmla="*/ 86 h 210"/>
                      <a:gd name="T86" fmla="*/ 290 w 338"/>
                      <a:gd name="T87" fmla="*/ 86 h 210"/>
                      <a:gd name="T88" fmla="*/ 298 w 338"/>
                      <a:gd name="T89" fmla="*/ 78 h 210"/>
                      <a:gd name="T90" fmla="*/ 300 w 338"/>
                      <a:gd name="T91" fmla="*/ 64 h 210"/>
                      <a:gd name="T92" fmla="*/ 292 w 338"/>
                      <a:gd name="T93" fmla="*/ 56 h 210"/>
                      <a:gd name="T94" fmla="*/ 314 w 338"/>
                      <a:gd name="T95" fmla="*/ 54 h 210"/>
                      <a:gd name="T96" fmla="*/ 338 w 338"/>
                      <a:gd name="T97" fmla="*/ 26 h 210"/>
                      <a:gd name="T98" fmla="*/ 336 w 338"/>
                      <a:gd name="T99" fmla="*/ 16 h 210"/>
                      <a:gd name="T100" fmla="*/ 320 w 338"/>
                      <a:gd name="T101" fmla="*/ 2 h 210"/>
                      <a:gd name="T102" fmla="*/ 294 w 338"/>
                      <a:gd name="T103" fmla="*/ 4 h 2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338" h="210">
                        <a:moveTo>
                          <a:pt x="294" y="4"/>
                        </a:moveTo>
                        <a:lnTo>
                          <a:pt x="294" y="4"/>
                        </a:lnTo>
                        <a:lnTo>
                          <a:pt x="286" y="8"/>
                        </a:lnTo>
                        <a:lnTo>
                          <a:pt x="278" y="14"/>
                        </a:lnTo>
                        <a:lnTo>
                          <a:pt x="278" y="14"/>
                        </a:lnTo>
                        <a:lnTo>
                          <a:pt x="274" y="6"/>
                        </a:lnTo>
                        <a:lnTo>
                          <a:pt x="266" y="2"/>
                        </a:lnTo>
                        <a:lnTo>
                          <a:pt x="258" y="0"/>
                        </a:lnTo>
                        <a:lnTo>
                          <a:pt x="248" y="0"/>
                        </a:lnTo>
                        <a:lnTo>
                          <a:pt x="248" y="0"/>
                        </a:lnTo>
                        <a:lnTo>
                          <a:pt x="244" y="4"/>
                        </a:lnTo>
                        <a:lnTo>
                          <a:pt x="240" y="6"/>
                        </a:lnTo>
                        <a:lnTo>
                          <a:pt x="236" y="16"/>
                        </a:lnTo>
                        <a:lnTo>
                          <a:pt x="236" y="16"/>
                        </a:lnTo>
                        <a:lnTo>
                          <a:pt x="228" y="10"/>
                        </a:lnTo>
                        <a:lnTo>
                          <a:pt x="220" y="6"/>
                        </a:lnTo>
                        <a:lnTo>
                          <a:pt x="210" y="6"/>
                        </a:lnTo>
                        <a:lnTo>
                          <a:pt x="200" y="8"/>
                        </a:lnTo>
                        <a:lnTo>
                          <a:pt x="200" y="8"/>
                        </a:lnTo>
                        <a:lnTo>
                          <a:pt x="194" y="12"/>
                        </a:lnTo>
                        <a:lnTo>
                          <a:pt x="190" y="16"/>
                        </a:lnTo>
                        <a:lnTo>
                          <a:pt x="182" y="26"/>
                        </a:lnTo>
                        <a:lnTo>
                          <a:pt x="180" y="36"/>
                        </a:lnTo>
                        <a:lnTo>
                          <a:pt x="180" y="42"/>
                        </a:lnTo>
                        <a:lnTo>
                          <a:pt x="182" y="48"/>
                        </a:lnTo>
                        <a:lnTo>
                          <a:pt x="182" y="50"/>
                        </a:lnTo>
                        <a:lnTo>
                          <a:pt x="182" y="50"/>
                        </a:lnTo>
                        <a:lnTo>
                          <a:pt x="170" y="54"/>
                        </a:lnTo>
                        <a:lnTo>
                          <a:pt x="170" y="54"/>
                        </a:lnTo>
                        <a:lnTo>
                          <a:pt x="162" y="58"/>
                        </a:lnTo>
                        <a:lnTo>
                          <a:pt x="162" y="56"/>
                        </a:lnTo>
                        <a:lnTo>
                          <a:pt x="162" y="56"/>
                        </a:lnTo>
                        <a:lnTo>
                          <a:pt x="156" y="46"/>
                        </a:lnTo>
                        <a:lnTo>
                          <a:pt x="146" y="40"/>
                        </a:lnTo>
                        <a:lnTo>
                          <a:pt x="136" y="36"/>
                        </a:lnTo>
                        <a:lnTo>
                          <a:pt x="130" y="38"/>
                        </a:lnTo>
                        <a:lnTo>
                          <a:pt x="126" y="38"/>
                        </a:lnTo>
                        <a:lnTo>
                          <a:pt x="126" y="38"/>
                        </a:lnTo>
                        <a:lnTo>
                          <a:pt x="118" y="44"/>
                        </a:lnTo>
                        <a:lnTo>
                          <a:pt x="112" y="52"/>
                        </a:lnTo>
                        <a:lnTo>
                          <a:pt x="110" y="62"/>
                        </a:lnTo>
                        <a:lnTo>
                          <a:pt x="110" y="72"/>
                        </a:lnTo>
                        <a:lnTo>
                          <a:pt x="110" y="72"/>
                        </a:lnTo>
                        <a:lnTo>
                          <a:pt x="98" y="70"/>
                        </a:lnTo>
                        <a:lnTo>
                          <a:pt x="86" y="72"/>
                        </a:lnTo>
                        <a:lnTo>
                          <a:pt x="86" y="72"/>
                        </a:lnTo>
                        <a:lnTo>
                          <a:pt x="76" y="78"/>
                        </a:lnTo>
                        <a:lnTo>
                          <a:pt x="70" y="84"/>
                        </a:lnTo>
                        <a:lnTo>
                          <a:pt x="70" y="84"/>
                        </a:lnTo>
                        <a:lnTo>
                          <a:pt x="62" y="84"/>
                        </a:lnTo>
                        <a:lnTo>
                          <a:pt x="56" y="84"/>
                        </a:lnTo>
                        <a:lnTo>
                          <a:pt x="56" y="84"/>
                        </a:lnTo>
                        <a:lnTo>
                          <a:pt x="50" y="88"/>
                        </a:lnTo>
                        <a:lnTo>
                          <a:pt x="46" y="92"/>
                        </a:lnTo>
                        <a:lnTo>
                          <a:pt x="40" y="102"/>
                        </a:lnTo>
                        <a:lnTo>
                          <a:pt x="38" y="114"/>
                        </a:lnTo>
                        <a:lnTo>
                          <a:pt x="38" y="130"/>
                        </a:lnTo>
                        <a:lnTo>
                          <a:pt x="38" y="130"/>
                        </a:lnTo>
                        <a:lnTo>
                          <a:pt x="26" y="132"/>
                        </a:lnTo>
                        <a:lnTo>
                          <a:pt x="26" y="132"/>
                        </a:lnTo>
                        <a:lnTo>
                          <a:pt x="14" y="140"/>
                        </a:lnTo>
                        <a:lnTo>
                          <a:pt x="6" y="148"/>
                        </a:lnTo>
                        <a:lnTo>
                          <a:pt x="0" y="158"/>
                        </a:lnTo>
                        <a:lnTo>
                          <a:pt x="0" y="162"/>
                        </a:lnTo>
                        <a:lnTo>
                          <a:pt x="2" y="168"/>
                        </a:lnTo>
                        <a:lnTo>
                          <a:pt x="2" y="168"/>
                        </a:lnTo>
                        <a:lnTo>
                          <a:pt x="4" y="172"/>
                        </a:lnTo>
                        <a:lnTo>
                          <a:pt x="8" y="174"/>
                        </a:lnTo>
                        <a:lnTo>
                          <a:pt x="18" y="178"/>
                        </a:lnTo>
                        <a:lnTo>
                          <a:pt x="18" y="178"/>
                        </a:lnTo>
                        <a:lnTo>
                          <a:pt x="14" y="182"/>
                        </a:lnTo>
                        <a:lnTo>
                          <a:pt x="12" y="188"/>
                        </a:lnTo>
                        <a:lnTo>
                          <a:pt x="12" y="194"/>
                        </a:lnTo>
                        <a:lnTo>
                          <a:pt x="14" y="198"/>
                        </a:lnTo>
                        <a:lnTo>
                          <a:pt x="14" y="198"/>
                        </a:lnTo>
                        <a:lnTo>
                          <a:pt x="16" y="202"/>
                        </a:lnTo>
                        <a:lnTo>
                          <a:pt x="20" y="206"/>
                        </a:lnTo>
                        <a:lnTo>
                          <a:pt x="28" y="210"/>
                        </a:lnTo>
                        <a:lnTo>
                          <a:pt x="38" y="210"/>
                        </a:lnTo>
                        <a:lnTo>
                          <a:pt x="50" y="208"/>
                        </a:lnTo>
                        <a:lnTo>
                          <a:pt x="50" y="208"/>
                        </a:lnTo>
                        <a:lnTo>
                          <a:pt x="60" y="202"/>
                        </a:lnTo>
                        <a:lnTo>
                          <a:pt x="66" y="194"/>
                        </a:lnTo>
                        <a:lnTo>
                          <a:pt x="70" y="184"/>
                        </a:lnTo>
                        <a:lnTo>
                          <a:pt x="70" y="180"/>
                        </a:lnTo>
                        <a:lnTo>
                          <a:pt x="68" y="176"/>
                        </a:lnTo>
                        <a:lnTo>
                          <a:pt x="68" y="176"/>
                        </a:lnTo>
                        <a:lnTo>
                          <a:pt x="70" y="172"/>
                        </a:lnTo>
                        <a:lnTo>
                          <a:pt x="70" y="170"/>
                        </a:lnTo>
                        <a:lnTo>
                          <a:pt x="72" y="168"/>
                        </a:lnTo>
                        <a:lnTo>
                          <a:pt x="70" y="166"/>
                        </a:lnTo>
                        <a:lnTo>
                          <a:pt x="70" y="166"/>
                        </a:lnTo>
                        <a:lnTo>
                          <a:pt x="74" y="166"/>
                        </a:lnTo>
                        <a:lnTo>
                          <a:pt x="74" y="166"/>
                        </a:lnTo>
                        <a:lnTo>
                          <a:pt x="80" y="168"/>
                        </a:lnTo>
                        <a:lnTo>
                          <a:pt x="88" y="170"/>
                        </a:lnTo>
                        <a:lnTo>
                          <a:pt x="94" y="168"/>
                        </a:lnTo>
                        <a:lnTo>
                          <a:pt x="100" y="166"/>
                        </a:lnTo>
                        <a:lnTo>
                          <a:pt x="100" y="166"/>
                        </a:lnTo>
                        <a:lnTo>
                          <a:pt x="114" y="158"/>
                        </a:lnTo>
                        <a:lnTo>
                          <a:pt x="116" y="158"/>
                        </a:lnTo>
                        <a:lnTo>
                          <a:pt x="116" y="160"/>
                        </a:lnTo>
                        <a:lnTo>
                          <a:pt x="118" y="162"/>
                        </a:lnTo>
                        <a:lnTo>
                          <a:pt x="120" y="162"/>
                        </a:lnTo>
                        <a:lnTo>
                          <a:pt x="124" y="162"/>
                        </a:lnTo>
                        <a:lnTo>
                          <a:pt x="134" y="158"/>
                        </a:lnTo>
                        <a:lnTo>
                          <a:pt x="134" y="158"/>
                        </a:lnTo>
                        <a:lnTo>
                          <a:pt x="138" y="152"/>
                        </a:lnTo>
                        <a:lnTo>
                          <a:pt x="140" y="144"/>
                        </a:lnTo>
                        <a:lnTo>
                          <a:pt x="140" y="144"/>
                        </a:lnTo>
                        <a:lnTo>
                          <a:pt x="150" y="146"/>
                        </a:lnTo>
                        <a:lnTo>
                          <a:pt x="162" y="148"/>
                        </a:lnTo>
                        <a:lnTo>
                          <a:pt x="176" y="146"/>
                        </a:lnTo>
                        <a:lnTo>
                          <a:pt x="190" y="142"/>
                        </a:lnTo>
                        <a:lnTo>
                          <a:pt x="190" y="142"/>
                        </a:lnTo>
                        <a:lnTo>
                          <a:pt x="202" y="134"/>
                        </a:lnTo>
                        <a:lnTo>
                          <a:pt x="214" y="126"/>
                        </a:lnTo>
                        <a:lnTo>
                          <a:pt x="222" y="118"/>
                        </a:lnTo>
                        <a:lnTo>
                          <a:pt x="226" y="108"/>
                        </a:lnTo>
                        <a:lnTo>
                          <a:pt x="226" y="108"/>
                        </a:lnTo>
                        <a:lnTo>
                          <a:pt x="238" y="106"/>
                        </a:lnTo>
                        <a:lnTo>
                          <a:pt x="248" y="104"/>
                        </a:lnTo>
                        <a:lnTo>
                          <a:pt x="248" y="104"/>
                        </a:lnTo>
                        <a:lnTo>
                          <a:pt x="256" y="100"/>
                        </a:lnTo>
                        <a:lnTo>
                          <a:pt x="262" y="96"/>
                        </a:lnTo>
                        <a:lnTo>
                          <a:pt x="268" y="90"/>
                        </a:lnTo>
                        <a:lnTo>
                          <a:pt x="272" y="84"/>
                        </a:lnTo>
                        <a:lnTo>
                          <a:pt x="272" y="84"/>
                        </a:lnTo>
                        <a:lnTo>
                          <a:pt x="276" y="86"/>
                        </a:lnTo>
                        <a:lnTo>
                          <a:pt x="280" y="88"/>
                        </a:lnTo>
                        <a:lnTo>
                          <a:pt x="284" y="88"/>
                        </a:lnTo>
                        <a:lnTo>
                          <a:pt x="290" y="86"/>
                        </a:lnTo>
                        <a:lnTo>
                          <a:pt x="290" y="86"/>
                        </a:lnTo>
                        <a:lnTo>
                          <a:pt x="296" y="84"/>
                        </a:lnTo>
                        <a:lnTo>
                          <a:pt x="298" y="78"/>
                        </a:lnTo>
                        <a:lnTo>
                          <a:pt x="300" y="72"/>
                        </a:lnTo>
                        <a:lnTo>
                          <a:pt x="300" y="64"/>
                        </a:lnTo>
                        <a:lnTo>
                          <a:pt x="300" y="64"/>
                        </a:lnTo>
                        <a:lnTo>
                          <a:pt x="296" y="60"/>
                        </a:lnTo>
                        <a:lnTo>
                          <a:pt x="292" y="56"/>
                        </a:lnTo>
                        <a:lnTo>
                          <a:pt x="292" y="56"/>
                        </a:lnTo>
                        <a:lnTo>
                          <a:pt x="302" y="56"/>
                        </a:lnTo>
                        <a:lnTo>
                          <a:pt x="314" y="54"/>
                        </a:lnTo>
                        <a:lnTo>
                          <a:pt x="314" y="54"/>
                        </a:lnTo>
                        <a:lnTo>
                          <a:pt x="326" y="46"/>
                        </a:lnTo>
                        <a:lnTo>
                          <a:pt x="334" y="38"/>
                        </a:lnTo>
                        <a:lnTo>
                          <a:pt x="338" y="26"/>
                        </a:lnTo>
                        <a:lnTo>
                          <a:pt x="338" y="22"/>
                        </a:lnTo>
                        <a:lnTo>
                          <a:pt x="336" y="16"/>
                        </a:lnTo>
                        <a:lnTo>
                          <a:pt x="336" y="16"/>
                        </a:lnTo>
                        <a:lnTo>
                          <a:pt x="334" y="12"/>
                        </a:lnTo>
                        <a:lnTo>
                          <a:pt x="330" y="8"/>
                        </a:lnTo>
                        <a:lnTo>
                          <a:pt x="320" y="2"/>
                        </a:lnTo>
                        <a:lnTo>
                          <a:pt x="306" y="0"/>
                        </a:lnTo>
                        <a:lnTo>
                          <a:pt x="294" y="4"/>
                        </a:lnTo>
                        <a:lnTo>
                          <a:pt x="294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09412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018824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528237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037649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47061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056473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565886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075298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01882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7" name="Freeform 7401">
                    <a:extLst>
                      <a:ext uri="{FF2B5EF4-FFF2-40B4-BE49-F238E27FC236}">
                        <a16:creationId xmlns:a16="http://schemas.microsoft.com/office/drawing/2014/main" id="{CF9024DE-0679-45AE-94AC-F1D615D9A94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714383" y="239712"/>
                    <a:ext cx="536575" cy="333375"/>
                  </a:xfrm>
                  <a:custGeom>
                    <a:avLst/>
                    <a:gdLst>
                      <a:gd name="T0" fmla="*/ 286 w 338"/>
                      <a:gd name="T1" fmla="*/ 8 h 210"/>
                      <a:gd name="T2" fmla="*/ 274 w 338"/>
                      <a:gd name="T3" fmla="*/ 6 h 210"/>
                      <a:gd name="T4" fmla="*/ 250 w 338"/>
                      <a:gd name="T5" fmla="*/ 0 h 210"/>
                      <a:gd name="T6" fmla="*/ 242 w 338"/>
                      <a:gd name="T7" fmla="*/ 6 h 210"/>
                      <a:gd name="T8" fmla="*/ 230 w 338"/>
                      <a:gd name="T9" fmla="*/ 10 h 210"/>
                      <a:gd name="T10" fmla="*/ 202 w 338"/>
                      <a:gd name="T11" fmla="*/ 8 h 210"/>
                      <a:gd name="T12" fmla="*/ 190 w 338"/>
                      <a:gd name="T13" fmla="*/ 16 h 210"/>
                      <a:gd name="T14" fmla="*/ 182 w 338"/>
                      <a:gd name="T15" fmla="*/ 42 h 210"/>
                      <a:gd name="T16" fmla="*/ 184 w 338"/>
                      <a:gd name="T17" fmla="*/ 50 h 210"/>
                      <a:gd name="T18" fmla="*/ 164 w 338"/>
                      <a:gd name="T19" fmla="*/ 58 h 210"/>
                      <a:gd name="T20" fmla="*/ 156 w 338"/>
                      <a:gd name="T21" fmla="*/ 46 h 210"/>
                      <a:gd name="T22" fmla="*/ 132 w 338"/>
                      <a:gd name="T23" fmla="*/ 38 h 210"/>
                      <a:gd name="T24" fmla="*/ 118 w 338"/>
                      <a:gd name="T25" fmla="*/ 44 h 210"/>
                      <a:gd name="T26" fmla="*/ 110 w 338"/>
                      <a:gd name="T27" fmla="*/ 72 h 210"/>
                      <a:gd name="T28" fmla="*/ 86 w 338"/>
                      <a:gd name="T29" fmla="*/ 72 h 210"/>
                      <a:gd name="T30" fmla="*/ 72 w 338"/>
                      <a:gd name="T31" fmla="*/ 84 h 210"/>
                      <a:gd name="T32" fmla="*/ 56 w 338"/>
                      <a:gd name="T33" fmla="*/ 84 h 210"/>
                      <a:gd name="T34" fmla="*/ 46 w 338"/>
                      <a:gd name="T35" fmla="*/ 92 h 210"/>
                      <a:gd name="T36" fmla="*/ 38 w 338"/>
                      <a:gd name="T37" fmla="*/ 130 h 210"/>
                      <a:gd name="T38" fmla="*/ 28 w 338"/>
                      <a:gd name="T39" fmla="*/ 132 h 210"/>
                      <a:gd name="T40" fmla="*/ 2 w 338"/>
                      <a:gd name="T41" fmla="*/ 158 h 210"/>
                      <a:gd name="T42" fmla="*/ 2 w 338"/>
                      <a:gd name="T43" fmla="*/ 168 h 210"/>
                      <a:gd name="T44" fmla="*/ 18 w 338"/>
                      <a:gd name="T45" fmla="*/ 178 h 210"/>
                      <a:gd name="T46" fmla="*/ 14 w 338"/>
                      <a:gd name="T47" fmla="*/ 188 h 210"/>
                      <a:gd name="T48" fmla="*/ 14 w 338"/>
                      <a:gd name="T49" fmla="*/ 198 h 210"/>
                      <a:gd name="T50" fmla="*/ 28 w 338"/>
                      <a:gd name="T51" fmla="*/ 210 h 210"/>
                      <a:gd name="T52" fmla="*/ 50 w 338"/>
                      <a:gd name="T53" fmla="*/ 208 h 210"/>
                      <a:gd name="T54" fmla="*/ 70 w 338"/>
                      <a:gd name="T55" fmla="*/ 184 h 210"/>
                      <a:gd name="T56" fmla="*/ 70 w 338"/>
                      <a:gd name="T57" fmla="*/ 176 h 210"/>
                      <a:gd name="T58" fmla="*/ 72 w 338"/>
                      <a:gd name="T59" fmla="*/ 168 h 210"/>
                      <a:gd name="T60" fmla="*/ 76 w 338"/>
                      <a:gd name="T61" fmla="*/ 166 h 210"/>
                      <a:gd name="T62" fmla="*/ 88 w 338"/>
                      <a:gd name="T63" fmla="*/ 170 h 210"/>
                      <a:gd name="T64" fmla="*/ 102 w 338"/>
                      <a:gd name="T65" fmla="*/ 166 h 210"/>
                      <a:gd name="T66" fmla="*/ 118 w 338"/>
                      <a:gd name="T67" fmla="*/ 160 h 210"/>
                      <a:gd name="T68" fmla="*/ 126 w 338"/>
                      <a:gd name="T69" fmla="*/ 162 h 210"/>
                      <a:gd name="T70" fmla="*/ 138 w 338"/>
                      <a:gd name="T71" fmla="*/ 152 h 210"/>
                      <a:gd name="T72" fmla="*/ 152 w 338"/>
                      <a:gd name="T73" fmla="*/ 146 h 210"/>
                      <a:gd name="T74" fmla="*/ 190 w 338"/>
                      <a:gd name="T75" fmla="*/ 142 h 210"/>
                      <a:gd name="T76" fmla="*/ 214 w 338"/>
                      <a:gd name="T77" fmla="*/ 126 h 210"/>
                      <a:gd name="T78" fmla="*/ 228 w 338"/>
                      <a:gd name="T79" fmla="*/ 108 h 210"/>
                      <a:gd name="T80" fmla="*/ 248 w 338"/>
                      <a:gd name="T81" fmla="*/ 104 h 210"/>
                      <a:gd name="T82" fmla="*/ 268 w 338"/>
                      <a:gd name="T83" fmla="*/ 90 h 210"/>
                      <a:gd name="T84" fmla="*/ 276 w 338"/>
                      <a:gd name="T85" fmla="*/ 86 h 210"/>
                      <a:gd name="T86" fmla="*/ 290 w 338"/>
                      <a:gd name="T87" fmla="*/ 86 h 210"/>
                      <a:gd name="T88" fmla="*/ 300 w 338"/>
                      <a:gd name="T89" fmla="*/ 78 h 210"/>
                      <a:gd name="T90" fmla="*/ 300 w 338"/>
                      <a:gd name="T91" fmla="*/ 64 h 210"/>
                      <a:gd name="T92" fmla="*/ 292 w 338"/>
                      <a:gd name="T93" fmla="*/ 56 h 210"/>
                      <a:gd name="T94" fmla="*/ 314 w 338"/>
                      <a:gd name="T95" fmla="*/ 54 h 210"/>
                      <a:gd name="T96" fmla="*/ 338 w 338"/>
                      <a:gd name="T97" fmla="*/ 26 h 210"/>
                      <a:gd name="T98" fmla="*/ 336 w 338"/>
                      <a:gd name="T99" fmla="*/ 16 h 210"/>
                      <a:gd name="T100" fmla="*/ 320 w 338"/>
                      <a:gd name="T101" fmla="*/ 2 h 210"/>
                      <a:gd name="T102" fmla="*/ 294 w 338"/>
                      <a:gd name="T103" fmla="*/ 4 h 2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338" h="210">
                        <a:moveTo>
                          <a:pt x="294" y="4"/>
                        </a:moveTo>
                        <a:lnTo>
                          <a:pt x="294" y="4"/>
                        </a:lnTo>
                        <a:lnTo>
                          <a:pt x="286" y="8"/>
                        </a:lnTo>
                        <a:lnTo>
                          <a:pt x="280" y="14"/>
                        </a:lnTo>
                        <a:lnTo>
                          <a:pt x="280" y="14"/>
                        </a:lnTo>
                        <a:lnTo>
                          <a:pt x="274" y="6"/>
                        </a:lnTo>
                        <a:lnTo>
                          <a:pt x="266" y="2"/>
                        </a:lnTo>
                        <a:lnTo>
                          <a:pt x="258" y="0"/>
                        </a:lnTo>
                        <a:lnTo>
                          <a:pt x="250" y="0"/>
                        </a:lnTo>
                        <a:lnTo>
                          <a:pt x="250" y="0"/>
                        </a:lnTo>
                        <a:lnTo>
                          <a:pt x="244" y="4"/>
                        </a:lnTo>
                        <a:lnTo>
                          <a:pt x="242" y="6"/>
                        </a:lnTo>
                        <a:lnTo>
                          <a:pt x="236" y="16"/>
                        </a:lnTo>
                        <a:lnTo>
                          <a:pt x="236" y="16"/>
                        </a:lnTo>
                        <a:lnTo>
                          <a:pt x="230" y="10"/>
                        </a:lnTo>
                        <a:lnTo>
                          <a:pt x="220" y="6"/>
                        </a:lnTo>
                        <a:lnTo>
                          <a:pt x="210" y="6"/>
                        </a:lnTo>
                        <a:lnTo>
                          <a:pt x="202" y="8"/>
                        </a:lnTo>
                        <a:lnTo>
                          <a:pt x="202" y="8"/>
                        </a:lnTo>
                        <a:lnTo>
                          <a:pt x="196" y="12"/>
                        </a:lnTo>
                        <a:lnTo>
                          <a:pt x="190" y="16"/>
                        </a:lnTo>
                        <a:lnTo>
                          <a:pt x="184" y="26"/>
                        </a:lnTo>
                        <a:lnTo>
                          <a:pt x="180" y="36"/>
                        </a:lnTo>
                        <a:lnTo>
                          <a:pt x="182" y="42"/>
                        </a:lnTo>
                        <a:lnTo>
                          <a:pt x="182" y="48"/>
                        </a:lnTo>
                        <a:lnTo>
                          <a:pt x="184" y="50"/>
                        </a:lnTo>
                        <a:lnTo>
                          <a:pt x="184" y="50"/>
                        </a:lnTo>
                        <a:lnTo>
                          <a:pt x="170" y="54"/>
                        </a:lnTo>
                        <a:lnTo>
                          <a:pt x="170" y="54"/>
                        </a:lnTo>
                        <a:lnTo>
                          <a:pt x="164" y="58"/>
                        </a:lnTo>
                        <a:lnTo>
                          <a:pt x="164" y="56"/>
                        </a:lnTo>
                        <a:lnTo>
                          <a:pt x="164" y="56"/>
                        </a:lnTo>
                        <a:lnTo>
                          <a:pt x="156" y="46"/>
                        </a:lnTo>
                        <a:lnTo>
                          <a:pt x="148" y="40"/>
                        </a:lnTo>
                        <a:lnTo>
                          <a:pt x="136" y="36"/>
                        </a:lnTo>
                        <a:lnTo>
                          <a:pt x="132" y="38"/>
                        </a:lnTo>
                        <a:lnTo>
                          <a:pt x="126" y="38"/>
                        </a:lnTo>
                        <a:lnTo>
                          <a:pt x="126" y="38"/>
                        </a:lnTo>
                        <a:lnTo>
                          <a:pt x="118" y="44"/>
                        </a:lnTo>
                        <a:lnTo>
                          <a:pt x="112" y="52"/>
                        </a:lnTo>
                        <a:lnTo>
                          <a:pt x="110" y="62"/>
                        </a:lnTo>
                        <a:lnTo>
                          <a:pt x="110" y="72"/>
                        </a:lnTo>
                        <a:lnTo>
                          <a:pt x="110" y="72"/>
                        </a:lnTo>
                        <a:lnTo>
                          <a:pt x="98" y="70"/>
                        </a:lnTo>
                        <a:lnTo>
                          <a:pt x="86" y="72"/>
                        </a:lnTo>
                        <a:lnTo>
                          <a:pt x="86" y="72"/>
                        </a:lnTo>
                        <a:lnTo>
                          <a:pt x="78" y="78"/>
                        </a:lnTo>
                        <a:lnTo>
                          <a:pt x="72" y="84"/>
                        </a:lnTo>
                        <a:lnTo>
                          <a:pt x="72" y="84"/>
                        </a:lnTo>
                        <a:lnTo>
                          <a:pt x="64" y="84"/>
                        </a:lnTo>
                        <a:lnTo>
                          <a:pt x="56" y="84"/>
                        </a:lnTo>
                        <a:lnTo>
                          <a:pt x="56" y="84"/>
                        </a:lnTo>
                        <a:lnTo>
                          <a:pt x="52" y="88"/>
                        </a:lnTo>
                        <a:lnTo>
                          <a:pt x="46" y="92"/>
                        </a:lnTo>
                        <a:lnTo>
                          <a:pt x="40" y="102"/>
                        </a:lnTo>
                        <a:lnTo>
                          <a:pt x="38" y="114"/>
                        </a:lnTo>
                        <a:lnTo>
                          <a:pt x="38" y="130"/>
                        </a:lnTo>
                        <a:lnTo>
                          <a:pt x="38" y="130"/>
                        </a:lnTo>
                        <a:lnTo>
                          <a:pt x="28" y="132"/>
                        </a:lnTo>
                        <a:lnTo>
                          <a:pt x="28" y="132"/>
                        </a:lnTo>
                        <a:lnTo>
                          <a:pt x="16" y="140"/>
                        </a:lnTo>
                        <a:lnTo>
                          <a:pt x="6" y="148"/>
                        </a:lnTo>
                        <a:lnTo>
                          <a:pt x="2" y="158"/>
                        </a:lnTo>
                        <a:lnTo>
                          <a:pt x="0" y="162"/>
                        </a:lnTo>
                        <a:lnTo>
                          <a:pt x="2" y="168"/>
                        </a:lnTo>
                        <a:lnTo>
                          <a:pt x="2" y="168"/>
                        </a:lnTo>
                        <a:lnTo>
                          <a:pt x="4" y="172"/>
                        </a:lnTo>
                        <a:lnTo>
                          <a:pt x="8" y="174"/>
                        </a:lnTo>
                        <a:lnTo>
                          <a:pt x="18" y="178"/>
                        </a:lnTo>
                        <a:lnTo>
                          <a:pt x="18" y="178"/>
                        </a:lnTo>
                        <a:lnTo>
                          <a:pt x="16" y="182"/>
                        </a:lnTo>
                        <a:lnTo>
                          <a:pt x="14" y="188"/>
                        </a:lnTo>
                        <a:lnTo>
                          <a:pt x="14" y="194"/>
                        </a:lnTo>
                        <a:lnTo>
                          <a:pt x="14" y="198"/>
                        </a:lnTo>
                        <a:lnTo>
                          <a:pt x="14" y="198"/>
                        </a:lnTo>
                        <a:lnTo>
                          <a:pt x="16" y="202"/>
                        </a:lnTo>
                        <a:lnTo>
                          <a:pt x="20" y="206"/>
                        </a:lnTo>
                        <a:lnTo>
                          <a:pt x="28" y="210"/>
                        </a:lnTo>
                        <a:lnTo>
                          <a:pt x="40" y="210"/>
                        </a:lnTo>
                        <a:lnTo>
                          <a:pt x="50" y="208"/>
                        </a:lnTo>
                        <a:lnTo>
                          <a:pt x="50" y="208"/>
                        </a:lnTo>
                        <a:lnTo>
                          <a:pt x="60" y="202"/>
                        </a:lnTo>
                        <a:lnTo>
                          <a:pt x="68" y="194"/>
                        </a:lnTo>
                        <a:lnTo>
                          <a:pt x="70" y="184"/>
                        </a:lnTo>
                        <a:lnTo>
                          <a:pt x="70" y="180"/>
                        </a:lnTo>
                        <a:lnTo>
                          <a:pt x="70" y="176"/>
                        </a:lnTo>
                        <a:lnTo>
                          <a:pt x="70" y="176"/>
                        </a:lnTo>
                        <a:lnTo>
                          <a:pt x="70" y="172"/>
                        </a:lnTo>
                        <a:lnTo>
                          <a:pt x="72" y="170"/>
                        </a:lnTo>
                        <a:lnTo>
                          <a:pt x="72" y="168"/>
                        </a:lnTo>
                        <a:lnTo>
                          <a:pt x="70" y="166"/>
                        </a:lnTo>
                        <a:lnTo>
                          <a:pt x="70" y="166"/>
                        </a:lnTo>
                        <a:lnTo>
                          <a:pt x="76" y="166"/>
                        </a:lnTo>
                        <a:lnTo>
                          <a:pt x="76" y="166"/>
                        </a:lnTo>
                        <a:lnTo>
                          <a:pt x="82" y="168"/>
                        </a:lnTo>
                        <a:lnTo>
                          <a:pt x="88" y="170"/>
                        </a:lnTo>
                        <a:lnTo>
                          <a:pt x="94" y="168"/>
                        </a:lnTo>
                        <a:lnTo>
                          <a:pt x="102" y="166"/>
                        </a:lnTo>
                        <a:lnTo>
                          <a:pt x="102" y="166"/>
                        </a:lnTo>
                        <a:lnTo>
                          <a:pt x="114" y="158"/>
                        </a:lnTo>
                        <a:lnTo>
                          <a:pt x="116" y="158"/>
                        </a:lnTo>
                        <a:lnTo>
                          <a:pt x="118" y="160"/>
                        </a:lnTo>
                        <a:lnTo>
                          <a:pt x="118" y="162"/>
                        </a:lnTo>
                        <a:lnTo>
                          <a:pt x="120" y="162"/>
                        </a:lnTo>
                        <a:lnTo>
                          <a:pt x="126" y="162"/>
                        </a:lnTo>
                        <a:lnTo>
                          <a:pt x="134" y="158"/>
                        </a:lnTo>
                        <a:lnTo>
                          <a:pt x="134" y="158"/>
                        </a:lnTo>
                        <a:lnTo>
                          <a:pt x="138" y="152"/>
                        </a:lnTo>
                        <a:lnTo>
                          <a:pt x="142" y="144"/>
                        </a:lnTo>
                        <a:lnTo>
                          <a:pt x="142" y="144"/>
                        </a:lnTo>
                        <a:lnTo>
                          <a:pt x="152" y="146"/>
                        </a:lnTo>
                        <a:lnTo>
                          <a:pt x="164" y="148"/>
                        </a:lnTo>
                        <a:lnTo>
                          <a:pt x="176" y="146"/>
                        </a:lnTo>
                        <a:lnTo>
                          <a:pt x="190" y="142"/>
                        </a:lnTo>
                        <a:lnTo>
                          <a:pt x="190" y="142"/>
                        </a:lnTo>
                        <a:lnTo>
                          <a:pt x="204" y="134"/>
                        </a:lnTo>
                        <a:lnTo>
                          <a:pt x="214" y="126"/>
                        </a:lnTo>
                        <a:lnTo>
                          <a:pt x="222" y="118"/>
                        </a:lnTo>
                        <a:lnTo>
                          <a:pt x="228" y="108"/>
                        </a:lnTo>
                        <a:lnTo>
                          <a:pt x="228" y="108"/>
                        </a:lnTo>
                        <a:lnTo>
                          <a:pt x="238" y="106"/>
                        </a:lnTo>
                        <a:lnTo>
                          <a:pt x="248" y="104"/>
                        </a:lnTo>
                        <a:lnTo>
                          <a:pt x="248" y="104"/>
                        </a:lnTo>
                        <a:lnTo>
                          <a:pt x="256" y="100"/>
                        </a:lnTo>
                        <a:lnTo>
                          <a:pt x="262" y="96"/>
                        </a:lnTo>
                        <a:lnTo>
                          <a:pt x="268" y="90"/>
                        </a:lnTo>
                        <a:lnTo>
                          <a:pt x="272" y="84"/>
                        </a:lnTo>
                        <a:lnTo>
                          <a:pt x="272" y="84"/>
                        </a:lnTo>
                        <a:lnTo>
                          <a:pt x="276" y="86"/>
                        </a:lnTo>
                        <a:lnTo>
                          <a:pt x="280" y="88"/>
                        </a:lnTo>
                        <a:lnTo>
                          <a:pt x="286" y="88"/>
                        </a:lnTo>
                        <a:lnTo>
                          <a:pt x="290" y="86"/>
                        </a:lnTo>
                        <a:lnTo>
                          <a:pt x="290" y="86"/>
                        </a:lnTo>
                        <a:lnTo>
                          <a:pt x="296" y="84"/>
                        </a:lnTo>
                        <a:lnTo>
                          <a:pt x="300" y="78"/>
                        </a:lnTo>
                        <a:lnTo>
                          <a:pt x="302" y="72"/>
                        </a:lnTo>
                        <a:lnTo>
                          <a:pt x="300" y="64"/>
                        </a:lnTo>
                        <a:lnTo>
                          <a:pt x="300" y="64"/>
                        </a:lnTo>
                        <a:lnTo>
                          <a:pt x="296" y="60"/>
                        </a:lnTo>
                        <a:lnTo>
                          <a:pt x="292" y="56"/>
                        </a:lnTo>
                        <a:lnTo>
                          <a:pt x="292" y="56"/>
                        </a:lnTo>
                        <a:lnTo>
                          <a:pt x="302" y="56"/>
                        </a:lnTo>
                        <a:lnTo>
                          <a:pt x="314" y="54"/>
                        </a:lnTo>
                        <a:lnTo>
                          <a:pt x="314" y="54"/>
                        </a:lnTo>
                        <a:lnTo>
                          <a:pt x="326" y="46"/>
                        </a:lnTo>
                        <a:lnTo>
                          <a:pt x="334" y="38"/>
                        </a:lnTo>
                        <a:lnTo>
                          <a:pt x="338" y="26"/>
                        </a:lnTo>
                        <a:lnTo>
                          <a:pt x="338" y="22"/>
                        </a:lnTo>
                        <a:lnTo>
                          <a:pt x="336" y="16"/>
                        </a:lnTo>
                        <a:lnTo>
                          <a:pt x="336" y="16"/>
                        </a:lnTo>
                        <a:lnTo>
                          <a:pt x="334" y="12"/>
                        </a:lnTo>
                        <a:lnTo>
                          <a:pt x="330" y="8"/>
                        </a:lnTo>
                        <a:lnTo>
                          <a:pt x="320" y="2"/>
                        </a:lnTo>
                        <a:lnTo>
                          <a:pt x="308" y="0"/>
                        </a:lnTo>
                        <a:lnTo>
                          <a:pt x="294" y="4"/>
                        </a:lnTo>
                        <a:lnTo>
                          <a:pt x="294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09412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018824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528237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037649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47061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056473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565886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075298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01882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8" name="Freeform 7402">
                    <a:extLst>
                      <a:ext uri="{FF2B5EF4-FFF2-40B4-BE49-F238E27FC236}">
                        <a16:creationId xmlns:a16="http://schemas.microsoft.com/office/drawing/2014/main" id="{63A42EB3-ABD6-4B77-9A46-72E255C9AF9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65233" y="255587"/>
                    <a:ext cx="533400" cy="333375"/>
                  </a:xfrm>
                  <a:custGeom>
                    <a:avLst/>
                    <a:gdLst>
                      <a:gd name="T0" fmla="*/ 284 w 336"/>
                      <a:gd name="T1" fmla="*/ 8 h 210"/>
                      <a:gd name="T2" fmla="*/ 272 w 336"/>
                      <a:gd name="T3" fmla="*/ 6 h 210"/>
                      <a:gd name="T4" fmla="*/ 248 w 336"/>
                      <a:gd name="T5" fmla="*/ 0 h 210"/>
                      <a:gd name="T6" fmla="*/ 240 w 336"/>
                      <a:gd name="T7" fmla="*/ 6 h 210"/>
                      <a:gd name="T8" fmla="*/ 228 w 336"/>
                      <a:gd name="T9" fmla="*/ 10 h 210"/>
                      <a:gd name="T10" fmla="*/ 200 w 336"/>
                      <a:gd name="T11" fmla="*/ 8 h 210"/>
                      <a:gd name="T12" fmla="*/ 190 w 336"/>
                      <a:gd name="T13" fmla="*/ 16 h 210"/>
                      <a:gd name="T14" fmla="*/ 180 w 336"/>
                      <a:gd name="T15" fmla="*/ 42 h 210"/>
                      <a:gd name="T16" fmla="*/ 182 w 336"/>
                      <a:gd name="T17" fmla="*/ 50 h 210"/>
                      <a:gd name="T18" fmla="*/ 162 w 336"/>
                      <a:gd name="T19" fmla="*/ 58 h 210"/>
                      <a:gd name="T20" fmla="*/ 156 w 336"/>
                      <a:gd name="T21" fmla="*/ 46 h 210"/>
                      <a:gd name="T22" fmla="*/ 130 w 336"/>
                      <a:gd name="T23" fmla="*/ 38 h 210"/>
                      <a:gd name="T24" fmla="*/ 116 w 336"/>
                      <a:gd name="T25" fmla="*/ 44 h 210"/>
                      <a:gd name="T26" fmla="*/ 110 w 336"/>
                      <a:gd name="T27" fmla="*/ 72 h 210"/>
                      <a:gd name="T28" fmla="*/ 92 w 336"/>
                      <a:gd name="T29" fmla="*/ 72 h 210"/>
                      <a:gd name="T30" fmla="*/ 76 w 336"/>
                      <a:gd name="T31" fmla="*/ 78 h 210"/>
                      <a:gd name="T32" fmla="*/ 62 w 336"/>
                      <a:gd name="T33" fmla="*/ 84 h 210"/>
                      <a:gd name="T34" fmla="*/ 50 w 336"/>
                      <a:gd name="T35" fmla="*/ 88 h 210"/>
                      <a:gd name="T36" fmla="*/ 36 w 336"/>
                      <a:gd name="T37" fmla="*/ 114 h 210"/>
                      <a:gd name="T38" fmla="*/ 26 w 336"/>
                      <a:gd name="T39" fmla="*/ 132 h 210"/>
                      <a:gd name="T40" fmla="*/ 4 w 336"/>
                      <a:gd name="T41" fmla="*/ 148 h 210"/>
                      <a:gd name="T42" fmla="*/ 0 w 336"/>
                      <a:gd name="T43" fmla="*/ 168 h 210"/>
                      <a:gd name="T44" fmla="*/ 6 w 336"/>
                      <a:gd name="T45" fmla="*/ 174 h 210"/>
                      <a:gd name="T46" fmla="*/ 12 w 336"/>
                      <a:gd name="T47" fmla="*/ 188 h 210"/>
                      <a:gd name="T48" fmla="*/ 14 w 336"/>
                      <a:gd name="T49" fmla="*/ 198 h 210"/>
                      <a:gd name="T50" fmla="*/ 28 w 336"/>
                      <a:gd name="T51" fmla="*/ 210 h 210"/>
                      <a:gd name="T52" fmla="*/ 50 w 336"/>
                      <a:gd name="T53" fmla="*/ 208 h 210"/>
                      <a:gd name="T54" fmla="*/ 70 w 336"/>
                      <a:gd name="T55" fmla="*/ 186 h 210"/>
                      <a:gd name="T56" fmla="*/ 68 w 336"/>
                      <a:gd name="T57" fmla="*/ 176 h 210"/>
                      <a:gd name="T58" fmla="*/ 72 w 336"/>
                      <a:gd name="T59" fmla="*/ 168 h 210"/>
                      <a:gd name="T60" fmla="*/ 74 w 336"/>
                      <a:gd name="T61" fmla="*/ 166 h 210"/>
                      <a:gd name="T62" fmla="*/ 88 w 336"/>
                      <a:gd name="T63" fmla="*/ 170 h 210"/>
                      <a:gd name="T64" fmla="*/ 100 w 336"/>
                      <a:gd name="T65" fmla="*/ 166 h 210"/>
                      <a:gd name="T66" fmla="*/ 116 w 336"/>
                      <a:gd name="T67" fmla="*/ 160 h 210"/>
                      <a:gd name="T68" fmla="*/ 124 w 336"/>
                      <a:gd name="T69" fmla="*/ 162 h 210"/>
                      <a:gd name="T70" fmla="*/ 134 w 336"/>
                      <a:gd name="T71" fmla="*/ 156 h 210"/>
                      <a:gd name="T72" fmla="*/ 140 w 336"/>
                      <a:gd name="T73" fmla="*/ 144 h 210"/>
                      <a:gd name="T74" fmla="*/ 176 w 336"/>
                      <a:gd name="T75" fmla="*/ 146 h 210"/>
                      <a:gd name="T76" fmla="*/ 202 w 336"/>
                      <a:gd name="T77" fmla="*/ 134 h 210"/>
                      <a:gd name="T78" fmla="*/ 226 w 336"/>
                      <a:gd name="T79" fmla="*/ 108 h 210"/>
                      <a:gd name="T80" fmla="*/ 248 w 336"/>
                      <a:gd name="T81" fmla="*/ 104 h 210"/>
                      <a:gd name="T82" fmla="*/ 262 w 336"/>
                      <a:gd name="T83" fmla="*/ 96 h 210"/>
                      <a:gd name="T84" fmla="*/ 272 w 336"/>
                      <a:gd name="T85" fmla="*/ 84 h 210"/>
                      <a:gd name="T86" fmla="*/ 284 w 336"/>
                      <a:gd name="T87" fmla="*/ 88 h 210"/>
                      <a:gd name="T88" fmla="*/ 294 w 336"/>
                      <a:gd name="T89" fmla="*/ 84 h 210"/>
                      <a:gd name="T90" fmla="*/ 298 w 336"/>
                      <a:gd name="T91" fmla="*/ 64 h 210"/>
                      <a:gd name="T92" fmla="*/ 290 w 336"/>
                      <a:gd name="T93" fmla="*/ 56 h 210"/>
                      <a:gd name="T94" fmla="*/ 314 w 336"/>
                      <a:gd name="T95" fmla="*/ 54 h 210"/>
                      <a:gd name="T96" fmla="*/ 334 w 336"/>
                      <a:gd name="T97" fmla="*/ 38 h 210"/>
                      <a:gd name="T98" fmla="*/ 336 w 336"/>
                      <a:gd name="T99" fmla="*/ 16 h 210"/>
                      <a:gd name="T100" fmla="*/ 330 w 336"/>
                      <a:gd name="T101" fmla="*/ 8 h 210"/>
                      <a:gd name="T102" fmla="*/ 294 w 336"/>
                      <a:gd name="T103" fmla="*/ 4 h 2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336" h="210">
                        <a:moveTo>
                          <a:pt x="294" y="4"/>
                        </a:moveTo>
                        <a:lnTo>
                          <a:pt x="294" y="4"/>
                        </a:lnTo>
                        <a:lnTo>
                          <a:pt x="284" y="8"/>
                        </a:lnTo>
                        <a:lnTo>
                          <a:pt x="278" y="14"/>
                        </a:lnTo>
                        <a:lnTo>
                          <a:pt x="278" y="14"/>
                        </a:lnTo>
                        <a:lnTo>
                          <a:pt x="272" y="6"/>
                        </a:lnTo>
                        <a:lnTo>
                          <a:pt x="266" y="2"/>
                        </a:lnTo>
                        <a:lnTo>
                          <a:pt x="256" y="0"/>
                        </a:lnTo>
                        <a:lnTo>
                          <a:pt x="248" y="0"/>
                        </a:lnTo>
                        <a:lnTo>
                          <a:pt x="248" y="0"/>
                        </a:lnTo>
                        <a:lnTo>
                          <a:pt x="244" y="4"/>
                        </a:lnTo>
                        <a:lnTo>
                          <a:pt x="240" y="6"/>
                        </a:lnTo>
                        <a:lnTo>
                          <a:pt x="236" y="16"/>
                        </a:lnTo>
                        <a:lnTo>
                          <a:pt x="236" y="16"/>
                        </a:lnTo>
                        <a:lnTo>
                          <a:pt x="228" y="10"/>
                        </a:lnTo>
                        <a:lnTo>
                          <a:pt x="220" y="6"/>
                        </a:lnTo>
                        <a:lnTo>
                          <a:pt x="210" y="6"/>
                        </a:lnTo>
                        <a:lnTo>
                          <a:pt x="200" y="8"/>
                        </a:lnTo>
                        <a:lnTo>
                          <a:pt x="200" y="8"/>
                        </a:lnTo>
                        <a:lnTo>
                          <a:pt x="194" y="12"/>
                        </a:lnTo>
                        <a:lnTo>
                          <a:pt x="190" y="16"/>
                        </a:lnTo>
                        <a:lnTo>
                          <a:pt x="182" y="26"/>
                        </a:lnTo>
                        <a:lnTo>
                          <a:pt x="180" y="36"/>
                        </a:lnTo>
                        <a:lnTo>
                          <a:pt x="180" y="42"/>
                        </a:lnTo>
                        <a:lnTo>
                          <a:pt x="182" y="48"/>
                        </a:lnTo>
                        <a:lnTo>
                          <a:pt x="182" y="50"/>
                        </a:lnTo>
                        <a:lnTo>
                          <a:pt x="182" y="50"/>
                        </a:lnTo>
                        <a:lnTo>
                          <a:pt x="170" y="54"/>
                        </a:lnTo>
                        <a:lnTo>
                          <a:pt x="170" y="54"/>
                        </a:lnTo>
                        <a:lnTo>
                          <a:pt x="162" y="58"/>
                        </a:lnTo>
                        <a:lnTo>
                          <a:pt x="162" y="56"/>
                        </a:lnTo>
                        <a:lnTo>
                          <a:pt x="162" y="56"/>
                        </a:lnTo>
                        <a:lnTo>
                          <a:pt x="156" y="46"/>
                        </a:lnTo>
                        <a:lnTo>
                          <a:pt x="146" y="40"/>
                        </a:lnTo>
                        <a:lnTo>
                          <a:pt x="136" y="36"/>
                        </a:lnTo>
                        <a:lnTo>
                          <a:pt x="130" y="38"/>
                        </a:lnTo>
                        <a:lnTo>
                          <a:pt x="124" y="38"/>
                        </a:lnTo>
                        <a:lnTo>
                          <a:pt x="124" y="38"/>
                        </a:lnTo>
                        <a:lnTo>
                          <a:pt x="116" y="44"/>
                        </a:lnTo>
                        <a:lnTo>
                          <a:pt x="112" y="52"/>
                        </a:lnTo>
                        <a:lnTo>
                          <a:pt x="108" y="62"/>
                        </a:lnTo>
                        <a:lnTo>
                          <a:pt x="110" y="72"/>
                        </a:lnTo>
                        <a:lnTo>
                          <a:pt x="110" y="72"/>
                        </a:lnTo>
                        <a:lnTo>
                          <a:pt x="98" y="70"/>
                        </a:lnTo>
                        <a:lnTo>
                          <a:pt x="92" y="72"/>
                        </a:lnTo>
                        <a:lnTo>
                          <a:pt x="84" y="72"/>
                        </a:lnTo>
                        <a:lnTo>
                          <a:pt x="84" y="72"/>
                        </a:lnTo>
                        <a:lnTo>
                          <a:pt x="76" y="78"/>
                        </a:lnTo>
                        <a:lnTo>
                          <a:pt x="70" y="84"/>
                        </a:lnTo>
                        <a:lnTo>
                          <a:pt x="70" y="84"/>
                        </a:lnTo>
                        <a:lnTo>
                          <a:pt x="62" y="84"/>
                        </a:lnTo>
                        <a:lnTo>
                          <a:pt x="54" y="86"/>
                        </a:lnTo>
                        <a:lnTo>
                          <a:pt x="54" y="86"/>
                        </a:lnTo>
                        <a:lnTo>
                          <a:pt x="50" y="88"/>
                        </a:lnTo>
                        <a:lnTo>
                          <a:pt x="46" y="92"/>
                        </a:lnTo>
                        <a:lnTo>
                          <a:pt x="40" y="102"/>
                        </a:lnTo>
                        <a:lnTo>
                          <a:pt x="36" y="114"/>
                        </a:lnTo>
                        <a:lnTo>
                          <a:pt x="38" y="130"/>
                        </a:lnTo>
                        <a:lnTo>
                          <a:pt x="38" y="130"/>
                        </a:lnTo>
                        <a:lnTo>
                          <a:pt x="26" y="132"/>
                        </a:lnTo>
                        <a:lnTo>
                          <a:pt x="26" y="132"/>
                        </a:lnTo>
                        <a:lnTo>
                          <a:pt x="14" y="140"/>
                        </a:lnTo>
                        <a:lnTo>
                          <a:pt x="4" y="148"/>
                        </a:lnTo>
                        <a:lnTo>
                          <a:pt x="0" y="158"/>
                        </a:lnTo>
                        <a:lnTo>
                          <a:pt x="0" y="162"/>
                        </a:lnTo>
                        <a:lnTo>
                          <a:pt x="0" y="168"/>
                        </a:lnTo>
                        <a:lnTo>
                          <a:pt x="0" y="168"/>
                        </a:lnTo>
                        <a:lnTo>
                          <a:pt x="4" y="172"/>
                        </a:lnTo>
                        <a:lnTo>
                          <a:pt x="6" y="174"/>
                        </a:lnTo>
                        <a:lnTo>
                          <a:pt x="16" y="178"/>
                        </a:lnTo>
                        <a:lnTo>
                          <a:pt x="16" y="178"/>
                        </a:lnTo>
                        <a:lnTo>
                          <a:pt x="12" y="188"/>
                        </a:lnTo>
                        <a:lnTo>
                          <a:pt x="12" y="194"/>
                        </a:lnTo>
                        <a:lnTo>
                          <a:pt x="14" y="198"/>
                        </a:lnTo>
                        <a:lnTo>
                          <a:pt x="14" y="198"/>
                        </a:lnTo>
                        <a:lnTo>
                          <a:pt x="16" y="202"/>
                        </a:lnTo>
                        <a:lnTo>
                          <a:pt x="18" y="206"/>
                        </a:lnTo>
                        <a:lnTo>
                          <a:pt x="28" y="210"/>
                        </a:lnTo>
                        <a:lnTo>
                          <a:pt x="38" y="210"/>
                        </a:lnTo>
                        <a:lnTo>
                          <a:pt x="50" y="208"/>
                        </a:lnTo>
                        <a:lnTo>
                          <a:pt x="50" y="208"/>
                        </a:lnTo>
                        <a:lnTo>
                          <a:pt x="60" y="202"/>
                        </a:lnTo>
                        <a:lnTo>
                          <a:pt x="66" y="194"/>
                        </a:lnTo>
                        <a:lnTo>
                          <a:pt x="70" y="186"/>
                        </a:lnTo>
                        <a:lnTo>
                          <a:pt x="70" y="180"/>
                        </a:lnTo>
                        <a:lnTo>
                          <a:pt x="68" y="176"/>
                        </a:lnTo>
                        <a:lnTo>
                          <a:pt x="68" y="176"/>
                        </a:lnTo>
                        <a:lnTo>
                          <a:pt x="68" y="172"/>
                        </a:lnTo>
                        <a:lnTo>
                          <a:pt x="70" y="170"/>
                        </a:lnTo>
                        <a:lnTo>
                          <a:pt x="72" y="168"/>
                        </a:lnTo>
                        <a:lnTo>
                          <a:pt x="70" y="166"/>
                        </a:lnTo>
                        <a:lnTo>
                          <a:pt x="70" y="166"/>
                        </a:lnTo>
                        <a:lnTo>
                          <a:pt x="74" y="166"/>
                        </a:lnTo>
                        <a:lnTo>
                          <a:pt x="74" y="166"/>
                        </a:lnTo>
                        <a:lnTo>
                          <a:pt x="80" y="168"/>
                        </a:lnTo>
                        <a:lnTo>
                          <a:pt x="88" y="170"/>
                        </a:lnTo>
                        <a:lnTo>
                          <a:pt x="94" y="168"/>
                        </a:lnTo>
                        <a:lnTo>
                          <a:pt x="100" y="166"/>
                        </a:lnTo>
                        <a:lnTo>
                          <a:pt x="100" y="166"/>
                        </a:lnTo>
                        <a:lnTo>
                          <a:pt x="114" y="158"/>
                        </a:lnTo>
                        <a:lnTo>
                          <a:pt x="116" y="158"/>
                        </a:lnTo>
                        <a:lnTo>
                          <a:pt x="116" y="160"/>
                        </a:lnTo>
                        <a:lnTo>
                          <a:pt x="118" y="162"/>
                        </a:lnTo>
                        <a:lnTo>
                          <a:pt x="120" y="162"/>
                        </a:lnTo>
                        <a:lnTo>
                          <a:pt x="124" y="162"/>
                        </a:lnTo>
                        <a:lnTo>
                          <a:pt x="132" y="158"/>
                        </a:lnTo>
                        <a:lnTo>
                          <a:pt x="132" y="158"/>
                        </a:lnTo>
                        <a:lnTo>
                          <a:pt x="134" y="156"/>
                        </a:lnTo>
                        <a:lnTo>
                          <a:pt x="136" y="152"/>
                        </a:lnTo>
                        <a:lnTo>
                          <a:pt x="140" y="144"/>
                        </a:lnTo>
                        <a:lnTo>
                          <a:pt x="140" y="144"/>
                        </a:lnTo>
                        <a:lnTo>
                          <a:pt x="150" y="146"/>
                        </a:lnTo>
                        <a:lnTo>
                          <a:pt x="162" y="148"/>
                        </a:lnTo>
                        <a:lnTo>
                          <a:pt x="176" y="146"/>
                        </a:lnTo>
                        <a:lnTo>
                          <a:pt x="188" y="142"/>
                        </a:lnTo>
                        <a:lnTo>
                          <a:pt x="188" y="142"/>
                        </a:lnTo>
                        <a:lnTo>
                          <a:pt x="202" y="134"/>
                        </a:lnTo>
                        <a:lnTo>
                          <a:pt x="212" y="126"/>
                        </a:lnTo>
                        <a:lnTo>
                          <a:pt x="222" y="118"/>
                        </a:lnTo>
                        <a:lnTo>
                          <a:pt x="226" y="108"/>
                        </a:lnTo>
                        <a:lnTo>
                          <a:pt x="226" y="108"/>
                        </a:lnTo>
                        <a:lnTo>
                          <a:pt x="236" y="106"/>
                        </a:lnTo>
                        <a:lnTo>
                          <a:pt x="248" y="104"/>
                        </a:lnTo>
                        <a:lnTo>
                          <a:pt x="248" y="104"/>
                        </a:lnTo>
                        <a:lnTo>
                          <a:pt x="256" y="100"/>
                        </a:lnTo>
                        <a:lnTo>
                          <a:pt x="262" y="96"/>
                        </a:lnTo>
                        <a:lnTo>
                          <a:pt x="268" y="90"/>
                        </a:lnTo>
                        <a:lnTo>
                          <a:pt x="272" y="84"/>
                        </a:lnTo>
                        <a:lnTo>
                          <a:pt x="272" y="84"/>
                        </a:lnTo>
                        <a:lnTo>
                          <a:pt x="276" y="86"/>
                        </a:lnTo>
                        <a:lnTo>
                          <a:pt x="280" y="88"/>
                        </a:lnTo>
                        <a:lnTo>
                          <a:pt x="284" y="88"/>
                        </a:lnTo>
                        <a:lnTo>
                          <a:pt x="290" y="86"/>
                        </a:lnTo>
                        <a:lnTo>
                          <a:pt x="290" y="86"/>
                        </a:lnTo>
                        <a:lnTo>
                          <a:pt x="294" y="84"/>
                        </a:lnTo>
                        <a:lnTo>
                          <a:pt x="298" y="78"/>
                        </a:lnTo>
                        <a:lnTo>
                          <a:pt x="300" y="72"/>
                        </a:lnTo>
                        <a:lnTo>
                          <a:pt x="298" y="64"/>
                        </a:lnTo>
                        <a:lnTo>
                          <a:pt x="298" y="64"/>
                        </a:lnTo>
                        <a:lnTo>
                          <a:pt x="296" y="60"/>
                        </a:lnTo>
                        <a:lnTo>
                          <a:pt x="290" y="56"/>
                        </a:lnTo>
                        <a:lnTo>
                          <a:pt x="290" y="56"/>
                        </a:lnTo>
                        <a:lnTo>
                          <a:pt x="302" y="56"/>
                        </a:lnTo>
                        <a:lnTo>
                          <a:pt x="314" y="54"/>
                        </a:lnTo>
                        <a:lnTo>
                          <a:pt x="314" y="54"/>
                        </a:lnTo>
                        <a:lnTo>
                          <a:pt x="326" y="46"/>
                        </a:lnTo>
                        <a:lnTo>
                          <a:pt x="334" y="38"/>
                        </a:lnTo>
                        <a:lnTo>
                          <a:pt x="336" y="26"/>
                        </a:lnTo>
                        <a:lnTo>
                          <a:pt x="336" y="22"/>
                        </a:lnTo>
                        <a:lnTo>
                          <a:pt x="336" y="16"/>
                        </a:lnTo>
                        <a:lnTo>
                          <a:pt x="336" y="16"/>
                        </a:lnTo>
                        <a:lnTo>
                          <a:pt x="332" y="12"/>
                        </a:lnTo>
                        <a:lnTo>
                          <a:pt x="330" y="8"/>
                        </a:lnTo>
                        <a:lnTo>
                          <a:pt x="318" y="2"/>
                        </a:lnTo>
                        <a:lnTo>
                          <a:pt x="306" y="0"/>
                        </a:lnTo>
                        <a:lnTo>
                          <a:pt x="294" y="4"/>
                        </a:lnTo>
                        <a:lnTo>
                          <a:pt x="294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09412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018824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528237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037649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47061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056473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565886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075298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01882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9" name="Freeform 7403">
                    <a:extLst>
                      <a:ext uri="{FF2B5EF4-FFF2-40B4-BE49-F238E27FC236}">
                        <a16:creationId xmlns:a16="http://schemas.microsoft.com/office/drawing/2014/main" id="{1C3ACF99-313D-48DA-905E-1CF3CC1A48E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101608" y="555447"/>
                    <a:ext cx="1273175" cy="1136650"/>
                  </a:xfrm>
                  <a:custGeom>
                    <a:avLst/>
                    <a:gdLst>
                      <a:gd name="T0" fmla="*/ 780 w 802"/>
                      <a:gd name="T1" fmla="*/ 124 h 716"/>
                      <a:gd name="T2" fmla="*/ 780 w 802"/>
                      <a:gd name="T3" fmla="*/ 64 h 716"/>
                      <a:gd name="T4" fmla="*/ 750 w 802"/>
                      <a:gd name="T5" fmla="*/ 26 h 716"/>
                      <a:gd name="T6" fmla="*/ 590 w 802"/>
                      <a:gd name="T7" fmla="*/ 50 h 716"/>
                      <a:gd name="T8" fmla="*/ 620 w 802"/>
                      <a:gd name="T9" fmla="*/ 88 h 716"/>
                      <a:gd name="T10" fmla="*/ 620 w 802"/>
                      <a:gd name="T11" fmla="*/ 160 h 716"/>
                      <a:gd name="T12" fmla="*/ 560 w 802"/>
                      <a:gd name="T13" fmla="*/ 148 h 716"/>
                      <a:gd name="T14" fmla="*/ 560 w 802"/>
                      <a:gd name="T15" fmla="*/ 218 h 716"/>
                      <a:gd name="T16" fmla="*/ 548 w 802"/>
                      <a:gd name="T17" fmla="*/ 264 h 716"/>
                      <a:gd name="T18" fmla="*/ 548 w 802"/>
                      <a:gd name="T19" fmla="*/ 328 h 716"/>
                      <a:gd name="T20" fmla="*/ 560 w 802"/>
                      <a:gd name="T21" fmla="*/ 374 h 716"/>
                      <a:gd name="T22" fmla="*/ 560 w 802"/>
                      <a:gd name="T23" fmla="*/ 464 h 716"/>
                      <a:gd name="T24" fmla="*/ 516 w 802"/>
                      <a:gd name="T25" fmla="*/ 522 h 716"/>
                      <a:gd name="T26" fmla="*/ 516 w 802"/>
                      <a:gd name="T27" fmla="*/ 102 h 716"/>
                      <a:gd name="T28" fmla="*/ 488 w 802"/>
                      <a:gd name="T29" fmla="*/ 64 h 716"/>
                      <a:gd name="T30" fmla="*/ 488 w 802"/>
                      <a:gd name="T31" fmla="*/ 0 h 716"/>
                      <a:gd name="T32" fmla="*/ 358 w 802"/>
                      <a:gd name="T33" fmla="*/ 50 h 716"/>
                      <a:gd name="T34" fmla="*/ 358 w 802"/>
                      <a:gd name="T35" fmla="*/ 102 h 716"/>
                      <a:gd name="T36" fmla="*/ 326 w 802"/>
                      <a:gd name="T37" fmla="*/ 160 h 716"/>
                      <a:gd name="T38" fmla="*/ 296 w 802"/>
                      <a:gd name="T39" fmla="*/ 174 h 716"/>
                      <a:gd name="T40" fmla="*/ 284 w 802"/>
                      <a:gd name="T41" fmla="*/ 218 h 716"/>
                      <a:gd name="T42" fmla="*/ 284 w 802"/>
                      <a:gd name="T43" fmla="*/ 278 h 716"/>
                      <a:gd name="T44" fmla="*/ 296 w 802"/>
                      <a:gd name="T45" fmla="*/ 328 h 716"/>
                      <a:gd name="T46" fmla="*/ 296 w 802"/>
                      <a:gd name="T47" fmla="*/ 408 h 716"/>
                      <a:gd name="T48" fmla="*/ 284 w 802"/>
                      <a:gd name="T49" fmla="*/ 464 h 716"/>
                      <a:gd name="T50" fmla="*/ 252 w 802"/>
                      <a:gd name="T51" fmla="*/ 160 h 716"/>
                      <a:gd name="T52" fmla="*/ 224 w 802"/>
                      <a:gd name="T53" fmla="*/ 102 h 716"/>
                      <a:gd name="T54" fmla="*/ 224 w 802"/>
                      <a:gd name="T55" fmla="*/ 50 h 716"/>
                      <a:gd name="T56" fmla="*/ 94 w 802"/>
                      <a:gd name="T57" fmla="*/ 0 h 716"/>
                      <a:gd name="T58" fmla="*/ 94 w 802"/>
                      <a:gd name="T59" fmla="*/ 64 h 716"/>
                      <a:gd name="T60" fmla="*/ 62 w 802"/>
                      <a:gd name="T61" fmla="*/ 102 h 716"/>
                      <a:gd name="T62" fmla="*/ 62 w 802"/>
                      <a:gd name="T63" fmla="*/ 174 h 716"/>
                      <a:gd name="T64" fmla="*/ 20 w 802"/>
                      <a:gd name="T65" fmla="*/ 174 h 716"/>
                      <a:gd name="T66" fmla="*/ 20 w 802"/>
                      <a:gd name="T67" fmla="*/ 232 h 716"/>
                      <a:gd name="T68" fmla="*/ 34 w 802"/>
                      <a:gd name="T69" fmla="*/ 278 h 716"/>
                      <a:gd name="T70" fmla="*/ 34 w 802"/>
                      <a:gd name="T71" fmla="*/ 362 h 716"/>
                      <a:gd name="T72" fmla="*/ 20 w 802"/>
                      <a:gd name="T73" fmla="*/ 408 h 716"/>
                      <a:gd name="T74" fmla="*/ 20 w 802"/>
                      <a:gd name="T75" fmla="*/ 474 h 716"/>
                      <a:gd name="T76" fmla="*/ 802 w 802"/>
                      <a:gd name="T77" fmla="*/ 716 h 716"/>
                      <a:gd name="T78" fmla="*/ 590 w 802"/>
                      <a:gd name="T79" fmla="*/ 218 h 716"/>
                      <a:gd name="T80" fmla="*/ 590 w 802"/>
                      <a:gd name="T81" fmla="*/ 264 h 716"/>
                      <a:gd name="T82" fmla="*/ 590 w 802"/>
                      <a:gd name="T83" fmla="*/ 314 h 716"/>
                      <a:gd name="T84" fmla="*/ 590 w 802"/>
                      <a:gd name="T85" fmla="*/ 362 h 716"/>
                      <a:gd name="T86" fmla="*/ 590 w 802"/>
                      <a:gd name="T87" fmla="*/ 408 h 716"/>
                      <a:gd name="T88" fmla="*/ 590 w 802"/>
                      <a:gd name="T89" fmla="*/ 464 h 716"/>
                      <a:gd name="T90" fmla="*/ 590 w 802"/>
                      <a:gd name="T91" fmla="*/ 522 h 716"/>
                      <a:gd name="T92" fmla="*/ 326 w 802"/>
                      <a:gd name="T93" fmla="*/ 218 h 716"/>
                      <a:gd name="T94" fmla="*/ 326 w 802"/>
                      <a:gd name="T95" fmla="*/ 264 h 716"/>
                      <a:gd name="T96" fmla="*/ 326 w 802"/>
                      <a:gd name="T97" fmla="*/ 314 h 716"/>
                      <a:gd name="T98" fmla="*/ 326 w 802"/>
                      <a:gd name="T99" fmla="*/ 362 h 716"/>
                      <a:gd name="T100" fmla="*/ 326 w 802"/>
                      <a:gd name="T101" fmla="*/ 408 h 716"/>
                      <a:gd name="T102" fmla="*/ 326 w 802"/>
                      <a:gd name="T103" fmla="*/ 464 h 716"/>
                      <a:gd name="T104" fmla="*/ 326 w 802"/>
                      <a:gd name="T105" fmla="*/ 522 h 716"/>
                      <a:gd name="T106" fmla="*/ 62 w 802"/>
                      <a:gd name="T107" fmla="*/ 218 h 716"/>
                      <a:gd name="T108" fmla="*/ 62 w 802"/>
                      <a:gd name="T109" fmla="*/ 264 h 716"/>
                      <a:gd name="T110" fmla="*/ 62 w 802"/>
                      <a:gd name="T111" fmla="*/ 314 h 716"/>
                      <a:gd name="T112" fmla="*/ 62 w 802"/>
                      <a:gd name="T113" fmla="*/ 362 h 716"/>
                      <a:gd name="T114" fmla="*/ 62 w 802"/>
                      <a:gd name="T115" fmla="*/ 408 h 716"/>
                      <a:gd name="T116" fmla="*/ 62 w 802"/>
                      <a:gd name="T117" fmla="*/ 464 h 716"/>
                      <a:gd name="T118" fmla="*/ 62 w 802"/>
                      <a:gd name="T119" fmla="*/ 522 h 7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802" h="716">
                        <a:moveTo>
                          <a:pt x="780" y="522"/>
                        </a:moveTo>
                        <a:lnTo>
                          <a:pt x="780" y="160"/>
                        </a:lnTo>
                        <a:lnTo>
                          <a:pt x="750" y="160"/>
                        </a:lnTo>
                        <a:lnTo>
                          <a:pt x="750" y="124"/>
                        </a:lnTo>
                        <a:lnTo>
                          <a:pt x="780" y="124"/>
                        </a:lnTo>
                        <a:lnTo>
                          <a:pt x="780" y="102"/>
                        </a:lnTo>
                        <a:lnTo>
                          <a:pt x="750" y="102"/>
                        </a:lnTo>
                        <a:lnTo>
                          <a:pt x="750" y="88"/>
                        </a:lnTo>
                        <a:lnTo>
                          <a:pt x="780" y="88"/>
                        </a:lnTo>
                        <a:lnTo>
                          <a:pt x="780" y="64"/>
                        </a:lnTo>
                        <a:lnTo>
                          <a:pt x="750" y="64"/>
                        </a:lnTo>
                        <a:lnTo>
                          <a:pt x="750" y="50"/>
                        </a:lnTo>
                        <a:lnTo>
                          <a:pt x="780" y="50"/>
                        </a:lnTo>
                        <a:lnTo>
                          <a:pt x="780" y="26"/>
                        </a:lnTo>
                        <a:lnTo>
                          <a:pt x="750" y="26"/>
                        </a:lnTo>
                        <a:lnTo>
                          <a:pt x="750" y="0"/>
                        </a:lnTo>
                        <a:lnTo>
                          <a:pt x="620" y="0"/>
                        </a:lnTo>
                        <a:lnTo>
                          <a:pt x="620" y="26"/>
                        </a:lnTo>
                        <a:lnTo>
                          <a:pt x="590" y="26"/>
                        </a:lnTo>
                        <a:lnTo>
                          <a:pt x="590" y="50"/>
                        </a:lnTo>
                        <a:lnTo>
                          <a:pt x="620" y="50"/>
                        </a:lnTo>
                        <a:lnTo>
                          <a:pt x="620" y="64"/>
                        </a:lnTo>
                        <a:lnTo>
                          <a:pt x="590" y="64"/>
                        </a:lnTo>
                        <a:lnTo>
                          <a:pt x="590" y="88"/>
                        </a:lnTo>
                        <a:lnTo>
                          <a:pt x="620" y="88"/>
                        </a:lnTo>
                        <a:lnTo>
                          <a:pt x="620" y="102"/>
                        </a:lnTo>
                        <a:lnTo>
                          <a:pt x="590" y="102"/>
                        </a:lnTo>
                        <a:lnTo>
                          <a:pt x="590" y="124"/>
                        </a:lnTo>
                        <a:lnTo>
                          <a:pt x="620" y="124"/>
                        </a:lnTo>
                        <a:lnTo>
                          <a:pt x="620" y="160"/>
                        </a:lnTo>
                        <a:lnTo>
                          <a:pt x="590" y="160"/>
                        </a:lnTo>
                        <a:lnTo>
                          <a:pt x="590" y="174"/>
                        </a:lnTo>
                        <a:lnTo>
                          <a:pt x="566" y="174"/>
                        </a:lnTo>
                        <a:lnTo>
                          <a:pt x="566" y="148"/>
                        </a:lnTo>
                        <a:lnTo>
                          <a:pt x="560" y="148"/>
                        </a:lnTo>
                        <a:lnTo>
                          <a:pt x="560" y="174"/>
                        </a:lnTo>
                        <a:lnTo>
                          <a:pt x="548" y="174"/>
                        </a:lnTo>
                        <a:lnTo>
                          <a:pt x="548" y="190"/>
                        </a:lnTo>
                        <a:lnTo>
                          <a:pt x="560" y="190"/>
                        </a:lnTo>
                        <a:lnTo>
                          <a:pt x="560" y="218"/>
                        </a:lnTo>
                        <a:lnTo>
                          <a:pt x="548" y="218"/>
                        </a:lnTo>
                        <a:lnTo>
                          <a:pt x="548" y="232"/>
                        </a:lnTo>
                        <a:lnTo>
                          <a:pt x="560" y="232"/>
                        </a:lnTo>
                        <a:lnTo>
                          <a:pt x="560" y="264"/>
                        </a:lnTo>
                        <a:lnTo>
                          <a:pt x="548" y="264"/>
                        </a:lnTo>
                        <a:lnTo>
                          <a:pt x="548" y="278"/>
                        </a:lnTo>
                        <a:lnTo>
                          <a:pt x="560" y="278"/>
                        </a:lnTo>
                        <a:lnTo>
                          <a:pt x="560" y="314"/>
                        </a:lnTo>
                        <a:lnTo>
                          <a:pt x="548" y="314"/>
                        </a:lnTo>
                        <a:lnTo>
                          <a:pt x="548" y="328"/>
                        </a:lnTo>
                        <a:lnTo>
                          <a:pt x="560" y="328"/>
                        </a:lnTo>
                        <a:lnTo>
                          <a:pt x="560" y="362"/>
                        </a:lnTo>
                        <a:lnTo>
                          <a:pt x="548" y="362"/>
                        </a:lnTo>
                        <a:lnTo>
                          <a:pt x="548" y="374"/>
                        </a:lnTo>
                        <a:lnTo>
                          <a:pt x="560" y="374"/>
                        </a:lnTo>
                        <a:lnTo>
                          <a:pt x="560" y="408"/>
                        </a:lnTo>
                        <a:lnTo>
                          <a:pt x="548" y="408"/>
                        </a:lnTo>
                        <a:lnTo>
                          <a:pt x="548" y="426"/>
                        </a:lnTo>
                        <a:lnTo>
                          <a:pt x="560" y="426"/>
                        </a:lnTo>
                        <a:lnTo>
                          <a:pt x="560" y="464"/>
                        </a:lnTo>
                        <a:lnTo>
                          <a:pt x="548" y="464"/>
                        </a:lnTo>
                        <a:lnTo>
                          <a:pt x="548" y="474"/>
                        </a:lnTo>
                        <a:lnTo>
                          <a:pt x="560" y="474"/>
                        </a:lnTo>
                        <a:lnTo>
                          <a:pt x="560" y="522"/>
                        </a:lnTo>
                        <a:lnTo>
                          <a:pt x="516" y="522"/>
                        </a:lnTo>
                        <a:lnTo>
                          <a:pt x="516" y="160"/>
                        </a:lnTo>
                        <a:lnTo>
                          <a:pt x="488" y="160"/>
                        </a:lnTo>
                        <a:lnTo>
                          <a:pt x="488" y="124"/>
                        </a:lnTo>
                        <a:lnTo>
                          <a:pt x="516" y="124"/>
                        </a:lnTo>
                        <a:lnTo>
                          <a:pt x="516" y="102"/>
                        </a:lnTo>
                        <a:lnTo>
                          <a:pt x="488" y="102"/>
                        </a:lnTo>
                        <a:lnTo>
                          <a:pt x="488" y="88"/>
                        </a:lnTo>
                        <a:lnTo>
                          <a:pt x="516" y="88"/>
                        </a:lnTo>
                        <a:lnTo>
                          <a:pt x="516" y="64"/>
                        </a:lnTo>
                        <a:lnTo>
                          <a:pt x="488" y="64"/>
                        </a:lnTo>
                        <a:lnTo>
                          <a:pt x="488" y="50"/>
                        </a:lnTo>
                        <a:lnTo>
                          <a:pt x="516" y="50"/>
                        </a:lnTo>
                        <a:lnTo>
                          <a:pt x="516" y="26"/>
                        </a:lnTo>
                        <a:lnTo>
                          <a:pt x="488" y="26"/>
                        </a:lnTo>
                        <a:lnTo>
                          <a:pt x="488" y="0"/>
                        </a:lnTo>
                        <a:lnTo>
                          <a:pt x="358" y="0"/>
                        </a:lnTo>
                        <a:lnTo>
                          <a:pt x="358" y="26"/>
                        </a:lnTo>
                        <a:lnTo>
                          <a:pt x="326" y="26"/>
                        </a:lnTo>
                        <a:lnTo>
                          <a:pt x="326" y="50"/>
                        </a:lnTo>
                        <a:lnTo>
                          <a:pt x="358" y="50"/>
                        </a:lnTo>
                        <a:lnTo>
                          <a:pt x="358" y="64"/>
                        </a:lnTo>
                        <a:lnTo>
                          <a:pt x="326" y="64"/>
                        </a:lnTo>
                        <a:lnTo>
                          <a:pt x="326" y="88"/>
                        </a:lnTo>
                        <a:lnTo>
                          <a:pt x="358" y="88"/>
                        </a:lnTo>
                        <a:lnTo>
                          <a:pt x="358" y="102"/>
                        </a:lnTo>
                        <a:lnTo>
                          <a:pt x="326" y="102"/>
                        </a:lnTo>
                        <a:lnTo>
                          <a:pt x="326" y="124"/>
                        </a:lnTo>
                        <a:lnTo>
                          <a:pt x="358" y="124"/>
                        </a:lnTo>
                        <a:lnTo>
                          <a:pt x="358" y="160"/>
                        </a:lnTo>
                        <a:lnTo>
                          <a:pt x="326" y="160"/>
                        </a:lnTo>
                        <a:lnTo>
                          <a:pt x="326" y="174"/>
                        </a:lnTo>
                        <a:lnTo>
                          <a:pt x="304" y="174"/>
                        </a:lnTo>
                        <a:lnTo>
                          <a:pt x="304" y="148"/>
                        </a:lnTo>
                        <a:lnTo>
                          <a:pt x="296" y="148"/>
                        </a:lnTo>
                        <a:lnTo>
                          <a:pt x="296" y="174"/>
                        </a:lnTo>
                        <a:lnTo>
                          <a:pt x="284" y="174"/>
                        </a:lnTo>
                        <a:lnTo>
                          <a:pt x="284" y="190"/>
                        </a:lnTo>
                        <a:lnTo>
                          <a:pt x="296" y="190"/>
                        </a:lnTo>
                        <a:lnTo>
                          <a:pt x="296" y="218"/>
                        </a:lnTo>
                        <a:lnTo>
                          <a:pt x="284" y="218"/>
                        </a:lnTo>
                        <a:lnTo>
                          <a:pt x="284" y="232"/>
                        </a:lnTo>
                        <a:lnTo>
                          <a:pt x="296" y="232"/>
                        </a:lnTo>
                        <a:lnTo>
                          <a:pt x="296" y="264"/>
                        </a:lnTo>
                        <a:lnTo>
                          <a:pt x="284" y="264"/>
                        </a:lnTo>
                        <a:lnTo>
                          <a:pt x="284" y="278"/>
                        </a:lnTo>
                        <a:lnTo>
                          <a:pt x="296" y="278"/>
                        </a:lnTo>
                        <a:lnTo>
                          <a:pt x="296" y="314"/>
                        </a:lnTo>
                        <a:lnTo>
                          <a:pt x="284" y="314"/>
                        </a:lnTo>
                        <a:lnTo>
                          <a:pt x="284" y="328"/>
                        </a:lnTo>
                        <a:lnTo>
                          <a:pt x="296" y="328"/>
                        </a:lnTo>
                        <a:lnTo>
                          <a:pt x="296" y="362"/>
                        </a:lnTo>
                        <a:lnTo>
                          <a:pt x="284" y="362"/>
                        </a:lnTo>
                        <a:lnTo>
                          <a:pt x="284" y="374"/>
                        </a:lnTo>
                        <a:lnTo>
                          <a:pt x="296" y="374"/>
                        </a:lnTo>
                        <a:lnTo>
                          <a:pt x="296" y="408"/>
                        </a:lnTo>
                        <a:lnTo>
                          <a:pt x="284" y="408"/>
                        </a:lnTo>
                        <a:lnTo>
                          <a:pt x="284" y="426"/>
                        </a:lnTo>
                        <a:lnTo>
                          <a:pt x="296" y="426"/>
                        </a:lnTo>
                        <a:lnTo>
                          <a:pt x="296" y="464"/>
                        </a:lnTo>
                        <a:lnTo>
                          <a:pt x="284" y="464"/>
                        </a:lnTo>
                        <a:lnTo>
                          <a:pt x="284" y="474"/>
                        </a:lnTo>
                        <a:lnTo>
                          <a:pt x="296" y="474"/>
                        </a:lnTo>
                        <a:lnTo>
                          <a:pt x="296" y="522"/>
                        </a:lnTo>
                        <a:lnTo>
                          <a:pt x="252" y="522"/>
                        </a:lnTo>
                        <a:lnTo>
                          <a:pt x="252" y="160"/>
                        </a:lnTo>
                        <a:lnTo>
                          <a:pt x="224" y="160"/>
                        </a:lnTo>
                        <a:lnTo>
                          <a:pt x="224" y="124"/>
                        </a:lnTo>
                        <a:lnTo>
                          <a:pt x="252" y="124"/>
                        </a:lnTo>
                        <a:lnTo>
                          <a:pt x="252" y="102"/>
                        </a:lnTo>
                        <a:lnTo>
                          <a:pt x="224" y="102"/>
                        </a:lnTo>
                        <a:lnTo>
                          <a:pt x="224" y="88"/>
                        </a:lnTo>
                        <a:lnTo>
                          <a:pt x="252" y="88"/>
                        </a:lnTo>
                        <a:lnTo>
                          <a:pt x="252" y="64"/>
                        </a:lnTo>
                        <a:lnTo>
                          <a:pt x="224" y="64"/>
                        </a:lnTo>
                        <a:lnTo>
                          <a:pt x="224" y="50"/>
                        </a:lnTo>
                        <a:lnTo>
                          <a:pt x="252" y="50"/>
                        </a:lnTo>
                        <a:lnTo>
                          <a:pt x="252" y="26"/>
                        </a:lnTo>
                        <a:lnTo>
                          <a:pt x="224" y="26"/>
                        </a:lnTo>
                        <a:lnTo>
                          <a:pt x="224" y="0"/>
                        </a:lnTo>
                        <a:lnTo>
                          <a:pt x="94" y="0"/>
                        </a:lnTo>
                        <a:lnTo>
                          <a:pt x="94" y="26"/>
                        </a:lnTo>
                        <a:lnTo>
                          <a:pt x="62" y="26"/>
                        </a:lnTo>
                        <a:lnTo>
                          <a:pt x="62" y="50"/>
                        </a:lnTo>
                        <a:lnTo>
                          <a:pt x="94" y="50"/>
                        </a:lnTo>
                        <a:lnTo>
                          <a:pt x="94" y="64"/>
                        </a:lnTo>
                        <a:lnTo>
                          <a:pt x="62" y="64"/>
                        </a:lnTo>
                        <a:lnTo>
                          <a:pt x="62" y="88"/>
                        </a:lnTo>
                        <a:lnTo>
                          <a:pt x="94" y="88"/>
                        </a:lnTo>
                        <a:lnTo>
                          <a:pt x="94" y="102"/>
                        </a:lnTo>
                        <a:lnTo>
                          <a:pt x="62" y="102"/>
                        </a:lnTo>
                        <a:lnTo>
                          <a:pt x="62" y="124"/>
                        </a:lnTo>
                        <a:lnTo>
                          <a:pt x="94" y="124"/>
                        </a:lnTo>
                        <a:lnTo>
                          <a:pt x="94" y="160"/>
                        </a:lnTo>
                        <a:lnTo>
                          <a:pt x="62" y="160"/>
                        </a:lnTo>
                        <a:lnTo>
                          <a:pt x="62" y="174"/>
                        </a:lnTo>
                        <a:lnTo>
                          <a:pt x="40" y="174"/>
                        </a:lnTo>
                        <a:lnTo>
                          <a:pt x="40" y="148"/>
                        </a:lnTo>
                        <a:lnTo>
                          <a:pt x="34" y="148"/>
                        </a:lnTo>
                        <a:lnTo>
                          <a:pt x="34" y="174"/>
                        </a:lnTo>
                        <a:lnTo>
                          <a:pt x="20" y="174"/>
                        </a:lnTo>
                        <a:lnTo>
                          <a:pt x="20" y="190"/>
                        </a:lnTo>
                        <a:lnTo>
                          <a:pt x="34" y="190"/>
                        </a:lnTo>
                        <a:lnTo>
                          <a:pt x="34" y="218"/>
                        </a:lnTo>
                        <a:lnTo>
                          <a:pt x="20" y="218"/>
                        </a:lnTo>
                        <a:lnTo>
                          <a:pt x="20" y="232"/>
                        </a:lnTo>
                        <a:lnTo>
                          <a:pt x="34" y="232"/>
                        </a:lnTo>
                        <a:lnTo>
                          <a:pt x="34" y="264"/>
                        </a:lnTo>
                        <a:lnTo>
                          <a:pt x="20" y="264"/>
                        </a:lnTo>
                        <a:lnTo>
                          <a:pt x="20" y="278"/>
                        </a:lnTo>
                        <a:lnTo>
                          <a:pt x="34" y="278"/>
                        </a:lnTo>
                        <a:lnTo>
                          <a:pt x="34" y="314"/>
                        </a:lnTo>
                        <a:lnTo>
                          <a:pt x="20" y="314"/>
                        </a:lnTo>
                        <a:lnTo>
                          <a:pt x="20" y="328"/>
                        </a:lnTo>
                        <a:lnTo>
                          <a:pt x="34" y="328"/>
                        </a:lnTo>
                        <a:lnTo>
                          <a:pt x="34" y="362"/>
                        </a:lnTo>
                        <a:lnTo>
                          <a:pt x="20" y="362"/>
                        </a:lnTo>
                        <a:lnTo>
                          <a:pt x="20" y="374"/>
                        </a:lnTo>
                        <a:lnTo>
                          <a:pt x="34" y="374"/>
                        </a:lnTo>
                        <a:lnTo>
                          <a:pt x="34" y="408"/>
                        </a:lnTo>
                        <a:lnTo>
                          <a:pt x="20" y="408"/>
                        </a:lnTo>
                        <a:lnTo>
                          <a:pt x="20" y="426"/>
                        </a:lnTo>
                        <a:lnTo>
                          <a:pt x="34" y="426"/>
                        </a:lnTo>
                        <a:lnTo>
                          <a:pt x="34" y="464"/>
                        </a:lnTo>
                        <a:lnTo>
                          <a:pt x="20" y="464"/>
                        </a:lnTo>
                        <a:lnTo>
                          <a:pt x="20" y="474"/>
                        </a:lnTo>
                        <a:lnTo>
                          <a:pt x="34" y="474"/>
                        </a:lnTo>
                        <a:lnTo>
                          <a:pt x="34" y="522"/>
                        </a:lnTo>
                        <a:lnTo>
                          <a:pt x="0" y="522"/>
                        </a:lnTo>
                        <a:lnTo>
                          <a:pt x="0" y="716"/>
                        </a:lnTo>
                        <a:lnTo>
                          <a:pt x="802" y="716"/>
                        </a:lnTo>
                        <a:lnTo>
                          <a:pt x="802" y="522"/>
                        </a:lnTo>
                        <a:lnTo>
                          <a:pt x="780" y="522"/>
                        </a:lnTo>
                        <a:close/>
                        <a:moveTo>
                          <a:pt x="566" y="190"/>
                        </a:moveTo>
                        <a:lnTo>
                          <a:pt x="590" y="190"/>
                        </a:lnTo>
                        <a:lnTo>
                          <a:pt x="590" y="218"/>
                        </a:lnTo>
                        <a:lnTo>
                          <a:pt x="566" y="218"/>
                        </a:lnTo>
                        <a:lnTo>
                          <a:pt x="566" y="190"/>
                        </a:lnTo>
                        <a:close/>
                        <a:moveTo>
                          <a:pt x="566" y="232"/>
                        </a:moveTo>
                        <a:lnTo>
                          <a:pt x="590" y="232"/>
                        </a:lnTo>
                        <a:lnTo>
                          <a:pt x="590" y="264"/>
                        </a:lnTo>
                        <a:lnTo>
                          <a:pt x="566" y="264"/>
                        </a:lnTo>
                        <a:lnTo>
                          <a:pt x="566" y="232"/>
                        </a:lnTo>
                        <a:close/>
                        <a:moveTo>
                          <a:pt x="566" y="278"/>
                        </a:moveTo>
                        <a:lnTo>
                          <a:pt x="590" y="278"/>
                        </a:lnTo>
                        <a:lnTo>
                          <a:pt x="590" y="314"/>
                        </a:lnTo>
                        <a:lnTo>
                          <a:pt x="566" y="314"/>
                        </a:lnTo>
                        <a:lnTo>
                          <a:pt x="566" y="278"/>
                        </a:lnTo>
                        <a:close/>
                        <a:moveTo>
                          <a:pt x="566" y="328"/>
                        </a:moveTo>
                        <a:lnTo>
                          <a:pt x="590" y="328"/>
                        </a:lnTo>
                        <a:lnTo>
                          <a:pt x="590" y="362"/>
                        </a:lnTo>
                        <a:lnTo>
                          <a:pt x="566" y="362"/>
                        </a:lnTo>
                        <a:lnTo>
                          <a:pt x="566" y="328"/>
                        </a:lnTo>
                        <a:close/>
                        <a:moveTo>
                          <a:pt x="566" y="374"/>
                        </a:moveTo>
                        <a:lnTo>
                          <a:pt x="590" y="374"/>
                        </a:lnTo>
                        <a:lnTo>
                          <a:pt x="590" y="408"/>
                        </a:lnTo>
                        <a:lnTo>
                          <a:pt x="566" y="408"/>
                        </a:lnTo>
                        <a:lnTo>
                          <a:pt x="566" y="374"/>
                        </a:lnTo>
                        <a:close/>
                        <a:moveTo>
                          <a:pt x="566" y="426"/>
                        </a:moveTo>
                        <a:lnTo>
                          <a:pt x="590" y="426"/>
                        </a:lnTo>
                        <a:lnTo>
                          <a:pt x="590" y="464"/>
                        </a:lnTo>
                        <a:lnTo>
                          <a:pt x="566" y="464"/>
                        </a:lnTo>
                        <a:lnTo>
                          <a:pt x="566" y="426"/>
                        </a:lnTo>
                        <a:close/>
                        <a:moveTo>
                          <a:pt x="566" y="474"/>
                        </a:moveTo>
                        <a:lnTo>
                          <a:pt x="590" y="474"/>
                        </a:lnTo>
                        <a:lnTo>
                          <a:pt x="590" y="522"/>
                        </a:lnTo>
                        <a:lnTo>
                          <a:pt x="566" y="522"/>
                        </a:lnTo>
                        <a:lnTo>
                          <a:pt x="566" y="474"/>
                        </a:lnTo>
                        <a:close/>
                        <a:moveTo>
                          <a:pt x="304" y="190"/>
                        </a:moveTo>
                        <a:lnTo>
                          <a:pt x="326" y="190"/>
                        </a:lnTo>
                        <a:lnTo>
                          <a:pt x="326" y="218"/>
                        </a:lnTo>
                        <a:lnTo>
                          <a:pt x="304" y="218"/>
                        </a:lnTo>
                        <a:lnTo>
                          <a:pt x="304" y="190"/>
                        </a:lnTo>
                        <a:close/>
                        <a:moveTo>
                          <a:pt x="304" y="232"/>
                        </a:moveTo>
                        <a:lnTo>
                          <a:pt x="326" y="232"/>
                        </a:lnTo>
                        <a:lnTo>
                          <a:pt x="326" y="264"/>
                        </a:lnTo>
                        <a:lnTo>
                          <a:pt x="304" y="264"/>
                        </a:lnTo>
                        <a:lnTo>
                          <a:pt x="304" y="232"/>
                        </a:lnTo>
                        <a:close/>
                        <a:moveTo>
                          <a:pt x="304" y="278"/>
                        </a:moveTo>
                        <a:lnTo>
                          <a:pt x="326" y="278"/>
                        </a:lnTo>
                        <a:lnTo>
                          <a:pt x="326" y="314"/>
                        </a:lnTo>
                        <a:lnTo>
                          <a:pt x="304" y="314"/>
                        </a:lnTo>
                        <a:lnTo>
                          <a:pt x="304" y="278"/>
                        </a:lnTo>
                        <a:close/>
                        <a:moveTo>
                          <a:pt x="304" y="328"/>
                        </a:moveTo>
                        <a:lnTo>
                          <a:pt x="326" y="328"/>
                        </a:lnTo>
                        <a:lnTo>
                          <a:pt x="326" y="362"/>
                        </a:lnTo>
                        <a:lnTo>
                          <a:pt x="304" y="362"/>
                        </a:lnTo>
                        <a:lnTo>
                          <a:pt x="304" y="328"/>
                        </a:lnTo>
                        <a:close/>
                        <a:moveTo>
                          <a:pt x="304" y="374"/>
                        </a:moveTo>
                        <a:lnTo>
                          <a:pt x="326" y="374"/>
                        </a:lnTo>
                        <a:lnTo>
                          <a:pt x="326" y="408"/>
                        </a:lnTo>
                        <a:lnTo>
                          <a:pt x="304" y="408"/>
                        </a:lnTo>
                        <a:lnTo>
                          <a:pt x="304" y="374"/>
                        </a:lnTo>
                        <a:close/>
                        <a:moveTo>
                          <a:pt x="304" y="426"/>
                        </a:moveTo>
                        <a:lnTo>
                          <a:pt x="326" y="426"/>
                        </a:lnTo>
                        <a:lnTo>
                          <a:pt x="326" y="464"/>
                        </a:lnTo>
                        <a:lnTo>
                          <a:pt x="304" y="464"/>
                        </a:lnTo>
                        <a:lnTo>
                          <a:pt x="304" y="426"/>
                        </a:lnTo>
                        <a:close/>
                        <a:moveTo>
                          <a:pt x="304" y="474"/>
                        </a:moveTo>
                        <a:lnTo>
                          <a:pt x="326" y="474"/>
                        </a:lnTo>
                        <a:lnTo>
                          <a:pt x="326" y="522"/>
                        </a:lnTo>
                        <a:lnTo>
                          <a:pt x="304" y="522"/>
                        </a:lnTo>
                        <a:lnTo>
                          <a:pt x="304" y="474"/>
                        </a:lnTo>
                        <a:close/>
                        <a:moveTo>
                          <a:pt x="40" y="190"/>
                        </a:moveTo>
                        <a:lnTo>
                          <a:pt x="62" y="190"/>
                        </a:lnTo>
                        <a:lnTo>
                          <a:pt x="62" y="218"/>
                        </a:lnTo>
                        <a:lnTo>
                          <a:pt x="40" y="218"/>
                        </a:lnTo>
                        <a:lnTo>
                          <a:pt x="40" y="190"/>
                        </a:lnTo>
                        <a:close/>
                        <a:moveTo>
                          <a:pt x="40" y="232"/>
                        </a:moveTo>
                        <a:lnTo>
                          <a:pt x="62" y="232"/>
                        </a:lnTo>
                        <a:lnTo>
                          <a:pt x="62" y="264"/>
                        </a:lnTo>
                        <a:lnTo>
                          <a:pt x="40" y="264"/>
                        </a:lnTo>
                        <a:lnTo>
                          <a:pt x="40" y="232"/>
                        </a:lnTo>
                        <a:close/>
                        <a:moveTo>
                          <a:pt x="40" y="278"/>
                        </a:moveTo>
                        <a:lnTo>
                          <a:pt x="62" y="278"/>
                        </a:lnTo>
                        <a:lnTo>
                          <a:pt x="62" y="314"/>
                        </a:lnTo>
                        <a:lnTo>
                          <a:pt x="40" y="314"/>
                        </a:lnTo>
                        <a:lnTo>
                          <a:pt x="40" y="278"/>
                        </a:lnTo>
                        <a:close/>
                        <a:moveTo>
                          <a:pt x="40" y="328"/>
                        </a:moveTo>
                        <a:lnTo>
                          <a:pt x="62" y="328"/>
                        </a:lnTo>
                        <a:lnTo>
                          <a:pt x="62" y="362"/>
                        </a:lnTo>
                        <a:lnTo>
                          <a:pt x="40" y="362"/>
                        </a:lnTo>
                        <a:lnTo>
                          <a:pt x="40" y="328"/>
                        </a:lnTo>
                        <a:close/>
                        <a:moveTo>
                          <a:pt x="40" y="374"/>
                        </a:moveTo>
                        <a:lnTo>
                          <a:pt x="62" y="374"/>
                        </a:lnTo>
                        <a:lnTo>
                          <a:pt x="62" y="408"/>
                        </a:lnTo>
                        <a:lnTo>
                          <a:pt x="40" y="408"/>
                        </a:lnTo>
                        <a:lnTo>
                          <a:pt x="40" y="374"/>
                        </a:lnTo>
                        <a:close/>
                        <a:moveTo>
                          <a:pt x="40" y="426"/>
                        </a:moveTo>
                        <a:lnTo>
                          <a:pt x="62" y="426"/>
                        </a:lnTo>
                        <a:lnTo>
                          <a:pt x="62" y="464"/>
                        </a:lnTo>
                        <a:lnTo>
                          <a:pt x="40" y="464"/>
                        </a:lnTo>
                        <a:lnTo>
                          <a:pt x="40" y="426"/>
                        </a:lnTo>
                        <a:close/>
                        <a:moveTo>
                          <a:pt x="40" y="474"/>
                        </a:moveTo>
                        <a:lnTo>
                          <a:pt x="62" y="474"/>
                        </a:lnTo>
                        <a:lnTo>
                          <a:pt x="62" y="522"/>
                        </a:lnTo>
                        <a:lnTo>
                          <a:pt x="40" y="522"/>
                        </a:lnTo>
                        <a:lnTo>
                          <a:pt x="40" y="47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09412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018824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528237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037649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47061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056473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565886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075298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01882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7023D959-A9F9-408E-829A-B29FE0F635C3}"/>
                  </a:ext>
                </a:extLst>
              </p:cNvPr>
              <p:cNvGrpSpPr/>
              <p:nvPr/>
            </p:nvGrpSpPr>
            <p:grpSpPr>
              <a:xfrm>
                <a:off x="10713313" y="4542095"/>
                <a:ext cx="173736" cy="173736"/>
                <a:chOff x="1248135" y="4582493"/>
                <a:chExt cx="677411" cy="826498"/>
              </a:xfrm>
            </p:grpSpPr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0E00BF62-614D-4AAA-833F-AEF7649DC93B}"/>
                    </a:ext>
                  </a:extLst>
                </p:cNvPr>
                <p:cNvSpPr/>
                <p:nvPr/>
              </p:nvSpPr>
              <p:spPr bwMode="ltGray">
                <a:xfrm>
                  <a:off x="1248135" y="4582493"/>
                  <a:ext cx="677411" cy="826498"/>
                </a:xfrm>
                <a:prstGeom prst="ellipse">
                  <a:avLst/>
                </a:prstGeom>
                <a:solidFill>
                  <a:schemeClr val="accent4">
                    <a:lumMod val="50000"/>
                  </a:schemeClr>
                </a:solidFill>
                <a:ln w="3175">
                  <a:solidFill>
                    <a:srgbClr val="968C6D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Freeform 325">
                  <a:extLst>
                    <a:ext uri="{FF2B5EF4-FFF2-40B4-BE49-F238E27FC236}">
                      <a16:creationId xmlns:a16="http://schemas.microsoft.com/office/drawing/2014/main" id="{000D706C-9D04-4EA0-905A-BE51AA9A614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36196" y="4719539"/>
                  <a:ext cx="315911" cy="474665"/>
                </a:xfrm>
                <a:custGeom>
                  <a:avLst/>
                  <a:gdLst>
                    <a:gd name="T0" fmla="*/ 606 w 993"/>
                    <a:gd name="T1" fmla="*/ 5 h 1494"/>
                    <a:gd name="T2" fmla="*/ 674 w 993"/>
                    <a:gd name="T3" fmla="*/ 34 h 1494"/>
                    <a:gd name="T4" fmla="*/ 733 w 993"/>
                    <a:gd name="T5" fmla="*/ 90 h 1494"/>
                    <a:gd name="T6" fmla="*/ 784 w 993"/>
                    <a:gd name="T7" fmla="*/ 170 h 1494"/>
                    <a:gd name="T8" fmla="*/ 817 w 993"/>
                    <a:gd name="T9" fmla="*/ 249 h 1494"/>
                    <a:gd name="T10" fmla="*/ 856 w 993"/>
                    <a:gd name="T11" fmla="*/ 394 h 1494"/>
                    <a:gd name="T12" fmla="*/ 873 w 993"/>
                    <a:gd name="T13" fmla="*/ 517 h 1494"/>
                    <a:gd name="T14" fmla="*/ 986 w 993"/>
                    <a:gd name="T15" fmla="*/ 411 h 1494"/>
                    <a:gd name="T16" fmla="*/ 963 w 993"/>
                    <a:gd name="T17" fmla="*/ 543 h 1494"/>
                    <a:gd name="T18" fmla="*/ 945 w 993"/>
                    <a:gd name="T19" fmla="*/ 865 h 1494"/>
                    <a:gd name="T20" fmla="*/ 928 w 993"/>
                    <a:gd name="T21" fmla="*/ 1004 h 1494"/>
                    <a:gd name="T22" fmla="*/ 895 w 993"/>
                    <a:gd name="T23" fmla="*/ 1127 h 1494"/>
                    <a:gd name="T24" fmla="*/ 844 w 993"/>
                    <a:gd name="T25" fmla="*/ 1220 h 1494"/>
                    <a:gd name="T26" fmla="*/ 804 w 993"/>
                    <a:gd name="T27" fmla="*/ 1263 h 1494"/>
                    <a:gd name="T28" fmla="*/ 753 w 993"/>
                    <a:gd name="T29" fmla="*/ 1300 h 1494"/>
                    <a:gd name="T30" fmla="*/ 692 w 993"/>
                    <a:gd name="T31" fmla="*/ 1328 h 1494"/>
                    <a:gd name="T32" fmla="*/ 447 w 993"/>
                    <a:gd name="T33" fmla="*/ 1368 h 1494"/>
                    <a:gd name="T34" fmla="*/ 396 w 993"/>
                    <a:gd name="T35" fmla="*/ 1355 h 1494"/>
                    <a:gd name="T36" fmla="*/ 340 w 993"/>
                    <a:gd name="T37" fmla="*/ 1329 h 1494"/>
                    <a:gd name="T38" fmla="*/ 294 w 993"/>
                    <a:gd name="T39" fmla="*/ 1291 h 1494"/>
                    <a:gd name="T40" fmla="*/ 258 w 993"/>
                    <a:gd name="T41" fmla="*/ 1245 h 1494"/>
                    <a:gd name="T42" fmla="*/ 215 w 993"/>
                    <a:gd name="T43" fmla="*/ 1144 h 1494"/>
                    <a:gd name="T44" fmla="*/ 186 w 993"/>
                    <a:gd name="T45" fmla="*/ 1007 h 1494"/>
                    <a:gd name="T46" fmla="*/ 153 w 993"/>
                    <a:gd name="T47" fmla="*/ 771 h 1494"/>
                    <a:gd name="T48" fmla="*/ 121 w 993"/>
                    <a:gd name="T49" fmla="*/ 607 h 1494"/>
                    <a:gd name="T50" fmla="*/ 65 w 993"/>
                    <a:gd name="T51" fmla="*/ 449 h 1494"/>
                    <a:gd name="T52" fmla="*/ 12 w 993"/>
                    <a:gd name="T53" fmla="*/ 356 h 1494"/>
                    <a:gd name="T54" fmla="*/ 82 w 993"/>
                    <a:gd name="T55" fmla="*/ 370 h 1494"/>
                    <a:gd name="T56" fmla="*/ 217 w 993"/>
                    <a:gd name="T57" fmla="*/ 444 h 1494"/>
                    <a:gd name="T58" fmla="*/ 277 w 993"/>
                    <a:gd name="T59" fmla="*/ 448 h 1494"/>
                    <a:gd name="T60" fmla="*/ 306 w 993"/>
                    <a:gd name="T61" fmla="*/ 309 h 1494"/>
                    <a:gd name="T62" fmla="*/ 336 w 993"/>
                    <a:gd name="T63" fmla="*/ 218 h 1494"/>
                    <a:gd name="T64" fmla="*/ 382 w 993"/>
                    <a:gd name="T65" fmla="*/ 127 h 1494"/>
                    <a:gd name="T66" fmla="*/ 437 w 993"/>
                    <a:gd name="T67" fmla="*/ 59 h 1494"/>
                    <a:gd name="T68" fmla="*/ 500 w 993"/>
                    <a:gd name="T69" fmla="*/ 16 h 1494"/>
                    <a:gd name="T70" fmla="*/ 571 w 993"/>
                    <a:gd name="T71" fmla="*/ 0 h 1494"/>
                    <a:gd name="T72" fmla="*/ 667 w 993"/>
                    <a:gd name="T73" fmla="*/ 1031 h 1494"/>
                    <a:gd name="T74" fmla="*/ 629 w 993"/>
                    <a:gd name="T75" fmla="*/ 979 h 1494"/>
                    <a:gd name="T76" fmla="*/ 709 w 993"/>
                    <a:gd name="T77" fmla="*/ 876 h 1494"/>
                    <a:gd name="T78" fmla="*/ 655 w 993"/>
                    <a:gd name="T79" fmla="*/ 772 h 1494"/>
                    <a:gd name="T80" fmla="*/ 655 w 993"/>
                    <a:gd name="T81" fmla="*/ 721 h 1494"/>
                    <a:gd name="T82" fmla="*/ 728 w 993"/>
                    <a:gd name="T83" fmla="*/ 644 h 1494"/>
                    <a:gd name="T84" fmla="*/ 655 w 993"/>
                    <a:gd name="T85" fmla="*/ 515 h 1494"/>
                    <a:gd name="T86" fmla="*/ 714 w 993"/>
                    <a:gd name="T87" fmla="*/ 463 h 1494"/>
                    <a:gd name="T88" fmla="*/ 700 w 993"/>
                    <a:gd name="T89" fmla="*/ 386 h 1494"/>
                    <a:gd name="T90" fmla="*/ 603 w 993"/>
                    <a:gd name="T91" fmla="*/ 335 h 1494"/>
                    <a:gd name="T92" fmla="*/ 647 w 993"/>
                    <a:gd name="T93" fmla="*/ 234 h 1494"/>
                    <a:gd name="T94" fmla="*/ 603 w 993"/>
                    <a:gd name="T95" fmla="*/ 168 h 1494"/>
                    <a:gd name="T96" fmla="*/ 576 w 993"/>
                    <a:gd name="T97" fmla="*/ 153 h 1494"/>
                    <a:gd name="T98" fmla="*/ 559 w 993"/>
                    <a:gd name="T99" fmla="*/ 154 h 1494"/>
                    <a:gd name="T100" fmla="*/ 536 w 993"/>
                    <a:gd name="T101" fmla="*/ 170 h 1494"/>
                    <a:gd name="T102" fmla="*/ 488 w 993"/>
                    <a:gd name="T103" fmla="*/ 247 h 1494"/>
                    <a:gd name="T104" fmla="*/ 450 w 993"/>
                    <a:gd name="T105" fmla="*/ 353 h 1494"/>
                    <a:gd name="T106" fmla="*/ 418 w 993"/>
                    <a:gd name="T107" fmla="*/ 545 h 1494"/>
                    <a:gd name="T108" fmla="*/ 413 w 993"/>
                    <a:gd name="T109" fmla="*/ 660 h 1494"/>
                    <a:gd name="T110" fmla="*/ 464 w 993"/>
                    <a:gd name="T111" fmla="*/ 766 h 1494"/>
                    <a:gd name="T112" fmla="*/ 550 w 993"/>
                    <a:gd name="T113" fmla="*/ 1010 h 1494"/>
                    <a:gd name="T114" fmla="*/ 604 w 993"/>
                    <a:gd name="T115" fmla="*/ 1140 h 1494"/>
                    <a:gd name="T116" fmla="*/ 603 w 993"/>
                    <a:gd name="T117" fmla="*/ 1108 h 14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93" h="1494">
                      <a:moveTo>
                        <a:pt x="571" y="0"/>
                      </a:moveTo>
                      <a:lnTo>
                        <a:pt x="571" y="0"/>
                      </a:lnTo>
                      <a:lnTo>
                        <a:pt x="589" y="2"/>
                      </a:lnTo>
                      <a:lnTo>
                        <a:pt x="606" y="5"/>
                      </a:lnTo>
                      <a:lnTo>
                        <a:pt x="624" y="9"/>
                      </a:lnTo>
                      <a:lnTo>
                        <a:pt x="641" y="16"/>
                      </a:lnTo>
                      <a:lnTo>
                        <a:pt x="657" y="24"/>
                      </a:lnTo>
                      <a:lnTo>
                        <a:pt x="674" y="34"/>
                      </a:lnTo>
                      <a:lnTo>
                        <a:pt x="690" y="46"/>
                      </a:lnTo>
                      <a:lnTo>
                        <a:pt x="705" y="59"/>
                      </a:lnTo>
                      <a:lnTo>
                        <a:pt x="719" y="74"/>
                      </a:lnTo>
                      <a:lnTo>
                        <a:pt x="733" y="90"/>
                      </a:lnTo>
                      <a:lnTo>
                        <a:pt x="747" y="109"/>
                      </a:lnTo>
                      <a:lnTo>
                        <a:pt x="759" y="127"/>
                      </a:lnTo>
                      <a:lnTo>
                        <a:pt x="772" y="148"/>
                      </a:lnTo>
                      <a:lnTo>
                        <a:pt x="784" y="170"/>
                      </a:lnTo>
                      <a:lnTo>
                        <a:pt x="795" y="193"/>
                      </a:lnTo>
                      <a:lnTo>
                        <a:pt x="806" y="218"/>
                      </a:lnTo>
                      <a:lnTo>
                        <a:pt x="806" y="218"/>
                      </a:lnTo>
                      <a:lnTo>
                        <a:pt x="817" y="249"/>
                      </a:lnTo>
                      <a:lnTo>
                        <a:pt x="829" y="283"/>
                      </a:lnTo>
                      <a:lnTo>
                        <a:pt x="838" y="318"/>
                      </a:lnTo>
                      <a:lnTo>
                        <a:pt x="847" y="355"/>
                      </a:lnTo>
                      <a:lnTo>
                        <a:pt x="856" y="394"/>
                      </a:lnTo>
                      <a:lnTo>
                        <a:pt x="862" y="434"/>
                      </a:lnTo>
                      <a:lnTo>
                        <a:pt x="868" y="475"/>
                      </a:lnTo>
                      <a:lnTo>
                        <a:pt x="873" y="517"/>
                      </a:lnTo>
                      <a:lnTo>
                        <a:pt x="873" y="517"/>
                      </a:lnTo>
                      <a:lnTo>
                        <a:pt x="953" y="425"/>
                      </a:lnTo>
                      <a:lnTo>
                        <a:pt x="993" y="380"/>
                      </a:lnTo>
                      <a:lnTo>
                        <a:pt x="993" y="380"/>
                      </a:lnTo>
                      <a:lnTo>
                        <a:pt x="986" y="411"/>
                      </a:lnTo>
                      <a:lnTo>
                        <a:pt x="978" y="443"/>
                      </a:lnTo>
                      <a:lnTo>
                        <a:pt x="973" y="476"/>
                      </a:lnTo>
                      <a:lnTo>
                        <a:pt x="967" y="510"/>
                      </a:lnTo>
                      <a:lnTo>
                        <a:pt x="963" y="543"/>
                      </a:lnTo>
                      <a:lnTo>
                        <a:pt x="960" y="579"/>
                      </a:lnTo>
                      <a:lnTo>
                        <a:pt x="955" y="650"/>
                      </a:lnTo>
                      <a:lnTo>
                        <a:pt x="949" y="794"/>
                      </a:lnTo>
                      <a:lnTo>
                        <a:pt x="945" y="865"/>
                      </a:lnTo>
                      <a:lnTo>
                        <a:pt x="941" y="901"/>
                      </a:lnTo>
                      <a:lnTo>
                        <a:pt x="938" y="936"/>
                      </a:lnTo>
                      <a:lnTo>
                        <a:pt x="934" y="970"/>
                      </a:lnTo>
                      <a:lnTo>
                        <a:pt x="928" y="1004"/>
                      </a:lnTo>
                      <a:lnTo>
                        <a:pt x="923" y="1036"/>
                      </a:lnTo>
                      <a:lnTo>
                        <a:pt x="915" y="1068"/>
                      </a:lnTo>
                      <a:lnTo>
                        <a:pt x="906" y="1098"/>
                      </a:lnTo>
                      <a:lnTo>
                        <a:pt x="895" y="1127"/>
                      </a:lnTo>
                      <a:lnTo>
                        <a:pt x="883" y="1155"/>
                      </a:lnTo>
                      <a:lnTo>
                        <a:pt x="869" y="1182"/>
                      </a:lnTo>
                      <a:lnTo>
                        <a:pt x="853" y="1208"/>
                      </a:lnTo>
                      <a:lnTo>
                        <a:pt x="844" y="1220"/>
                      </a:lnTo>
                      <a:lnTo>
                        <a:pt x="835" y="1232"/>
                      </a:lnTo>
                      <a:lnTo>
                        <a:pt x="825" y="1243"/>
                      </a:lnTo>
                      <a:lnTo>
                        <a:pt x="814" y="1254"/>
                      </a:lnTo>
                      <a:lnTo>
                        <a:pt x="804" y="1263"/>
                      </a:lnTo>
                      <a:lnTo>
                        <a:pt x="792" y="1274"/>
                      </a:lnTo>
                      <a:lnTo>
                        <a:pt x="780" y="1283"/>
                      </a:lnTo>
                      <a:lnTo>
                        <a:pt x="767" y="1291"/>
                      </a:lnTo>
                      <a:lnTo>
                        <a:pt x="753" y="1300"/>
                      </a:lnTo>
                      <a:lnTo>
                        <a:pt x="739" y="1309"/>
                      </a:lnTo>
                      <a:lnTo>
                        <a:pt x="723" y="1315"/>
                      </a:lnTo>
                      <a:lnTo>
                        <a:pt x="708" y="1323"/>
                      </a:lnTo>
                      <a:lnTo>
                        <a:pt x="692" y="1328"/>
                      </a:lnTo>
                      <a:lnTo>
                        <a:pt x="675" y="1335"/>
                      </a:lnTo>
                      <a:lnTo>
                        <a:pt x="675" y="1494"/>
                      </a:lnTo>
                      <a:lnTo>
                        <a:pt x="447" y="1494"/>
                      </a:lnTo>
                      <a:lnTo>
                        <a:pt x="447" y="1368"/>
                      </a:lnTo>
                      <a:lnTo>
                        <a:pt x="447" y="1368"/>
                      </a:lnTo>
                      <a:lnTo>
                        <a:pt x="430" y="1365"/>
                      </a:lnTo>
                      <a:lnTo>
                        <a:pt x="412" y="1361"/>
                      </a:lnTo>
                      <a:lnTo>
                        <a:pt x="396" y="1355"/>
                      </a:lnTo>
                      <a:lnTo>
                        <a:pt x="381" y="1350"/>
                      </a:lnTo>
                      <a:lnTo>
                        <a:pt x="367" y="1343"/>
                      </a:lnTo>
                      <a:lnTo>
                        <a:pt x="353" y="1337"/>
                      </a:lnTo>
                      <a:lnTo>
                        <a:pt x="340" y="1329"/>
                      </a:lnTo>
                      <a:lnTo>
                        <a:pt x="328" y="1321"/>
                      </a:lnTo>
                      <a:lnTo>
                        <a:pt x="316" y="1311"/>
                      </a:lnTo>
                      <a:lnTo>
                        <a:pt x="305" y="1302"/>
                      </a:lnTo>
                      <a:lnTo>
                        <a:pt x="294" y="1291"/>
                      </a:lnTo>
                      <a:lnTo>
                        <a:pt x="284" y="1281"/>
                      </a:lnTo>
                      <a:lnTo>
                        <a:pt x="276" y="1270"/>
                      </a:lnTo>
                      <a:lnTo>
                        <a:pt x="267" y="1258"/>
                      </a:lnTo>
                      <a:lnTo>
                        <a:pt x="258" y="1245"/>
                      </a:lnTo>
                      <a:lnTo>
                        <a:pt x="251" y="1232"/>
                      </a:lnTo>
                      <a:lnTo>
                        <a:pt x="238" y="1205"/>
                      </a:lnTo>
                      <a:lnTo>
                        <a:pt x="226" y="1176"/>
                      </a:lnTo>
                      <a:lnTo>
                        <a:pt x="215" y="1144"/>
                      </a:lnTo>
                      <a:lnTo>
                        <a:pt x="206" y="1112"/>
                      </a:lnTo>
                      <a:lnTo>
                        <a:pt x="199" y="1078"/>
                      </a:lnTo>
                      <a:lnTo>
                        <a:pt x="192" y="1043"/>
                      </a:lnTo>
                      <a:lnTo>
                        <a:pt x="186" y="1007"/>
                      </a:lnTo>
                      <a:lnTo>
                        <a:pt x="180" y="969"/>
                      </a:lnTo>
                      <a:lnTo>
                        <a:pt x="169" y="891"/>
                      </a:lnTo>
                      <a:lnTo>
                        <a:pt x="159" y="811"/>
                      </a:lnTo>
                      <a:lnTo>
                        <a:pt x="153" y="771"/>
                      </a:lnTo>
                      <a:lnTo>
                        <a:pt x="147" y="730"/>
                      </a:lnTo>
                      <a:lnTo>
                        <a:pt x="139" y="689"/>
                      </a:lnTo>
                      <a:lnTo>
                        <a:pt x="130" y="648"/>
                      </a:lnTo>
                      <a:lnTo>
                        <a:pt x="121" y="607"/>
                      </a:lnTo>
                      <a:lnTo>
                        <a:pt x="110" y="567"/>
                      </a:lnTo>
                      <a:lnTo>
                        <a:pt x="97" y="527"/>
                      </a:lnTo>
                      <a:lnTo>
                        <a:pt x="82" y="488"/>
                      </a:lnTo>
                      <a:lnTo>
                        <a:pt x="65" y="449"/>
                      </a:lnTo>
                      <a:lnTo>
                        <a:pt x="46" y="411"/>
                      </a:lnTo>
                      <a:lnTo>
                        <a:pt x="35" y="392"/>
                      </a:lnTo>
                      <a:lnTo>
                        <a:pt x="24" y="375"/>
                      </a:lnTo>
                      <a:lnTo>
                        <a:pt x="12" y="356"/>
                      </a:lnTo>
                      <a:lnTo>
                        <a:pt x="0" y="338"/>
                      </a:lnTo>
                      <a:lnTo>
                        <a:pt x="0" y="338"/>
                      </a:lnTo>
                      <a:lnTo>
                        <a:pt x="42" y="354"/>
                      </a:lnTo>
                      <a:lnTo>
                        <a:pt x="82" y="370"/>
                      </a:lnTo>
                      <a:lnTo>
                        <a:pt x="119" y="388"/>
                      </a:lnTo>
                      <a:lnTo>
                        <a:pt x="154" y="406"/>
                      </a:lnTo>
                      <a:lnTo>
                        <a:pt x="187" y="424"/>
                      </a:lnTo>
                      <a:lnTo>
                        <a:pt x="217" y="444"/>
                      </a:lnTo>
                      <a:lnTo>
                        <a:pt x="245" y="464"/>
                      </a:lnTo>
                      <a:lnTo>
                        <a:pt x="271" y="486"/>
                      </a:lnTo>
                      <a:lnTo>
                        <a:pt x="271" y="486"/>
                      </a:lnTo>
                      <a:lnTo>
                        <a:pt x="277" y="448"/>
                      </a:lnTo>
                      <a:lnTo>
                        <a:pt x="282" y="411"/>
                      </a:lnTo>
                      <a:lnTo>
                        <a:pt x="290" y="376"/>
                      </a:lnTo>
                      <a:lnTo>
                        <a:pt x="297" y="341"/>
                      </a:lnTo>
                      <a:lnTo>
                        <a:pt x="306" y="309"/>
                      </a:lnTo>
                      <a:lnTo>
                        <a:pt x="315" y="276"/>
                      </a:lnTo>
                      <a:lnTo>
                        <a:pt x="325" y="246"/>
                      </a:lnTo>
                      <a:lnTo>
                        <a:pt x="336" y="218"/>
                      </a:lnTo>
                      <a:lnTo>
                        <a:pt x="336" y="218"/>
                      </a:lnTo>
                      <a:lnTo>
                        <a:pt x="346" y="193"/>
                      </a:lnTo>
                      <a:lnTo>
                        <a:pt x="358" y="170"/>
                      </a:lnTo>
                      <a:lnTo>
                        <a:pt x="369" y="148"/>
                      </a:lnTo>
                      <a:lnTo>
                        <a:pt x="382" y="127"/>
                      </a:lnTo>
                      <a:lnTo>
                        <a:pt x="395" y="109"/>
                      </a:lnTo>
                      <a:lnTo>
                        <a:pt x="408" y="90"/>
                      </a:lnTo>
                      <a:lnTo>
                        <a:pt x="422" y="74"/>
                      </a:lnTo>
                      <a:lnTo>
                        <a:pt x="437" y="59"/>
                      </a:lnTo>
                      <a:lnTo>
                        <a:pt x="451" y="46"/>
                      </a:lnTo>
                      <a:lnTo>
                        <a:pt x="468" y="34"/>
                      </a:lnTo>
                      <a:lnTo>
                        <a:pt x="484" y="24"/>
                      </a:lnTo>
                      <a:lnTo>
                        <a:pt x="500" y="16"/>
                      </a:lnTo>
                      <a:lnTo>
                        <a:pt x="517" y="9"/>
                      </a:lnTo>
                      <a:lnTo>
                        <a:pt x="535" y="5"/>
                      </a:lnTo>
                      <a:lnTo>
                        <a:pt x="552" y="2"/>
                      </a:lnTo>
                      <a:lnTo>
                        <a:pt x="571" y="0"/>
                      </a:lnTo>
                      <a:lnTo>
                        <a:pt x="571" y="0"/>
                      </a:lnTo>
                      <a:close/>
                      <a:moveTo>
                        <a:pt x="603" y="1031"/>
                      </a:moveTo>
                      <a:lnTo>
                        <a:pt x="667" y="1031"/>
                      </a:lnTo>
                      <a:lnTo>
                        <a:pt x="667" y="1031"/>
                      </a:lnTo>
                      <a:lnTo>
                        <a:pt x="676" y="1006"/>
                      </a:lnTo>
                      <a:lnTo>
                        <a:pt x="684" y="979"/>
                      </a:lnTo>
                      <a:lnTo>
                        <a:pt x="629" y="979"/>
                      </a:lnTo>
                      <a:lnTo>
                        <a:pt x="629" y="979"/>
                      </a:lnTo>
                      <a:lnTo>
                        <a:pt x="629" y="902"/>
                      </a:lnTo>
                      <a:lnTo>
                        <a:pt x="704" y="902"/>
                      </a:lnTo>
                      <a:lnTo>
                        <a:pt x="704" y="902"/>
                      </a:lnTo>
                      <a:lnTo>
                        <a:pt x="709" y="876"/>
                      </a:lnTo>
                      <a:lnTo>
                        <a:pt x="714" y="850"/>
                      </a:lnTo>
                      <a:lnTo>
                        <a:pt x="655" y="850"/>
                      </a:lnTo>
                      <a:lnTo>
                        <a:pt x="655" y="850"/>
                      </a:lnTo>
                      <a:lnTo>
                        <a:pt x="655" y="772"/>
                      </a:lnTo>
                      <a:lnTo>
                        <a:pt x="722" y="772"/>
                      </a:lnTo>
                      <a:lnTo>
                        <a:pt x="722" y="772"/>
                      </a:lnTo>
                      <a:lnTo>
                        <a:pt x="726" y="721"/>
                      </a:lnTo>
                      <a:lnTo>
                        <a:pt x="655" y="721"/>
                      </a:lnTo>
                      <a:lnTo>
                        <a:pt x="655" y="721"/>
                      </a:lnTo>
                      <a:lnTo>
                        <a:pt x="655" y="644"/>
                      </a:lnTo>
                      <a:lnTo>
                        <a:pt x="728" y="644"/>
                      </a:lnTo>
                      <a:lnTo>
                        <a:pt x="728" y="644"/>
                      </a:lnTo>
                      <a:lnTo>
                        <a:pt x="727" y="592"/>
                      </a:lnTo>
                      <a:lnTo>
                        <a:pt x="655" y="592"/>
                      </a:lnTo>
                      <a:lnTo>
                        <a:pt x="655" y="592"/>
                      </a:lnTo>
                      <a:lnTo>
                        <a:pt x="655" y="515"/>
                      </a:lnTo>
                      <a:lnTo>
                        <a:pt x="720" y="515"/>
                      </a:lnTo>
                      <a:lnTo>
                        <a:pt x="720" y="515"/>
                      </a:lnTo>
                      <a:lnTo>
                        <a:pt x="718" y="489"/>
                      </a:lnTo>
                      <a:lnTo>
                        <a:pt x="714" y="463"/>
                      </a:lnTo>
                      <a:lnTo>
                        <a:pt x="629" y="463"/>
                      </a:lnTo>
                      <a:lnTo>
                        <a:pt x="629" y="463"/>
                      </a:lnTo>
                      <a:lnTo>
                        <a:pt x="629" y="386"/>
                      </a:lnTo>
                      <a:lnTo>
                        <a:pt x="700" y="386"/>
                      </a:lnTo>
                      <a:lnTo>
                        <a:pt x="700" y="386"/>
                      </a:lnTo>
                      <a:lnTo>
                        <a:pt x="693" y="359"/>
                      </a:lnTo>
                      <a:lnTo>
                        <a:pt x="685" y="335"/>
                      </a:lnTo>
                      <a:lnTo>
                        <a:pt x="603" y="335"/>
                      </a:lnTo>
                      <a:lnTo>
                        <a:pt x="603" y="257"/>
                      </a:lnTo>
                      <a:lnTo>
                        <a:pt x="658" y="257"/>
                      </a:lnTo>
                      <a:lnTo>
                        <a:pt x="658" y="257"/>
                      </a:lnTo>
                      <a:lnTo>
                        <a:pt x="647" y="234"/>
                      </a:lnTo>
                      <a:lnTo>
                        <a:pt x="637" y="213"/>
                      </a:lnTo>
                      <a:lnTo>
                        <a:pt x="626" y="195"/>
                      </a:lnTo>
                      <a:lnTo>
                        <a:pt x="614" y="180"/>
                      </a:lnTo>
                      <a:lnTo>
                        <a:pt x="603" y="168"/>
                      </a:lnTo>
                      <a:lnTo>
                        <a:pt x="592" y="159"/>
                      </a:lnTo>
                      <a:lnTo>
                        <a:pt x="587" y="156"/>
                      </a:lnTo>
                      <a:lnTo>
                        <a:pt x="581" y="154"/>
                      </a:lnTo>
                      <a:lnTo>
                        <a:pt x="576" y="153"/>
                      </a:lnTo>
                      <a:lnTo>
                        <a:pt x="571" y="152"/>
                      </a:lnTo>
                      <a:lnTo>
                        <a:pt x="571" y="152"/>
                      </a:lnTo>
                      <a:lnTo>
                        <a:pt x="565" y="153"/>
                      </a:lnTo>
                      <a:lnTo>
                        <a:pt x="559" y="154"/>
                      </a:lnTo>
                      <a:lnTo>
                        <a:pt x="553" y="157"/>
                      </a:lnTo>
                      <a:lnTo>
                        <a:pt x="548" y="160"/>
                      </a:lnTo>
                      <a:lnTo>
                        <a:pt x="541" y="165"/>
                      </a:lnTo>
                      <a:lnTo>
                        <a:pt x="536" y="170"/>
                      </a:lnTo>
                      <a:lnTo>
                        <a:pt x="523" y="184"/>
                      </a:lnTo>
                      <a:lnTo>
                        <a:pt x="511" y="203"/>
                      </a:lnTo>
                      <a:lnTo>
                        <a:pt x="499" y="223"/>
                      </a:lnTo>
                      <a:lnTo>
                        <a:pt x="488" y="247"/>
                      </a:lnTo>
                      <a:lnTo>
                        <a:pt x="476" y="274"/>
                      </a:lnTo>
                      <a:lnTo>
                        <a:pt x="476" y="274"/>
                      </a:lnTo>
                      <a:lnTo>
                        <a:pt x="462" y="312"/>
                      </a:lnTo>
                      <a:lnTo>
                        <a:pt x="450" y="353"/>
                      </a:lnTo>
                      <a:lnTo>
                        <a:pt x="439" y="397"/>
                      </a:lnTo>
                      <a:lnTo>
                        <a:pt x="431" y="444"/>
                      </a:lnTo>
                      <a:lnTo>
                        <a:pt x="423" y="494"/>
                      </a:lnTo>
                      <a:lnTo>
                        <a:pt x="418" y="545"/>
                      </a:lnTo>
                      <a:lnTo>
                        <a:pt x="414" y="599"/>
                      </a:lnTo>
                      <a:lnTo>
                        <a:pt x="413" y="655"/>
                      </a:lnTo>
                      <a:lnTo>
                        <a:pt x="413" y="660"/>
                      </a:lnTo>
                      <a:lnTo>
                        <a:pt x="413" y="660"/>
                      </a:lnTo>
                      <a:lnTo>
                        <a:pt x="427" y="686"/>
                      </a:lnTo>
                      <a:lnTo>
                        <a:pt x="440" y="712"/>
                      </a:lnTo>
                      <a:lnTo>
                        <a:pt x="452" y="739"/>
                      </a:lnTo>
                      <a:lnTo>
                        <a:pt x="464" y="766"/>
                      </a:lnTo>
                      <a:lnTo>
                        <a:pt x="487" y="823"/>
                      </a:lnTo>
                      <a:lnTo>
                        <a:pt x="508" y="883"/>
                      </a:lnTo>
                      <a:lnTo>
                        <a:pt x="528" y="945"/>
                      </a:lnTo>
                      <a:lnTo>
                        <a:pt x="550" y="1010"/>
                      </a:lnTo>
                      <a:lnTo>
                        <a:pt x="572" y="1077"/>
                      </a:lnTo>
                      <a:lnTo>
                        <a:pt x="595" y="1148"/>
                      </a:lnTo>
                      <a:lnTo>
                        <a:pt x="595" y="1148"/>
                      </a:lnTo>
                      <a:lnTo>
                        <a:pt x="604" y="1140"/>
                      </a:lnTo>
                      <a:lnTo>
                        <a:pt x="613" y="1130"/>
                      </a:lnTo>
                      <a:lnTo>
                        <a:pt x="620" y="1121"/>
                      </a:lnTo>
                      <a:lnTo>
                        <a:pt x="629" y="1108"/>
                      </a:lnTo>
                      <a:lnTo>
                        <a:pt x="603" y="1108"/>
                      </a:lnTo>
                      <a:lnTo>
                        <a:pt x="603" y="103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D59A2E7C-5E07-47F1-93EE-C95EF4E49424}"/>
                  </a:ext>
                </a:extLst>
              </p:cNvPr>
              <p:cNvGrpSpPr/>
              <p:nvPr/>
            </p:nvGrpSpPr>
            <p:grpSpPr>
              <a:xfrm>
                <a:off x="10707274" y="4800488"/>
                <a:ext cx="182244" cy="173736"/>
                <a:chOff x="4864203" y="2112388"/>
                <a:chExt cx="710583" cy="826497"/>
              </a:xfrm>
            </p:grpSpPr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7CB47BC7-272C-4BDB-88B8-C40096212ECF}"/>
                    </a:ext>
                  </a:extLst>
                </p:cNvPr>
                <p:cNvSpPr/>
                <p:nvPr/>
              </p:nvSpPr>
              <p:spPr bwMode="ltGray">
                <a:xfrm>
                  <a:off x="4864203" y="2112388"/>
                  <a:ext cx="677410" cy="826497"/>
                </a:xfrm>
                <a:prstGeom prst="ellipse">
                  <a:avLst/>
                </a:prstGeom>
                <a:solidFill>
                  <a:srgbClr val="FFCF48"/>
                </a:solidFill>
                <a:ln w="3175">
                  <a:solidFill>
                    <a:srgbClr val="FFCF4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9" name="Group 58">
                  <a:extLst>
                    <a:ext uri="{FF2B5EF4-FFF2-40B4-BE49-F238E27FC236}">
                      <a16:creationId xmlns:a16="http://schemas.microsoft.com/office/drawing/2014/main" id="{FF3F5CE0-D481-4A61-A43E-7139B592B59C}"/>
                    </a:ext>
                  </a:extLst>
                </p:cNvPr>
                <p:cNvGrpSpPr/>
                <p:nvPr/>
              </p:nvGrpSpPr>
              <p:grpSpPr>
                <a:xfrm>
                  <a:off x="4997909" y="2269834"/>
                  <a:ext cx="576877" cy="565995"/>
                  <a:chOff x="4997909" y="2269834"/>
                  <a:chExt cx="576877" cy="565995"/>
                </a:xfrm>
              </p:grpSpPr>
              <p:sp>
                <p:nvSpPr>
                  <p:cNvPr id="60" name="Freeform 12">
                    <a:extLst>
                      <a:ext uri="{FF2B5EF4-FFF2-40B4-BE49-F238E27FC236}">
                        <a16:creationId xmlns:a16="http://schemas.microsoft.com/office/drawing/2014/main" id="{0D49AF61-4D89-4BAF-858A-04304162A9C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997909" y="2330902"/>
                    <a:ext cx="424891" cy="310313"/>
                  </a:xfrm>
                  <a:custGeom>
                    <a:avLst/>
                    <a:gdLst>
                      <a:gd name="T0" fmla="*/ 334 w 356"/>
                      <a:gd name="T1" fmla="*/ 12 h 260"/>
                      <a:gd name="T2" fmla="*/ 298 w 356"/>
                      <a:gd name="T3" fmla="*/ 12 h 260"/>
                      <a:gd name="T4" fmla="*/ 342 w 356"/>
                      <a:gd name="T5" fmla="*/ 132 h 260"/>
                      <a:gd name="T6" fmla="*/ 356 w 356"/>
                      <a:gd name="T7" fmla="*/ 260 h 260"/>
                      <a:gd name="T8" fmla="*/ 348 w 356"/>
                      <a:gd name="T9" fmla="*/ 140 h 260"/>
                      <a:gd name="T10" fmla="*/ 276 w 356"/>
                      <a:gd name="T11" fmla="*/ 150 h 260"/>
                      <a:gd name="T12" fmla="*/ 258 w 356"/>
                      <a:gd name="T13" fmla="*/ 66 h 260"/>
                      <a:gd name="T14" fmla="*/ 142 w 356"/>
                      <a:gd name="T15" fmla="*/ 100 h 260"/>
                      <a:gd name="T16" fmla="*/ 76 w 356"/>
                      <a:gd name="T17" fmla="*/ 64 h 260"/>
                      <a:gd name="T18" fmla="*/ 220 w 356"/>
                      <a:gd name="T19" fmla="*/ 218 h 260"/>
                      <a:gd name="T20" fmla="*/ 220 w 356"/>
                      <a:gd name="T21" fmla="*/ 240 h 260"/>
                      <a:gd name="T22" fmla="*/ 250 w 356"/>
                      <a:gd name="T23" fmla="*/ 188 h 260"/>
                      <a:gd name="T24" fmla="*/ 220 w 356"/>
                      <a:gd name="T25" fmla="*/ 188 h 260"/>
                      <a:gd name="T26" fmla="*/ 250 w 356"/>
                      <a:gd name="T27" fmla="*/ 180 h 260"/>
                      <a:gd name="T28" fmla="*/ 220 w 356"/>
                      <a:gd name="T29" fmla="*/ 126 h 260"/>
                      <a:gd name="T30" fmla="*/ 220 w 356"/>
                      <a:gd name="T31" fmla="*/ 150 h 260"/>
                      <a:gd name="T32" fmla="*/ 214 w 356"/>
                      <a:gd name="T33" fmla="*/ 218 h 260"/>
                      <a:gd name="T34" fmla="*/ 190 w 356"/>
                      <a:gd name="T35" fmla="*/ 218 h 260"/>
                      <a:gd name="T36" fmla="*/ 214 w 356"/>
                      <a:gd name="T37" fmla="*/ 210 h 260"/>
                      <a:gd name="T38" fmla="*/ 190 w 356"/>
                      <a:gd name="T39" fmla="*/ 156 h 260"/>
                      <a:gd name="T40" fmla="*/ 190 w 356"/>
                      <a:gd name="T41" fmla="*/ 180 h 260"/>
                      <a:gd name="T42" fmla="*/ 214 w 356"/>
                      <a:gd name="T43" fmla="*/ 126 h 260"/>
                      <a:gd name="T44" fmla="*/ 190 w 356"/>
                      <a:gd name="T45" fmla="*/ 126 h 260"/>
                      <a:gd name="T46" fmla="*/ 182 w 356"/>
                      <a:gd name="T47" fmla="*/ 240 h 260"/>
                      <a:gd name="T48" fmla="*/ 160 w 356"/>
                      <a:gd name="T49" fmla="*/ 188 h 260"/>
                      <a:gd name="T50" fmla="*/ 160 w 356"/>
                      <a:gd name="T51" fmla="*/ 210 h 260"/>
                      <a:gd name="T52" fmla="*/ 182 w 356"/>
                      <a:gd name="T53" fmla="*/ 156 h 260"/>
                      <a:gd name="T54" fmla="*/ 160 w 356"/>
                      <a:gd name="T55" fmla="*/ 156 h 260"/>
                      <a:gd name="T56" fmla="*/ 182 w 356"/>
                      <a:gd name="T57" fmla="*/ 150 h 260"/>
                      <a:gd name="T58" fmla="*/ 130 w 356"/>
                      <a:gd name="T59" fmla="*/ 218 h 260"/>
                      <a:gd name="T60" fmla="*/ 130 w 356"/>
                      <a:gd name="T61" fmla="*/ 240 h 260"/>
                      <a:gd name="T62" fmla="*/ 152 w 356"/>
                      <a:gd name="T63" fmla="*/ 188 h 260"/>
                      <a:gd name="T64" fmla="*/ 130 w 356"/>
                      <a:gd name="T65" fmla="*/ 188 h 260"/>
                      <a:gd name="T66" fmla="*/ 152 w 356"/>
                      <a:gd name="T67" fmla="*/ 180 h 260"/>
                      <a:gd name="T68" fmla="*/ 130 w 356"/>
                      <a:gd name="T69" fmla="*/ 126 h 260"/>
                      <a:gd name="T70" fmla="*/ 130 w 356"/>
                      <a:gd name="T71" fmla="*/ 150 h 260"/>
                      <a:gd name="T72" fmla="*/ 122 w 356"/>
                      <a:gd name="T73" fmla="*/ 218 h 260"/>
                      <a:gd name="T74" fmla="*/ 100 w 356"/>
                      <a:gd name="T75" fmla="*/ 218 h 260"/>
                      <a:gd name="T76" fmla="*/ 122 w 356"/>
                      <a:gd name="T77" fmla="*/ 210 h 260"/>
                      <a:gd name="T78" fmla="*/ 100 w 356"/>
                      <a:gd name="T79" fmla="*/ 156 h 260"/>
                      <a:gd name="T80" fmla="*/ 100 w 356"/>
                      <a:gd name="T81" fmla="*/ 180 h 260"/>
                      <a:gd name="T82" fmla="*/ 122 w 356"/>
                      <a:gd name="T83" fmla="*/ 126 h 260"/>
                      <a:gd name="T84" fmla="*/ 100 w 356"/>
                      <a:gd name="T85" fmla="*/ 126 h 260"/>
                      <a:gd name="T86" fmla="*/ 92 w 356"/>
                      <a:gd name="T87" fmla="*/ 240 h 260"/>
                      <a:gd name="T88" fmla="*/ 70 w 356"/>
                      <a:gd name="T89" fmla="*/ 188 h 260"/>
                      <a:gd name="T90" fmla="*/ 70 w 356"/>
                      <a:gd name="T91" fmla="*/ 210 h 260"/>
                      <a:gd name="T92" fmla="*/ 92 w 356"/>
                      <a:gd name="T93" fmla="*/ 156 h 260"/>
                      <a:gd name="T94" fmla="*/ 70 w 356"/>
                      <a:gd name="T95" fmla="*/ 156 h 260"/>
                      <a:gd name="T96" fmla="*/ 92 w 356"/>
                      <a:gd name="T97" fmla="*/ 150 h 260"/>
                      <a:gd name="T98" fmla="*/ 36 w 356"/>
                      <a:gd name="T99" fmla="*/ 218 h 260"/>
                      <a:gd name="T100" fmla="*/ 36 w 356"/>
                      <a:gd name="T101" fmla="*/ 240 h 260"/>
                      <a:gd name="T102" fmla="*/ 62 w 356"/>
                      <a:gd name="T103" fmla="*/ 188 h 260"/>
                      <a:gd name="T104" fmla="*/ 36 w 356"/>
                      <a:gd name="T105" fmla="*/ 188 h 260"/>
                      <a:gd name="T106" fmla="*/ 62 w 356"/>
                      <a:gd name="T107" fmla="*/ 180 h 260"/>
                      <a:gd name="T108" fmla="*/ 36 w 356"/>
                      <a:gd name="T109" fmla="*/ 126 h 260"/>
                      <a:gd name="T110" fmla="*/ 36 w 356"/>
                      <a:gd name="T111" fmla="*/ 150 h 2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356" h="260">
                        <a:moveTo>
                          <a:pt x="342" y="132"/>
                        </a:moveTo>
                        <a:lnTo>
                          <a:pt x="332" y="12"/>
                        </a:lnTo>
                        <a:lnTo>
                          <a:pt x="334" y="12"/>
                        </a:lnTo>
                        <a:lnTo>
                          <a:pt x="334" y="0"/>
                        </a:lnTo>
                        <a:lnTo>
                          <a:pt x="298" y="0"/>
                        </a:lnTo>
                        <a:lnTo>
                          <a:pt x="298" y="12"/>
                        </a:lnTo>
                        <a:lnTo>
                          <a:pt x="300" y="12"/>
                        </a:lnTo>
                        <a:lnTo>
                          <a:pt x="290" y="132"/>
                        </a:lnTo>
                        <a:lnTo>
                          <a:pt x="342" y="132"/>
                        </a:lnTo>
                        <a:close/>
                        <a:moveTo>
                          <a:pt x="0" y="102"/>
                        </a:moveTo>
                        <a:lnTo>
                          <a:pt x="0" y="260"/>
                        </a:lnTo>
                        <a:lnTo>
                          <a:pt x="356" y="260"/>
                        </a:lnTo>
                        <a:lnTo>
                          <a:pt x="356" y="150"/>
                        </a:lnTo>
                        <a:lnTo>
                          <a:pt x="348" y="150"/>
                        </a:lnTo>
                        <a:lnTo>
                          <a:pt x="348" y="140"/>
                        </a:lnTo>
                        <a:lnTo>
                          <a:pt x="284" y="140"/>
                        </a:lnTo>
                        <a:lnTo>
                          <a:pt x="284" y="150"/>
                        </a:lnTo>
                        <a:lnTo>
                          <a:pt x="276" y="150"/>
                        </a:lnTo>
                        <a:lnTo>
                          <a:pt x="276" y="106"/>
                        </a:lnTo>
                        <a:lnTo>
                          <a:pt x="264" y="106"/>
                        </a:lnTo>
                        <a:lnTo>
                          <a:pt x="258" y="66"/>
                        </a:lnTo>
                        <a:lnTo>
                          <a:pt x="204" y="102"/>
                        </a:lnTo>
                        <a:lnTo>
                          <a:pt x="198" y="66"/>
                        </a:lnTo>
                        <a:lnTo>
                          <a:pt x="142" y="100"/>
                        </a:lnTo>
                        <a:lnTo>
                          <a:pt x="138" y="64"/>
                        </a:lnTo>
                        <a:lnTo>
                          <a:pt x="82" y="100"/>
                        </a:lnTo>
                        <a:lnTo>
                          <a:pt x="76" y="64"/>
                        </a:lnTo>
                        <a:lnTo>
                          <a:pt x="12" y="102"/>
                        </a:lnTo>
                        <a:lnTo>
                          <a:pt x="0" y="102"/>
                        </a:lnTo>
                        <a:close/>
                        <a:moveTo>
                          <a:pt x="220" y="218"/>
                        </a:moveTo>
                        <a:lnTo>
                          <a:pt x="250" y="218"/>
                        </a:lnTo>
                        <a:lnTo>
                          <a:pt x="250" y="240"/>
                        </a:lnTo>
                        <a:lnTo>
                          <a:pt x="220" y="240"/>
                        </a:lnTo>
                        <a:lnTo>
                          <a:pt x="220" y="218"/>
                        </a:lnTo>
                        <a:close/>
                        <a:moveTo>
                          <a:pt x="220" y="188"/>
                        </a:moveTo>
                        <a:lnTo>
                          <a:pt x="250" y="188"/>
                        </a:lnTo>
                        <a:lnTo>
                          <a:pt x="250" y="210"/>
                        </a:lnTo>
                        <a:lnTo>
                          <a:pt x="220" y="210"/>
                        </a:lnTo>
                        <a:lnTo>
                          <a:pt x="220" y="188"/>
                        </a:lnTo>
                        <a:close/>
                        <a:moveTo>
                          <a:pt x="220" y="156"/>
                        </a:moveTo>
                        <a:lnTo>
                          <a:pt x="250" y="156"/>
                        </a:lnTo>
                        <a:lnTo>
                          <a:pt x="250" y="180"/>
                        </a:lnTo>
                        <a:lnTo>
                          <a:pt x="220" y="180"/>
                        </a:lnTo>
                        <a:lnTo>
                          <a:pt x="220" y="156"/>
                        </a:lnTo>
                        <a:close/>
                        <a:moveTo>
                          <a:pt x="220" y="126"/>
                        </a:moveTo>
                        <a:lnTo>
                          <a:pt x="250" y="126"/>
                        </a:lnTo>
                        <a:lnTo>
                          <a:pt x="250" y="150"/>
                        </a:lnTo>
                        <a:lnTo>
                          <a:pt x="220" y="150"/>
                        </a:lnTo>
                        <a:lnTo>
                          <a:pt x="220" y="126"/>
                        </a:lnTo>
                        <a:close/>
                        <a:moveTo>
                          <a:pt x="190" y="218"/>
                        </a:moveTo>
                        <a:lnTo>
                          <a:pt x="214" y="218"/>
                        </a:lnTo>
                        <a:lnTo>
                          <a:pt x="214" y="240"/>
                        </a:lnTo>
                        <a:lnTo>
                          <a:pt x="190" y="240"/>
                        </a:lnTo>
                        <a:lnTo>
                          <a:pt x="190" y="218"/>
                        </a:lnTo>
                        <a:close/>
                        <a:moveTo>
                          <a:pt x="190" y="188"/>
                        </a:moveTo>
                        <a:lnTo>
                          <a:pt x="214" y="188"/>
                        </a:lnTo>
                        <a:lnTo>
                          <a:pt x="214" y="210"/>
                        </a:lnTo>
                        <a:lnTo>
                          <a:pt x="190" y="210"/>
                        </a:lnTo>
                        <a:lnTo>
                          <a:pt x="190" y="188"/>
                        </a:lnTo>
                        <a:close/>
                        <a:moveTo>
                          <a:pt x="190" y="156"/>
                        </a:moveTo>
                        <a:lnTo>
                          <a:pt x="214" y="156"/>
                        </a:lnTo>
                        <a:lnTo>
                          <a:pt x="214" y="180"/>
                        </a:lnTo>
                        <a:lnTo>
                          <a:pt x="190" y="180"/>
                        </a:lnTo>
                        <a:lnTo>
                          <a:pt x="190" y="156"/>
                        </a:lnTo>
                        <a:close/>
                        <a:moveTo>
                          <a:pt x="190" y="126"/>
                        </a:moveTo>
                        <a:lnTo>
                          <a:pt x="214" y="126"/>
                        </a:lnTo>
                        <a:lnTo>
                          <a:pt x="214" y="150"/>
                        </a:lnTo>
                        <a:lnTo>
                          <a:pt x="190" y="150"/>
                        </a:lnTo>
                        <a:lnTo>
                          <a:pt x="190" y="126"/>
                        </a:lnTo>
                        <a:close/>
                        <a:moveTo>
                          <a:pt x="160" y="218"/>
                        </a:moveTo>
                        <a:lnTo>
                          <a:pt x="182" y="218"/>
                        </a:lnTo>
                        <a:lnTo>
                          <a:pt x="182" y="240"/>
                        </a:lnTo>
                        <a:lnTo>
                          <a:pt x="160" y="240"/>
                        </a:lnTo>
                        <a:lnTo>
                          <a:pt x="160" y="218"/>
                        </a:lnTo>
                        <a:close/>
                        <a:moveTo>
                          <a:pt x="160" y="188"/>
                        </a:moveTo>
                        <a:lnTo>
                          <a:pt x="182" y="188"/>
                        </a:lnTo>
                        <a:lnTo>
                          <a:pt x="182" y="210"/>
                        </a:lnTo>
                        <a:lnTo>
                          <a:pt x="160" y="210"/>
                        </a:lnTo>
                        <a:lnTo>
                          <a:pt x="160" y="188"/>
                        </a:lnTo>
                        <a:close/>
                        <a:moveTo>
                          <a:pt x="160" y="156"/>
                        </a:moveTo>
                        <a:lnTo>
                          <a:pt x="182" y="156"/>
                        </a:lnTo>
                        <a:lnTo>
                          <a:pt x="182" y="180"/>
                        </a:lnTo>
                        <a:lnTo>
                          <a:pt x="160" y="180"/>
                        </a:lnTo>
                        <a:lnTo>
                          <a:pt x="160" y="156"/>
                        </a:lnTo>
                        <a:close/>
                        <a:moveTo>
                          <a:pt x="160" y="126"/>
                        </a:moveTo>
                        <a:lnTo>
                          <a:pt x="182" y="126"/>
                        </a:lnTo>
                        <a:lnTo>
                          <a:pt x="182" y="150"/>
                        </a:lnTo>
                        <a:lnTo>
                          <a:pt x="160" y="150"/>
                        </a:lnTo>
                        <a:lnTo>
                          <a:pt x="160" y="126"/>
                        </a:lnTo>
                        <a:close/>
                        <a:moveTo>
                          <a:pt x="130" y="218"/>
                        </a:moveTo>
                        <a:lnTo>
                          <a:pt x="152" y="218"/>
                        </a:lnTo>
                        <a:lnTo>
                          <a:pt x="152" y="240"/>
                        </a:lnTo>
                        <a:lnTo>
                          <a:pt x="130" y="240"/>
                        </a:lnTo>
                        <a:lnTo>
                          <a:pt x="130" y="218"/>
                        </a:lnTo>
                        <a:close/>
                        <a:moveTo>
                          <a:pt x="130" y="188"/>
                        </a:moveTo>
                        <a:lnTo>
                          <a:pt x="152" y="188"/>
                        </a:lnTo>
                        <a:lnTo>
                          <a:pt x="152" y="210"/>
                        </a:lnTo>
                        <a:lnTo>
                          <a:pt x="130" y="210"/>
                        </a:lnTo>
                        <a:lnTo>
                          <a:pt x="130" y="188"/>
                        </a:lnTo>
                        <a:close/>
                        <a:moveTo>
                          <a:pt x="130" y="156"/>
                        </a:moveTo>
                        <a:lnTo>
                          <a:pt x="152" y="156"/>
                        </a:lnTo>
                        <a:lnTo>
                          <a:pt x="152" y="180"/>
                        </a:lnTo>
                        <a:lnTo>
                          <a:pt x="130" y="180"/>
                        </a:lnTo>
                        <a:lnTo>
                          <a:pt x="130" y="156"/>
                        </a:lnTo>
                        <a:close/>
                        <a:moveTo>
                          <a:pt x="130" y="126"/>
                        </a:moveTo>
                        <a:lnTo>
                          <a:pt x="152" y="126"/>
                        </a:lnTo>
                        <a:lnTo>
                          <a:pt x="152" y="150"/>
                        </a:lnTo>
                        <a:lnTo>
                          <a:pt x="130" y="150"/>
                        </a:lnTo>
                        <a:lnTo>
                          <a:pt x="130" y="126"/>
                        </a:lnTo>
                        <a:close/>
                        <a:moveTo>
                          <a:pt x="100" y="218"/>
                        </a:moveTo>
                        <a:lnTo>
                          <a:pt x="122" y="218"/>
                        </a:lnTo>
                        <a:lnTo>
                          <a:pt x="122" y="240"/>
                        </a:lnTo>
                        <a:lnTo>
                          <a:pt x="100" y="240"/>
                        </a:lnTo>
                        <a:lnTo>
                          <a:pt x="100" y="218"/>
                        </a:lnTo>
                        <a:close/>
                        <a:moveTo>
                          <a:pt x="100" y="188"/>
                        </a:moveTo>
                        <a:lnTo>
                          <a:pt x="122" y="188"/>
                        </a:lnTo>
                        <a:lnTo>
                          <a:pt x="122" y="210"/>
                        </a:lnTo>
                        <a:lnTo>
                          <a:pt x="100" y="210"/>
                        </a:lnTo>
                        <a:lnTo>
                          <a:pt x="100" y="188"/>
                        </a:lnTo>
                        <a:close/>
                        <a:moveTo>
                          <a:pt x="100" y="156"/>
                        </a:moveTo>
                        <a:lnTo>
                          <a:pt x="122" y="156"/>
                        </a:lnTo>
                        <a:lnTo>
                          <a:pt x="122" y="180"/>
                        </a:lnTo>
                        <a:lnTo>
                          <a:pt x="100" y="180"/>
                        </a:lnTo>
                        <a:lnTo>
                          <a:pt x="100" y="156"/>
                        </a:lnTo>
                        <a:close/>
                        <a:moveTo>
                          <a:pt x="100" y="126"/>
                        </a:moveTo>
                        <a:lnTo>
                          <a:pt x="122" y="126"/>
                        </a:lnTo>
                        <a:lnTo>
                          <a:pt x="122" y="150"/>
                        </a:lnTo>
                        <a:lnTo>
                          <a:pt x="100" y="150"/>
                        </a:lnTo>
                        <a:lnTo>
                          <a:pt x="100" y="126"/>
                        </a:lnTo>
                        <a:close/>
                        <a:moveTo>
                          <a:pt x="70" y="218"/>
                        </a:moveTo>
                        <a:lnTo>
                          <a:pt x="92" y="218"/>
                        </a:lnTo>
                        <a:lnTo>
                          <a:pt x="92" y="240"/>
                        </a:lnTo>
                        <a:lnTo>
                          <a:pt x="70" y="240"/>
                        </a:lnTo>
                        <a:lnTo>
                          <a:pt x="70" y="218"/>
                        </a:lnTo>
                        <a:close/>
                        <a:moveTo>
                          <a:pt x="70" y="188"/>
                        </a:moveTo>
                        <a:lnTo>
                          <a:pt x="92" y="188"/>
                        </a:lnTo>
                        <a:lnTo>
                          <a:pt x="92" y="210"/>
                        </a:lnTo>
                        <a:lnTo>
                          <a:pt x="70" y="210"/>
                        </a:lnTo>
                        <a:lnTo>
                          <a:pt x="70" y="188"/>
                        </a:lnTo>
                        <a:close/>
                        <a:moveTo>
                          <a:pt x="70" y="156"/>
                        </a:moveTo>
                        <a:lnTo>
                          <a:pt x="92" y="156"/>
                        </a:lnTo>
                        <a:lnTo>
                          <a:pt x="92" y="180"/>
                        </a:lnTo>
                        <a:lnTo>
                          <a:pt x="70" y="180"/>
                        </a:lnTo>
                        <a:lnTo>
                          <a:pt x="70" y="156"/>
                        </a:lnTo>
                        <a:close/>
                        <a:moveTo>
                          <a:pt x="70" y="126"/>
                        </a:moveTo>
                        <a:lnTo>
                          <a:pt x="92" y="126"/>
                        </a:lnTo>
                        <a:lnTo>
                          <a:pt x="92" y="150"/>
                        </a:lnTo>
                        <a:lnTo>
                          <a:pt x="70" y="150"/>
                        </a:lnTo>
                        <a:lnTo>
                          <a:pt x="70" y="126"/>
                        </a:lnTo>
                        <a:close/>
                        <a:moveTo>
                          <a:pt x="36" y="218"/>
                        </a:moveTo>
                        <a:lnTo>
                          <a:pt x="62" y="218"/>
                        </a:lnTo>
                        <a:lnTo>
                          <a:pt x="62" y="240"/>
                        </a:lnTo>
                        <a:lnTo>
                          <a:pt x="36" y="240"/>
                        </a:lnTo>
                        <a:lnTo>
                          <a:pt x="36" y="218"/>
                        </a:lnTo>
                        <a:close/>
                        <a:moveTo>
                          <a:pt x="36" y="188"/>
                        </a:moveTo>
                        <a:lnTo>
                          <a:pt x="62" y="188"/>
                        </a:lnTo>
                        <a:lnTo>
                          <a:pt x="62" y="210"/>
                        </a:lnTo>
                        <a:lnTo>
                          <a:pt x="36" y="210"/>
                        </a:lnTo>
                        <a:lnTo>
                          <a:pt x="36" y="188"/>
                        </a:lnTo>
                        <a:close/>
                        <a:moveTo>
                          <a:pt x="36" y="156"/>
                        </a:moveTo>
                        <a:lnTo>
                          <a:pt x="62" y="156"/>
                        </a:lnTo>
                        <a:lnTo>
                          <a:pt x="62" y="180"/>
                        </a:lnTo>
                        <a:lnTo>
                          <a:pt x="36" y="180"/>
                        </a:lnTo>
                        <a:lnTo>
                          <a:pt x="36" y="156"/>
                        </a:lnTo>
                        <a:close/>
                        <a:moveTo>
                          <a:pt x="36" y="126"/>
                        </a:moveTo>
                        <a:lnTo>
                          <a:pt x="62" y="126"/>
                        </a:lnTo>
                        <a:lnTo>
                          <a:pt x="62" y="150"/>
                        </a:lnTo>
                        <a:lnTo>
                          <a:pt x="36" y="150"/>
                        </a:lnTo>
                        <a:lnTo>
                          <a:pt x="36" y="12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09412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018824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528237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037649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47061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056473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565886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075298" algn="l" defTabSz="1018824" rtl="0" eaLnBrk="1" latinLnBrk="0" hangingPunct="1">
                      <a:defRPr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101882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1" name="Chord 60">
                    <a:extLst>
                      <a:ext uri="{FF2B5EF4-FFF2-40B4-BE49-F238E27FC236}">
                        <a16:creationId xmlns:a16="http://schemas.microsoft.com/office/drawing/2014/main" id="{C760509B-A8F4-4BA2-A1E1-1C4B4E1F8117}"/>
                      </a:ext>
                    </a:extLst>
                  </p:cNvPr>
                  <p:cNvSpPr/>
                  <p:nvPr/>
                </p:nvSpPr>
                <p:spPr bwMode="ltGray">
                  <a:xfrm rot="20979823">
                    <a:off x="5008791" y="2269834"/>
                    <a:ext cx="565995" cy="565995"/>
                  </a:xfrm>
                  <a:prstGeom prst="chord">
                    <a:avLst>
                      <a:gd name="adj1" fmla="val 2700000"/>
                      <a:gd name="adj2" fmla="val 9358267"/>
                    </a:avLst>
                  </a:prstGeom>
                  <a:solidFill>
                    <a:schemeClr val="bg2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509412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1018824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528237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2037649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47061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3056473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565886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4075298" algn="l" defTabSz="1018824" rtl="0" eaLnBrk="1" latinLnBrk="0" hangingPunct="1">
                      <a:defRPr sz="11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101882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2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47" name="TextBox 96">
                <a:extLst>
                  <a:ext uri="{FF2B5EF4-FFF2-40B4-BE49-F238E27FC236}">
                    <a16:creationId xmlns:a16="http://schemas.microsoft.com/office/drawing/2014/main" id="{8DD47F06-5310-4C07-8A4C-6A2E3A9E4A77}"/>
                  </a:ext>
                </a:extLst>
              </p:cNvPr>
              <p:cNvSpPr txBox="1"/>
              <p:nvPr/>
            </p:nvSpPr>
            <p:spPr>
              <a:xfrm>
                <a:off x="10830120" y="3422920"/>
                <a:ext cx="860410" cy="1879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-27432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Pharma</a:t>
                </a:r>
              </a:p>
            </p:txBody>
          </p:sp>
          <p:sp>
            <p:nvSpPr>
              <p:cNvPr id="48" name="TextBox 97">
                <a:extLst>
                  <a:ext uri="{FF2B5EF4-FFF2-40B4-BE49-F238E27FC236}">
                    <a16:creationId xmlns:a16="http://schemas.microsoft.com/office/drawing/2014/main" id="{03433D20-56C8-48BB-BF9F-B184E57E8411}"/>
                  </a:ext>
                </a:extLst>
              </p:cNvPr>
              <p:cNvSpPr txBox="1"/>
              <p:nvPr/>
            </p:nvSpPr>
            <p:spPr>
              <a:xfrm>
                <a:off x="10920043" y="3688260"/>
                <a:ext cx="860410" cy="1879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-27432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Automotive</a:t>
                </a:r>
              </a:p>
            </p:txBody>
          </p:sp>
          <p:sp>
            <p:nvSpPr>
              <p:cNvPr id="49" name="TextBox 98">
                <a:extLst>
                  <a:ext uri="{FF2B5EF4-FFF2-40B4-BE49-F238E27FC236}">
                    <a16:creationId xmlns:a16="http://schemas.microsoft.com/office/drawing/2014/main" id="{A62C6F88-2CAB-46DE-89BC-003529027CB3}"/>
                  </a:ext>
                </a:extLst>
              </p:cNvPr>
              <p:cNvSpPr txBox="1"/>
              <p:nvPr/>
            </p:nvSpPr>
            <p:spPr>
              <a:xfrm>
                <a:off x="10977106" y="3959083"/>
                <a:ext cx="860410" cy="1879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-27432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Steel</a:t>
                </a:r>
              </a:p>
            </p:txBody>
          </p:sp>
          <p:sp>
            <p:nvSpPr>
              <p:cNvPr id="50" name="TextBox 99">
                <a:extLst>
                  <a:ext uri="{FF2B5EF4-FFF2-40B4-BE49-F238E27FC236}">
                    <a16:creationId xmlns:a16="http://schemas.microsoft.com/office/drawing/2014/main" id="{CDF3FE33-88EB-4170-940F-C5ABF1971C90}"/>
                  </a:ext>
                </a:extLst>
              </p:cNvPr>
              <p:cNvSpPr txBox="1"/>
              <p:nvPr/>
            </p:nvSpPr>
            <p:spPr>
              <a:xfrm>
                <a:off x="10961429" y="4212742"/>
                <a:ext cx="860410" cy="1879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-27432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Cement</a:t>
                </a:r>
              </a:p>
            </p:txBody>
          </p:sp>
          <p:sp>
            <p:nvSpPr>
              <p:cNvPr id="51" name="TextBox 100">
                <a:extLst>
                  <a:ext uri="{FF2B5EF4-FFF2-40B4-BE49-F238E27FC236}">
                    <a16:creationId xmlns:a16="http://schemas.microsoft.com/office/drawing/2014/main" id="{0F7AF33A-EB67-4EF7-9EB0-DE3C289E6BE5}"/>
                  </a:ext>
                </a:extLst>
              </p:cNvPr>
              <p:cNvSpPr txBox="1"/>
              <p:nvPr/>
            </p:nvSpPr>
            <p:spPr>
              <a:xfrm>
                <a:off x="10959145" y="4475411"/>
                <a:ext cx="921322" cy="1879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-27432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Agro &amp; Food</a:t>
                </a:r>
              </a:p>
            </p:txBody>
          </p:sp>
          <p:sp>
            <p:nvSpPr>
              <p:cNvPr id="52" name="TextBox 101">
                <a:extLst>
                  <a:ext uri="{FF2B5EF4-FFF2-40B4-BE49-F238E27FC236}">
                    <a16:creationId xmlns:a16="http://schemas.microsoft.com/office/drawing/2014/main" id="{281F7F7B-FA02-4C52-9B3A-3F63CBC806B5}"/>
                  </a:ext>
                </a:extLst>
              </p:cNvPr>
              <p:cNvSpPr txBox="1"/>
              <p:nvPr/>
            </p:nvSpPr>
            <p:spPr>
              <a:xfrm>
                <a:off x="10956961" y="4789522"/>
                <a:ext cx="1091125" cy="18794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-27432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Machine Tools</a:t>
                </a:r>
              </a:p>
            </p:txBody>
          </p:sp>
          <p:sp>
            <p:nvSpPr>
              <p:cNvPr id="53" name="TextBox 102">
                <a:extLst>
                  <a:ext uri="{FF2B5EF4-FFF2-40B4-BE49-F238E27FC236}">
                    <a16:creationId xmlns:a16="http://schemas.microsoft.com/office/drawing/2014/main" id="{E6D59796-58FA-4B64-BDA5-99CE6025F50B}"/>
                  </a:ext>
                </a:extLst>
              </p:cNvPr>
              <p:cNvSpPr txBox="1"/>
              <p:nvPr/>
            </p:nvSpPr>
            <p:spPr>
              <a:xfrm>
                <a:off x="10598707" y="2644967"/>
                <a:ext cx="1698565" cy="187947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accent1"/>
                </a:solidFill>
              </a:ln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-27432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rPr>
                  <a:t>Legend</a:t>
                </a:r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5E99FF16-827D-4458-AF95-AEE833DF1334}"/>
                  </a:ext>
                </a:extLst>
              </p:cNvPr>
              <p:cNvSpPr/>
              <p:nvPr/>
            </p:nvSpPr>
            <p:spPr>
              <a:xfrm>
                <a:off x="10600194" y="2635600"/>
                <a:ext cx="1681123" cy="2700600"/>
              </a:xfrm>
              <a:prstGeom prst="rect">
                <a:avLst/>
              </a:prstGeom>
              <a:noFill/>
              <a:ln w="25400">
                <a:noFill/>
              </a:ln>
            </p:spPr>
            <p:txBody>
              <a:bodyPr vert="horz"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25ADAAA0-A959-4AE7-938C-7D6FC90EF694}"/>
                  </a:ext>
                </a:extLst>
              </p:cNvPr>
              <p:cNvGrpSpPr/>
              <p:nvPr/>
            </p:nvGrpSpPr>
            <p:grpSpPr>
              <a:xfrm>
                <a:off x="10713313" y="4233340"/>
                <a:ext cx="173736" cy="173736"/>
                <a:chOff x="10713313" y="4233340"/>
                <a:chExt cx="196790" cy="199666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166515E5-4276-4DEA-8FEE-2E4C703C58F2}"/>
                    </a:ext>
                  </a:extLst>
                </p:cNvPr>
                <p:cNvSpPr/>
                <p:nvPr/>
              </p:nvSpPr>
              <p:spPr bwMode="ltGray">
                <a:xfrm>
                  <a:off x="10713313" y="4233340"/>
                  <a:ext cx="196790" cy="199666"/>
                </a:xfrm>
                <a:prstGeom prst="ellipse">
                  <a:avLst/>
                </a:prstGeom>
                <a:solidFill>
                  <a:srgbClr val="DC6900"/>
                </a:solidFill>
                <a:ln w="3175">
                  <a:solidFill>
                    <a:srgbClr val="DC69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" name="Freeform 135">
                  <a:extLst>
                    <a:ext uri="{FF2B5EF4-FFF2-40B4-BE49-F238E27FC236}">
                      <a16:creationId xmlns:a16="http://schemas.microsoft.com/office/drawing/2014/main" id="{F52E4B43-16D0-454D-BDE8-3728BA66DD2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38757" y="4285485"/>
                  <a:ext cx="150397" cy="87418"/>
                </a:xfrm>
                <a:custGeom>
                  <a:avLst/>
                  <a:gdLst>
                    <a:gd name="T0" fmla="*/ 753 w 885"/>
                    <a:gd name="T1" fmla="*/ 108 h 509"/>
                    <a:gd name="T2" fmla="*/ 847 w 885"/>
                    <a:gd name="T3" fmla="*/ 346 h 509"/>
                    <a:gd name="T4" fmla="*/ 872 w 885"/>
                    <a:gd name="T5" fmla="*/ 463 h 509"/>
                    <a:gd name="T6" fmla="*/ 835 w 885"/>
                    <a:gd name="T7" fmla="*/ 498 h 509"/>
                    <a:gd name="T8" fmla="*/ 792 w 885"/>
                    <a:gd name="T9" fmla="*/ 509 h 509"/>
                    <a:gd name="T10" fmla="*/ 742 w 885"/>
                    <a:gd name="T11" fmla="*/ 494 h 509"/>
                    <a:gd name="T12" fmla="*/ 708 w 885"/>
                    <a:gd name="T13" fmla="*/ 451 h 509"/>
                    <a:gd name="T14" fmla="*/ 673 w 885"/>
                    <a:gd name="T15" fmla="*/ 473 h 509"/>
                    <a:gd name="T16" fmla="*/ 637 w 885"/>
                    <a:gd name="T17" fmla="*/ 503 h 509"/>
                    <a:gd name="T18" fmla="*/ 591 w 885"/>
                    <a:gd name="T19" fmla="*/ 509 h 509"/>
                    <a:gd name="T20" fmla="*/ 543 w 885"/>
                    <a:gd name="T21" fmla="*/ 488 h 509"/>
                    <a:gd name="T22" fmla="*/ 512 w 885"/>
                    <a:gd name="T23" fmla="*/ 438 h 509"/>
                    <a:gd name="T24" fmla="*/ 262 w 885"/>
                    <a:gd name="T25" fmla="*/ 449 h 509"/>
                    <a:gd name="T26" fmla="*/ 229 w 885"/>
                    <a:gd name="T27" fmla="*/ 492 h 509"/>
                    <a:gd name="T28" fmla="*/ 178 w 885"/>
                    <a:gd name="T29" fmla="*/ 507 h 509"/>
                    <a:gd name="T30" fmla="*/ 135 w 885"/>
                    <a:gd name="T31" fmla="*/ 496 h 509"/>
                    <a:gd name="T32" fmla="*/ 99 w 885"/>
                    <a:gd name="T33" fmla="*/ 461 h 509"/>
                    <a:gd name="T34" fmla="*/ 0 w 885"/>
                    <a:gd name="T35" fmla="*/ 438 h 509"/>
                    <a:gd name="T36" fmla="*/ 114 w 885"/>
                    <a:gd name="T37" fmla="*/ 96 h 509"/>
                    <a:gd name="T38" fmla="*/ 430 w 885"/>
                    <a:gd name="T39" fmla="*/ 346 h 509"/>
                    <a:gd name="T40" fmla="*/ 207 w 885"/>
                    <a:gd name="T41" fmla="*/ 373 h 509"/>
                    <a:gd name="T42" fmla="*/ 158 w 885"/>
                    <a:gd name="T43" fmla="*/ 368 h 509"/>
                    <a:gd name="T44" fmla="*/ 128 w 885"/>
                    <a:gd name="T45" fmla="*/ 405 h 509"/>
                    <a:gd name="T46" fmla="*/ 143 w 885"/>
                    <a:gd name="T47" fmla="*/ 452 h 509"/>
                    <a:gd name="T48" fmla="*/ 178 w 885"/>
                    <a:gd name="T49" fmla="*/ 467 h 509"/>
                    <a:gd name="T50" fmla="*/ 221 w 885"/>
                    <a:gd name="T51" fmla="*/ 444 h 509"/>
                    <a:gd name="T52" fmla="*/ 226 w 885"/>
                    <a:gd name="T53" fmla="*/ 396 h 509"/>
                    <a:gd name="T54" fmla="*/ 630 w 885"/>
                    <a:gd name="T55" fmla="*/ 376 h 509"/>
                    <a:gd name="T56" fmla="*/ 581 w 885"/>
                    <a:gd name="T57" fmla="*/ 372 h 509"/>
                    <a:gd name="T58" fmla="*/ 551 w 885"/>
                    <a:gd name="T59" fmla="*/ 408 h 509"/>
                    <a:gd name="T60" fmla="*/ 564 w 885"/>
                    <a:gd name="T61" fmla="*/ 455 h 509"/>
                    <a:gd name="T62" fmla="*/ 601 w 885"/>
                    <a:gd name="T63" fmla="*/ 469 h 509"/>
                    <a:gd name="T64" fmla="*/ 643 w 885"/>
                    <a:gd name="T65" fmla="*/ 447 h 509"/>
                    <a:gd name="T66" fmla="*/ 648 w 885"/>
                    <a:gd name="T67" fmla="*/ 398 h 509"/>
                    <a:gd name="T68" fmla="*/ 821 w 885"/>
                    <a:gd name="T69" fmla="*/ 376 h 509"/>
                    <a:gd name="T70" fmla="*/ 772 w 885"/>
                    <a:gd name="T71" fmla="*/ 372 h 509"/>
                    <a:gd name="T72" fmla="*/ 742 w 885"/>
                    <a:gd name="T73" fmla="*/ 408 h 509"/>
                    <a:gd name="T74" fmla="*/ 756 w 885"/>
                    <a:gd name="T75" fmla="*/ 455 h 509"/>
                    <a:gd name="T76" fmla="*/ 792 w 885"/>
                    <a:gd name="T77" fmla="*/ 469 h 509"/>
                    <a:gd name="T78" fmla="*/ 835 w 885"/>
                    <a:gd name="T79" fmla="*/ 447 h 509"/>
                    <a:gd name="T80" fmla="*/ 840 w 885"/>
                    <a:gd name="T81" fmla="*/ 398 h 509"/>
                    <a:gd name="T82" fmla="*/ 155 w 885"/>
                    <a:gd name="T83" fmla="*/ 142 h 509"/>
                    <a:gd name="T84" fmla="*/ 235 w 885"/>
                    <a:gd name="T85" fmla="*/ 250 h 509"/>
                    <a:gd name="T86" fmla="*/ 665 w 885"/>
                    <a:gd name="T87" fmla="*/ 0 h 509"/>
                    <a:gd name="T88" fmla="*/ 776 w 885"/>
                    <a:gd name="T89" fmla="*/ 254 h 509"/>
                    <a:gd name="T90" fmla="*/ 862 w 885"/>
                    <a:gd name="T91" fmla="*/ 55 h 509"/>
                    <a:gd name="T92" fmla="*/ 875 w 885"/>
                    <a:gd name="T93" fmla="*/ 166 h 509"/>
                    <a:gd name="T94" fmla="*/ 846 w 885"/>
                    <a:gd name="T95" fmla="*/ 280 h 509"/>
                    <a:gd name="T96" fmla="*/ 409 w 885"/>
                    <a:gd name="T97" fmla="*/ 298 h 509"/>
                    <a:gd name="T98" fmla="*/ 380 w 885"/>
                    <a:gd name="T99" fmla="*/ 186 h 509"/>
                    <a:gd name="T100" fmla="*/ 383 w 885"/>
                    <a:gd name="T101" fmla="*/ 74 h 509"/>
                    <a:gd name="T102" fmla="*/ 688 w 885"/>
                    <a:gd name="T103" fmla="*/ 0 h 509"/>
                    <a:gd name="T104" fmla="*/ 753 w 885"/>
                    <a:gd name="T105" fmla="*/ 181 h 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885" h="509">
                      <a:moveTo>
                        <a:pt x="753" y="108"/>
                      </a:moveTo>
                      <a:lnTo>
                        <a:pt x="753" y="62"/>
                      </a:lnTo>
                      <a:lnTo>
                        <a:pt x="688" y="62"/>
                      </a:lnTo>
                      <a:lnTo>
                        <a:pt x="688" y="108"/>
                      </a:lnTo>
                      <a:lnTo>
                        <a:pt x="753" y="108"/>
                      </a:lnTo>
                      <a:lnTo>
                        <a:pt x="753" y="108"/>
                      </a:lnTo>
                      <a:close/>
                      <a:moveTo>
                        <a:pt x="801" y="328"/>
                      </a:moveTo>
                      <a:lnTo>
                        <a:pt x="801" y="328"/>
                      </a:lnTo>
                      <a:lnTo>
                        <a:pt x="814" y="331"/>
                      </a:lnTo>
                      <a:lnTo>
                        <a:pt x="825" y="334"/>
                      </a:lnTo>
                      <a:lnTo>
                        <a:pt x="836" y="340"/>
                      </a:lnTo>
                      <a:lnTo>
                        <a:pt x="847" y="346"/>
                      </a:lnTo>
                      <a:lnTo>
                        <a:pt x="885" y="346"/>
                      </a:lnTo>
                      <a:lnTo>
                        <a:pt x="885" y="438"/>
                      </a:lnTo>
                      <a:lnTo>
                        <a:pt x="881" y="438"/>
                      </a:lnTo>
                      <a:lnTo>
                        <a:pt x="881" y="438"/>
                      </a:lnTo>
                      <a:lnTo>
                        <a:pt x="877" y="451"/>
                      </a:lnTo>
                      <a:lnTo>
                        <a:pt x="872" y="463"/>
                      </a:lnTo>
                      <a:lnTo>
                        <a:pt x="865" y="473"/>
                      </a:lnTo>
                      <a:lnTo>
                        <a:pt x="856" y="483"/>
                      </a:lnTo>
                      <a:lnTo>
                        <a:pt x="856" y="483"/>
                      </a:lnTo>
                      <a:lnTo>
                        <a:pt x="850" y="488"/>
                      </a:lnTo>
                      <a:lnTo>
                        <a:pt x="843" y="494"/>
                      </a:lnTo>
                      <a:lnTo>
                        <a:pt x="835" y="498"/>
                      </a:lnTo>
                      <a:lnTo>
                        <a:pt x="827" y="503"/>
                      </a:lnTo>
                      <a:lnTo>
                        <a:pt x="820" y="505"/>
                      </a:lnTo>
                      <a:lnTo>
                        <a:pt x="811" y="507"/>
                      </a:lnTo>
                      <a:lnTo>
                        <a:pt x="802" y="509"/>
                      </a:lnTo>
                      <a:lnTo>
                        <a:pt x="792" y="509"/>
                      </a:lnTo>
                      <a:lnTo>
                        <a:pt x="792" y="509"/>
                      </a:lnTo>
                      <a:lnTo>
                        <a:pt x="783" y="509"/>
                      </a:lnTo>
                      <a:lnTo>
                        <a:pt x="774" y="507"/>
                      </a:lnTo>
                      <a:lnTo>
                        <a:pt x="765" y="505"/>
                      </a:lnTo>
                      <a:lnTo>
                        <a:pt x="756" y="503"/>
                      </a:lnTo>
                      <a:lnTo>
                        <a:pt x="749" y="498"/>
                      </a:lnTo>
                      <a:lnTo>
                        <a:pt x="742" y="494"/>
                      </a:lnTo>
                      <a:lnTo>
                        <a:pt x="734" y="488"/>
                      </a:lnTo>
                      <a:lnTo>
                        <a:pt x="728" y="483"/>
                      </a:lnTo>
                      <a:lnTo>
                        <a:pt x="728" y="483"/>
                      </a:lnTo>
                      <a:lnTo>
                        <a:pt x="720" y="473"/>
                      </a:lnTo>
                      <a:lnTo>
                        <a:pt x="713" y="463"/>
                      </a:lnTo>
                      <a:lnTo>
                        <a:pt x="708" y="451"/>
                      </a:lnTo>
                      <a:lnTo>
                        <a:pt x="703" y="438"/>
                      </a:lnTo>
                      <a:lnTo>
                        <a:pt x="690" y="438"/>
                      </a:lnTo>
                      <a:lnTo>
                        <a:pt x="690" y="438"/>
                      </a:lnTo>
                      <a:lnTo>
                        <a:pt x="685" y="451"/>
                      </a:lnTo>
                      <a:lnTo>
                        <a:pt x="681" y="463"/>
                      </a:lnTo>
                      <a:lnTo>
                        <a:pt x="673" y="473"/>
                      </a:lnTo>
                      <a:lnTo>
                        <a:pt x="665" y="483"/>
                      </a:lnTo>
                      <a:lnTo>
                        <a:pt x="665" y="483"/>
                      </a:lnTo>
                      <a:lnTo>
                        <a:pt x="659" y="488"/>
                      </a:lnTo>
                      <a:lnTo>
                        <a:pt x="652" y="494"/>
                      </a:lnTo>
                      <a:lnTo>
                        <a:pt x="644" y="498"/>
                      </a:lnTo>
                      <a:lnTo>
                        <a:pt x="637" y="503"/>
                      </a:lnTo>
                      <a:lnTo>
                        <a:pt x="628" y="505"/>
                      </a:lnTo>
                      <a:lnTo>
                        <a:pt x="619" y="507"/>
                      </a:lnTo>
                      <a:lnTo>
                        <a:pt x="610" y="509"/>
                      </a:lnTo>
                      <a:lnTo>
                        <a:pt x="601" y="509"/>
                      </a:lnTo>
                      <a:lnTo>
                        <a:pt x="601" y="509"/>
                      </a:lnTo>
                      <a:lnTo>
                        <a:pt x="591" y="509"/>
                      </a:lnTo>
                      <a:lnTo>
                        <a:pt x="582" y="507"/>
                      </a:lnTo>
                      <a:lnTo>
                        <a:pt x="573" y="505"/>
                      </a:lnTo>
                      <a:lnTo>
                        <a:pt x="566" y="503"/>
                      </a:lnTo>
                      <a:lnTo>
                        <a:pt x="558" y="498"/>
                      </a:lnTo>
                      <a:lnTo>
                        <a:pt x="550" y="494"/>
                      </a:lnTo>
                      <a:lnTo>
                        <a:pt x="543" y="488"/>
                      </a:lnTo>
                      <a:lnTo>
                        <a:pt x="537" y="483"/>
                      </a:lnTo>
                      <a:lnTo>
                        <a:pt x="537" y="483"/>
                      </a:lnTo>
                      <a:lnTo>
                        <a:pt x="528" y="473"/>
                      </a:lnTo>
                      <a:lnTo>
                        <a:pt x="521" y="463"/>
                      </a:lnTo>
                      <a:lnTo>
                        <a:pt x="516" y="451"/>
                      </a:lnTo>
                      <a:lnTo>
                        <a:pt x="512" y="438"/>
                      </a:lnTo>
                      <a:lnTo>
                        <a:pt x="336" y="438"/>
                      </a:lnTo>
                      <a:lnTo>
                        <a:pt x="306" y="438"/>
                      </a:lnTo>
                      <a:lnTo>
                        <a:pt x="301" y="438"/>
                      </a:lnTo>
                      <a:lnTo>
                        <a:pt x="267" y="438"/>
                      </a:lnTo>
                      <a:lnTo>
                        <a:pt x="267" y="438"/>
                      </a:lnTo>
                      <a:lnTo>
                        <a:pt x="262" y="449"/>
                      </a:lnTo>
                      <a:lnTo>
                        <a:pt x="258" y="461"/>
                      </a:lnTo>
                      <a:lnTo>
                        <a:pt x="250" y="471"/>
                      </a:lnTo>
                      <a:lnTo>
                        <a:pt x="242" y="480"/>
                      </a:lnTo>
                      <a:lnTo>
                        <a:pt x="242" y="480"/>
                      </a:lnTo>
                      <a:lnTo>
                        <a:pt x="236" y="486"/>
                      </a:lnTo>
                      <a:lnTo>
                        <a:pt x="229" y="492"/>
                      </a:lnTo>
                      <a:lnTo>
                        <a:pt x="221" y="496"/>
                      </a:lnTo>
                      <a:lnTo>
                        <a:pt x="214" y="499"/>
                      </a:lnTo>
                      <a:lnTo>
                        <a:pt x="206" y="503"/>
                      </a:lnTo>
                      <a:lnTo>
                        <a:pt x="197" y="505"/>
                      </a:lnTo>
                      <a:lnTo>
                        <a:pt x="188" y="506"/>
                      </a:lnTo>
                      <a:lnTo>
                        <a:pt x="178" y="507"/>
                      </a:lnTo>
                      <a:lnTo>
                        <a:pt x="178" y="507"/>
                      </a:lnTo>
                      <a:lnTo>
                        <a:pt x="169" y="506"/>
                      </a:lnTo>
                      <a:lnTo>
                        <a:pt x="160" y="505"/>
                      </a:lnTo>
                      <a:lnTo>
                        <a:pt x="151" y="503"/>
                      </a:lnTo>
                      <a:lnTo>
                        <a:pt x="144" y="499"/>
                      </a:lnTo>
                      <a:lnTo>
                        <a:pt x="135" y="496"/>
                      </a:lnTo>
                      <a:lnTo>
                        <a:pt x="128" y="492"/>
                      </a:lnTo>
                      <a:lnTo>
                        <a:pt x="120" y="486"/>
                      </a:lnTo>
                      <a:lnTo>
                        <a:pt x="114" y="480"/>
                      </a:lnTo>
                      <a:lnTo>
                        <a:pt x="114" y="480"/>
                      </a:lnTo>
                      <a:lnTo>
                        <a:pt x="106" y="471"/>
                      </a:lnTo>
                      <a:lnTo>
                        <a:pt x="99" y="461"/>
                      </a:lnTo>
                      <a:lnTo>
                        <a:pt x="94" y="449"/>
                      </a:lnTo>
                      <a:lnTo>
                        <a:pt x="90" y="438"/>
                      </a:lnTo>
                      <a:lnTo>
                        <a:pt x="84" y="438"/>
                      </a:lnTo>
                      <a:lnTo>
                        <a:pt x="57" y="438"/>
                      </a:lnTo>
                      <a:lnTo>
                        <a:pt x="27" y="438"/>
                      </a:lnTo>
                      <a:lnTo>
                        <a:pt x="0" y="438"/>
                      </a:lnTo>
                      <a:lnTo>
                        <a:pt x="0" y="357"/>
                      </a:lnTo>
                      <a:lnTo>
                        <a:pt x="27" y="357"/>
                      </a:lnTo>
                      <a:lnTo>
                        <a:pt x="27" y="238"/>
                      </a:lnTo>
                      <a:lnTo>
                        <a:pt x="27" y="230"/>
                      </a:lnTo>
                      <a:lnTo>
                        <a:pt x="32" y="222"/>
                      </a:lnTo>
                      <a:lnTo>
                        <a:pt x="114" y="96"/>
                      </a:lnTo>
                      <a:lnTo>
                        <a:pt x="121" y="83"/>
                      </a:lnTo>
                      <a:lnTo>
                        <a:pt x="121" y="83"/>
                      </a:lnTo>
                      <a:lnTo>
                        <a:pt x="336" y="80"/>
                      </a:lnTo>
                      <a:lnTo>
                        <a:pt x="336" y="110"/>
                      </a:lnTo>
                      <a:lnTo>
                        <a:pt x="336" y="346"/>
                      </a:lnTo>
                      <a:lnTo>
                        <a:pt x="430" y="346"/>
                      </a:lnTo>
                      <a:lnTo>
                        <a:pt x="430" y="328"/>
                      </a:lnTo>
                      <a:lnTo>
                        <a:pt x="801" y="328"/>
                      </a:lnTo>
                      <a:lnTo>
                        <a:pt x="801" y="328"/>
                      </a:lnTo>
                      <a:close/>
                      <a:moveTo>
                        <a:pt x="215" y="379"/>
                      </a:moveTo>
                      <a:lnTo>
                        <a:pt x="215" y="379"/>
                      </a:lnTo>
                      <a:lnTo>
                        <a:pt x="207" y="373"/>
                      </a:lnTo>
                      <a:lnTo>
                        <a:pt x="198" y="368"/>
                      </a:lnTo>
                      <a:lnTo>
                        <a:pt x="189" y="365"/>
                      </a:lnTo>
                      <a:lnTo>
                        <a:pt x="178" y="364"/>
                      </a:lnTo>
                      <a:lnTo>
                        <a:pt x="178" y="364"/>
                      </a:lnTo>
                      <a:lnTo>
                        <a:pt x="168" y="365"/>
                      </a:lnTo>
                      <a:lnTo>
                        <a:pt x="158" y="368"/>
                      </a:lnTo>
                      <a:lnTo>
                        <a:pt x="150" y="373"/>
                      </a:lnTo>
                      <a:lnTo>
                        <a:pt x="143" y="379"/>
                      </a:lnTo>
                      <a:lnTo>
                        <a:pt x="143" y="379"/>
                      </a:lnTo>
                      <a:lnTo>
                        <a:pt x="136" y="387"/>
                      </a:lnTo>
                      <a:lnTo>
                        <a:pt x="131" y="396"/>
                      </a:lnTo>
                      <a:lnTo>
                        <a:pt x="128" y="405"/>
                      </a:lnTo>
                      <a:lnTo>
                        <a:pt x="127" y="416"/>
                      </a:lnTo>
                      <a:lnTo>
                        <a:pt x="127" y="416"/>
                      </a:lnTo>
                      <a:lnTo>
                        <a:pt x="128" y="426"/>
                      </a:lnTo>
                      <a:lnTo>
                        <a:pt x="131" y="436"/>
                      </a:lnTo>
                      <a:lnTo>
                        <a:pt x="136" y="444"/>
                      </a:lnTo>
                      <a:lnTo>
                        <a:pt x="143" y="452"/>
                      </a:lnTo>
                      <a:lnTo>
                        <a:pt x="143" y="452"/>
                      </a:lnTo>
                      <a:lnTo>
                        <a:pt x="150" y="458"/>
                      </a:lnTo>
                      <a:lnTo>
                        <a:pt x="158" y="463"/>
                      </a:lnTo>
                      <a:lnTo>
                        <a:pt x="168" y="466"/>
                      </a:lnTo>
                      <a:lnTo>
                        <a:pt x="178" y="467"/>
                      </a:lnTo>
                      <a:lnTo>
                        <a:pt x="178" y="467"/>
                      </a:lnTo>
                      <a:lnTo>
                        <a:pt x="189" y="466"/>
                      </a:lnTo>
                      <a:lnTo>
                        <a:pt x="198" y="463"/>
                      </a:lnTo>
                      <a:lnTo>
                        <a:pt x="207" y="458"/>
                      </a:lnTo>
                      <a:lnTo>
                        <a:pt x="215" y="452"/>
                      </a:lnTo>
                      <a:lnTo>
                        <a:pt x="215" y="452"/>
                      </a:lnTo>
                      <a:lnTo>
                        <a:pt x="221" y="444"/>
                      </a:lnTo>
                      <a:lnTo>
                        <a:pt x="226" y="436"/>
                      </a:lnTo>
                      <a:lnTo>
                        <a:pt x="229" y="426"/>
                      </a:lnTo>
                      <a:lnTo>
                        <a:pt x="229" y="416"/>
                      </a:lnTo>
                      <a:lnTo>
                        <a:pt x="229" y="416"/>
                      </a:lnTo>
                      <a:lnTo>
                        <a:pt x="229" y="405"/>
                      </a:lnTo>
                      <a:lnTo>
                        <a:pt x="226" y="396"/>
                      </a:lnTo>
                      <a:lnTo>
                        <a:pt x="221" y="387"/>
                      </a:lnTo>
                      <a:lnTo>
                        <a:pt x="215" y="379"/>
                      </a:lnTo>
                      <a:lnTo>
                        <a:pt x="215" y="379"/>
                      </a:lnTo>
                      <a:close/>
                      <a:moveTo>
                        <a:pt x="637" y="383"/>
                      </a:moveTo>
                      <a:lnTo>
                        <a:pt x="637" y="383"/>
                      </a:lnTo>
                      <a:lnTo>
                        <a:pt x="630" y="376"/>
                      </a:lnTo>
                      <a:lnTo>
                        <a:pt x="621" y="372"/>
                      </a:lnTo>
                      <a:lnTo>
                        <a:pt x="611" y="368"/>
                      </a:lnTo>
                      <a:lnTo>
                        <a:pt x="601" y="367"/>
                      </a:lnTo>
                      <a:lnTo>
                        <a:pt x="601" y="367"/>
                      </a:lnTo>
                      <a:lnTo>
                        <a:pt x="590" y="368"/>
                      </a:lnTo>
                      <a:lnTo>
                        <a:pt x="581" y="372"/>
                      </a:lnTo>
                      <a:lnTo>
                        <a:pt x="572" y="376"/>
                      </a:lnTo>
                      <a:lnTo>
                        <a:pt x="564" y="383"/>
                      </a:lnTo>
                      <a:lnTo>
                        <a:pt x="564" y="383"/>
                      </a:lnTo>
                      <a:lnTo>
                        <a:pt x="558" y="389"/>
                      </a:lnTo>
                      <a:lnTo>
                        <a:pt x="553" y="398"/>
                      </a:lnTo>
                      <a:lnTo>
                        <a:pt x="551" y="408"/>
                      </a:lnTo>
                      <a:lnTo>
                        <a:pt x="550" y="418"/>
                      </a:lnTo>
                      <a:lnTo>
                        <a:pt x="550" y="418"/>
                      </a:lnTo>
                      <a:lnTo>
                        <a:pt x="551" y="428"/>
                      </a:lnTo>
                      <a:lnTo>
                        <a:pt x="553" y="438"/>
                      </a:lnTo>
                      <a:lnTo>
                        <a:pt x="558" y="447"/>
                      </a:lnTo>
                      <a:lnTo>
                        <a:pt x="564" y="455"/>
                      </a:lnTo>
                      <a:lnTo>
                        <a:pt x="564" y="455"/>
                      </a:lnTo>
                      <a:lnTo>
                        <a:pt x="572" y="461"/>
                      </a:lnTo>
                      <a:lnTo>
                        <a:pt x="581" y="466"/>
                      </a:lnTo>
                      <a:lnTo>
                        <a:pt x="590" y="468"/>
                      </a:lnTo>
                      <a:lnTo>
                        <a:pt x="601" y="469"/>
                      </a:lnTo>
                      <a:lnTo>
                        <a:pt x="601" y="469"/>
                      </a:lnTo>
                      <a:lnTo>
                        <a:pt x="611" y="468"/>
                      </a:lnTo>
                      <a:lnTo>
                        <a:pt x="621" y="466"/>
                      </a:lnTo>
                      <a:lnTo>
                        <a:pt x="630" y="461"/>
                      </a:lnTo>
                      <a:lnTo>
                        <a:pt x="637" y="455"/>
                      </a:lnTo>
                      <a:lnTo>
                        <a:pt x="637" y="455"/>
                      </a:lnTo>
                      <a:lnTo>
                        <a:pt x="643" y="447"/>
                      </a:lnTo>
                      <a:lnTo>
                        <a:pt x="648" y="438"/>
                      </a:lnTo>
                      <a:lnTo>
                        <a:pt x="651" y="428"/>
                      </a:lnTo>
                      <a:lnTo>
                        <a:pt x="652" y="418"/>
                      </a:lnTo>
                      <a:lnTo>
                        <a:pt x="652" y="418"/>
                      </a:lnTo>
                      <a:lnTo>
                        <a:pt x="651" y="408"/>
                      </a:lnTo>
                      <a:lnTo>
                        <a:pt x="648" y="398"/>
                      </a:lnTo>
                      <a:lnTo>
                        <a:pt x="643" y="389"/>
                      </a:lnTo>
                      <a:lnTo>
                        <a:pt x="637" y="383"/>
                      </a:lnTo>
                      <a:lnTo>
                        <a:pt x="637" y="383"/>
                      </a:lnTo>
                      <a:close/>
                      <a:moveTo>
                        <a:pt x="829" y="383"/>
                      </a:moveTo>
                      <a:lnTo>
                        <a:pt x="829" y="383"/>
                      </a:lnTo>
                      <a:lnTo>
                        <a:pt x="821" y="376"/>
                      </a:lnTo>
                      <a:lnTo>
                        <a:pt x="812" y="372"/>
                      </a:lnTo>
                      <a:lnTo>
                        <a:pt x="803" y="368"/>
                      </a:lnTo>
                      <a:lnTo>
                        <a:pt x="792" y="367"/>
                      </a:lnTo>
                      <a:lnTo>
                        <a:pt x="792" y="367"/>
                      </a:lnTo>
                      <a:lnTo>
                        <a:pt x="782" y="368"/>
                      </a:lnTo>
                      <a:lnTo>
                        <a:pt x="772" y="372"/>
                      </a:lnTo>
                      <a:lnTo>
                        <a:pt x="764" y="376"/>
                      </a:lnTo>
                      <a:lnTo>
                        <a:pt x="756" y="383"/>
                      </a:lnTo>
                      <a:lnTo>
                        <a:pt x="756" y="383"/>
                      </a:lnTo>
                      <a:lnTo>
                        <a:pt x="750" y="389"/>
                      </a:lnTo>
                      <a:lnTo>
                        <a:pt x="745" y="398"/>
                      </a:lnTo>
                      <a:lnTo>
                        <a:pt x="742" y="408"/>
                      </a:lnTo>
                      <a:lnTo>
                        <a:pt x="741" y="418"/>
                      </a:lnTo>
                      <a:lnTo>
                        <a:pt x="741" y="418"/>
                      </a:lnTo>
                      <a:lnTo>
                        <a:pt x="742" y="428"/>
                      </a:lnTo>
                      <a:lnTo>
                        <a:pt x="745" y="438"/>
                      </a:lnTo>
                      <a:lnTo>
                        <a:pt x="750" y="447"/>
                      </a:lnTo>
                      <a:lnTo>
                        <a:pt x="756" y="455"/>
                      </a:lnTo>
                      <a:lnTo>
                        <a:pt x="756" y="455"/>
                      </a:lnTo>
                      <a:lnTo>
                        <a:pt x="764" y="461"/>
                      </a:lnTo>
                      <a:lnTo>
                        <a:pt x="772" y="466"/>
                      </a:lnTo>
                      <a:lnTo>
                        <a:pt x="782" y="468"/>
                      </a:lnTo>
                      <a:lnTo>
                        <a:pt x="792" y="469"/>
                      </a:lnTo>
                      <a:lnTo>
                        <a:pt x="792" y="469"/>
                      </a:lnTo>
                      <a:lnTo>
                        <a:pt x="803" y="468"/>
                      </a:lnTo>
                      <a:lnTo>
                        <a:pt x="812" y="466"/>
                      </a:lnTo>
                      <a:lnTo>
                        <a:pt x="821" y="461"/>
                      </a:lnTo>
                      <a:lnTo>
                        <a:pt x="829" y="455"/>
                      </a:lnTo>
                      <a:lnTo>
                        <a:pt x="829" y="455"/>
                      </a:lnTo>
                      <a:lnTo>
                        <a:pt x="835" y="447"/>
                      </a:lnTo>
                      <a:lnTo>
                        <a:pt x="840" y="438"/>
                      </a:lnTo>
                      <a:lnTo>
                        <a:pt x="843" y="428"/>
                      </a:lnTo>
                      <a:lnTo>
                        <a:pt x="843" y="418"/>
                      </a:lnTo>
                      <a:lnTo>
                        <a:pt x="843" y="418"/>
                      </a:lnTo>
                      <a:lnTo>
                        <a:pt x="843" y="408"/>
                      </a:lnTo>
                      <a:lnTo>
                        <a:pt x="840" y="398"/>
                      </a:lnTo>
                      <a:lnTo>
                        <a:pt x="835" y="389"/>
                      </a:lnTo>
                      <a:lnTo>
                        <a:pt x="829" y="383"/>
                      </a:lnTo>
                      <a:lnTo>
                        <a:pt x="829" y="383"/>
                      </a:lnTo>
                      <a:close/>
                      <a:moveTo>
                        <a:pt x="217" y="250"/>
                      </a:moveTo>
                      <a:lnTo>
                        <a:pt x="217" y="141"/>
                      </a:lnTo>
                      <a:lnTo>
                        <a:pt x="155" y="142"/>
                      </a:lnTo>
                      <a:lnTo>
                        <a:pt x="87" y="247"/>
                      </a:lnTo>
                      <a:lnTo>
                        <a:pt x="87" y="250"/>
                      </a:lnTo>
                      <a:lnTo>
                        <a:pt x="217" y="250"/>
                      </a:lnTo>
                      <a:lnTo>
                        <a:pt x="217" y="250"/>
                      </a:lnTo>
                      <a:close/>
                      <a:moveTo>
                        <a:pt x="235" y="140"/>
                      </a:moveTo>
                      <a:lnTo>
                        <a:pt x="235" y="250"/>
                      </a:lnTo>
                      <a:lnTo>
                        <a:pt x="277" y="250"/>
                      </a:lnTo>
                      <a:lnTo>
                        <a:pt x="277" y="140"/>
                      </a:lnTo>
                      <a:lnTo>
                        <a:pt x="235" y="140"/>
                      </a:lnTo>
                      <a:lnTo>
                        <a:pt x="235" y="140"/>
                      </a:lnTo>
                      <a:close/>
                      <a:moveTo>
                        <a:pt x="409" y="0"/>
                      </a:moveTo>
                      <a:lnTo>
                        <a:pt x="665" y="0"/>
                      </a:lnTo>
                      <a:lnTo>
                        <a:pt x="665" y="254"/>
                      </a:lnTo>
                      <a:lnTo>
                        <a:pt x="688" y="254"/>
                      </a:lnTo>
                      <a:lnTo>
                        <a:pt x="688" y="204"/>
                      </a:lnTo>
                      <a:lnTo>
                        <a:pt x="753" y="204"/>
                      </a:lnTo>
                      <a:lnTo>
                        <a:pt x="753" y="254"/>
                      </a:lnTo>
                      <a:lnTo>
                        <a:pt x="776" y="254"/>
                      </a:lnTo>
                      <a:lnTo>
                        <a:pt x="776" y="0"/>
                      </a:lnTo>
                      <a:lnTo>
                        <a:pt x="839" y="0"/>
                      </a:lnTo>
                      <a:lnTo>
                        <a:pt x="839" y="0"/>
                      </a:lnTo>
                      <a:lnTo>
                        <a:pt x="847" y="19"/>
                      </a:lnTo>
                      <a:lnTo>
                        <a:pt x="855" y="36"/>
                      </a:lnTo>
                      <a:lnTo>
                        <a:pt x="862" y="55"/>
                      </a:lnTo>
                      <a:lnTo>
                        <a:pt x="867" y="74"/>
                      </a:lnTo>
                      <a:lnTo>
                        <a:pt x="872" y="92"/>
                      </a:lnTo>
                      <a:lnTo>
                        <a:pt x="874" y="111"/>
                      </a:lnTo>
                      <a:lnTo>
                        <a:pt x="875" y="130"/>
                      </a:lnTo>
                      <a:lnTo>
                        <a:pt x="876" y="149"/>
                      </a:lnTo>
                      <a:lnTo>
                        <a:pt x="875" y="166"/>
                      </a:lnTo>
                      <a:lnTo>
                        <a:pt x="873" y="185"/>
                      </a:lnTo>
                      <a:lnTo>
                        <a:pt x="870" y="204"/>
                      </a:lnTo>
                      <a:lnTo>
                        <a:pt x="865" y="223"/>
                      </a:lnTo>
                      <a:lnTo>
                        <a:pt x="860" y="242"/>
                      </a:lnTo>
                      <a:lnTo>
                        <a:pt x="854" y="261"/>
                      </a:lnTo>
                      <a:lnTo>
                        <a:pt x="846" y="280"/>
                      </a:lnTo>
                      <a:lnTo>
                        <a:pt x="839" y="298"/>
                      </a:lnTo>
                      <a:lnTo>
                        <a:pt x="801" y="298"/>
                      </a:lnTo>
                      <a:lnTo>
                        <a:pt x="792" y="298"/>
                      </a:lnTo>
                      <a:lnTo>
                        <a:pt x="430" y="298"/>
                      </a:lnTo>
                      <a:lnTo>
                        <a:pt x="419" y="298"/>
                      </a:lnTo>
                      <a:lnTo>
                        <a:pt x="409" y="298"/>
                      </a:lnTo>
                      <a:lnTo>
                        <a:pt x="409" y="298"/>
                      </a:lnTo>
                      <a:lnTo>
                        <a:pt x="396" y="261"/>
                      </a:lnTo>
                      <a:lnTo>
                        <a:pt x="391" y="242"/>
                      </a:lnTo>
                      <a:lnTo>
                        <a:pt x="387" y="224"/>
                      </a:lnTo>
                      <a:lnTo>
                        <a:pt x="382" y="205"/>
                      </a:lnTo>
                      <a:lnTo>
                        <a:pt x="380" y="186"/>
                      </a:lnTo>
                      <a:lnTo>
                        <a:pt x="378" y="167"/>
                      </a:lnTo>
                      <a:lnTo>
                        <a:pt x="377" y="149"/>
                      </a:lnTo>
                      <a:lnTo>
                        <a:pt x="377" y="131"/>
                      </a:lnTo>
                      <a:lnTo>
                        <a:pt x="378" y="112"/>
                      </a:lnTo>
                      <a:lnTo>
                        <a:pt x="380" y="93"/>
                      </a:lnTo>
                      <a:lnTo>
                        <a:pt x="383" y="74"/>
                      </a:lnTo>
                      <a:lnTo>
                        <a:pt x="388" y="55"/>
                      </a:lnTo>
                      <a:lnTo>
                        <a:pt x="393" y="38"/>
                      </a:lnTo>
                      <a:lnTo>
                        <a:pt x="400" y="19"/>
                      </a:lnTo>
                      <a:lnTo>
                        <a:pt x="409" y="0"/>
                      </a:lnTo>
                      <a:lnTo>
                        <a:pt x="409" y="0"/>
                      </a:lnTo>
                      <a:close/>
                      <a:moveTo>
                        <a:pt x="688" y="0"/>
                      </a:moveTo>
                      <a:lnTo>
                        <a:pt x="688" y="39"/>
                      </a:lnTo>
                      <a:lnTo>
                        <a:pt x="753" y="39"/>
                      </a:lnTo>
                      <a:lnTo>
                        <a:pt x="753" y="0"/>
                      </a:lnTo>
                      <a:lnTo>
                        <a:pt x="688" y="0"/>
                      </a:lnTo>
                      <a:lnTo>
                        <a:pt x="688" y="0"/>
                      </a:lnTo>
                      <a:close/>
                      <a:moveTo>
                        <a:pt x="753" y="181"/>
                      </a:moveTo>
                      <a:lnTo>
                        <a:pt x="753" y="131"/>
                      </a:lnTo>
                      <a:lnTo>
                        <a:pt x="688" y="131"/>
                      </a:lnTo>
                      <a:lnTo>
                        <a:pt x="688" y="181"/>
                      </a:lnTo>
                      <a:lnTo>
                        <a:pt x="753" y="18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9B26901-CBB5-432B-B7A1-4DDF4AB2942C}"/>
                </a:ext>
              </a:extLst>
            </p:cNvPr>
            <p:cNvGrpSpPr/>
            <p:nvPr/>
          </p:nvGrpSpPr>
          <p:grpSpPr>
            <a:xfrm>
              <a:off x="4717956" y="3479308"/>
              <a:ext cx="143619" cy="127597"/>
              <a:chOff x="4472064" y="1117827"/>
              <a:chExt cx="612000" cy="612000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D91CF3BF-87E6-4490-8A98-E4D5CF715989}"/>
                  </a:ext>
                </a:extLst>
              </p:cNvPr>
              <p:cNvSpPr/>
              <p:nvPr/>
            </p:nvSpPr>
            <p:spPr bwMode="ltGray">
              <a:xfrm>
                <a:off x="4472064" y="1117827"/>
                <a:ext cx="612000" cy="612000"/>
              </a:xfrm>
              <a:prstGeom prst="ellipse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dirty="0" err="1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4804">
                <a:extLst>
                  <a:ext uri="{FF2B5EF4-FFF2-40B4-BE49-F238E27FC236}">
                    <a16:creationId xmlns:a16="http://schemas.microsoft.com/office/drawing/2014/main" id="{401ED8A2-45C2-4DA8-AB62-B901A9CFA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626" y="1243481"/>
                <a:ext cx="418876" cy="421430"/>
              </a:xfrm>
              <a:custGeom>
                <a:avLst/>
                <a:gdLst>
                  <a:gd name="T0" fmla="*/ 250 w 328"/>
                  <a:gd name="T1" fmla="*/ 118 h 330"/>
                  <a:gd name="T2" fmla="*/ 290 w 328"/>
                  <a:gd name="T3" fmla="*/ 300 h 330"/>
                  <a:gd name="T4" fmla="*/ 288 w 328"/>
                  <a:gd name="T5" fmla="*/ 310 h 330"/>
                  <a:gd name="T6" fmla="*/ 270 w 328"/>
                  <a:gd name="T7" fmla="*/ 326 h 330"/>
                  <a:gd name="T8" fmla="*/ 262 w 328"/>
                  <a:gd name="T9" fmla="*/ 330 h 330"/>
                  <a:gd name="T10" fmla="*/ 262 w 328"/>
                  <a:gd name="T11" fmla="*/ 330 h 330"/>
                  <a:gd name="T12" fmla="*/ 256 w 328"/>
                  <a:gd name="T13" fmla="*/ 328 h 330"/>
                  <a:gd name="T14" fmla="*/ 188 w 328"/>
                  <a:gd name="T15" fmla="*/ 178 h 330"/>
                  <a:gd name="T16" fmla="*/ 124 w 328"/>
                  <a:gd name="T17" fmla="*/ 302 h 330"/>
                  <a:gd name="T18" fmla="*/ 124 w 328"/>
                  <a:gd name="T19" fmla="*/ 308 h 330"/>
                  <a:gd name="T20" fmla="*/ 112 w 328"/>
                  <a:gd name="T21" fmla="*/ 320 h 330"/>
                  <a:gd name="T22" fmla="*/ 110 w 328"/>
                  <a:gd name="T23" fmla="*/ 322 h 330"/>
                  <a:gd name="T24" fmla="*/ 106 w 328"/>
                  <a:gd name="T25" fmla="*/ 322 h 330"/>
                  <a:gd name="T26" fmla="*/ 104 w 328"/>
                  <a:gd name="T27" fmla="*/ 322 h 330"/>
                  <a:gd name="T28" fmla="*/ 96 w 328"/>
                  <a:gd name="T29" fmla="*/ 316 h 330"/>
                  <a:gd name="T30" fmla="*/ 14 w 328"/>
                  <a:gd name="T31" fmla="*/ 234 h 330"/>
                  <a:gd name="T32" fmla="*/ 10 w 328"/>
                  <a:gd name="T33" fmla="*/ 230 h 330"/>
                  <a:gd name="T34" fmla="*/ 8 w 328"/>
                  <a:gd name="T35" fmla="*/ 226 h 330"/>
                  <a:gd name="T36" fmla="*/ 10 w 328"/>
                  <a:gd name="T37" fmla="*/ 218 h 330"/>
                  <a:gd name="T38" fmla="*/ 20 w 328"/>
                  <a:gd name="T39" fmla="*/ 208 h 330"/>
                  <a:gd name="T40" fmla="*/ 26 w 328"/>
                  <a:gd name="T41" fmla="*/ 204 h 330"/>
                  <a:gd name="T42" fmla="*/ 150 w 328"/>
                  <a:gd name="T43" fmla="*/ 142 h 330"/>
                  <a:gd name="T44" fmla="*/ 6 w 328"/>
                  <a:gd name="T45" fmla="*/ 76 h 330"/>
                  <a:gd name="T46" fmla="*/ 0 w 328"/>
                  <a:gd name="T47" fmla="*/ 68 h 330"/>
                  <a:gd name="T48" fmla="*/ 0 w 328"/>
                  <a:gd name="T49" fmla="*/ 64 h 330"/>
                  <a:gd name="T50" fmla="*/ 20 w 328"/>
                  <a:gd name="T51" fmla="*/ 42 h 330"/>
                  <a:gd name="T52" fmla="*/ 24 w 328"/>
                  <a:gd name="T53" fmla="*/ 40 h 330"/>
                  <a:gd name="T54" fmla="*/ 212 w 328"/>
                  <a:gd name="T55" fmla="*/ 80 h 330"/>
                  <a:gd name="T56" fmla="*/ 284 w 328"/>
                  <a:gd name="T57" fmla="*/ 8 h 330"/>
                  <a:gd name="T58" fmla="*/ 302 w 328"/>
                  <a:gd name="T59" fmla="*/ 0 h 330"/>
                  <a:gd name="T60" fmla="*/ 322 w 328"/>
                  <a:gd name="T61" fmla="*/ 8 h 330"/>
                  <a:gd name="T62" fmla="*/ 328 w 328"/>
                  <a:gd name="T63" fmla="*/ 16 h 330"/>
                  <a:gd name="T64" fmla="*/ 328 w 328"/>
                  <a:gd name="T65" fmla="*/ 36 h 330"/>
                  <a:gd name="T66" fmla="*/ 322 w 328"/>
                  <a:gd name="T67" fmla="*/ 46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8" h="330">
                    <a:moveTo>
                      <a:pt x="322" y="46"/>
                    </a:moveTo>
                    <a:lnTo>
                      <a:pt x="250" y="118"/>
                    </a:lnTo>
                    <a:lnTo>
                      <a:pt x="290" y="300"/>
                    </a:lnTo>
                    <a:lnTo>
                      <a:pt x="290" y="300"/>
                    </a:lnTo>
                    <a:lnTo>
                      <a:pt x="290" y="304"/>
                    </a:lnTo>
                    <a:lnTo>
                      <a:pt x="288" y="310"/>
                    </a:lnTo>
                    <a:lnTo>
                      <a:pt x="270" y="326"/>
                    </a:lnTo>
                    <a:lnTo>
                      <a:pt x="270" y="326"/>
                    </a:lnTo>
                    <a:lnTo>
                      <a:pt x="266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56" y="328"/>
                    </a:lnTo>
                    <a:lnTo>
                      <a:pt x="254" y="324"/>
                    </a:lnTo>
                    <a:lnTo>
                      <a:pt x="188" y="178"/>
                    </a:lnTo>
                    <a:lnTo>
                      <a:pt x="122" y="246"/>
                    </a:lnTo>
                    <a:lnTo>
                      <a:pt x="124" y="302"/>
                    </a:lnTo>
                    <a:lnTo>
                      <a:pt x="124" y="302"/>
                    </a:lnTo>
                    <a:lnTo>
                      <a:pt x="124" y="308"/>
                    </a:lnTo>
                    <a:lnTo>
                      <a:pt x="122" y="310"/>
                    </a:lnTo>
                    <a:lnTo>
                      <a:pt x="112" y="320"/>
                    </a:lnTo>
                    <a:lnTo>
                      <a:pt x="112" y="320"/>
                    </a:lnTo>
                    <a:lnTo>
                      <a:pt x="110" y="322"/>
                    </a:lnTo>
                    <a:lnTo>
                      <a:pt x="106" y="322"/>
                    </a:lnTo>
                    <a:lnTo>
                      <a:pt x="106" y="322"/>
                    </a:lnTo>
                    <a:lnTo>
                      <a:pt x="104" y="322"/>
                    </a:lnTo>
                    <a:lnTo>
                      <a:pt x="104" y="322"/>
                    </a:lnTo>
                    <a:lnTo>
                      <a:pt x="98" y="320"/>
                    </a:lnTo>
                    <a:lnTo>
                      <a:pt x="96" y="316"/>
                    </a:lnTo>
                    <a:lnTo>
                      <a:pt x="74" y="256"/>
                    </a:lnTo>
                    <a:lnTo>
                      <a:pt x="14" y="234"/>
                    </a:lnTo>
                    <a:lnTo>
                      <a:pt x="14" y="234"/>
                    </a:lnTo>
                    <a:lnTo>
                      <a:pt x="10" y="230"/>
                    </a:lnTo>
                    <a:lnTo>
                      <a:pt x="8" y="226"/>
                    </a:lnTo>
                    <a:lnTo>
                      <a:pt x="8" y="226"/>
                    </a:lnTo>
                    <a:lnTo>
                      <a:pt x="8" y="222"/>
                    </a:lnTo>
                    <a:lnTo>
                      <a:pt x="10" y="218"/>
                    </a:lnTo>
                    <a:lnTo>
                      <a:pt x="20" y="208"/>
                    </a:lnTo>
                    <a:lnTo>
                      <a:pt x="20" y="208"/>
                    </a:lnTo>
                    <a:lnTo>
                      <a:pt x="22" y="206"/>
                    </a:lnTo>
                    <a:lnTo>
                      <a:pt x="26" y="204"/>
                    </a:lnTo>
                    <a:lnTo>
                      <a:pt x="84" y="208"/>
                    </a:lnTo>
                    <a:lnTo>
                      <a:pt x="150" y="142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2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2" y="6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4" y="40"/>
                    </a:lnTo>
                    <a:lnTo>
                      <a:pt x="30" y="40"/>
                    </a:lnTo>
                    <a:lnTo>
                      <a:pt x="212" y="80"/>
                    </a:lnTo>
                    <a:lnTo>
                      <a:pt x="284" y="8"/>
                    </a:lnTo>
                    <a:lnTo>
                      <a:pt x="284" y="8"/>
                    </a:lnTo>
                    <a:lnTo>
                      <a:pt x="294" y="2"/>
                    </a:lnTo>
                    <a:lnTo>
                      <a:pt x="302" y="0"/>
                    </a:lnTo>
                    <a:lnTo>
                      <a:pt x="312" y="2"/>
                    </a:lnTo>
                    <a:lnTo>
                      <a:pt x="322" y="8"/>
                    </a:lnTo>
                    <a:lnTo>
                      <a:pt x="322" y="8"/>
                    </a:lnTo>
                    <a:lnTo>
                      <a:pt x="328" y="16"/>
                    </a:lnTo>
                    <a:lnTo>
                      <a:pt x="328" y="26"/>
                    </a:lnTo>
                    <a:lnTo>
                      <a:pt x="328" y="36"/>
                    </a:lnTo>
                    <a:lnTo>
                      <a:pt x="322" y="46"/>
                    </a:lnTo>
                    <a:lnTo>
                      <a:pt x="322" y="4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dirty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1" name="TextBox 69">
              <a:extLst>
                <a:ext uri="{FF2B5EF4-FFF2-40B4-BE49-F238E27FC236}">
                  <a16:creationId xmlns:a16="http://schemas.microsoft.com/office/drawing/2014/main" id="{C44B2C2D-CB62-4619-8497-F1E51B841CB5}"/>
                </a:ext>
              </a:extLst>
            </p:cNvPr>
            <p:cNvSpPr txBox="1"/>
            <p:nvPr/>
          </p:nvSpPr>
          <p:spPr>
            <a:xfrm>
              <a:off x="4909860" y="3462839"/>
              <a:ext cx="80687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274320" algn="ctr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Aerospace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A409DCB-23AF-4022-B42F-4BF6B6FC1077}"/>
                </a:ext>
              </a:extLst>
            </p:cNvPr>
            <p:cNvGrpSpPr/>
            <p:nvPr/>
          </p:nvGrpSpPr>
          <p:grpSpPr>
            <a:xfrm>
              <a:off x="4694495" y="3187177"/>
              <a:ext cx="171502" cy="171502"/>
              <a:chOff x="3519143" y="1467333"/>
              <a:chExt cx="240402" cy="252879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9EF74D11-E3CB-4559-BDF1-2458F95AD503}"/>
                  </a:ext>
                </a:extLst>
              </p:cNvPr>
              <p:cNvSpPr/>
              <p:nvPr/>
            </p:nvSpPr>
            <p:spPr bwMode="ltGray">
              <a:xfrm>
                <a:off x="3519143" y="1467333"/>
                <a:ext cx="240402" cy="252879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000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9" name="Freeform 4949">
                <a:extLst>
                  <a:ext uri="{FF2B5EF4-FFF2-40B4-BE49-F238E27FC236}">
                    <a16:creationId xmlns:a16="http://schemas.microsoft.com/office/drawing/2014/main" id="{B2ED0D56-9293-4F1E-9CE5-1D681B5912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1272" y="1500242"/>
                <a:ext cx="156145" cy="174203"/>
              </a:xfrm>
              <a:custGeom>
                <a:avLst/>
                <a:gdLst>
                  <a:gd name="T0" fmla="*/ 128 w 330"/>
                  <a:gd name="T1" fmla="*/ 144 h 350"/>
                  <a:gd name="T2" fmla="*/ 116 w 330"/>
                  <a:gd name="T3" fmla="*/ 138 h 350"/>
                  <a:gd name="T4" fmla="*/ 126 w 330"/>
                  <a:gd name="T5" fmla="*/ 90 h 350"/>
                  <a:gd name="T6" fmla="*/ 188 w 330"/>
                  <a:gd name="T7" fmla="*/ 52 h 350"/>
                  <a:gd name="T8" fmla="*/ 210 w 330"/>
                  <a:gd name="T9" fmla="*/ 14 h 350"/>
                  <a:gd name="T10" fmla="*/ 250 w 330"/>
                  <a:gd name="T11" fmla="*/ 0 h 350"/>
                  <a:gd name="T12" fmla="*/ 260 w 330"/>
                  <a:gd name="T13" fmla="*/ 10 h 350"/>
                  <a:gd name="T14" fmla="*/ 250 w 330"/>
                  <a:gd name="T15" fmla="*/ 20 h 350"/>
                  <a:gd name="T16" fmla="*/ 214 w 330"/>
                  <a:gd name="T17" fmla="*/ 38 h 350"/>
                  <a:gd name="T18" fmla="*/ 206 w 330"/>
                  <a:gd name="T19" fmla="*/ 66 h 350"/>
                  <a:gd name="T20" fmla="*/ 198 w 330"/>
                  <a:gd name="T21" fmla="*/ 72 h 350"/>
                  <a:gd name="T22" fmla="*/ 172 w 330"/>
                  <a:gd name="T23" fmla="*/ 76 h 350"/>
                  <a:gd name="T24" fmla="*/ 136 w 330"/>
                  <a:gd name="T25" fmla="*/ 122 h 350"/>
                  <a:gd name="T26" fmla="*/ 124 w 330"/>
                  <a:gd name="T27" fmla="*/ 6 h 350"/>
                  <a:gd name="T28" fmla="*/ 100 w 330"/>
                  <a:gd name="T29" fmla="*/ 0 h 350"/>
                  <a:gd name="T30" fmla="*/ 46 w 330"/>
                  <a:gd name="T31" fmla="*/ 44 h 350"/>
                  <a:gd name="T32" fmla="*/ 44 w 330"/>
                  <a:gd name="T33" fmla="*/ 80 h 350"/>
                  <a:gd name="T34" fmla="*/ 58 w 330"/>
                  <a:gd name="T35" fmla="*/ 80 h 350"/>
                  <a:gd name="T36" fmla="*/ 64 w 330"/>
                  <a:gd name="T37" fmla="*/ 52 h 350"/>
                  <a:gd name="T38" fmla="*/ 104 w 330"/>
                  <a:gd name="T39" fmla="*/ 20 h 350"/>
                  <a:gd name="T40" fmla="*/ 124 w 330"/>
                  <a:gd name="T41" fmla="*/ 14 h 350"/>
                  <a:gd name="T42" fmla="*/ 246 w 330"/>
                  <a:gd name="T43" fmla="*/ 34 h 350"/>
                  <a:gd name="T44" fmla="*/ 238 w 330"/>
                  <a:gd name="T45" fmla="*/ 54 h 350"/>
                  <a:gd name="T46" fmla="*/ 208 w 330"/>
                  <a:gd name="T47" fmla="*/ 92 h 350"/>
                  <a:gd name="T48" fmla="*/ 180 w 330"/>
                  <a:gd name="T49" fmla="*/ 98 h 350"/>
                  <a:gd name="T50" fmla="*/ 172 w 330"/>
                  <a:gd name="T51" fmla="*/ 118 h 350"/>
                  <a:gd name="T52" fmla="*/ 150 w 330"/>
                  <a:gd name="T53" fmla="*/ 128 h 350"/>
                  <a:gd name="T54" fmla="*/ 150 w 330"/>
                  <a:gd name="T55" fmla="*/ 142 h 350"/>
                  <a:gd name="T56" fmla="*/ 182 w 330"/>
                  <a:gd name="T57" fmla="*/ 136 h 350"/>
                  <a:gd name="T58" fmla="*/ 222 w 330"/>
                  <a:gd name="T59" fmla="*/ 106 h 350"/>
                  <a:gd name="T60" fmla="*/ 258 w 330"/>
                  <a:gd name="T61" fmla="*/ 56 h 350"/>
                  <a:gd name="T62" fmla="*/ 254 w 330"/>
                  <a:gd name="T63" fmla="*/ 34 h 350"/>
                  <a:gd name="T64" fmla="*/ 158 w 330"/>
                  <a:gd name="T65" fmla="*/ 6 h 350"/>
                  <a:gd name="T66" fmla="*/ 144 w 330"/>
                  <a:gd name="T67" fmla="*/ 0 h 350"/>
                  <a:gd name="T68" fmla="*/ 138 w 330"/>
                  <a:gd name="T69" fmla="*/ 16 h 350"/>
                  <a:gd name="T70" fmla="*/ 124 w 330"/>
                  <a:gd name="T71" fmla="*/ 36 h 350"/>
                  <a:gd name="T72" fmla="*/ 106 w 330"/>
                  <a:gd name="T73" fmla="*/ 42 h 350"/>
                  <a:gd name="T74" fmla="*/ 96 w 330"/>
                  <a:gd name="T75" fmla="*/ 52 h 350"/>
                  <a:gd name="T76" fmla="*/ 106 w 330"/>
                  <a:gd name="T77" fmla="*/ 62 h 350"/>
                  <a:gd name="T78" fmla="*/ 136 w 330"/>
                  <a:gd name="T79" fmla="*/ 52 h 350"/>
                  <a:gd name="T80" fmla="*/ 158 w 330"/>
                  <a:gd name="T81" fmla="*/ 20 h 350"/>
                  <a:gd name="T82" fmla="*/ 242 w 330"/>
                  <a:gd name="T83" fmla="*/ 258 h 350"/>
                  <a:gd name="T84" fmla="*/ 128 w 330"/>
                  <a:gd name="T85" fmla="*/ 252 h 350"/>
                  <a:gd name="T86" fmla="*/ 138 w 330"/>
                  <a:gd name="T87" fmla="*/ 164 h 350"/>
                  <a:gd name="T88" fmla="*/ 114 w 330"/>
                  <a:gd name="T89" fmla="*/ 162 h 350"/>
                  <a:gd name="T90" fmla="*/ 82 w 330"/>
                  <a:gd name="T91" fmla="*/ 258 h 350"/>
                  <a:gd name="T92" fmla="*/ 60 w 330"/>
                  <a:gd name="T93" fmla="*/ 102 h 350"/>
                  <a:gd name="T94" fmla="*/ 38 w 330"/>
                  <a:gd name="T95" fmla="*/ 104 h 350"/>
                  <a:gd name="T96" fmla="*/ 10 w 330"/>
                  <a:gd name="T97" fmla="*/ 258 h 350"/>
                  <a:gd name="T98" fmla="*/ 0 w 330"/>
                  <a:gd name="T99" fmla="*/ 340 h 350"/>
                  <a:gd name="T100" fmla="*/ 10 w 330"/>
                  <a:gd name="T101" fmla="*/ 350 h 350"/>
                  <a:gd name="T102" fmla="*/ 330 w 330"/>
                  <a:gd name="T103" fmla="*/ 344 h 350"/>
                  <a:gd name="T104" fmla="*/ 330 w 330"/>
                  <a:gd name="T105" fmla="*/ 268 h 350"/>
                  <a:gd name="T106" fmla="*/ 76 w 330"/>
                  <a:gd name="T107" fmla="*/ 314 h 350"/>
                  <a:gd name="T108" fmla="*/ 154 w 330"/>
                  <a:gd name="T109" fmla="*/ 314 h 350"/>
                  <a:gd name="T110" fmla="*/ 232 w 330"/>
                  <a:gd name="T111" fmla="*/ 314 h 350"/>
                  <a:gd name="T112" fmla="*/ 308 w 330"/>
                  <a:gd name="T113" fmla="*/ 314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0" h="350">
                    <a:moveTo>
                      <a:pt x="134" y="134"/>
                    </a:moveTo>
                    <a:lnTo>
                      <a:pt x="134" y="134"/>
                    </a:lnTo>
                    <a:lnTo>
                      <a:pt x="134" y="138"/>
                    </a:lnTo>
                    <a:lnTo>
                      <a:pt x="132" y="142"/>
                    </a:lnTo>
                    <a:lnTo>
                      <a:pt x="128" y="144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0" y="144"/>
                    </a:lnTo>
                    <a:lnTo>
                      <a:pt x="118" y="142"/>
                    </a:lnTo>
                    <a:lnTo>
                      <a:pt x="116" y="138"/>
                    </a:lnTo>
                    <a:lnTo>
                      <a:pt x="114" y="134"/>
                    </a:lnTo>
                    <a:lnTo>
                      <a:pt x="114" y="134"/>
                    </a:lnTo>
                    <a:lnTo>
                      <a:pt x="116" y="118"/>
                    </a:lnTo>
                    <a:lnTo>
                      <a:pt x="120" y="104"/>
                    </a:lnTo>
                    <a:lnTo>
                      <a:pt x="126" y="90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60" y="60"/>
                    </a:lnTo>
                    <a:lnTo>
                      <a:pt x="174" y="56"/>
                    </a:lnTo>
                    <a:lnTo>
                      <a:pt x="188" y="52"/>
                    </a:lnTo>
                    <a:lnTo>
                      <a:pt x="188" y="52"/>
                    </a:lnTo>
                    <a:lnTo>
                      <a:pt x="192" y="42"/>
                    </a:lnTo>
                    <a:lnTo>
                      <a:pt x="196" y="32"/>
                    </a:lnTo>
                    <a:lnTo>
                      <a:pt x="202" y="22"/>
                    </a:lnTo>
                    <a:lnTo>
                      <a:pt x="210" y="14"/>
                    </a:lnTo>
                    <a:lnTo>
                      <a:pt x="218" y="8"/>
                    </a:lnTo>
                    <a:lnTo>
                      <a:pt x="228" y="4"/>
                    </a:lnTo>
                    <a:lnTo>
                      <a:pt x="238" y="0"/>
                    </a:lnTo>
                    <a:lnTo>
                      <a:pt x="250" y="0"/>
                    </a:lnTo>
                    <a:lnTo>
                      <a:pt x="250" y="0"/>
                    </a:lnTo>
                    <a:lnTo>
                      <a:pt x="254" y="0"/>
                    </a:lnTo>
                    <a:lnTo>
                      <a:pt x="258" y="2"/>
                    </a:lnTo>
                    <a:lnTo>
                      <a:pt x="260" y="6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0" y="14"/>
                    </a:lnTo>
                    <a:lnTo>
                      <a:pt x="258" y="16"/>
                    </a:lnTo>
                    <a:lnTo>
                      <a:pt x="254" y="18"/>
                    </a:lnTo>
                    <a:lnTo>
                      <a:pt x="250" y="20"/>
                    </a:lnTo>
                    <a:lnTo>
                      <a:pt x="250" y="20"/>
                    </a:lnTo>
                    <a:lnTo>
                      <a:pt x="242" y="20"/>
                    </a:lnTo>
                    <a:lnTo>
                      <a:pt x="234" y="22"/>
                    </a:lnTo>
                    <a:lnTo>
                      <a:pt x="226" y="26"/>
                    </a:lnTo>
                    <a:lnTo>
                      <a:pt x="220" y="32"/>
                    </a:lnTo>
                    <a:lnTo>
                      <a:pt x="214" y="38"/>
                    </a:lnTo>
                    <a:lnTo>
                      <a:pt x="212" y="46"/>
                    </a:lnTo>
                    <a:lnTo>
                      <a:pt x="208" y="52"/>
                    </a:lnTo>
                    <a:lnTo>
                      <a:pt x="208" y="62"/>
                    </a:lnTo>
                    <a:lnTo>
                      <a:pt x="208" y="62"/>
                    </a:lnTo>
                    <a:lnTo>
                      <a:pt x="206" y="66"/>
                    </a:lnTo>
                    <a:lnTo>
                      <a:pt x="204" y="68"/>
                    </a:lnTo>
                    <a:lnTo>
                      <a:pt x="202" y="70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84" y="72"/>
                    </a:lnTo>
                    <a:lnTo>
                      <a:pt x="172" y="76"/>
                    </a:lnTo>
                    <a:lnTo>
                      <a:pt x="162" y="82"/>
                    </a:lnTo>
                    <a:lnTo>
                      <a:pt x="152" y="90"/>
                    </a:lnTo>
                    <a:lnTo>
                      <a:pt x="146" y="100"/>
                    </a:lnTo>
                    <a:lnTo>
                      <a:pt x="140" y="110"/>
                    </a:lnTo>
                    <a:lnTo>
                      <a:pt x="136" y="122"/>
                    </a:lnTo>
                    <a:lnTo>
                      <a:pt x="134" y="134"/>
                    </a:lnTo>
                    <a:lnTo>
                      <a:pt x="134" y="134"/>
                    </a:lnTo>
                    <a:close/>
                    <a:moveTo>
                      <a:pt x="124" y="10"/>
                    </a:moveTo>
                    <a:lnTo>
                      <a:pt x="124" y="10"/>
                    </a:lnTo>
                    <a:lnTo>
                      <a:pt x="124" y="6"/>
                    </a:lnTo>
                    <a:lnTo>
                      <a:pt x="122" y="2"/>
                    </a:lnTo>
                    <a:lnTo>
                      <a:pt x="118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00" y="0"/>
                    </a:lnTo>
                    <a:lnTo>
                      <a:pt x="86" y="6"/>
                    </a:lnTo>
                    <a:lnTo>
                      <a:pt x="72" y="12"/>
                    </a:lnTo>
                    <a:lnTo>
                      <a:pt x="62" y="20"/>
                    </a:lnTo>
                    <a:lnTo>
                      <a:pt x="52" y="32"/>
                    </a:lnTo>
                    <a:lnTo>
                      <a:pt x="46" y="44"/>
                    </a:lnTo>
                    <a:lnTo>
                      <a:pt x="42" y="58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44" y="80"/>
                    </a:lnTo>
                    <a:lnTo>
                      <a:pt x="46" y="82"/>
                    </a:lnTo>
                    <a:lnTo>
                      <a:pt x="50" y="84"/>
                    </a:lnTo>
                    <a:lnTo>
                      <a:pt x="50" y="84"/>
                    </a:lnTo>
                    <a:lnTo>
                      <a:pt x="54" y="82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2" y="62"/>
                    </a:lnTo>
                    <a:lnTo>
                      <a:pt x="64" y="52"/>
                    </a:lnTo>
                    <a:lnTo>
                      <a:pt x="70" y="44"/>
                    </a:lnTo>
                    <a:lnTo>
                      <a:pt x="76" y="36"/>
                    </a:lnTo>
                    <a:lnTo>
                      <a:pt x="84" y="28"/>
                    </a:lnTo>
                    <a:lnTo>
                      <a:pt x="94" y="24"/>
                    </a:lnTo>
                    <a:lnTo>
                      <a:pt x="104" y="20"/>
                    </a:lnTo>
                    <a:lnTo>
                      <a:pt x="114" y="20"/>
                    </a:lnTo>
                    <a:lnTo>
                      <a:pt x="114" y="20"/>
                    </a:lnTo>
                    <a:lnTo>
                      <a:pt x="118" y="18"/>
                    </a:lnTo>
                    <a:lnTo>
                      <a:pt x="122" y="16"/>
                    </a:lnTo>
                    <a:lnTo>
                      <a:pt x="124" y="14"/>
                    </a:lnTo>
                    <a:lnTo>
                      <a:pt x="124" y="10"/>
                    </a:lnTo>
                    <a:lnTo>
                      <a:pt x="124" y="10"/>
                    </a:lnTo>
                    <a:close/>
                    <a:moveTo>
                      <a:pt x="250" y="32"/>
                    </a:moveTo>
                    <a:lnTo>
                      <a:pt x="250" y="32"/>
                    </a:lnTo>
                    <a:lnTo>
                      <a:pt x="246" y="34"/>
                    </a:lnTo>
                    <a:lnTo>
                      <a:pt x="242" y="36"/>
                    </a:lnTo>
                    <a:lnTo>
                      <a:pt x="240" y="38"/>
                    </a:lnTo>
                    <a:lnTo>
                      <a:pt x="240" y="42"/>
                    </a:lnTo>
                    <a:lnTo>
                      <a:pt x="240" y="42"/>
                    </a:lnTo>
                    <a:lnTo>
                      <a:pt x="238" y="54"/>
                    </a:lnTo>
                    <a:lnTo>
                      <a:pt x="236" y="62"/>
                    </a:lnTo>
                    <a:lnTo>
                      <a:pt x="230" y="72"/>
                    </a:lnTo>
                    <a:lnTo>
                      <a:pt x="224" y="80"/>
                    </a:lnTo>
                    <a:lnTo>
                      <a:pt x="216" y="86"/>
                    </a:lnTo>
                    <a:lnTo>
                      <a:pt x="208" y="92"/>
                    </a:lnTo>
                    <a:lnTo>
                      <a:pt x="198" y="94"/>
                    </a:lnTo>
                    <a:lnTo>
                      <a:pt x="188" y="96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8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8" y="106"/>
                    </a:lnTo>
                    <a:lnTo>
                      <a:pt x="176" y="112"/>
                    </a:lnTo>
                    <a:lnTo>
                      <a:pt x="172" y="118"/>
                    </a:lnTo>
                    <a:lnTo>
                      <a:pt x="166" y="124"/>
                    </a:lnTo>
                    <a:lnTo>
                      <a:pt x="158" y="124"/>
                    </a:lnTo>
                    <a:lnTo>
                      <a:pt x="158" y="124"/>
                    </a:lnTo>
                    <a:lnTo>
                      <a:pt x="154" y="126"/>
                    </a:lnTo>
                    <a:lnTo>
                      <a:pt x="150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48" y="134"/>
                    </a:lnTo>
                    <a:lnTo>
                      <a:pt x="148" y="138"/>
                    </a:lnTo>
                    <a:lnTo>
                      <a:pt x="150" y="142"/>
                    </a:lnTo>
                    <a:lnTo>
                      <a:pt x="154" y="144"/>
                    </a:lnTo>
                    <a:lnTo>
                      <a:pt x="158" y="144"/>
                    </a:lnTo>
                    <a:lnTo>
                      <a:pt x="158" y="144"/>
                    </a:lnTo>
                    <a:lnTo>
                      <a:pt x="170" y="142"/>
                    </a:lnTo>
                    <a:lnTo>
                      <a:pt x="182" y="136"/>
                    </a:lnTo>
                    <a:lnTo>
                      <a:pt x="190" y="126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208" y="112"/>
                    </a:lnTo>
                    <a:lnTo>
                      <a:pt x="222" y="106"/>
                    </a:lnTo>
                    <a:lnTo>
                      <a:pt x="232" y="100"/>
                    </a:lnTo>
                    <a:lnTo>
                      <a:pt x="242" y="90"/>
                    </a:lnTo>
                    <a:lnTo>
                      <a:pt x="250" y="80"/>
                    </a:lnTo>
                    <a:lnTo>
                      <a:pt x="256" y="68"/>
                    </a:lnTo>
                    <a:lnTo>
                      <a:pt x="258" y="56"/>
                    </a:lnTo>
                    <a:lnTo>
                      <a:pt x="260" y="42"/>
                    </a:lnTo>
                    <a:lnTo>
                      <a:pt x="260" y="42"/>
                    </a:lnTo>
                    <a:lnTo>
                      <a:pt x="260" y="38"/>
                    </a:lnTo>
                    <a:lnTo>
                      <a:pt x="258" y="36"/>
                    </a:lnTo>
                    <a:lnTo>
                      <a:pt x="254" y="34"/>
                    </a:lnTo>
                    <a:lnTo>
                      <a:pt x="250" y="32"/>
                    </a:lnTo>
                    <a:lnTo>
                      <a:pt x="250" y="32"/>
                    </a:lnTo>
                    <a:close/>
                    <a:moveTo>
                      <a:pt x="158" y="10"/>
                    </a:moveTo>
                    <a:lnTo>
                      <a:pt x="158" y="10"/>
                    </a:lnTo>
                    <a:lnTo>
                      <a:pt x="158" y="6"/>
                    </a:lnTo>
                    <a:lnTo>
                      <a:pt x="156" y="2"/>
                    </a:lnTo>
                    <a:lnTo>
                      <a:pt x="152" y="0"/>
                    </a:lnTo>
                    <a:lnTo>
                      <a:pt x="148" y="0"/>
                    </a:lnTo>
                    <a:lnTo>
                      <a:pt x="148" y="0"/>
                    </a:lnTo>
                    <a:lnTo>
                      <a:pt x="144" y="0"/>
                    </a:lnTo>
                    <a:lnTo>
                      <a:pt x="142" y="2"/>
                    </a:lnTo>
                    <a:lnTo>
                      <a:pt x="138" y="6"/>
                    </a:lnTo>
                    <a:lnTo>
                      <a:pt x="138" y="10"/>
                    </a:lnTo>
                    <a:lnTo>
                      <a:pt x="138" y="10"/>
                    </a:lnTo>
                    <a:lnTo>
                      <a:pt x="138" y="16"/>
                    </a:lnTo>
                    <a:lnTo>
                      <a:pt x="136" y="22"/>
                    </a:lnTo>
                    <a:lnTo>
                      <a:pt x="132" y="26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24" y="36"/>
                    </a:lnTo>
                    <a:lnTo>
                      <a:pt x="118" y="38"/>
                    </a:lnTo>
                    <a:lnTo>
                      <a:pt x="112" y="40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2" y="42"/>
                    </a:lnTo>
                    <a:lnTo>
                      <a:pt x="100" y="44"/>
                    </a:lnTo>
                    <a:lnTo>
                      <a:pt x="98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8" y="56"/>
                    </a:lnTo>
                    <a:lnTo>
                      <a:pt x="100" y="58"/>
                    </a:lnTo>
                    <a:lnTo>
                      <a:pt x="102" y="60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16" y="60"/>
                    </a:lnTo>
                    <a:lnTo>
                      <a:pt x="126" y="58"/>
                    </a:lnTo>
                    <a:lnTo>
                      <a:pt x="136" y="52"/>
                    </a:lnTo>
                    <a:lnTo>
                      <a:pt x="142" y="46"/>
                    </a:lnTo>
                    <a:lnTo>
                      <a:pt x="142" y="46"/>
                    </a:lnTo>
                    <a:lnTo>
                      <a:pt x="150" y="38"/>
                    </a:lnTo>
                    <a:lnTo>
                      <a:pt x="154" y="30"/>
                    </a:lnTo>
                    <a:lnTo>
                      <a:pt x="158" y="20"/>
                    </a:lnTo>
                    <a:lnTo>
                      <a:pt x="158" y="10"/>
                    </a:lnTo>
                    <a:lnTo>
                      <a:pt x="158" y="10"/>
                    </a:lnTo>
                    <a:close/>
                    <a:moveTo>
                      <a:pt x="330" y="268"/>
                    </a:moveTo>
                    <a:lnTo>
                      <a:pt x="330" y="190"/>
                    </a:lnTo>
                    <a:lnTo>
                      <a:pt x="242" y="258"/>
                    </a:lnTo>
                    <a:lnTo>
                      <a:pt x="242" y="190"/>
                    </a:lnTo>
                    <a:lnTo>
                      <a:pt x="154" y="258"/>
                    </a:lnTo>
                    <a:lnTo>
                      <a:pt x="148" y="258"/>
                    </a:lnTo>
                    <a:lnTo>
                      <a:pt x="122" y="258"/>
                    </a:lnTo>
                    <a:lnTo>
                      <a:pt x="128" y="252"/>
                    </a:lnTo>
                    <a:lnTo>
                      <a:pt x="146" y="240"/>
                    </a:lnTo>
                    <a:lnTo>
                      <a:pt x="140" y="172"/>
                    </a:lnTo>
                    <a:lnTo>
                      <a:pt x="140" y="172"/>
                    </a:lnTo>
                    <a:lnTo>
                      <a:pt x="140" y="168"/>
                    </a:lnTo>
                    <a:lnTo>
                      <a:pt x="138" y="164"/>
                    </a:lnTo>
                    <a:lnTo>
                      <a:pt x="134" y="162"/>
                    </a:lnTo>
                    <a:lnTo>
                      <a:pt x="130" y="162"/>
                    </a:lnTo>
                    <a:lnTo>
                      <a:pt x="118" y="162"/>
                    </a:lnTo>
                    <a:lnTo>
                      <a:pt x="118" y="162"/>
                    </a:lnTo>
                    <a:lnTo>
                      <a:pt x="114" y="162"/>
                    </a:lnTo>
                    <a:lnTo>
                      <a:pt x="112" y="164"/>
                    </a:lnTo>
                    <a:lnTo>
                      <a:pt x="110" y="168"/>
                    </a:lnTo>
                    <a:lnTo>
                      <a:pt x="108" y="172"/>
                    </a:lnTo>
                    <a:lnTo>
                      <a:pt x="100" y="258"/>
                    </a:lnTo>
                    <a:lnTo>
                      <a:pt x="82" y="258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6" y="106"/>
                    </a:lnTo>
                    <a:lnTo>
                      <a:pt x="64" y="104"/>
                    </a:lnTo>
                    <a:lnTo>
                      <a:pt x="60" y="102"/>
                    </a:lnTo>
                    <a:lnTo>
                      <a:pt x="56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2"/>
                    </a:lnTo>
                    <a:lnTo>
                      <a:pt x="38" y="104"/>
                    </a:lnTo>
                    <a:lnTo>
                      <a:pt x="36" y="106"/>
                    </a:lnTo>
                    <a:lnTo>
                      <a:pt x="34" y="110"/>
                    </a:lnTo>
                    <a:lnTo>
                      <a:pt x="18" y="258"/>
                    </a:lnTo>
                    <a:lnTo>
                      <a:pt x="10" y="258"/>
                    </a:lnTo>
                    <a:lnTo>
                      <a:pt x="10" y="258"/>
                    </a:lnTo>
                    <a:lnTo>
                      <a:pt x="6" y="260"/>
                    </a:lnTo>
                    <a:lnTo>
                      <a:pt x="2" y="262"/>
                    </a:lnTo>
                    <a:lnTo>
                      <a:pt x="0" y="264"/>
                    </a:lnTo>
                    <a:lnTo>
                      <a:pt x="0" y="268"/>
                    </a:lnTo>
                    <a:lnTo>
                      <a:pt x="0" y="340"/>
                    </a:lnTo>
                    <a:lnTo>
                      <a:pt x="0" y="340"/>
                    </a:lnTo>
                    <a:lnTo>
                      <a:pt x="0" y="344"/>
                    </a:lnTo>
                    <a:lnTo>
                      <a:pt x="2" y="348"/>
                    </a:lnTo>
                    <a:lnTo>
                      <a:pt x="6" y="350"/>
                    </a:lnTo>
                    <a:lnTo>
                      <a:pt x="10" y="350"/>
                    </a:lnTo>
                    <a:lnTo>
                      <a:pt x="320" y="350"/>
                    </a:lnTo>
                    <a:lnTo>
                      <a:pt x="320" y="350"/>
                    </a:lnTo>
                    <a:lnTo>
                      <a:pt x="324" y="350"/>
                    </a:lnTo>
                    <a:lnTo>
                      <a:pt x="328" y="348"/>
                    </a:lnTo>
                    <a:lnTo>
                      <a:pt x="330" y="344"/>
                    </a:lnTo>
                    <a:lnTo>
                      <a:pt x="330" y="340"/>
                    </a:lnTo>
                    <a:lnTo>
                      <a:pt x="330" y="268"/>
                    </a:lnTo>
                    <a:lnTo>
                      <a:pt x="330" y="268"/>
                    </a:lnTo>
                    <a:lnTo>
                      <a:pt x="330" y="268"/>
                    </a:lnTo>
                    <a:lnTo>
                      <a:pt x="330" y="268"/>
                    </a:lnTo>
                    <a:close/>
                    <a:moveTo>
                      <a:pt x="76" y="314"/>
                    </a:moveTo>
                    <a:lnTo>
                      <a:pt x="22" y="314"/>
                    </a:lnTo>
                    <a:lnTo>
                      <a:pt x="22" y="288"/>
                    </a:lnTo>
                    <a:lnTo>
                      <a:pt x="76" y="288"/>
                    </a:lnTo>
                    <a:lnTo>
                      <a:pt x="76" y="314"/>
                    </a:lnTo>
                    <a:close/>
                    <a:moveTo>
                      <a:pt x="154" y="314"/>
                    </a:moveTo>
                    <a:lnTo>
                      <a:pt x="100" y="314"/>
                    </a:lnTo>
                    <a:lnTo>
                      <a:pt x="100" y="288"/>
                    </a:lnTo>
                    <a:lnTo>
                      <a:pt x="154" y="288"/>
                    </a:lnTo>
                    <a:lnTo>
                      <a:pt x="154" y="314"/>
                    </a:lnTo>
                    <a:close/>
                    <a:moveTo>
                      <a:pt x="232" y="314"/>
                    </a:moveTo>
                    <a:lnTo>
                      <a:pt x="176" y="314"/>
                    </a:lnTo>
                    <a:lnTo>
                      <a:pt x="176" y="288"/>
                    </a:lnTo>
                    <a:lnTo>
                      <a:pt x="232" y="288"/>
                    </a:lnTo>
                    <a:lnTo>
                      <a:pt x="232" y="314"/>
                    </a:lnTo>
                    <a:close/>
                    <a:moveTo>
                      <a:pt x="308" y="314"/>
                    </a:moveTo>
                    <a:lnTo>
                      <a:pt x="254" y="314"/>
                    </a:lnTo>
                    <a:lnTo>
                      <a:pt x="254" y="288"/>
                    </a:lnTo>
                    <a:lnTo>
                      <a:pt x="308" y="288"/>
                    </a:lnTo>
                    <a:lnTo>
                      <a:pt x="308" y="3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000" dirty="0"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3" name="TextBox 73">
              <a:extLst>
                <a:ext uri="{FF2B5EF4-FFF2-40B4-BE49-F238E27FC236}">
                  <a16:creationId xmlns:a16="http://schemas.microsoft.com/office/drawing/2014/main" id="{3F4C89CB-0DE6-4529-BF7F-5B120C97231B}"/>
                </a:ext>
              </a:extLst>
            </p:cNvPr>
            <p:cNvSpPr txBox="1"/>
            <p:nvPr/>
          </p:nvSpPr>
          <p:spPr>
            <a:xfrm>
              <a:off x="4880281" y="3168212"/>
              <a:ext cx="1029873" cy="1692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274320" algn="ctr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rPr>
                <a:t>Thermal Power</a:t>
              </a:r>
            </a:p>
          </p:txBody>
        </p:sp>
        <p:sp>
          <p:nvSpPr>
            <p:cNvPr id="34" name="TextBox 59">
              <a:extLst>
                <a:ext uri="{FF2B5EF4-FFF2-40B4-BE49-F238E27FC236}">
                  <a16:creationId xmlns:a16="http://schemas.microsoft.com/office/drawing/2014/main" id="{B3B8E03C-F989-420A-9320-02B7D8C2C381}"/>
                </a:ext>
              </a:extLst>
            </p:cNvPr>
            <p:cNvSpPr txBox="1"/>
            <p:nvPr/>
          </p:nvSpPr>
          <p:spPr>
            <a:xfrm>
              <a:off x="5001880" y="5303308"/>
              <a:ext cx="112617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-274320" algn="l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000000"/>
                  </a:solidFill>
                  <a:cs typeface="Arial" panose="020B0604020202020204" pitchFamily="34" charset="0"/>
                </a:rPr>
                <a:t>Petrochemicals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09737FF-ED32-4D10-9C58-B65DBA24036D}"/>
                </a:ext>
              </a:extLst>
            </p:cNvPr>
            <p:cNvGrpSpPr/>
            <p:nvPr/>
          </p:nvGrpSpPr>
          <p:grpSpPr>
            <a:xfrm>
              <a:off x="4695009" y="5265362"/>
              <a:ext cx="236321" cy="236321"/>
              <a:chOff x="4695009" y="5265362"/>
              <a:chExt cx="236321" cy="236321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E2C4C52-DD0E-4E69-9B24-EDCC2F381874}"/>
                  </a:ext>
                </a:extLst>
              </p:cNvPr>
              <p:cNvSpPr/>
              <p:nvPr/>
            </p:nvSpPr>
            <p:spPr bwMode="ltGray">
              <a:xfrm>
                <a:off x="4695009" y="5265362"/>
                <a:ext cx="236321" cy="236321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3175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37" name="Freeform 107">
                <a:extLst>
                  <a:ext uri="{FF2B5EF4-FFF2-40B4-BE49-F238E27FC236}">
                    <a16:creationId xmlns:a16="http://schemas.microsoft.com/office/drawing/2014/main" id="{5A9F7475-37FA-467C-B46F-7A6E0E63575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768636" y="5329727"/>
                <a:ext cx="101280" cy="135189"/>
              </a:xfrm>
              <a:custGeom>
                <a:avLst/>
                <a:gdLst>
                  <a:gd name="T0" fmla="*/ 144 w 150"/>
                  <a:gd name="T1" fmla="*/ 187 h 200"/>
                  <a:gd name="T2" fmla="*/ 144 w 150"/>
                  <a:gd name="T3" fmla="*/ 187 h 200"/>
                  <a:gd name="T4" fmla="*/ 150 w 150"/>
                  <a:gd name="T5" fmla="*/ 193 h 200"/>
                  <a:gd name="T6" fmla="*/ 144 w 150"/>
                  <a:gd name="T7" fmla="*/ 200 h 200"/>
                  <a:gd name="T8" fmla="*/ 7 w 150"/>
                  <a:gd name="T9" fmla="*/ 200 h 200"/>
                  <a:gd name="T10" fmla="*/ 0 w 150"/>
                  <a:gd name="T11" fmla="*/ 193 h 200"/>
                  <a:gd name="T12" fmla="*/ 7 w 150"/>
                  <a:gd name="T13" fmla="*/ 187 h 200"/>
                  <a:gd name="T14" fmla="*/ 7 w 150"/>
                  <a:gd name="T15" fmla="*/ 187 h 200"/>
                  <a:gd name="T16" fmla="*/ 13 w 150"/>
                  <a:gd name="T17" fmla="*/ 187 h 200"/>
                  <a:gd name="T18" fmla="*/ 13 w 150"/>
                  <a:gd name="T19" fmla="*/ 16 h 200"/>
                  <a:gd name="T20" fmla="*/ 29 w 150"/>
                  <a:gd name="T21" fmla="*/ 0 h 200"/>
                  <a:gd name="T22" fmla="*/ 29 w 150"/>
                  <a:gd name="T23" fmla="*/ 0 h 200"/>
                  <a:gd name="T24" fmla="*/ 121 w 150"/>
                  <a:gd name="T25" fmla="*/ 0 h 200"/>
                  <a:gd name="T26" fmla="*/ 138 w 150"/>
                  <a:gd name="T27" fmla="*/ 16 h 200"/>
                  <a:gd name="T28" fmla="*/ 138 w 150"/>
                  <a:gd name="T29" fmla="*/ 16 h 200"/>
                  <a:gd name="T30" fmla="*/ 138 w 150"/>
                  <a:gd name="T31" fmla="*/ 187 h 200"/>
                  <a:gd name="T32" fmla="*/ 144 w 150"/>
                  <a:gd name="T33" fmla="*/ 187 h 200"/>
                  <a:gd name="T34" fmla="*/ 107 w 150"/>
                  <a:gd name="T35" fmla="*/ 81 h 200"/>
                  <a:gd name="T36" fmla="*/ 100 w 150"/>
                  <a:gd name="T37" fmla="*/ 87 h 200"/>
                  <a:gd name="T38" fmla="*/ 100 w 150"/>
                  <a:gd name="T39" fmla="*/ 112 h 200"/>
                  <a:gd name="T40" fmla="*/ 107 w 150"/>
                  <a:gd name="T41" fmla="*/ 118 h 200"/>
                  <a:gd name="T42" fmla="*/ 113 w 150"/>
                  <a:gd name="T43" fmla="*/ 112 h 200"/>
                  <a:gd name="T44" fmla="*/ 113 w 150"/>
                  <a:gd name="T45" fmla="*/ 87 h 200"/>
                  <a:gd name="T46" fmla="*/ 107 w 150"/>
                  <a:gd name="T47" fmla="*/ 8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0" h="200">
                    <a:moveTo>
                      <a:pt x="144" y="187"/>
                    </a:moveTo>
                    <a:cubicBezTo>
                      <a:pt x="144" y="187"/>
                      <a:pt x="144" y="187"/>
                      <a:pt x="144" y="187"/>
                    </a:cubicBezTo>
                    <a:cubicBezTo>
                      <a:pt x="147" y="187"/>
                      <a:pt x="150" y="190"/>
                      <a:pt x="150" y="193"/>
                    </a:cubicBezTo>
                    <a:cubicBezTo>
                      <a:pt x="150" y="197"/>
                      <a:pt x="147" y="200"/>
                      <a:pt x="144" y="200"/>
                    </a:cubicBezTo>
                    <a:cubicBezTo>
                      <a:pt x="7" y="200"/>
                      <a:pt x="7" y="200"/>
                      <a:pt x="7" y="200"/>
                    </a:cubicBezTo>
                    <a:cubicBezTo>
                      <a:pt x="3" y="200"/>
                      <a:pt x="0" y="197"/>
                      <a:pt x="0" y="193"/>
                    </a:cubicBezTo>
                    <a:cubicBezTo>
                      <a:pt x="0" y="190"/>
                      <a:pt x="3" y="187"/>
                      <a:pt x="7" y="187"/>
                    </a:cubicBezTo>
                    <a:cubicBezTo>
                      <a:pt x="7" y="187"/>
                      <a:pt x="7" y="187"/>
                      <a:pt x="7" y="187"/>
                    </a:cubicBezTo>
                    <a:cubicBezTo>
                      <a:pt x="13" y="187"/>
                      <a:pt x="13" y="187"/>
                      <a:pt x="13" y="187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7"/>
                      <a:pt x="2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30" y="0"/>
                      <a:pt x="138" y="7"/>
                      <a:pt x="138" y="16"/>
                    </a:cubicBezTo>
                    <a:cubicBezTo>
                      <a:pt x="138" y="16"/>
                      <a:pt x="138" y="16"/>
                      <a:pt x="138" y="16"/>
                    </a:cubicBezTo>
                    <a:cubicBezTo>
                      <a:pt x="138" y="187"/>
                      <a:pt x="138" y="187"/>
                      <a:pt x="138" y="187"/>
                    </a:cubicBezTo>
                    <a:lnTo>
                      <a:pt x="144" y="187"/>
                    </a:lnTo>
                    <a:close/>
                    <a:moveTo>
                      <a:pt x="107" y="81"/>
                    </a:moveTo>
                    <a:cubicBezTo>
                      <a:pt x="103" y="81"/>
                      <a:pt x="100" y="84"/>
                      <a:pt x="100" y="87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100" y="116"/>
                      <a:pt x="103" y="118"/>
                      <a:pt x="107" y="118"/>
                    </a:cubicBezTo>
                    <a:cubicBezTo>
                      <a:pt x="110" y="118"/>
                      <a:pt x="113" y="116"/>
                      <a:pt x="113" y="112"/>
                    </a:cubicBezTo>
                    <a:cubicBezTo>
                      <a:pt x="113" y="87"/>
                      <a:pt x="113" y="87"/>
                      <a:pt x="113" y="87"/>
                    </a:cubicBezTo>
                    <a:cubicBezTo>
                      <a:pt x="113" y="84"/>
                      <a:pt x="110" y="81"/>
                      <a:pt x="107" y="81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800" dirty="0"/>
              </a:p>
            </p:txBody>
          </p:sp>
        </p:grp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6A61B3AD-7B16-40D5-A650-9350847CB436}"/>
              </a:ext>
            </a:extLst>
          </p:cNvPr>
          <p:cNvSpPr/>
          <p:nvPr/>
        </p:nvSpPr>
        <p:spPr>
          <a:xfrm>
            <a:off x="7642746" y="2069128"/>
            <a:ext cx="3853217" cy="9470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eveloped industrial hinterland provides gateway cargo and is extremely important for the development of any port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D4DCBC8-81CE-4C5E-AE72-1CE491FDFE3B}"/>
              </a:ext>
            </a:extLst>
          </p:cNvPr>
          <p:cNvSpPr/>
          <p:nvPr/>
        </p:nvSpPr>
        <p:spPr>
          <a:xfrm>
            <a:off x="7882279" y="3002166"/>
            <a:ext cx="3823487" cy="257072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GB" sz="1600" dirty="0">
              <a:cs typeface="Arial" pitchFamily="34" charset="0"/>
            </a:endParaRPr>
          </a:p>
          <a:p>
            <a:pPr algn="ctr"/>
            <a:endParaRPr lang="en-GB" sz="1600" dirty="0">
              <a:cs typeface="Arial" pitchFamily="34" charset="0"/>
            </a:endParaRPr>
          </a:p>
        </p:txBody>
      </p:sp>
      <p:graphicFrame>
        <p:nvGraphicFramePr>
          <p:cNvPr id="76" name="Table 76">
            <a:extLst>
              <a:ext uri="{FF2B5EF4-FFF2-40B4-BE49-F238E27FC236}">
                <a16:creationId xmlns:a16="http://schemas.microsoft.com/office/drawing/2014/main" id="{45C44981-DED8-4097-B3B2-AFA80D6281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797376"/>
              </p:ext>
            </p:extLst>
          </p:nvPr>
        </p:nvGraphicFramePr>
        <p:xfrm>
          <a:off x="7656394" y="4339992"/>
          <a:ext cx="3848668" cy="16411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8668">
                  <a:extLst>
                    <a:ext uri="{9D8B030D-6E8A-4147-A177-3AD203B41FA5}">
                      <a16:colId xmlns:a16="http://schemas.microsoft.com/office/drawing/2014/main" val="1809397994"/>
                    </a:ext>
                  </a:extLst>
                </a:gridCol>
              </a:tblGrid>
              <a:tr h="547039">
                <a:tc>
                  <a:txBody>
                    <a:bodyPr/>
                    <a:lstStyle/>
                    <a:p>
                      <a:pPr algn="ctr"/>
                      <a:r>
                        <a:rPr lang="en-US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40 MTPA of cement capacity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249241"/>
                  </a:ext>
                </a:extLst>
              </a:tr>
              <a:tr h="547039">
                <a:tc>
                  <a:txBody>
                    <a:bodyPr/>
                    <a:lstStyle/>
                    <a:p>
                      <a:pPr marL="0" marR="0" lvl="0" indent="0" algn="ctr" defTabSz="8990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25 MTPA of iron &amp; steel capacity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151626"/>
                  </a:ext>
                </a:extLst>
              </a:tr>
              <a:tr h="547039">
                <a:tc>
                  <a:txBody>
                    <a:bodyPr/>
                    <a:lstStyle/>
                    <a:p>
                      <a:pPr marL="0" marR="0" lvl="0" indent="0" algn="ctr" defTabSz="8990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0 GW of installed thermal power plant</a:t>
                      </a: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381507"/>
                  </a:ext>
                </a:extLst>
              </a:tr>
            </a:tbl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8491ECFC-561E-4BB3-AA53-7FBACD9F5D2E}"/>
              </a:ext>
            </a:extLst>
          </p:cNvPr>
          <p:cNvSpPr/>
          <p:nvPr/>
        </p:nvSpPr>
        <p:spPr>
          <a:xfrm>
            <a:off x="7670041" y="3753133"/>
            <a:ext cx="3807725" cy="5322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Features of Karnataka hinterland</a:t>
            </a: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2A699819-5533-4CC1-BD5A-BFA591CFE4CD}"/>
              </a:ext>
            </a:extLst>
          </p:cNvPr>
          <p:cNvSpPr/>
          <p:nvPr/>
        </p:nvSpPr>
        <p:spPr>
          <a:xfrm rot="10800000">
            <a:off x="9362362" y="3043451"/>
            <a:ext cx="586856" cy="709682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4A998F3-84A9-41DC-8767-87FAB3C16965}"/>
              </a:ext>
            </a:extLst>
          </p:cNvPr>
          <p:cNvSpPr txBox="1"/>
          <p:nvPr/>
        </p:nvSpPr>
        <p:spPr>
          <a:xfrm>
            <a:off x="701202" y="6300474"/>
            <a:ext cx="5571961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900" i="1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Karnataka State Industrial Profile, Capex, </a:t>
            </a:r>
            <a:r>
              <a:rPr lang="en-GB" sz="900" i="1" noProof="0" dirty="0">
                <a:latin typeface="Arial" panose="020B0604020202020204" pitchFamily="34" charset="0"/>
                <a:cs typeface="Arial" panose="020B0604020202020204" pitchFamily="34" charset="0"/>
              </a:rPr>
              <a:t>Company websites &amp; presentations, SIAM, KIADB, </a:t>
            </a:r>
            <a:endParaRPr lang="en-GB" sz="900" i="1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Footer Placeholder 78">
            <a:extLst>
              <a:ext uri="{FF2B5EF4-FFF2-40B4-BE49-F238E27FC236}">
                <a16:creationId xmlns:a16="http://schemas.microsoft.com/office/drawing/2014/main" id="{4ADB3BFA-F696-4795-BEEF-46E9E7B3A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80" name="Slide Number Placeholder 79">
            <a:extLst>
              <a:ext uri="{FF2B5EF4-FFF2-40B4-BE49-F238E27FC236}">
                <a16:creationId xmlns:a16="http://schemas.microsoft.com/office/drawing/2014/main" id="{AD9ECCCE-06C6-4B56-8530-37370E7A0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3</a:t>
            </a:fld>
            <a:endParaRPr lang="en-GB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597D8A8-4D5F-470A-9B45-8FEFC771253A}"/>
              </a:ext>
            </a:extLst>
          </p:cNvPr>
          <p:cNvGrpSpPr/>
          <p:nvPr/>
        </p:nvGrpSpPr>
        <p:grpSpPr>
          <a:xfrm>
            <a:off x="2388043" y="2058150"/>
            <a:ext cx="3861688" cy="3951746"/>
            <a:chOff x="4156882" y="2492860"/>
            <a:chExt cx="3861688" cy="3951746"/>
          </a:xfrm>
        </p:grpSpPr>
        <p:sp>
          <p:nvSpPr>
            <p:cNvPr id="84" name="Freeform 121">
              <a:extLst>
                <a:ext uri="{FF2B5EF4-FFF2-40B4-BE49-F238E27FC236}">
                  <a16:creationId xmlns:a16="http://schemas.microsoft.com/office/drawing/2014/main" id="{C8D9411E-39AA-4F13-A99F-D83F55949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740" y="4355076"/>
              <a:ext cx="450683" cy="521654"/>
            </a:xfrm>
            <a:custGeom>
              <a:avLst/>
              <a:gdLst>
                <a:gd name="T0" fmla="*/ 192 w 1794"/>
                <a:gd name="T1" fmla="*/ 1267 h 2145"/>
                <a:gd name="T2" fmla="*/ 394 w 1794"/>
                <a:gd name="T3" fmla="*/ 1297 h 2145"/>
                <a:gd name="T4" fmla="*/ 389 w 1794"/>
                <a:gd name="T5" fmla="*/ 1382 h 2145"/>
                <a:gd name="T6" fmla="*/ 462 w 1794"/>
                <a:gd name="T7" fmla="*/ 1431 h 2145"/>
                <a:gd name="T8" fmla="*/ 505 w 1794"/>
                <a:gd name="T9" fmla="*/ 1434 h 2145"/>
                <a:gd name="T10" fmla="*/ 545 w 1794"/>
                <a:gd name="T11" fmla="*/ 1394 h 2145"/>
                <a:gd name="T12" fmla="*/ 617 w 1794"/>
                <a:gd name="T13" fmla="*/ 1489 h 2145"/>
                <a:gd name="T14" fmla="*/ 555 w 1794"/>
                <a:gd name="T15" fmla="*/ 1557 h 2145"/>
                <a:gd name="T16" fmla="*/ 710 w 1794"/>
                <a:gd name="T17" fmla="*/ 1623 h 2145"/>
                <a:gd name="T18" fmla="*/ 754 w 1794"/>
                <a:gd name="T19" fmla="*/ 1747 h 2145"/>
                <a:gd name="T20" fmla="*/ 827 w 1794"/>
                <a:gd name="T21" fmla="*/ 1824 h 2145"/>
                <a:gd name="T22" fmla="*/ 780 w 1794"/>
                <a:gd name="T23" fmla="*/ 1880 h 2145"/>
                <a:gd name="T24" fmla="*/ 984 w 1794"/>
                <a:gd name="T25" fmla="*/ 2012 h 2145"/>
                <a:gd name="T26" fmla="*/ 1076 w 1794"/>
                <a:gd name="T27" fmla="*/ 1961 h 2145"/>
                <a:gd name="T28" fmla="*/ 1089 w 1794"/>
                <a:gd name="T29" fmla="*/ 2048 h 2145"/>
                <a:gd name="T30" fmla="*/ 1175 w 1794"/>
                <a:gd name="T31" fmla="*/ 2139 h 2145"/>
                <a:gd name="T32" fmla="*/ 1332 w 1794"/>
                <a:gd name="T33" fmla="*/ 2108 h 2145"/>
                <a:gd name="T34" fmla="*/ 1345 w 1794"/>
                <a:gd name="T35" fmla="*/ 2037 h 2145"/>
                <a:gd name="T36" fmla="*/ 1385 w 1794"/>
                <a:gd name="T37" fmla="*/ 1946 h 2145"/>
                <a:gd name="T38" fmla="*/ 1426 w 1794"/>
                <a:gd name="T39" fmla="*/ 1804 h 2145"/>
                <a:gd name="T40" fmla="*/ 1475 w 1794"/>
                <a:gd name="T41" fmla="*/ 1735 h 2145"/>
                <a:gd name="T42" fmla="*/ 1558 w 1794"/>
                <a:gd name="T43" fmla="*/ 1665 h 2145"/>
                <a:gd name="T44" fmla="*/ 1591 w 1794"/>
                <a:gd name="T45" fmla="*/ 1761 h 2145"/>
                <a:gd name="T46" fmla="*/ 1631 w 1794"/>
                <a:gd name="T47" fmla="*/ 1652 h 2145"/>
                <a:gd name="T48" fmla="*/ 1748 w 1794"/>
                <a:gd name="T49" fmla="*/ 1542 h 2145"/>
                <a:gd name="T50" fmla="*/ 1785 w 1794"/>
                <a:gd name="T51" fmla="*/ 1335 h 2145"/>
                <a:gd name="T52" fmla="*/ 1740 w 1794"/>
                <a:gd name="T53" fmla="*/ 1219 h 2145"/>
                <a:gd name="T54" fmla="*/ 1698 w 1794"/>
                <a:gd name="T55" fmla="*/ 1121 h 2145"/>
                <a:gd name="T56" fmla="*/ 1586 w 1794"/>
                <a:gd name="T57" fmla="*/ 1143 h 2145"/>
                <a:gd name="T58" fmla="*/ 1591 w 1794"/>
                <a:gd name="T59" fmla="*/ 1049 h 2145"/>
                <a:gd name="T60" fmla="*/ 1513 w 1794"/>
                <a:gd name="T61" fmla="*/ 961 h 2145"/>
                <a:gd name="T62" fmla="*/ 1506 w 1794"/>
                <a:gd name="T63" fmla="*/ 883 h 2145"/>
                <a:gd name="T64" fmla="*/ 1538 w 1794"/>
                <a:gd name="T65" fmla="*/ 807 h 2145"/>
                <a:gd name="T66" fmla="*/ 1656 w 1794"/>
                <a:gd name="T67" fmla="*/ 768 h 2145"/>
                <a:gd name="T68" fmla="*/ 1631 w 1794"/>
                <a:gd name="T69" fmla="*/ 718 h 2145"/>
                <a:gd name="T70" fmla="*/ 1501 w 1794"/>
                <a:gd name="T71" fmla="*/ 670 h 2145"/>
                <a:gd name="T72" fmla="*/ 1536 w 1794"/>
                <a:gd name="T73" fmla="*/ 596 h 2145"/>
                <a:gd name="T74" fmla="*/ 1594 w 1794"/>
                <a:gd name="T75" fmla="*/ 585 h 2145"/>
                <a:gd name="T76" fmla="*/ 1504 w 1794"/>
                <a:gd name="T77" fmla="*/ 454 h 2145"/>
                <a:gd name="T78" fmla="*/ 1383 w 1794"/>
                <a:gd name="T79" fmla="*/ 456 h 2145"/>
                <a:gd name="T80" fmla="*/ 1297 w 1794"/>
                <a:gd name="T81" fmla="*/ 452 h 2145"/>
                <a:gd name="T82" fmla="*/ 1229 w 1794"/>
                <a:gd name="T83" fmla="*/ 249 h 2145"/>
                <a:gd name="T84" fmla="*/ 1129 w 1794"/>
                <a:gd name="T85" fmla="*/ 292 h 2145"/>
                <a:gd name="T86" fmla="*/ 1037 w 1794"/>
                <a:gd name="T87" fmla="*/ 382 h 2145"/>
                <a:gd name="T88" fmla="*/ 985 w 1794"/>
                <a:gd name="T89" fmla="*/ 294 h 2145"/>
                <a:gd name="T90" fmla="*/ 819 w 1794"/>
                <a:gd name="T91" fmla="*/ 231 h 2145"/>
                <a:gd name="T92" fmla="*/ 778 w 1794"/>
                <a:gd name="T93" fmla="*/ 130 h 2145"/>
                <a:gd name="T94" fmla="*/ 729 w 1794"/>
                <a:gd name="T95" fmla="*/ 20 h 2145"/>
                <a:gd name="T96" fmla="*/ 568 w 1794"/>
                <a:gd name="T97" fmla="*/ 118 h 2145"/>
                <a:gd name="T98" fmla="*/ 435 w 1794"/>
                <a:gd name="T99" fmla="*/ 141 h 2145"/>
                <a:gd name="T100" fmla="*/ 317 w 1794"/>
                <a:gd name="T101" fmla="*/ 34 h 2145"/>
                <a:gd name="T102" fmla="*/ 219 w 1794"/>
                <a:gd name="T103" fmla="*/ 97 h 2145"/>
                <a:gd name="T104" fmla="*/ 116 w 1794"/>
                <a:gd name="T105" fmla="*/ 205 h 2145"/>
                <a:gd name="T106" fmla="*/ 105 w 1794"/>
                <a:gd name="T107" fmla="*/ 249 h 2145"/>
                <a:gd name="T108" fmla="*/ 133 w 1794"/>
                <a:gd name="T109" fmla="*/ 333 h 2145"/>
                <a:gd name="T110" fmla="*/ 162 w 1794"/>
                <a:gd name="T111" fmla="*/ 527 h 2145"/>
                <a:gd name="T112" fmla="*/ 92 w 1794"/>
                <a:gd name="T113" fmla="*/ 622 h 2145"/>
                <a:gd name="T114" fmla="*/ 107 w 1794"/>
                <a:gd name="T115" fmla="*/ 730 h 2145"/>
                <a:gd name="T116" fmla="*/ 135 w 1794"/>
                <a:gd name="T117" fmla="*/ 897 h 2145"/>
                <a:gd name="T118" fmla="*/ 86 w 1794"/>
                <a:gd name="T119" fmla="*/ 968 h 2145"/>
                <a:gd name="T120" fmla="*/ 15 w 1794"/>
                <a:gd name="T121" fmla="*/ 1051 h 2145"/>
                <a:gd name="T122" fmla="*/ 31 w 1794"/>
                <a:gd name="T123" fmla="*/ 1144 h 2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94" h="2145">
                  <a:moveTo>
                    <a:pt x="50" y="1257"/>
                  </a:moveTo>
                  <a:lnTo>
                    <a:pt x="78" y="1249"/>
                  </a:lnTo>
                  <a:lnTo>
                    <a:pt x="106" y="1241"/>
                  </a:lnTo>
                  <a:lnTo>
                    <a:pt x="120" y="1239"/>
                  </a:lnTo>
                  <a:lnTo>
                    <a:pt x="135" y="1238"/>
                  </a:lnTo>
                  <a:lnTo>
                    <a:pt x="142" y="1239"/>
                  </a:lnTo>
                  <a:lnTo>
                    <a:pt x="150" y="1241"/>
                  </a:lnTo>
                  <a:lnTo>
                    <a:pt x="157" y="1243"/>
                  </a:lnTo>
                  <a:lnTo>
                    <a:pt x="164" y="1246"/>
                  </a:lnTo>
                  <a:lnTo>
                    <a:pt x="173" y="1251"/>
                  </a:lnTo>
                  <a:lnTo>
                    <a:pt x="180" y="1257"/>
                  </a:lnTo>
                  <a:lnTo>
                    <a:pt x="186" y="1262"/>
                  </a:lnTo>
                  <a:lnTo>
                    <a:pt x="192" y="1267"/>
                  </a:lnTo>
                  <a:lnTo>
                    <a:pt x="203" y="1279"/>
                  </a:lnTo>
                  <a:lnTo>
                    <a:pt x="216" y="1292"/>
                  </a:lnTo>
                  <a:lnTo>
                    <a:pt x="221" y="1295"/>
                  </a:lnTo>
                  <a:lnTo>
                    <a:pt x="227" y="1298"/>
                  </a:lnTo>
                  <a:lnTo>
                    <a:pt x="233" y="1300"/>
                  </a:lnTo>
                  <a:lnTo>
                    <a:pt x="240" y="1301"/>
                  </a:lnTo>
                  <a:lnTo>
                    <a:pt x="255" y="1302"/>
                  </a:lnTo>
                  <a:lnTo>
                    <a:pt x="272" y="1302"/>
                  </a:lnTo>
                  <a:lnTo>
                    <a:pt x="305" y="1299"/>
                  </a:lnTo>
                  <a:lnTo>
                    <a:pt x="333" y="1297"/>
                  </a:lnTo>
                  <a:lnTo>
                    <a:pt x="357" y="1297"/>
                  </a:lnTo>
                  <a:lnTo>
                    <a:pt x="382" y="1296"/>
                  </a:lnTo>
                  <a:lnTo>
                    <a:pt x="394" y="1297"/>
                  </a:lnTo>
                  <a:lnTo>
                    <a:pt x="405" y="1298"/>
                  </a:lnTo>
                  <a:lnTo>
                    <a:pt x="418" y="1299"/>
                  </a:lnTo>
                  <a:lnTo>
                    <a:pt x="429" y="1302"/>
                  </a:lnTo>
                  <a:lnTo>
                    <a:pt x="430" y="1311"/>
                  </a:lnTo>
                  <a:lnTo>
                    <a:pt x="431" y="1318"/>
                  </a:lnTo>
                  <a:lnTo>
                    <a:pt x="429" y="1324"/>
                  </a:lnTo>
                  <a:lnTo>
                    <a:pt x="427" y="1330"/>
                  </a:lnTo>
                  <a:lnTo>
                    <a:pt x="420" y="1341"/>
                  </a:lnTo>
                  <a:lnTo>
                    <a:pt x="410" y="1356"/>
                  </a:lnTo>
                  <a:lnTo>
                    <a:pt x="402" y="1362"/>
                  </a:lnTo>
                  <a:lnTo>
                    <a:pt x="395" y="1371"/>
                  </a:lnTo>
                  <a:lnTo>
                    <a:pt x="392" y="1377"/>
                  </a:lnTo>
                  <a:lnTo>
                    <a:pt x="389" y="1382"/>
                  </a:lnTo>
                  <a:lnTo>
                    <a:pt x="388" y="1387"/>
                  </a:lnTo>
                  <a:lnTo>
                    <a:pt x="391" y="1391"/>
                  </a:lnTo>
                  <a:lnTo>
                    <a:pt x="417" y="1392"/>
                  </a:lnTo>
                  <a:lnTo>
                    <a:pt x="441" y="1393"/>
                  </a:lnTo>
                  <a:lnTo>
                    <a:pt x="446" y="1394"/>
                  </a:lnTo>
                  <a:lnTo>
                    <a:pt x="450" y="1396"/>
                  </a:lnTo>
                  <a:lnTo>
                    <a:pt x="454" y="1398"/>
                  </a:lnTo>
                  <a:lnTo>
                    <a:pt x="457" y="1402"/>
                  </a:lnTo>
                  <a:lnTo>
                    <a:pt x="460" y="1406"/>
                  </a:lnTo>
                  <a:lnTo>
                    <a:pt x="461" y="1411"/>
                  </a:lnTo>
                  <a:lnTo>
                    <a:pt x="462" y="1416"/>
                  </a:lnTo>
                  <a:lnTo>
                    <a:pt x="462" y="1423"/>
                  </a:lnTo>
                  <a:lnTo>
                    <a:pt x="462" y="1431"/>
                  </a:lnTo>
                  <a:lnTo>
                    <a:pt x="464" y="1436"/>
                  </a:lnTo>
                  <a:lnTo>
                    <a:pt x="466" y="1441"/>
                  </a:lnTo>
                  <a:lnTo>
                    <a:pt x="468" y="1444"/>
                  </a:lnTo>
                  <a:lnTo>
                    <a:pt x="471" y="1447"/>
                  </a:lnTo>
                  <a:lnTo>
                    <a:pt x="474" y="1448"/>
                  </a:lnTo>
                  <a:lnTo>
                    <a:pt x="478" y="1450"/>
                  </a:lnTo>
                  <a:lnTo>
                    <a:pt x="482" y="1450"/>
                  </a:lnTo>
                  <a:lnTo>
                    <a:pt x="486" y="1450"/>
                  </a:lnTo>
                  <a:lnTo>
                    <a:pt x="491" y="1447"/>
                  </a:lnTo>
                  <a:lnTo>
                    <a:pt x="495" y="1445"/>
                  </a:lnTo>
                  <a:lnTo>
                    <a:pt x="499" y="1442"/>
                  </a:lnTo>
                  <a:lnTo>
                    <a:pt x="502" y="1438"/>
                  </a:lnTo>
                  <a:lnTo>
                    <a:pt x="505" y="1434"/>
                  </a:lnTo>
                  <a:lnTo>
                    <a:pt x="508" y="1429"/>
                  </a:lnTo>
                  <a:lnTo>
                    <a:pt x="510" y="1423"/>
                  </a:lnTo>
                  <a:lnTo>
                    <a:pt x="511" y="1417"/>
                  </a:lnTo>
                  <a:lnTo>
                    <a:pt x="515" y="1411"/>
                  </a:lnTo>
                  <a:lnTo>
                    <a:pt x="517" y="1407"/>
                  </a:lnTo>
                  <a:lnTo>
                    <a:pt x="520" y="1403"/>
                  </a:lnTo>
                  <a:lnTo>
                    <a:pt x="523" y="1399"/>
                  </a:lnTo>
                  <a:lnTo>
                    <a:pt x="526" y="1396"/>
                  </a:lnTo>
                  <a:lnTo>
                    <a:pt x="529" y="1395"/>
                  </a:lnTo>
                  <a:lnTo>
                    <a:pt x="533" y="1394"/>
                  </a:lnTo>
                  <a:lnTo>
                    <a:pt x="537" y="1393"/>
                  </a:lnTo>
                  <a:lnTo>
                    <a:pt x="541" y="1393"/>
                  </a:lnTo>
                  <a:lnTo>
                    <a:pt x="545" y="1394"/>
                  </a:lnTo>
                  <a:lnTo>
                    <a:pt x="549" y="1395"/>
                  </a:lnTo>
                  <a:lnTo>
                    <a:pt x="557" y="1399"/>
                  </a:lnTo>
                  <a:lnTo>
                    <a:pt x="566" y="1405"/>
                  </a:lnTo>
                  <a:lnTo>
                    <a:pt x="574" y="1412"/>
                  </a:lnTo>
                  <a:lnTo>
                    <a:pt x="581" y="1419"/>
                  </a:lnTo>
                  <a:lnTo>
                    <a:pt x="590" y="1429"/>
                  </a:lnTo>
                  <a:lnTo>
                    <a:pt x="596" y="1437"/>
                  </a:lnTo>
                  <a:lnTo>
                    <a:pt x="602" y="1446"/>
                  </a:lnTo>
                  <a:lnTo>
                    <a:pt x="607" y="1456"/>
                  </a:lnTo>
                  <a:lnTo>
                    <a:pt x="612" y="1464"/>
                  </a:lnTo>
                  <a:lnTo>
                    <a:pt x="615" y="1471"/>
                  </a:lnTo>
                  <a:lnTo>
                    <a:pt x="617" y="1481"/>
                  </a:lnTo>
                  <a:lnTo>
                    <a:pt x="617" y="1489"/>
                  </a:lnTo>
                  <a:lnTo>
                    <a:pt x="616" y="1495"/>
                  </a:lnTo>
                  <a:lnTo>
                    <a:pt x="613" y="1501"/>
                  </a:lnTo>
                  <a:lnTo>
                    <a:pt x="608" y="1505"/>
                  </a:lnTo>
                  <a:lnTo>
                    <a:pt x="603" y="1508"/>
                  </a:lnTo>
                  <a:lnTo>
                    <a:pt x="598" y="1511"/>
                  </a:lnTo>
                  <a:lnTo>
                    <a:pt x="592" y="1513"/>
                  </a:lnTo>
                  <a:lnTo>
                    <a:pt x="579" y="1518"/>
                  </a:lnTo>
                  <a:lnTo>
                    <a:pt x="567" y="1526"/>
                  </a:lnTo>
                  <a:lnTo>
                    <a:pt x="563" y="1530"/>
                  </a:lnTo>
                  <a:lnTo>
                    <a:pt x="558" y="1536"/>
                  </a:lnTo>
                  <a:lnTo>
                    <a:pt x="555" y="1542"/>
                  </a:lnTo>
                  <a:lnTo>
                    <a:pt x="554" y="1552"/>
                  </a:lnTo>
                  <a:lnTo>
                    <a:pt x="555" y="1557"/>
                  </a:lnTo>
                  <a:lnTo>
                    <a:pt x="557" y="1560"/>
                  </a:lnTo>
                  <a:lnTo>
                    <a:pt x="560" y="1563"/>
                  </a:lnTo>
                  <a:lnTo>
                    <a:pt x="566" y="1564"/>
                  </a:lnTo>
                  <a:lnTo>
                    <a:pt x="578" y="1564"/>
                  </a:lnTo>
                  <a:lnTo>
                    <a:pt x="594" y="1562"/>
                  </a:lnTo>
                  <a:lnTo>
                    <a:pt x="611" y="1560"/>
                  </a:lnTo>
                  <a:lnTo>
                    <a:pt x="627" y="1558"/>
                  </a:lnTo>
                  <a:lnTo>
                    <a:pt x="635" y="1559"/>
                  </a:lnTo>
                  <a:lnTo>
                    <a:pt x="641" y="1560"/>
                  </a:lnTo>
                  <a:lnTo>
                    <a:pt x="647" y="1562"/>
                  </a:lnTo>
                  <a:lnTo>
                    <a:pt x="652" y="1565"/>
                  </a:lnTo>
                  <a:lnTo>
                    <a:pt x="676" y="1589"/>
                  </a:lnTo>
                  <a:lnTo>
                    <a:pt x="710" y="1623"/>
                  </a:lnTo>
                  <a:lnTo>
                    <a:pt x="725" y="1640"/>
                  </a:lnTo>
                  <a:lnTo>
                    <a:pt x="739" y="1658"/>
                  </a:lnTo>
                  <a:lnTo>
                    <a:pt x="744" y="1665"/>
                  </a:lnTo>
                  <a:lnTo>
                    <a:pt x="748" y="1673"/>
                  </a:lnTo>
                  <a:lnTo>
                    <a:pt x="751" y="1679"/>
                  </a:lnTo>
                  <a:lnTo>
                    <a:pt x="752" y="1685"/>
                  </a:lnTo>
                  <a:lnTo>
                    <a:pt x="750" y="1702"/>
                  </a:lnTo>
                  <a:lnTo>
                    <a:pt x="747" y="1719"/>
                  </a:lnTo>
                  <a:lnTo>
                    <a:pt x="746" y="1727"/>
                  </a:lnTo>
                  <a:lnTo>
                    <a:pt x="747" y="1735"/>
                  </a:lnTo>
                  <a:lnTo>
                    <a:pt x="749" y="1740"/>
                  </a:lnTo>
                  <a:lnTo>
                    <a:pt x="751" y="1743"/>
                  </a:lnTo>
                  <a:lnTo>
                    <a:pt x="754" y="1747"/>
                  </a:lnTo>
                  <a:lnTo>
                    <a:pt x="758" y="1750"/>
                  </a:lnTo>
                  <a:lnTo>
                    <a:pt x="765" y="1755"/>
                  </a:lnTo>
                  <a:lnTo>
                    <a:pt x="774" y="1759"/>
                  </a:lnTo>
                  <a:lnTo>
                    <a:pt x="783" y="1763"/>
                  </a:lnTo>
                  <a:lnTo>
                    <a:pt x="792" y="1766"/>
                  </a:lnTo>
                  <a:lnTo>
                    <a:pt x="812" y="1770"/>
                  </a:lnTo>
                  <a:lnTo>
                    <a:pt x="829" y="1773"/>
                  </a:lnTo>
                  <a:lnTo>
                    <a:pt x="832" y="1787"/>
                  </a:lnTo>
                  <a:lnTo>
                    <a:pt x="832" y="1798"/>
                  </a:lnTo>
                  <a:lnTo>
                    <a:pt x="832" y="1806"/>
                  </a:lnTo>
                  <a:lnTo>
                    <a:pt x="832" y="1814"/>
                  </a:lnTo>
                  <a:lnTo>
                    <a:pt x="829" y="1820"/>
                  </a:lnTo>
                  <a:lnTo>
                    <a:pt x="827" y="1824"/>
                  </a:lnTo>
                  <a:lnTo>
                    <a:pt x="825" y="1827"/>
                  </a:lnTo>
                  <a:lnTo>
                    <a:pt x="821" y="1830"/>
                  </a:lnTo>
                  <a:lnTo>
                    <a:pt x="813" y="1834"/>
                  </a:lnTo>
                  <a:lnTo>
                    <a:pt x="801" y="1839"/>
                  </a:lnTo>
                  <a:lnTo>
                    <a:pt x="794" y="1842"/>
                  </a:lnTo>
                  <a:lnTo>
                    <a:pt x="787" y="1845"/>
                  </a:lnTo>
                  <a:lnTo>
                    <a:pt x="778" y="1850"/>
                  </a:lnTo>
                  <a:lnTo>
                    <a:pt x="770" y="1856"/>
                  </a:lnTo>
                  <a:lnTo>
                    <a:pt x="769" y="1858"/>
                  </a:lnTo>
                  <a:lnTo>
                    <a:pt x="769" y="1862"/>
                  </a:lnTo>
                  <a:lnTo>
                    <a:pt x="770" y="1866"/>
                  </a:lnTo>
                  <a:lnTo>
                    <a:pt x="772" y="1870"/>
                  </a:lnTo>
                  <a:lnTo>
                    <a:pt x="780" y="1880"/>
                  </a:lnTo>
                  <a:lnTo>
                    <a:pt x="792" y="1893"/>
                  </a:lnTo>
                  <a:lnTo>
                    <a:pt x="807" y="1906"/>
                  </a:lnTo>
                  <a:lnTo>
                    <a:pt x="824" y="1921"/>
                  </a:lnTo>
                  <a:lnTo>
                    <a:pt x="844" y="1937"/>
                  </a:lnTo>
                  <a:lnTo>
                    <a:pt x="865" y="1951"/>
                  </a:lnTo>
                  <a:lnTo>
                    <a:pt x="887" y="1966"/>
                  </a:lnTo>
                  <a:lnTo>
                    <a:pt x="909" y="1980"/>
                  </a:lnTo>
                  <a:lnTo>
                    <a:pt x="930" y="1991"/>
                  </a:lnTo>
                  <a:lnTo>
                    <a:pt x="949" y="2000"/>
                  </a:lnTo>
                  <a:lnTo>
                    <a:pt x="959" y="2005"/>
                  </a:lnTo>
                  <a:lnTo>
                    <a:pt x="968" y="2008"/>
                  </a:lnTo>
                  <a:lnTo>
                    <a:pt x="977" y="2011"/>
                  </a:lnTo>
                  <a:lnTo>
                    <a:pt x="984" y="2012"/>
                  </a:lnTo>
                  <a:lnTo>
                    <a:pt x="991" y="2013"/>
                  </a:lnTo>
                  <a:lnTo>
                    <a:pt x="997" y="2013"/>
                  </a:lnTo>
                  <a:lnTo>
                    <a:pt x="1003" y="2012"/>
                  </a:lnTo>
                  <a:lnTo>
                    <a:pt x="1007" y="2010"/>
                  </a:lnTo>
                  <a:lnTo>
                    <a:pt x="1015" y="2001"/>
                  </a:lnTo>
                  <a:lnTo>
                    <a:pt x="1023" y="1992"/>
                  </a:lnTo>
                  <a:lnTo>
                    <a:pt x="1031" y="1984"/>
                  </a:lnTo>
                  <a:lnTo>
                    <a:pt x="1040" y="1975"/>
                  </a:lnTo>
                  <a:lnTo>
                    <a:pt x="1048" y="1971"/>
                  </a:lnTo>
                  <a:lnTo>
                    <a:pt x="1061" y="1965"/>
                  </a:lnTo>
                  <a:lnTo>
                    <a:pt x="1067" y="1962"/>
                  </a:lnTo>
                  <a:lnTo>
                    <a:pt x="1073" y="1961"/>
                  </a:lnTo>
                  <a:lnTo>
                    <a:pt x="1076" y="1961"/>
                  </a:lnTo>
                  <a:lnTo>
                    <a:pt x="1078" y="1962"/>
                  </a:lnTo>
                  <a:lnTo>
                    <a:pt x="1079" y="1963"/>
                  </a:lnTo>
                  <a:lnTo>
                    <a:pt x="1080" y="1965"/>
                  </a:lnTo>
                  <a:lnTo>
                    <a:pt x="1083" y="1968"/>
                  </a:lnTo>
                  <a:lnTo>
                    <a:pt x="1084" y="1972"/>
                  </a:lnTo>
                  <a:lnTo>
                    <a:pt x="1086" y="1978"/>
                  </a:lnTo>
                  <a:lnTo>
                    <a:pt x="1087" y="1985"/>
                  </a:lnTo>
                  <a:lnTo>
                    <a:pt x="1087" y="1998"/>
                  </a:lnTo>
                  <a:lnTo>
                    <a:pt x="1086" y="2008"/>
                  </a:lnTo>
                  <a:lnTo>
                    <a:pt x="1085" y="2018"/>
                  </a:lnTo>
                  <a:lnTo>
                    <a:pt x="1085" y="2029"/>
                  </a:lnTo>
                  <a:lnTo>
                    <a:pt x="1086" y="2038"/>
                  </a:lnTo>
                  <a:lnTo>
                    <a:pt x="1089" y="2048"/>
                  </a:lnTo>
                  <a:lnTo>
                    <a:pt x="1092" y="2058"/>
                  </a:lnTo>
                  <a:lnTo>
                    <a:pt x="1097" y="2067"/>
                  </a:lnTo>
                  <a:lnTo>
                    <a:pt x="1104" y="2077"/>
                  </a:lnTo>
                  <a:lnTo>
                    <a:pt x="1110" y="2086"/>
                  </a:lnTo>
                  <a:lnTo>
                    <a:pt x="1117" y="2094"/>
                  </a:lnTo>
                  <a:lnTo>
                    <a:pt x="1125" y="2103"/>
                  </a:lnTo>
                  <a:lnTo>
                    <a:pt x="1133" y="2110"/>
                  </a:lnTo>
                  <a:lnTo>
                    <a:pt x="1141" y="2117"/>
                  </a:lnTo>
                  <a:lnTo>
                    <a:pt x="1150" y="2123"/>
                  </a:lnTo>
                  <a:lnTo>
                    <a:pt x="1158" y="2130"/>
                  </a:lnTo>
                  <a:lnTo>
                    <a:pt x="1166" y="2135"/>
                  </a:lnTo>
                  <a:lnTo>
                    <a:pt x="1175" y="2139"/>
                  </a:lnTo>
                  <a:lnTo>
                    <a:pt x="1175" y="2139"/>
                  </a:lnTo>
                  <a:lnTo>
                    <a:pt x="1183" y="2138"/>
                  </a:lnTo>
                  <a:lnTo>
                    <a:pt x="1191" y="2138"/>
                  </a:lnTo>
                  <a:lnTo>
                    <a:pt x="1200" y="2140"/>
                  </a:lnTo>
                  <a:lnTo>
                    <a:pt x="1208" y="2142"/>
                  </a:lnTo>
                  <a:lnTo>
                    <a:pt x="1216" y="2144"/>
                  </a:lnTo>
                  <a:lnTo>
                    <a:pt x="1225" y="2145"/>
                  </a:lnTo>
                  <a:lnTo>
                    <a:pt x="1233" y="2145"/>
                  </a:lnTo>
                  <a:lnTo>
                    <a:pt x="1241" y="2144"/>
                  </a:lnTo>
                  <a:lnTo>
                    <a:pt x="1253" y="2140"/>
                  </a:lnTo>
                  <a:lnTo>
                    <a:pt x="1273" y="2133"/>
                  </a:lnTo>
                  <a:lnTo>
                    <a:pt x="1296" y="2125"/>
                  </a:lnTo>
                  <a:lnTo>
                    <a:pt x="1321" y="2114"/>
                  </a:lnTo>
                  <a:lnTo>
                    <a:pt x="1332" y="2108"/>
                  </a:lnTo>
                  <a:lnTo>
                    <a:pt x="1344" y="2102"/>
                  </a:lnTo>
                  <a:lnTo>
                    <a:pt x="1353" y="2095"/>
                  </a:lnTo>
                  <a:lnTo>
                    <a:pt x="1361" y="2089"/>
                  </a:lnTo>
                  <a:lnTo>
                    <a:pt x="1368" y="2082"/>
                  </a:lnTo>
                  <a:lnTo>
                    <a:pt x="1372" y="2074"/>
                  </a:lnTo>
                  <a:lnTo>
                    <a:pt x="1373" y="2071"/>
                  </a:lnTo>
                  <a:lnTo>
                    <a:pt x="1374" y="2067"/>
                  </a:lnTo>
                  <a:lnTo>
                    <a:pt x="1374" y="2064"/>
                  </a:lnTo>
                  <a:lnTo>
                    <a:pt x="1373" y="2061"/>
                  </a:lnTo>
                  <a:lnTo>
                    <a:pt x="1363" y="2056"/>
                  </a:lnTo>
                  <a:lnTo>
                    <a:pt x="1356" y="2050"/>
                  </a:lnTo>
                  <a:lnTo>
                    <a:pt x="1350" y="2044"/>
                  </a:lnTo>
                  <a:lnTo>
                    <a:pt x="1345" y="2037"/>
                  </a:lnTo>
                  <a:lnTo>
                    <a:pt x="1340" y="2029"/>
                  </a:lnTo>
                  <a:lnTo>
                    <a:pt x="1339" y="2020"/>
                  </a:lnTo>
                  <a:lnTo>
                    <a:pt x="1339" y="2016"/>
                  </a:lnTo>
                  <a:lnTo>
                    <a:pt x="1339" y="2012"/>
                  </a:lnTo>
                  <a:lnTo>
                    <a:pt x="1340" y="2007"/>
                  </a:lnTo>
                  <a:lnTo>
                    <a:pt x="1342" y="2001"/>
                  </a:lnTo>
                  <a:lnTo>
                    <a:pt x="1348" y="1997"/>
                  </a:lnTo>
                  <a:lnTo>
                    <a:pt x="1353" y="1993"/>
                  </a:lnTo>
                  <a:lnTo>
                    <a:pt x="1358" y="1989"/>
                  </a:lnTo>
                  <a:lnTo>
                    <a:pt x="1363" y="1984"/>
                  </a:lnTo>
                  <a:lnTo>
                    <a:pt x="1372" y="1972"/>
                  </a:lnTo>
                  <a:lnTo>
                    <a:pt x="1379" y="1960"/>
                  </a:lnTo>
                  <a:lnTo>
                    <a:pt x="1385" y="1946"/>
                  </a:lnTo>
                  <a:lnTo>
                    <a:pt x="1389" y="1932"/>
                  </a:lnTo>
                  <a:lnTo>
                    <a:pt x="1391" y="1918"/>
                  </a:lnTo>
                  <a:lnTo>
                    <a:pt x="1393" y="1904"/>
                  </a:lnTo>
                  <a:lnTo>
                    <a:pt x="1393" y="1889"/>
                  </a:lnTo>
                  <a:lnTo>
                    <a:pt x="1393" y="1873"/>
                  </a:lnTo>
                  <a:lnTo>
                    <a:pt x="1393" y="1857"/>
                  </a:lnTo>
                  <a:lnTo>
                    <a:pt x="1396" y="1842"/>
                  </a:lnTo>
                  <a:lnTo>
                    <a:pt x="1398" y="1832"/>
                  </a:lnTo>
                  <a:lnTo>
                    <a:pt x="1403" y="1825"/>
                  </a:lnTo>
                  <a:lnTo>
                    <a:pt x="1407" y="1819"/>
                  </a:lnTo>
                  <a:lnTo>
                    <a:pt x="1413" y="1814"/>
                  </a:lnTo>
                  <a:lnTo>
                    <a:pt x="1420" y="1809"/>
                  </a:lnTo>
                  <a:lnTo>
                    <a:pt x="1426" y="1804"/>
                  </a:lnTo>
                  <a:lnTo>
                    <a:pt x="1432" y="1799"/>
                  </a:lnTo>
                  <a:lnTo>
                    <a:pt x="1437" y="1792"/>
                  </a:lnTo>
                  <a:lnTo>
                    <a:pt x="1438" y="1781"/>
                  </a:lnTo>
                  <a:lnTo>
                    <a:pt x="1439" y="1768"/>
                  </a:lnTo>
                  <a:lnTo>
                    <a:pt x="1440" y="1760"/>
                  </a:lnTo>
                  <a:lnTo>
                    <a:pt x="1442" y="1754"/>
                  </a:lnTo>
                  <a:lnTo>
                    <a:pt x="1443" y="1750"/>
                  </a:lnTo>
                  <a:lnTo>
                    <a:pt x="1446" y="1747"/>
                  </a:lnTo>
                  <a:lnTo>
                    <a:pt x="1451" y="1744"/>
                  </a:lnTo>
                  <a:lnTo>
                    <a:pt x="1456" y="1741"/>
                  </a:lnTo>
                  <a:lnTo>
                    <a:pt x="1461" y="1740"/>
                  </a:lnTo>
                  <a:lnTo>
                    <a:pt x="1469" y="1739"/>
                  </a:lnTo>
                  <a:lnTo>
                    <a:pt x="1475" y="1735"/>
                  </a:lnTo>
                  <a:lnTo>
                    <a:pt x="1481" y="1732"/>
                  </a:lnTo>
                  <a:lnTo>
                    <a:pt x="1487" y="1727"/>
                  </a:lnTo>
                  <a:lnTo>
                    <a:pt x="1492" y="1722"/>
                  </a:lnTo>
                  <a:lnTo>
                    <a:pt x="1501" y="1708"/>
                  </a:lnTo>
                  <a:lnTo>
                    <a:pt x="1509" y="1694"/>
                  </a:lnTo>
                  <a:lnTo>
                    <a:pt x="1519" y="1679"/>
                  </a:lnTo>
                  <a:lnTo>
                    <a:pt x="1528" y="1668"/>
                  </a:lnTo>
                  <a:lnTo>
                    <a:pt x="1533" y="1662"/>
                  </a:lnTo>
                  <a:lnTo>
                    <a:pt x="1538" y="1658"/>
                  </a:lnTo>
                  <a:lnTo>
                    <a:pt x="1545" y="1656"/>
                  </a:lnTo>
                  <a:lnTo>
                    <a:pt x="1552" y="1655"/>
                  </a:lnTo>
                  <a:lnTo>
                    <a:pt x="1555" y="1660"/>
                  </a:lnTo>
                  <a:lnTo>
                    <a:pt x="1558" y="1665"/>
                  </a:lnTo>
                  <a:lnTo>
                    <a:pt x="1560" y="1672"/>
                  </a:lnTo>
                  <a:lnTo>
                    <a:pt x="1561" y="1677"/>
                  </a:lnTo>
                  <a:lnTo>
                    <a:pt x="1564" y="1689"/>
                  </a:lnTo>
                  <a:lnTo>
                    <a:pt x="1564" y="1702"/>
                  </a:lnTo>
                  <a:lnTo>
                    <a:pt x="1565" y="1716"/>
                  </a:lnTo>
                  <a:lnTo>
                    <a:pt x="1567" y="1727"/>
                  </a:lnTo>
                  <a:lnTo>
                    <a:pt x="1568" y="1733"/>
                  </a:lnTo>
                  <a:lnTo>
                    <a:pt x="1570" y="1740"/>
                  </a:lnTo>
                  <a:lnTo>
                    <a:pt x="1572" y="1745"/>
                  </a:lnTo>
                  <a:lnTo>
                    <a:pt x="1575" y="1750"/>
                  </a:lnTo>
                  <a:lnTo>
                    <a:pt x="1580" y="1755"/>
                  </a:lnTo>
                  <a:lnTo>
                    <a:pt x="1585" y="1759"/>
                  </a:lnTo>
                  <a:lnTo>
                    <a:pt x="1591" y="1761"/>
                  </a:lnTo>
                  <a:lnTo>
                    <a:pt x="1595" y="1761"/>
                  </a:lnTo>
                  <a:lnTo>
                    <a:pt x="1600" y="1760"/>
                  </a:lnTo>
                  <a:lnTo>
                    <a:pt x="1604" y="1758"/>
                  </a:lnTo>
                  <a:lnTo>
                    <a:pt x="1608" y="1754"/>
                  </a:lnTo>
                  <a:lnTo>
                    <a:pt x="1611" y="1750"/>
                  </a:lnTo>
                  <a:lnTo>
                    <a:pt x="1618" y="1739"/>
                  </a:lnTo>
                  <a:lnTo>
                    <a:pt x="1623" y="1726"/>
                  </a:lnTo>
                  <a:lnTo>
                    <a:pt x="1627" y="1715"/>
                  </a:lnTo>
                  <a:lnTo>
                    <a:pt x="1629" y="1705"/>
                  </a:lnTo>
                  <a:lnTo>
                    <a:pt x="1630" y="1687"/>
                  </a:lnTo>
                  <a:lnTo>
                    <a:pt x="1630" y="1670"/>
                  </a:lnTo>
                  <a:lnTo>
                    <a:pt x="1630" y="1660"/>
                  </a:lnTo>
                  <a:lnTo>
                    <a:pt x="1631" y="1652"/>
                  </a:lnTo>
                  <a:lnTo>
                    <a:pt x="1633" y="1644"/>
                  </a:lnTo>
                  <a:lnTo>
                    <a:pt x="1638" y="1635"/>
                  </a:lnTo>
                  <a:lnTo>
                    <a:pt x="1644" y="1627"/>
                  </a:lnTo>
                  <a:lnTo>
                    <a:pt x="1651" y="1620"/>
                  </a:lnTo>
                  <a:lnTo>
                    <a:pt x="1662" y="1611"/>
                  </a:lnTo>
                  <a:lnTo>
                    <a:pt x="1672" y="1604"/>
                  </a:lnTo>
                  <a:lnTo>
                    <a:pt x="1694" y="1590"/>
                  </a:lnTo>
                  <a:lnTo>
                    <a:pt x="1714" y="1579"/>
                  </a:lnTo>
                  <a:lnTo>
                    <a:pt x="1720" y="1574"/>
                  </a:lnTo>
                  <a:lnTo>
                    <a:pt x="1726" y="1568"/>
                  </a:lnTo>
                  <a:lnTo>
                    <a:pt x="1732" y="1562"/>
                  </a:lnTo>
                  <a:lnTo>
                    <a:pt x="1739" y="1556"/>
                  </a:lnTo>
                  <a:lnTo>
                    <a:pt x="1748" y="1542"/>
                  </a:lnTo>
                  <a:lnTo>
                    <a:pt x="1757" y="1528"/>
                  </a:lnTo>
                  <a:lnTo>
                    <a:pt x="1774" y="1496"/>
                  </a:lnTo>
                  <a:lnTo>
                    <a:pt x="1789" y="1466"/>
                  </a:lnTo>
                  <a:lnTo>
                    <a:pt x="1791" y="1460"/>
                  </a:lnTo>
                  <a:lnTo>
                    <a:pt x="1792" y="1453"/>
                  </a:lnTo>
                  <a:lnTo>
                    <a:pt x="1792" y="1445"/>
                  </a:lnTo>
                  <a:lnTo>
                    <a:pt x="1793" y="1437"/>
                  </a:lnTo>
                  <a:lnTo>
                    <a:pt x="1792" y="1420"/>
                  </a:lnTo>
                  <a:lnTo>
                    <a:pt x="1790" y="1403"/>
                  </a:lnTo>
                  <a:lnTo>
                    <a:pt x="1788" y="1385"/>
                  </a:lnTo>
                  <a:lnTo>
                    <a:pt x="1786" y="1367"/>
                  </a:lnTo>
                  <a:lnTo>
                    <a:pt x="1785" y="1350"/>
                  </a:lnTo>
                  <a:lnTo>
                    <a:pt x="1785" y="1335"/>
                  </a:lnTo>
                  <a:lnTo>
                    <a:pt x="1785" y="1324"/>
                  </a:lnTo>
                  <a:lnTo>
                    <a:pt x="1787" y="1315"/>
                  </a:lnTo>
                  <a:lnTo>
                    <a:pt x="1788" y="1306"/>
                  </a:lnTo>
                  <a:lnTo>
                    <a:pt x="1789" y="1295"/>
                  </a:lnTo>
                  <a:lnTo>
                    <a:pt x="1789" y="1295"/>
                  </a:lnTo>
                  <a:lnTo>
                    <a:pt x="1792" y="1281"/>
                  </a:lnTo>
                  <a:lnTo>
                    <a:pt x="1793" y="1266"/>
                  </a:lnTo>
                  <a:lnTo>
                    <a:pt x="1794" y="1251"/>
                  </a:lnTo>
                  <a:lnTo>
                    <a:pt x="1793" y="1236"/>
                  </a:lnTo>
                  <a:lnTo>
                    <a:pt x="1779" y="1228"/>
                  </a:lnTo>
                  <a:lnTo>
                    <a:pt x="1767" y="1224"/>
                  </a:lnTo>
                  <a:lnTo>
                    <a:pt x="1753" y="1221"/>
                  </a:lnTo>
                  <a:lnTo>
                    <a:pt x="1740" y="1219"/>
                  </a:lnTo>
                  <a:lnTo>
                    <a:pt x="1712" y="1216"/>
                  </a:lnTo>
                  <a:lnTo>
                    <a:pt x="1682" y="1214"/>
                  </a:lnTo>
                  <a:lnTo>
                    <a:pt x="1678" y="1209"/>
                  </a:lnTo>
                  <a:lnTo>
                    <a:pt x="1674" y="1203"/>
                  </a:lnTo>
                  <a:lnTo>
                    <a:pt x="1674" y="1198"/>
                  </a:lnTo>
                  <a:lnTo>
                    <a:pt x="1675" y="1193"/>
                  </a:lnTo>
                  <a:lnTo>
                    <a:pt x="1676" y="1187"/>
                  </a:lnTo>
                  <a:lnTo>
                    <a:pt x="1678" y="1180"/>
                  </a:lnTo>
                  <a:lnTo>
                    <a:pt x="1682" y="1167"/>
                  </a:lnTo>
                  <a:lnTo>
                    <a:pt x="1688" y="1154"/>
                  </a:lnTo>
                  <a:lnTo>
                    <a:pt x="1693" y="1141"/>
                  </a:lnTo>
                  <a:lnTo>
                    <a:pt x="1697" y="1127"/>
                  </a:lnTo>
                  <a:lnTo>
                    <a:pt x="1698" y="1121"/>
                  </a:lnTo>
                  <a:lnTo>
                    <a:pt x="1698" y="1116"/>
                  </a:lnTo>
                  <a:lnTo>
                    <a:pt x="1698" y="1109"/>
                  </a:lnTo>
                  <a:lnTo>
                    <a:pt x="1696" y="1104"/>
                  </a:lnTo>
                  <a:lnTo>
                    <a:pt x="1697" y="1098"/>
                  </a:lnTo>
                  <a:lnTo>
                    <a:pt x="1696" y="1091"/>
                  </a:lnTo>
                  <a:lnTo>
                    <a:pt x="1668" y="1107"/>
                  </a:lnTo>
                  <a:lnTo>
                    <a:pt x="1629" y="1130"/>
                  </a:lnTo>
                  <a:lnTo>
                    <a:pt x="1620" y="1136"/>
                  </a:lnTo>
                  <a:lnTo>
                    <a:pt x="1610" y="1140"/>
                  </a:lnTo>
                  <a:lnTo>
                    <a:pt x="1602" y="1143"/>
                  </a:lnTo>
                  <a:lnTo>
                    <a:pt x="1594" y="1144"/>
                  </a:lnTo>
                  <a:lnTo>
                    <a:pt x="1590" y="1144"/>
                  </a:lnTo>
                  <a:lnTo>
                    <a:pt x="1586" y="1143"/>
                  </a:lnTo>
                  <a:lnTo>
                    <a:pt x="1583" y="1142"/>
                  </a:lnTo>
                  <a:lnTo>
                    <a:pt x="1580" y="1141"/>
                  </a:lnTo>
                  <a:lnTo>
                    <a:pt x="1577" y="1138"/>
                  </a:lnTo>
                  <a:lnTo>
                    <a:pt x="1575" y="1136"/>
                  </a:lnTo>
                  <a:lnTo>
                    <a:pt x="1573" y="1131"/>
                  </a:lnTo>
                  <a:lnTo>
                    <a:pt x="1572" y="1127"/>
                  </a:lnTo>
                  <a:lnTo>
                    <a:pt x="1570" y="1119"/>
                  </a:lnTo>
                  <a:lnTo>
                    <a:pt x="1569" y="1112"/>
                  </a:lnTo>
                  <a:lnTo>
                    <a:pt x="1569" y="1103"/>
                  </a:lnTo>
                  <a:lnTo>
                    <a:pt x="1571" y="1095"/>
                  </a:lnTo>
                  <a:lnTo>
                    <a:pt x="1575" y="1079"/>
                  </a:lnTo>
                  <a:lnTo>
                    <a:pt x="1582" y="1065"/>
                  </a:lnTo>
                  <a:lnTo>
                    <a:pt x="1591" y="1049"/>
                  </a:lnTo>
                  <a:lnTo>
                    <a:pt x="1597" y="1033"/>
                  </a:lnTo>
                  <a:lnTo>
                    <a:pt x="1600" y="1025"/>
                  </a:lnTo>
                  <a:lnTo>
                    <a:pt x="1602" y="1018"/>
                  </a:lnTo>
                  <a:lnTo>
                    <a:pt x="1604" y="1009"/>
                  </a:lnTo>
                  <a:lnTo>
                    <a:pt x="1604" y="1000"/>
                  </a:lnTo>
                  <a:lnTo>
                    <a:pt x="1596" y="994"/>
                  </a:lnTo>
                  <a:lnTo>
                    <a:pt x="1588" y="988"/>
                  </a:lnTo>
                  <a:lnTo>
                    <a:pt x="1579" y="984"/>
                  </a:lnTo>
                  <a:lnTo>
                    <a:pt x="1570" y="981"/>
                  </a:lnTo>
                  <a:lnTo>
                    <a:pt x="1552" y="976"/>
                  </a:lnTo>
                  <a:lnTo>
                    <a:pt x="1530" y="969"/>
                  </a:lnTo>
                  <a:lnTo>
                    <a:pt x="1522" y="965"/>
                  </a:lnTo>
                  <a:lnTo>
                    <a:pt x="1513" y="961"/>
                  </a:lnTo>
                  <a:lnTo>
                    <a:pt x="1506" y="957"/>
                  </a:lnTo>
                  <a:lnTo>
                    <a:pt x="1499" y="952"/>
                  </a:lnTo>
                  <a:lnTo>
                    <a:pt x="1493" y="946"/>
                  </a:lnTo>
                  <a:lnTo>
                    <a:pt x="1488" y="938"/>
                  </a:lnTo>
                  <a:lnTo>
                    <a:pt x="1486" y="934"/>
                  </a:lnTo>
                  <a:lnTo>
                    <a:pt x="1485" y="930"/>
                  </a:lnTo>
                  <a:lnTo>
                    <a:pt x="1484" y="925"/>
                  </a:lnTo>
                  <a:lnTo>
                    <a:pt x="1484" y="920"/>
                  </a:lnTo>
                  <a:lnTo>
                    <a:pt x="1485" y="913"/>
                  </a:lnTo>
                  <a:lnTo>
                    <a:pt x="1487" y="906"/>
                  </a:lnTo>
                  <a:lnTo>
                    <a:pt x="1491" y="900"/>
                  </a:lnTo>
                  <a:lnTo>
                    <a:pt x="1495" y="895"/>
                  </a:lnTo>
                  <a:lnTo>
                    <a:pt x="1506" y="883"/>
                  </a:lnTo>
                  <a:lnTo>
                    <a:pt x="1520" y="873"/>
                  </a:lnTo>
                  <a:lnTo>
                    <a:pt x="1533" y="864"/>
                  </a:lnTo>
                  <a:lnTo>
                    <a:pt x="1545" y="855"/>
                  </a:lnTo>
                  <a:lnTo>
                    <a:pt x="1549" y="851"/>
                  </a:lnTo>
                  <a:lnTo>
                    <a:pt x="1553" y="848"/>
                  </a:lnTo>
                  <a:lnTo>
                    <a:pt x="1555" y="843"/>
                  </a:lnTo>
                  <a:lnTo>
                    <a:pt x="1555" y="839"/>
                  </a:lnTo>
                  <a:lnTo>
                    <a:pt x="1548" y="834"/>
                  </a:lnTo>
                  <a:lnTo>
                    <a:pt x="1543" y="829"/>
                  </a:lnTo>
                  <a:lnTo>
                    <a:pt x="1540" y="823"/>
                  </a:lnTo>
                  <a:lnTo>
                    <a:pt x="1537" y="817"/>
                  </a:lnTo>
                  <a:lnTo>
                    <a:pt x="1537" y="812"/>
                  </a:lnTo>
                  <a:lnTo>
                    <a:pt x="1538" y="807"/>
                  </a:lnTo>
                  <a:lnTo>
                    <a:pt x="1541" y="803"/>
                  </a:lnTo>
                  <a:lnTo>
                    <a:pt x="1545" y="797"/>
                  </a:lnTo>
                  <a:lnTo>
                    <a:pt x="1549" y="793"/>
                  </a:lnTo>
                  <a:lnTo>
                    <a:pt x="1554" y="789"/>
                  </a:lnTo>
                  <a:lnTo>
                    <a:pt x="1559" y="786"/>
                  </a:lnTo>
                  <a:lnTo>
                    <a:pt x="1566" y="783"/>
                  </a:lnTo>
                  <a:lnTo>
                    <a:pt x="1578" y="778"/>
                  </a:lnTo>
                  <a:lnTo>
                    <a:pt x="1592" y="775"/>
                  </a:lnTo>
                  <a:lnTo>
                    <a:pt x="1615" y="774"/>
                  </a:lnTo>
                  <a:lnTo>
                    <a:pt x="1641" y="772"/>
                  </a:lnTo>
                  <a:lnTo>
                    <a:pt x="1647" y="771"/>
                  </a:lnTo>
                  <a:lnTo>
                    <a:pt x="1652" y="770"/>
                  </a:lnTo>
                  <a:lnTo>
                    <a:pt x="1656" y="768"/>
                  </a:lnTo>
                  <a:lnTo>
                    <a:pt x="1659" y="766"/>
                  </a:lnTo>
                  <a:lnTo>
                    <a:pt x="1662" y="763"/>
                  </a:lnTo>
                  <a:lnTo>
                    <a:pt x="1663" y="759"/>
                  </a:lnTo>
                  <a:lnTo>
                    <a:pt x="1663" y="754"/>
                  </a:lnTo>
                  <a:lnTo>
                    <a:pt x="1660" y="747"/>
                  </a:lnTo>
                  <a:lnTo>
                    <a:pt x="1660" y="743"/>
                  </a:lnTo>
                  <a:lnTo>
                    <a:pt x="1659" y="739"/>
                  </a:lnTo>
                  <a:lnTo>
                    <a:pt x="1658" y="736"/>
                  </a:lnTo>
                  <a:lnTo>
                    <a:pt x="1656" y="733"/>
                  </a:lnTo>
                  <a:lnTo>
                    <a:pt x="1652" y="728"/>
                  </a:lnTo>
                  <a:lnTo>
                    <a:pt x="1647" y="723"/>
                  </a:lnTo>
                  <a:lnTo>
                    <a:pt x="1640" y="720"/>
                  </a:lnTo>
                  <a:lnTo>
                    <a:pt x="1631" y="718"/>
                  </a:lnTo>
                  <a:lnTo>
                    <a:pt x="1623" y="716"/>
                  </a:lnTo>
                  <a:lnTo>
                    <a:pt x="1614" y="716"/>
                  </a:lnTo>
                  <a:lnTo>
                    <a:pt x="1577" y="716"/>
                  </a:lnTo>
                  <a:lnTo>
                    <a:pt x="1548" y="714"/>
                  </a:lnTo>
                  <a:lnTo>
                    <a:pt x="1541" y="712"/>
                  </a:lnTo>
                  <a:lnTo>
                    <a:pt x="1533" y="709"/>
                  </a:lnTo>
                  <a:lnTo>
                    <a:pt x="1527" y="706"/>
                  </a:lnTo>
                  <a:lnTo>
                    <a:pt x="1522" y="700"/>
                  </a:lnTo>
                  <a:lnTo>
                    <a:pt x="1517" y="696"/>
                  </a:lnTo>
                  <a:lnTo>
                    <a:pt x="1511" y="690"/>
                  </a:lnTo>
                  <a:lnTo>
                    <a:pt x="1507" y="684"/>
                  </a:lnTo>
                  <a:lnTo>
                    <a:pt x="1504" y="678"/>
                  </a:lnTo>
                  <a:lnTo>
                    <a:pt x="1501" y="670"/>
                  </a:lnTo>
                  <a:lnTo>
                    <a:pt x="1499" y="663"/>
                  </a:lnTo>
                  <a:lnTo>
                    <a:pt x="1497" y="656"/>
                  </a:lnTo>
                  <a:lnTo>
                    <a:pt x="1496" y="648"/>
                  </a:lnTo>
                  <a:lnTo>
                    <a:pt x="1496" y="641"/>
                  </a:lnTo>
                  <a:lnTo>
                    <a:pt x="1496" y="633"/>
                  </a:lnTo>
                  <a:lnTo>
                    <a:pt x="1497" y="625"/>
                  </a:lnTo>
                  <a:lnTo>
                    <a:pt x="1498" y="618"/>
                  </a:lnTo>
                  <a:lnTo>
                    <a:pt x="1503" y="613"/>
                  </a:lnTo>
                  <a:lnTo>
                    <a:pt x="1508" y="609"/>
                  </a:lnTo>
                  <a:lnTo>
                    <a:pt x="1515" y="604"/>
                  </a:lnTo>
                  <a:lnTo>
                    <a:pt x="1522" y="601"/>
                  </a:lnTo>
                  <a:lnTo>
                    <a:pt x="1529" y="598"/>
                  </a:lnTo>
                  <a:lnTo>
                    <a:pt x="1536" y="596"/>
                  </a:lnTo>
                  <a:lnTo>
                    <a:pt x="1545" y="595"/>
                  </a:lnTo>
                  <a:lnTo>
                    <a:pt x="1551" y="594"/>
                  </a:lnTo>
                  <a:lnTo>
                    <a:pt x="1557" y="595"/>
                  </a:lnTo>
                  <a:lnTo>
                    <a:pt x="1562" y="596"/>
                  </a:lnTo>
                  <a:lnTo>
                    <a:pt x="1568" y="597"/>
                  </a:lnTo>
                  <a:lnTo>
                    <a:pt x="1572" y="599"/>
                  </a:lnTo>
                  <a:lnTo>
                    <a:pt x="1577" y="601"/>
                  </a:lnTo>
                  <a:lnTo>
                    <a:pt x="1582" y="603"/>
                  </a:lnTo>
                  <a:lnTo>
                    <a:pt x="1588" y="604"/>
                  </a:lnTo>
                  <a:lnTo>
                    <a:pt x="1593" y="604"/>
                  </a:lnTo>
                  <a:lnTo>
                    <a:pt x="1596" y="602"/>
                  </a:lnTo>
                  <a:lnTo>
                    <a:pt x="1596" y="602"/>
                  </a:lnTo>
                  <a:lnTo>
                    <a:pt x="1594" y="585"/>
                  </a:lnTo>
                  <a:lnTo>
                    <a:pt x="1593" y="566"/>
                  </a:lnTo>
                  <a:lnTo>
                    <a:pt x="1592" y="558"/>
                  </a:lnTo>
                  <a:lnTo>
                    <a:pt x="1591" y="548"/>
                  </a:lnTo>
                  <a:lnTo>
                    <a:pt x="1590" y="540"/>
                  </a:lnTo>
                  <a:lnTo>
                    <a:pt x="1586" y="530"/>
                  </a:lnTo>
                  <a:lnTo>
                    <a:pt x="1578" y="521"/>
                  </a:lnTo>
                  <a:lnTo>
                    <a:pt x="1570" y="512"/>
                  </a:lnTo>
                  <a:lnTo>
                    <a:pt x="1566" y="507"/>
                  </a:lnTo>
                  <a:lnTo>
                    <a:pt x="1561" y="503"/>
                  </a:lnTo>
                  <a:lnTo>
                    <a:pt x="1556" y="499"/>
                  </a:lnTo>
                  <a:lnTo>
                    <a:pt x="1551" y="496"/>
                  </a:lnTo>
                  <a:lnTo>
                    <a:pt x="1526" y="475"/>
                  </a:lnTo>
                  <a:lnTo>
                    <a:pt x="1504" y="454"/>
                  </a:lnTo>
                  <a:lnTo>
                    <a:pt x="1498" y="449"/>
                  </a:lnTo>
                  <a:lnTo>
                    <a:pt x="1493" y="445"/>
                  </a:lnTo>
                  <a:lnTo>
                    <a:pt x="1485" y="441"/>
                  </a:lnTo>
                  <a:lnTo>
                    <a:pt x="1479" y="438"/>
                  </a:lnTo>
                  <a:lnTo>
                    <a:pt x="1472" y="435"/>
                  </a:lnTo>
                  <a:lnTo>
                    <a:pt x="1463" y="433"/>
                  </a:lnTo>
                  <a:lnTo>
                    <a:pt x="1454" y="432"/>
                  </a:lnTo>
                  <a:lnTo>
                    <a:pt x="1445" y="431"/>
                  </a:lnTo>
                  <a:lnTo>
                    <a:pt x="1434" y="432"/>
                  </a:lnTo>
                  <a:lnTo>
                    <a:pt x="1423" y="437"/>
                  </a:lnTo>
                  <a:lnTo>
                    <a:pt x="1409" y="442"/>
                  </a:lnTo>
                  <a:lnTo>
                    <a:pt x="1397" y="449"/>
                  </a:lnTo>
                  <a:lnTo>
                    <a:pt x="1383" y="456"/>
                  </a:lnTo>
                  <a:lnTo>
                    <a:pt x="1372" y="464"/>
                  </a:lnTo>
                  <a:lnTo>
                    <a:pt x="1360" y="472"/>
                  </a:lnTo>
                  <a:lnTo>
                    <a:pt x="1352" y="478"/>
                  </a:lnTo>
                  <a:lnTo>
                    <a:pt x="1347" y="481"/>
                  </a:lnTo>
                  <a:lnTo>
                    <a:pt x="1341" y="485"/>
                  </a:lnTo>
                  <a:lnTo>
                    <a:pt x="1337" y="486"/>
                  </a:lnTo>
                  <a:lnTo>
                    <a:pt x="1332" y="486"/>
                  </a:lnTo>
                  <a:lnTo>
                    <a:pt x="1327" y="485"/>
                  </a:lnTo>
                  <a:lnTo>
                    <a:pt x="1323" y="482"/>
                  </a:lnTo>
                  <a:lnTo>
                    <a:pt x="1317" y="479"/>
                  </a:lnTo>
                  <a:lnTo>
                    <a:pt x="1313" y="475"/>
                  </a:lnTo>
                  <a:lnTo>
                    <a:pt x="1305" y="465"/>
                  </a:lnTo>
                  <a:lnTo>
                    <a:pt x="1297" y="452"/>
                  </a:lnTo>
                  <a:lnTo>
                    <a:pt x="1289" y="438"/>
                  </a:lnTo>
                  <a:lnTo>
                    <a:pt x="1282" y="421"/>
                  </a:lnTo>
                  <a:lnTo>
                    <a:pt x="1276" y="404"/>
                  </a:lnTo>
                  <a:lnTo>
                    <a:pt x="1269" y="386"/>
                  </a:lnTo>
                  <a:lnTo>
                    <a:pt x="1264" y="369"/>
                  </a:lnTo>
                  <a:lnTo>
                    <a:pt x="1260" y="352"/>
                  </a:lnTo>
                  <a:lnTo>
                    <a:pt x="1253" y="324"/>
                  </a:lnTo>
                  <a:lnTo>
                    <a:pt x="1249" y="306"/>
                  </a:lnTo>
                  <a:lnTo>
                    <a:pt x="1247" y="295"/>
                  </a:lnTo>
                  <a:lnTo>
                    <a:pt x="1243" y="284"/>
                  </a:lnTo>
                  <a:lnTo>
                    <a:pt x="1240" y="275"/>
                  </a:lnTo>
                  <a:lnTo>
                    <a:pt x="1237" y="265"/>
                  </a:lnTo>
                  <a:lnTo>
                    <a:pt x="1229" y="249"/>
                  </a:lnTo>
                  <a:lnTo>
                    <a:pt x="1218" y="234"/>
                  </a:lnTo>
                  <a:lnTo>
                    <a:pt x="1208" y="220"/>
                  </a:lnTo>
                  <a:lnTo>
                    <a:pt x="1195" y="206"/>
                  </a:lnTo>
                  <a:lnTo>
                    <a:pt x="1182" y="192"/>
                  </a:lnTo>
                  <a:lnTo>
                    <a:pt x="1166" y="177"/>
                  </a:lnTo>
                  <a:lnTo>
                    <a:pt x="1163" y="178"/>
                  </a:lnTo>
                  <a:lnTo>
                    <a:pt x="1160" y="179"/>
                  </a:lnTo>
                  <a:lnTo>
                    <a:pt x="1157" y="197"/>
                  </a:lnTo>
                  <a:lnTo>
                    <a:pt x="1153" y="215"/>
                  </a:lnTo>
                  <a:lnTo>
                    <a:pt x="1146" y="234"/>
                  </a:lnTo>
                  <a:lnTo>
                    <a:pt x="1140" y="253"/>
                  </a:lnTo>
                  <a:lnTo>
                    <a:pt x="1134" y="273"/>
                  </a:lnTo>
                  <a:lnTo>
                    <a:pt x="1129" y="292"/>
                  </a:lnTo>
                  <a:lnTo>
                    <a:pt x="1124" y="310"/>
                  </a:lnTo>
                  <a:lnTo>
                    <a:pt x="1119" y="329"/>
                  </a:lnTo>
                  <a:lnTo>
                    <a:pt x="1117" y="337"/>
                  </a:lnTo>
                  <a:lnTo>
                    <a:pt x="1113" y="345"/>
                  </a:lnTo>
                  <a:lnTo>
                    <a:pt x="1108" y="351"/>
                  </a:lnTo>
                  <a:lnTo>
                    <a:pt x="1101" y="358"/>
                  </a:lnTo>
                  <a:lnTo>
                    <a:pt x="1093" y="365"/>
                  </a:lnTo>
                  <a:lnTo>
                    <a:pt x="1084" y="370"/>
                  </a:lnTo>
                  <a:lnTo>
                    <a:pt x="1076" y="375"/>
                  </a:lnTo>
                  <a:lnTo>
                    <a:pt x="1065" y="378"/>
                  </a:lnTo>
                  <a:lnTo>
                    <a:pt x="1056" y="381"/>
                  </a:lnTo>
                  <a:lnTo>
                    <a:pt x="1046" y="382"/>
                  </a:lnTo>
                  <a:lnTo>
                    <a:pt x="1037" y="382"/>
                  </a:lnTo>
                  <a:lnTo>
                    <a:pt x="1029" y="380"/>
                  </a:lnTo>
                  <a:lnTo>
                    <a:pt x="1024" y="378"/>
                  </a:lnTo>
                  <a:lnTo>
                    <a:pt x="1021" y="376"/>
                  </a:lnTo>
                  <a:lnTo>
                    <a:pt x="1018" y="374"/>
                  </a:lnTo>
                  <a:lnTo>
                    <a:pt x="1015" y="370"/>
                  </a:lnTo>
                  <a:lnTo>
                    <a:pt x="1012" y="367"/>
                  </a:lnTo>
                  <a:lnTo>
                    <a:pt x="1010" y="362"/>
                  </a:lnTo>
                  <a:lnTo>
                    <a:pt x="1008" y="357"/>
                  </a:lnTo>
                  <a:lnTo>
                    <a:pt x="1006" y="352"/>
                  </a:lnTo>
                  <a:lnTo>
                    <a:pt x="1002" y="337"/>
                  </a:lnTo>
                  <a:lnTo>
                    <a:pt x="997" y="323"/>
                  </a:lnTo>
                  <a:lnTo>
                    <a:pt x="991" y="308"/>
                  </a:lnTo>
                  <a:lnTo>
                    <a:pt x="985" y="294"/>
                  </a:lnTo>
                  <a:lnTo>
                    <a:pt x="972" y="264"/>
                  </a:lnTo>
                  <a:lnTo>
                    <a:pt x="961" y="236"/>
                  </a:lnTo>
                  <a:lnTo>
                    <a:pt x="961" y="236"/>
                  </a:lnTo>
                  <a:lnTo>
                    <a:pt x="939" y="235"/>
                  </a:lnTo>
                  <a:lnTo>
                    <a:pt x="916" y="233"/>
                  </a:lnTo>
                  <a:lnTo>
                    <a:pt x="893" y="233"/>
                  </a:lnTo>
                  <a:lnTo>
                    <a:pt x="870" y="235"/>
                  </a:lnTo>
                  <a:lnTo>
                    <a:pt x="864" y="236"/>
                  </a:lnTo>
                  <a:lnTo>
                    <a:pt x="855" y="237"/>
                  </a:lnTo>
                  <a:lnTo>
                    <a:pt x="845" y="237"/>
                  </a:lnTo>
                  <a:lnTo>
                    <a:pt x="836" y="236"/>
                  </a:lnTo>
                  <a:lnTo>
                    <a:pt x="826" y="234"/>
                  </a:lnTo>
                  <a:lnTo>
                    <a:pt x="819" y="231"/>
                  </a:lnTo>
                  <a:lnTo>
                    <a:pt x="816" y="228"/>
                  </a:lnTo>
                  <a:lnTo>
                    <a:pt x="814" y="225"/>
                  </a:lnTo>
                  <a:lnTo>
                    <a:pt x="813" y="222"/>
                  </a:lnTo>
                  <a:lnTo>
                    <a:pt x="813" y="217"/>
                  </a:lnTo>
                  <a:lnTo>
                    <a:pt x="810" y="212"/>
                  </a:lnTo>
                  <a:lnTo>
                    <a:pt x="807" y="207"/>
                  </a:lnTo>
                  <a:lnTo>
                    <a:pt x="804" y="201"/>
                  </a:lnTo>
                  <a:lnTo>
                    <a:pt x="803" y="195"/>
                  </a:lnTo>
                  <a:lnTo>
                    <a:pt x="800" y="181"/>
                  </a:lnTo>
                  <a:lnTo>
                    <a:pt x="797" y="169"/>
                  </a:lnTo>
                  <a:lnTo>
                    <a:pt x="791" y="152"/>
                  </a:lnTo>
                  <a:lnTo>
                    <a:pt x="783" y="136"/>
                  </a:lnTo>
                  <a:lnTo>
                    <a:pt x="778" y="130"/>
                  </a:lnTo>
                  <a:lnTo>
                    <a:pt x="773" y="123"/>
                  </a:lnTo>
                  <a:lnTo>
                    <a:pt x="767" y="115"/>
                  </a:lnTo>
                  <a:lnTo>
                    <a:pt x="760" y="109"/>
                  </a:lnTo>
                  <a:lnTo>
                    <a:pt x="757" y="105"/>
                  </a:lnTo>
                  <a:lnTo>
                    <a:pt x="753" y="101"/>
                  </a:lnTo>
                  <a:lnTo>
                    <a:pt x="750" y="95"/>
                  </a:lnTo>
                  <a:lnTo>
                    <a:pt x="748" y="90"/>
                  </a:lnTo>
                  <a:lnTo>
                    <a:pt x="744" y="79"/>
                  </a:lnTo>
                  <a:lnTo>
                    <a:pt x="742" y="66"/>
                  </a:lnTo>
                  <a:lnTo>
                    <a:pt x="740" y="54"/>
                  </a:lnTo>
                  <a:lnTo>
                    <a:pt x="737" y="42"/>
                  </a:lnTo>
                  <a:lnTo>
                    <a:pt x="734" y="31"/>
                  </a:lnTo>
                  <a:lnTo>
                    <a:pt x="729" y="20"/>
                  </a:lnTo>
                  <a:lnTo>
                    <a:pt x="720" y="21"/>
                  </a:lnTo>
                  <a:lnTo>
                    <a:pt x="710" y="23"/>
                  </a:lnTo>
                  <a:lnTo>
                    <a:pt x="700" y="28"/>
                  </a:lnTo>
                  <a:lnTo>
                    <a:pt x="690" y="33"/>
                  </a:lnTo>
                  <a:lnTo>
                    <a:pt x="670" y="45"/>
                  </a:lnTo>
                  <a:lnTo>
                    <a:pt x="650" y="60"/>
                  </a:lnTo>
                  <a:lnTo>
                    <a:pt x="630" y="76"/>
                  </a:lnTo>
                  <a:lnTo>
                    <a:pt x="612" y="91"/>
                  </a:lnTo>
                  <a:lnTo>
                    <a:pt x="602" y="99"/>
                  </a:lnTo>
                  <a:lnTo>
                    <a:pt x="594" y="105"/>
                  </a:lnTo>
                  <a:lnTo>
                    <a:pt x="586" y="110"/>
                  </a:lnTo>
                  <a:lnTo>
                    <a:pt x="576" y="115"/>
                  </a:lnTo>
                  <a:lnTo>
                    <a:pt x="568" y="118"/>
                  </a:lnTo>
                  <a:lnTo>
                    <a:pt x="559" y="121"/>
                  </a:lnTo>
                  <a:lnTo>
                    <a:pt x="552" y="125"/>
                  </a:lnTo>
                  <a:lnTo>
                    <a:pt x="545" y="126"/>
                  </a:lnTo>
                  <a:lnTo>
                    <a:pt x="529" y="128"/>
                  </a:lnTo>
                  <a:lnTo>
                    <a:pt x="510" y="128"/>
                  </a:lnTo>
                  <a:lnTo>
                    <a:pt x="500" y="129"/>
                  </a:lnTo>
                  <a:lnTo>
                    <a:pt x="490" y="131"/>
                  </a:lnTo>
                  <a:lnTo>
                    <a:pt x="478" y="134"/>
                  </a:lnTo>
                  <a:lnTo>
                    <a:pt x="467" y="137"/>
                  </a:lnTo>
                  <a:lnTo>
                    <a:pt x="456" y="140"/>
                  </a:lnTo>
                  <a:lnTo>
                    <a:pt x="446" y="141"/>
                  </a:lnTo>
                  <a:lnTo>
                    <a:pt x="441" y="141"/>
                  </a:lnTo>
                  <a:lnTo>
                    <a:pt x="435" y="141"/>
                  </a:lnTo>
                  <a:lnTo>
                    <a:pt x="430" y="140"/>
                  </a:lnTo>
                  <a:lnTo>
                    <a:pt x="425" y="138"/>
                  </a:lnTo>
                  <a:lnTo>
                    <a:pt x="420" y="135"/>
                  </a:lnTo>
                  <a:lnTo>
                    <a:pt x="415" y="132"/>
                  </a:lnTo>
                  <a:lnTo>
                    <a:pt x="408" y="127"/>
                  </a:lnTo>
                  <a:lnTo>
                    <a:pt x="402" y="120"/>
                  </a:lnTo>
                  <a:lnTo>
                    <a:pt x="389" y="108"/>
                  </a:lnTo>
                  <a:lnTo>
                    <a:pt x="376" y="93"/>
                  </a:lnTo>
                  <a:lnTo>
                    <a:pt x="362" y="79"/>
                  </a:lnTo>
                  <a:lnTo>
                    <a:pt x="350" y="64"/>
                  </a:lnTo>
                  <a:lnTo>
                    <a:pt x="338" y="53"/>
                  </a:lnTo>
                  <a:lnTo>
                    <a:pt x="329" y="43"/>
                  </a:lnTo>
                  <a:lnTo>
                    <a:pt x="317" y="34"/>
                  </a:lnTo>
                  <a:lnTo>
                    <a:pt x="301" y="22"/>
                  </a:lnTo>
                  <a:lnTo>
                    <a:pt x="287" y="11"/>
                  </a:lnTo>
                  <a:lnTo>
                    <a:pt x="277" y="0"/>
                  </a:lnTo>
                  <a:lnTo>
                    <a:pt x="271" y="1"/>
                  </a:lnTo>
                  <a:lnTo>
                    <a:pt x="264" y="4"/>
                  </a:lnTo>
                  <a:lnTo>
                    <a:pt x="259" y="8"/>
                  </a:lnTo>
                  <a:lnTo>
                    <a:pt x="254" y="12"/>
                  </a:lnTo>
                  <a:lnTo>
                    <a:pt x="250" y="18"/>
                  </a:lnTo>
                  <a:lnTo>
                    <a:pt x="246" y="24"/>
                  </a:lnTo>
                  <a:lnTo>
                    <a:pt x="241" y="32"/>
                  </a:lnTo>
                  <a:lnTo>
                    <a:pt x="238" y="40"/>
                  </a:lnTo>
                  <a:lnTo>
                    <a:pt x="227" y="72"/>
                  </a:lnTo>
                  <a:lnTo>
                    <a:pt x="219" y="97"/>
                  </a:lnTo>
                  <a:lnTo>
                    <a:pt x="206" y="131"/>
                  </a:lnTo>
                  <a:lnTo>
                    <a:pt x="192" y="163"/>
                  </a:lnTo>
                  <a:lnTo>
                    <a:pt x="187" y="171"/>
                  </a:lnTo>
                  <a:lnTo>
                    <a:pt x="182" y="177"/>
                  </a:lnTo>
                  <a:lnTo>
                    <a:pt x="177" y="183"/>
                  </a:lnTo>
                  <a:lnTo>
                    <a:pt x="171" y="189"/>
                  </a:lnTo>
                  <a:lnTo>
                    <a:pt x="163" y="193"/>
                  </a:lnTo>
                  <a:lnTo>
                    <a:pt x="155" y="198"/>
                  </a:lnTo>
                  <a:lnTo>
                    <a:pt x="147" y="201"/>
                  </a:lnTo>
                  <a:lnTo>
                    <a:pt x="136" y="203"/>
                  </a:lnTo>
                  <a:lnTo>
                    <a:pt x="129" y="204"/>
                  </a:lnTo>
                  <a:lnTo>
                    <a:pt x="120" y="204"/>
                  </a:lnTo>
                  <a:lnTo>
                    <a:pt x="116" y="205"/>
                  </a:lnTo>
                  <a:lnTo>
                    <a:pt x="113" y="206"/>
                  </a:lnTo>
                  <a:lnTo>
                    <a:pt x="109" y="207"/>
                  </a:lnTo>
                  <a:lnTo>
                    <a:pt x="107" y="209"/>
                  </a:lnTo>
                  <a:lnTo>
                    <a:pt x="102" y="214"/>
                  </a:lnTo>
                  <a:lnTo>
                    <a:pt x="100" y="218"/>
                  </a:lnTo>
                  <a:lnTo>
                    <a:pt x="99" y="223"/>
                  </a:lnTo>
                  <a:lnTo>
                    <a:pt x="99" y="227"/>
                  </a:lnTo>
                  <a:lnTo>
                    <a:pt x="99" y="232"/>
                  </a:lnTo>
                  <a:lnTo>
                    <a:pt x="99" y="236"/>
                  </a:lnTo>
                  <a:lnTo>
                    <a:pt x="98" y="241"/>
                  </a:lnTo>
                  <a:lnTo>
                    <a:pt x="95" y="247"/>
                  </a:lnTo>
                  <a:lnTo>
                    <a:pt x="95" y="247"/>
                  </a:lnTo>
                  <a:lnTo>
                    <a:pt x="105" y="249"/>
                  </a:lnTo>
                  <a:lnTo>
                    <a:pt x="115" y="252"/>
                  </a:lnTo>
                  <a:lnTo>
                    <a:pt x="125" y="254"/>
                  </a:lnTo>
                  <a:lnTo>
                    <a:pt x="132" y="258"/>
                  </a:lnTo>
                  <a:lnTo>
                    <a:pt x="134" y="258"/>
                  </a:lnTo>
                  <a:lnTo>
                    <a:pt x="141" y="266"/>
                  </a:lnTo>
                  <a:lnTo>
                    <a:pt x="147" y="274"/>
                  </a:lnTo>
                  <a:lnTo>
                    <a:pt x="149" y="281"/>
                  </a:lnTo>
                  <a:lnTo>
                    <a:pt x="149" y="288"/>
                  </a:lnTo>
                  <a:lnTo>
                    <a:pt x="148" y="296"/>
                  </a:lnTo>
                  <a:lnTo>
                    <a:pt x="144" y="304"/>
                  </a:lnTo>
                  <a:lnTo>
                    <a:pt x="140" y="314"/>
                  </a:lnTo>
                  <a:lnTo>
                    <a:pt x="136" y="325"/>
                  </a:lnTo>
                  <a:lnTo>
                    <a:pt x="133" y="333"/>
                  </a:lnTo>
                  <a:lnTo>
                    <a:pt x="130" y="342"/>
                  </a:lnTo>
                  <a:lnTo>
                    <a:pt x="128" y="351"/>
                  </a:lnTo>
                  <a:lnTo>
                    <a:pt x="127" y="361"/>
                  </a:lnTo>
                  <a:lnTo>
                    <a:pt x="125" y="382"/>
                  </a:lnTo>
                  <a:lnTo>
                    <a:pt x="124" y="404"/>
                  </a:lnTo>
                  <a:lnTo>
                    <a:pt x="125" y="427"/>
                  </a:lnTo>
                  <a:lnTo>
                    <a:pt x="128" y="448"/>
                  </a:lnTo>
                  <a:lnTo>
                    <a:pt x="130" y="457"/>
                  </a:lnTo>
                  <a:lnTo>
                    <a:pt x="132" y="467"/>
                  </a:lnTo>
                  <a:lnTo>
                    <a:pt x="135" y="475"/>
                  </a:lnTo>
                  <a:lnTo>
                    <a:pt x="138" y="483"/>
                  </a:lnTo>
                  <a:lnTo>
                    <a:pt x="150" y="505"/>
                  </a:lnTo>
                  <a:lnTo>
                    <a:pt x="162" y="527"/>
                  </a:lnTo>
                  <a:lnTo>
                    <a:pt x="167" y="539"/>
                  </a:lnTo>
                  <a:lnTo>
                    <a:pt x="172" y="550"/>
                  </a:lnTo>
                  <a:lnTo>
                    <a:pt x="175" y="562"/>
                  </a:lnTo>
                  <a:lnTo>
                    <a:pt x="176" y="575"/>
                  </a:lnTo>
                  <a:lnTo>
                    <a:pt x="176" y="579"/>
                  </a:lnTo>
                  <a:lnTo>
                    <a:pt x="174" y="583"/>
                  </a:lnTo>
                  <a:lnTo>
                    <a:pt x="171" y="587"/>
                  </a:lnTo>
                  <a:lnTo>
                    <a:pt x="166" y="590"/>
                  </a:lnTo>
                  <a:lnTo>
                    <a:pt x="156" y="596"/>
                  </a:lnTo>
                  <a:lnTo>
                    <a:pt x="144" y="601"/>
                  </a:lnTo>
                  <a:lnTo>
                    <a:pt x="118" y="611"/>
                  </a:lnTo>
                  <a:lnTo>
                    <a:pt x="100" y="618"/>
                  </a:lnTo>
                  <a:lnTo>
                    <a:pt x="92" y="622"/>
                  </a:lnTo>
                  <a:lnTo>
                    <a:pt x="87" y="627"/>
                  </a:lnTo>
                  <a:lnTo>
                    <a:pt x="84" y="634"/>
                  </a:lnTo>
                  <a:lnTo>
                    <a:pt x="83" y="640"/>
                  </a:lnTo>
                  <a:lnTo>
                    <a:pt x="82" y="646"/>
                  </a:lnTo>
                  <a:lnTo>
                    <a:pt x="84" y="654"/>
                  </a:lnTo>
                  <a:lnTo>
                    <a:pt x="86" y="661"/>
                  </a:lnTo>
                  <a:lnTo>
                    <a:pt x="88" y="669"/>
                  </a:lnTo>
                  <a:lnTo>
                    <a:pt x="95" y="685"/>
                  </a:lnTo>
                  <a:lnTo>
                    <a:pt x="102" y="700"/>
                  </a:lnTo>
                  <a:lnTo>
                    <a:pt x="105" y="708"/>
                  </a:lnTo>
                  <a:lnTo>
                    <a:pt x="106" y="715"/>
                  </a:lnTo>
                  <a:lnTo>
                    <a:pt x="107" y="722"/>
                  </a:lnTo>
                  <a:lnTo>
                    <a:pt x="107" y="730"/>
                  </a:lnTo>
                  <a:lnTo>
                    <a:pt x="103" y="743"/>
                  </a:lnTo>
                  <a:lnTo>
                    <a:pt x="100" y="756"/>
                  </a:lnTo>
                  <a:lnTo>
                    <a:pt x="95" y="768"/>
                  </a:lnTo>
                  <a:lnTo>
                    <a:pt x="90" y="781"/>
                  </a:lnTo>
                  <a:lnTo>
                    <a:pt x="88" y="791"/>
                  </a:lnTo>
                  <a:lnTo>
                    <a:pt x="88" y="800"/>
                  </a:lnTo>
                  <a:lnTo>
                    <a:pt x="89" y="808"/>
                  </a:lnTo>
                  <a:lnTo>
                    <a:pt x="91" y="815"/>
                  </a:lnTo>
                  <a:lnTo>
                    <a:pt x="98" y="830"/>
                  </a:lnTo>
                  <a:lnTo>
                    <a:pt x="102" y="847"/>
                  </a:lnTo>
                  <a:lnTo>
                    <a:pt x="113" y="862"/>
                  </a:lnTo>
                  <a:lnTo>
                    <a:pt x="129" y="885"/>
                  </a:lnTo>
                  <a:lnTo>
                    <a:pt x="135" y="897"/>
                  </a:lnTo>
                  <a:lnTo>
                    <a:pt x="138" y="907"/>
                  </a:lnTo>
                  <a:lnTo>
                    <a:pt x="139" y="912"/>
                  </a:lnTo>
                  <a:lnTo>
                    <a:pt x="139" y="917"/>
                  </a:lnTo>
                  <a:lnTo>
                    <a:pt x="138" y="922"/>
                  </a:lnTo>
                  <a:lnTo>
                    <a:pt x="136" y="926"/>
                  </a:lnTo>
                  <a:lnTo>
                    <a:pt x="129" y="933"/>
                  </a:lnTo>
                  <a:lnTo>
                    <a:pt x="119" y="939"/>
                  </a:lnTo>
                  <a:lnTo>
                    <a:pt x="109" y="946"/>
                  </a:lnTo>
                  <a:lnTo>
                    <a:pt x="100" y="951"/>
                  </a:lnTo>
                  <a:lnTo>
                    <a:pt x="94" y="954"/>
                  </a:lnTo>
                  <a:lnTo>
                    <a:pt x="91" y="958"/>
                  </a:lnTo>
                  <a:lnTo>
                    <a:pt x="89" y="962"/>
                  </a:lnTo>
                  <a:lnTo>
                    <a:pt x="86" y="968"/>
                  </a:lnTo>
                  <a:lnTo>
                    <a:pt x="84" y="973"/>
                  </a:lnTo>
                  <a:lnTo>
                    <a:pt x="82" y="977"/>
                  </a:lnTo>
                  <a:lnTo>
                    <a:pt x="80" y="980"/>
                  </a:lnTo>
                  <a:lnTo>
                    <a:pt x="77" y="983"/>
                  </a:lnTo>
                  <a:lnTo>
                    <a:pt x="76" y="994"/>
                  </a:lnTo>
                  <a:lnTo>
                    <a:pt x="71" y="1004"/>
                  </a:lnTo>
                  <a:lnTo>
                    <a:pt x="66" y="1013"/>
                  </a:lnTo>
                  <a:lnTo>
                    <a:pt x="60" y="1023"/>
                  </a:lnTo>
                  <a:lnTo>
                    <a:pt x="53" y="1031"/>
                  </a:lnTo>
                  <a:lnTo>
                    <a:pt x="44" y="1038"/>
                  </a:lnTo>
                  <a:lnTo>
                    <a:pt x="35" y="1044"/>
                  </a:lnTo>
                  <a:lnTo>
                    <a:pt x="25" y="1048"/>
                  </a:lnTo>
                  <a:lnTo>
                    <a:pt x="15" y="1051"/>
                  </a:lnTo>
                  <a:lnTo>
                    <a:pt x="8" y="1055"/>
                  </a:lnTo>
                  <a:lnTo>
                    <a:pt x="4" y="1059"/>
                  </a:lnTo>
                  <a:lnTo>
                    <a:pt x="1" y="1065"/>
                  </a:lnTo>
                  <a:lnTo>
                    <a:pt x="0" y="1070"/>
                  </a:lnTo>
                  <a:lnTo>
                    <a:pt x="1" y="1075"/>
                  </a:lnTo>
                  <a:lnTo>
                    <a:pt x="2" y="1081"/>
                  </a:lnTo>
                  <a:lnTo>
                    <a:pt x="5" y="1089"/>
                  </a:lnTo>
                  <a:lnTo>
                    <a:pt x="12" y="1102"/>
                  </a:lnTo>
                  <a:lnTo>
                    <a:pt x="19" y="1116"/>
                  </a:lnTo>
                  <a:lnTo>
                    <a:pt x="24" y="1123"/>
                  </a:lnTo>
                  <a:lnTo>
                    <a:pt x="27" y="1130"/>
                  </a:lnTo>
                  <a:lnTo>
                    <a:pt x="30" y="1138"/>
                  </a:lnTo>
                  <a:lnTo>
                    <a:pt x="31" y="1144"/>
                  </a:lnTo>
                  <a:lnTo>
                    <a:pt x="32" y="1158"/>
                  </a:lnTo>
                  <a:lnTo>
                    <a:pt x="31" y="1172"/>
                  </a:lnTo>
                  <a:lnTo>
                    <a:pt x="30" y="1187"/>
                  </a:lnTo>
                  <a:lnTo>
                    <a:pt x="31" y="1201"/>
                  </a:lnTo>
                  <a:lnTo>
                    <a:pt x="35" y="1216"/>
                  </a:lnTo>
                  <a:lnTo>
                    <a:pt x="40" y="1229"/>
                  </a:lnTo>
                  <a:lnTo>
                    <a:pt x="45" y="1242"/>
                  </a:lnTo>
                  <a:lnTo>
                    <a:pt x="50" y="1257"/>
                  </a:lnTo>
                  <a:lnTo>
                    <a:pt x="50" y="1257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85" name="Freeform 122">
              <a:extLst>
                <a:ext uri="{FF2B5EF4-FFF2-40B4-BE49-F238E27FC236}">
                  <a16:creationId xmlns:a16="http://schemas.microsoft.com/office/drawing/2014/main" id="{22A5E892-C0ED-4F27-BFD7-5F1D029BE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4740" y="4355076"/>
              <a:ext cx="450683" cy="521654"/>
            </a:xfrm>
            <a:custGeom>
              <a:avLst/>
              <a:gdLst>
                <a:gd name="T0" fmla="*/ 192 w 1794"/>
                <a:gd name="T1" fmla="*/ 1267 h 2145"/>
                <a:gd name="T2" fmla="*/ 394 w 1794"/>
                <a:gd name="T3" fmla="*/ 1297 h 2145"/>
                <a:gd name="T4" fmla="*/ 389 w 1794"/>
                <a:gd name="T5" fmla="*/ 1382 h 2145"/>
                <a:gd name="T6" fmla="*/ 462 w 1794"/>
                <a:gd name="T7" fmla="*/ 1431 h 2145"/>
                <a:gd name="T8" fmla="*/ 505 w 1794"/>
                <a:gd name="T9" fmla="*/ 1434 h 2145"/>
                <a:gd name="T10" fmla="*/ 545 w 1794"/>
                <a:gd name="T11" fmla="*/ 1394 h 2145"/>
                <a:gd name="T12" fmla="*/ 617 w 1794"/>
                <a:gd name="T13" fmla="*/ 1489 h 2145"/>
                <a:gd name="T14" fmla="*/ 555 w 1794"/>
                <a:gd name="T15" fmla="*/ 1557 h 2145"/>
                <a:gd name="T16" fmla="*/ 710 w 1794"/>
                <a:gd name="T17" fmla="*/ 1623 h 2145"/>
                <a:gd name="T18" fmla="*/ 754 w 1794"/>
                <a:gd name="T19" fmla="*/ 1747 h 2145"/>
                <a:gd name="T20" fmla="*/ 827 w 1794"/>
                <a:gd name="T21" fmla="*/ 1824 h 2145"/>
                <a:gd name="T22" fmla="*/ 780 w 1794"/>
                <a:gd name="T23" fmla="*/ 1880 h 2145"/>
                <a:gd name="T24" fmla="*/ 984 w 1794"/>
                <a:gd name="T25" fmla="*/ 2012 h 2145"/>
                <a:gd name="T26" fmla="*/ 1076 w 1794"/>
                <a:gd name="T27" fmla="*/ 1961 h 2145"/>
                <a:gd name="T28" fmla="*/ 1089 w 1794"/>
                <a:gd name="T29" fmla="*/ 2048 h 2145"/>
                <a:gd name="T30" fmla="*/ 1175 w 1794"/>
                <a:gd name="T31" fmla="*/ 2139 h 2145"/>
                <a:gd name="T32" fmla="*/ 1332 w 1794"/>
                <a:gd name="T33" fmla="*/ 2108 h 2145"/>
                <a:gd name="T34" fmla="*/ 1345 w 1794"/>
                <a:gd name="T35" fmla="*/ 2037 h 2145"/>
                <a:gd name="T36" fmla="*/ 1385 w 1794"/>
                <a:gd name="T37" fmla="*/ 1946 h 2145"/>
                <a:gd name="T38" fmla="*/ 1426 w 1794"/>
                <a:gd name="T39" fmla="*/ 1804 h 2145"/>
                <a:gd name="T40" fmla="*/ 1475 w 1794"/>
                <a:gd name="T41" fmla="*/ 1735 h 2145"/>
                <a:gd name="T42" fmla="*/ 1558 w 1794"/>
                <a:gd name="T43" fmla="*/ 1665 h 2145"/>
                <a:gd name="T44" fmla="*/ 1591 w 1794"/>
                <a:gd name="T45" fmla="*/ 1761 h 2145"/>
                <a:gd name="T46" fmla="*/ 1631 w 1794"/>
                <a:gd name="T47" fmla="*/ 1652 h 2145"/>
                <a:gd name="T48" fmla="*/ 1748 w 1794"/>
                <a:gd name="T49" fmla="*/ 1542 h 2145"/>
                <a:gd name="T50" fmla="*/ 1785 w 1794"/>
                <a:gd name="T51" fmla="*/ 1335 h 2145"/>
                <a:gd name="T52" fmla="*/ 1740 w 1794"/>
                <a:gd name="T53" fmla="*/ 1219 h 2145"/>
                <a:gd name="T54" fmla="*/ 1698 w 1794"/>
                <a:gd name="T55" fmla="*/ 1121 h 2145"/>
                <a:gd name="T56" fmla="*/ 1586 w 1794"/>
                <a:gd name="T57" fmla="*/ 1143 h 2145"/>
                <a:gd name="T58" fmla="*/ 1591 w 1794"/>
                <a:gd name="T59" fmla="*/ 1049 h 2145"/>
                <a:gd name="T60" fmla="*/ 1513 w 1794"/>
                <a:gd name="T61" fmla="*/ 961 h 2145"/>
                <a:gd name="T62" fmla="*/ 1506 w 1794"/>
                <a:gd name="T63" fmla="*/ 883 h 2145"/>
                <a:gd name="T64" fmla="*/ 1538 w 1794"/>
                <a:gd name="T65" fmla="*/ 807 h 2145"/>
                <a:gd name="T66" fmla="*/ 1656 w 1794"/>
                <a:gd name="T67" fmla="*/ 768 h 2145"/>
                <a:gd name="T68" fmla="*/ 1631 w 1794"/>
                <a:gd name="T69" fmla="*/ 718 h 2145"/>
                <a:gd name="T70" fmla="*/ 1501 w 1794"/>
                <a:gd name="T71" fmla="*/ 670 h 2145"/>
                <a:gd name="T72" fmla="*/ 1536 w 1794"/>
                <a:gd name="T73" fmla="*/ 596 h 2145"/>
                <a:gd name="T74" fmla="*/ 1594 w 1794"/>
                <a:gd name="T75" fmla="*/ 585 h 2145"/>
                <a:gd name="T76" fmla="*/ 1504 w 1794"/>
                <a:gd name="T77" fmla="*/ 454 h 2145"/>
                <a:gd name="T78" fmla="*/ 1383 w 1794"/>
                <a:gd name="T79" fmla="*/ 456 h 2145"/>
                <a:gd name="T80" fmla="*/ 1297 w 1794"/>
                <a:gd name="T81" fmla="*/ 452 h 2145"/>
                <a:gd name="T82" fmla="*/ 1229 w 1794"/>
                <a:gd name="T83" fmla="*/ 249 h 2145"/>
                <a:gd name="T84" fmla="*/ 1129 w 1794"/>
                <a:gd name="T85" fmla="*/ 292 h 2145"/>
                <a:gd name="T86" fmla="*/ 1037 w 1794"/>
                <a:gd name="T87" fmla="*/ 382 h 2145"/>
                <a:gd name="T88" fmla="*/ 985 w 1794"/>
                <a:gd name="T89" fmla="*/ 294 h 2145"/>
                <a:gd name="T90" fmla="*/ 819 w 1794"/>
                <a:gd name="T91" fmla="*/ 231 h 2145"/>
                <a:gd name="T92" fmla="*/ 778 w 1794"/>
                <a:gd name="T93" fmla="*/ 130 h 2145"/>
                <a:gd name="T94" fmla="*/ 729 w 1794"/>
                <a:gd name="T95" fmla="*/ 20 h 2145"/>
                <a:gd name="T96" fmla="*/ 568 w 1794"/>
                <a:gd name="T97" fmla="*/ 118 h 2145"/>
                <a:gd name="T98" fmla="*/ 435 w 1794"/>
                <a:gd name="T99" fmla="*/ 141 h 2145"/>
                <a:gd name="T100" fmla="*/ 317 w 1794"/>
                <a:gd name="T101" fmla="*/ 34 h 2145"/>
                <a:gd name="T102" fmla="*/ 219 w 1794"/>
                <a:gd name="T103" fmla="*/ 97 h 2145"/>
                <a:gd name="T104" fmla="*/ 116 w 1794"/>
                <a:gd name="T105" fmla="*/ 205 h 2145"/>
                <a:gd name="T106" fmla="*/ 105 w 1794"/>
                <a:gd name="T107" fmla="*/ 249 h 2145"/>
                <a:gd name="T108" fmla="*/ 133 w 1794"/>
                <a:gd name="T109" fmla="*/ 333 h 2145"/>
                <a:gd name="T110" fmla="*/ 162 w 1794"/>
                <a:gd name="T111" fmla="*/ 527 h 2145"/>
                <a:gd name="T112" fmla="*/ 92 w 1794"/>
                <a:gd name="T113" fmla="*/ 622 h 2145"/>
                <a:gd name="T114" fmla="*/ 107 w 1794"/>
                <a:gd name="T115" fmla="*/ 730 h 2145"/>
                <a:gd name="T116" fmla="*/ 135 w 1794"/>
                <a:gd name="T117" fmla="*/ 897 h 2145"/>
                <a:gd name="T118" fmla="*/ 86 w 1794"/>
                <a:gd name="T119" fmla="*/ 968 h 2145"/>
                <a:gd name="T120" fmla="*/ 15 w 1794"/>
                <a:gd name="T121" fmla="*/ 1051 h 2145"/>
                <a:gd name="T122" fmla="*/ 31 w 1794"/>
                <a:gd name="T123" fmla="*/ 1144 h 2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94" h="2145">
                  <a:moveTo>
                    <a:pt x="50" y="1257"/>
                  </a:moveTo>
                  <a:lnTo>
                    <a:pt x="78" y="1249"/>
                  </a:lnTo>
                  <a:lnTo>
                    <a:pt x="106" y="1241"/>
                  </a:lnTo>
                  <a:lnTo>
                    <a:pt x="120" y="1239"/>
                  </a:lnTo>
                  <a:lnTo>
                    <a:pt x="135" y="1238"/>
                  </a:lnTo>
                  <a:lnTo>
                    <a:pt x="142" y="1239"/>
                  </a:lnTo>
                  <a:lnTo>
                    <a:pt x="150" y="1241"/>
                  </a:lnTo>
                  <a:lnTo>
                    <a:pt x="157" y="1243"/>
                  </a:lnTo>
                  <a:lnTo>
                    <a:pt x="164" y="1246"/>
                  </a:lnTo>
                  <a:lnTo>
                    <a:pt x="173" y="1251"/>
                  </a:lnTo>
                  <a:lnTo>
                    <a:pt x="180" y="1257"/>
                  </a:lnTo>
                  <a:lnTo>
                    <a:pt x="186" y="1262"/>
                  </a:lnTo>
                  <a:lnTo>
                    <a:pt x="192" y="1267"/>
                  </a:lnTo>
                  <a:lnTo>
                    <a:pt x="203" y="1279"/>
                  </a:lnTo>
                  <a:lnTo>
                    <a:pt x="216" y="1292"/>
                  </a:lnTo>
                  <a:lnTo>
                    <a:pt x="221" y="1295"/>
                  </a:lnTo>
                  <a:lnTo>
                    <a:pt x="227" y="1298"/>
                  </a:lnTo>
                  <a:lnTo>
                    <a:pt x="233" y="1300"/>
                  </a:lnTo>
                  <a:lnTo>
                    <a:pt x="240" y="1301"/>
                  </a:lnTo>
                  <a:lnTo>
                    <a:pt x="255" y="1302"/>
                  </a:lnTo>
                  <a:lnTo>
                    <a:pt x="272" y="1302"/>
                  </a:lnTo>
                  <a:lnTo>
                    <a:pt x="305" y="1299"/>
                  </a:lnTo>
                  <a:lnTo>
                    <a:pt x="333" y="1297"/>
                  </a:lnTo>
                  <a:lnTo>
                    <a:pt x="357" y="1297"/>
                  </a:lnTo>
                  <a:lnTo>
                    <a:pt x="382" y="1296"/>
                  </a:lnTo>
                  <a:lnTo>
                    <a:pt x="394" y="1297"/>
                  </a:lnTo>
                  <a:lnTo>
                    <a:pt x="405" y="1298"/>
                  </a:lnTo>
                  <a:lnTo>
                    <a:pt x="418" y="1299"/>
                  </a:lnTo>
                  <a:lnTo>
                    <a:pt x="429" y="1302"/>
                  </a:lnTo>
                  <a:lnTo>
                    <a:pt x="430" y="1311"/>
                  </a:lnTo>
                  <a:lnTo>
                    <a:pt x="431" y="1318"/>
                  </a:lnTo>
                  <a:lnTo>
                    <a:pt x="429" y="1324"/>
                  </a:lnTo>
                  <a:lnTo>
                    <a:pt x="427" y="1330"/>
                  </a:lnTo>
                  <a:lnTo>
                    <a:pt x="420" y="1341"/>
                  </a:lnTo>
                  <a:lnTo>
                    <a:pt x="410" y="1356"/>
                  </a:lnTo>
                  <a:lnTo>
                    <a:pt x="402" y="1362"/>
                  </a:lnTo>
                  <a:lnTo>
                    <a:pt x="395" y="1371"/>
                  </a:lnTo>
                  <a:lnTo>
                    <a:pt x="392" y="1377"/>
                  </a:lnTo>
                  <a:lnTo>
                    <a:pt x="389" y="1382"/>
                  </a:lnTo>
                  <a:lnTo>
                    <a:pt x="388" y="1387"/>
                  </a:lnTo>
                  <a:lnTo>
                    <a:pt x="391" y="1391"/>
                  </a:lnTo>
                  <a:lnTo>
                    <a:pt x="417" y="1392"/>
                  </a:lnTo>
                  <a:lnTo>
                    <a:pt x="441" y="1393"/>
                  </a:lnTo>
                  <a:lnTo>
                    <a:pt x="446" y="1394"/>
                  </a:lnTo>
                  <a:lnTo>
                    <a:pt x="450" y="1396"/>
                  </a:lnTo>
                  <a:lnTo>
                    <a:pt x="454" y="1398"/>
                  </a:lnTo>
                  <a:lnTo>
                    <a:pt x="457" y="1402"/>
                  </a:lnTo>
                  <a:lnTo>
                    <a:pt x="460" y="1406"/>
                  </a:lnTo>
                  <a:lnTo>
                    <a:pt x="461" y="1411"/>
                  </a:lnTo>
                  <a:lnTo>
                    <a:pt x="462" y="1416"/>
                  </a:lnTo>
                  <a:lnTo>
                    <a:pt x="462" y="1423"/>
                  </a:lnTo>
                  <a:lnTo>
                    <a:pt x="462" y="1431"/>
                  </a:lnTo>
                  <a:lnTo>
                    <a:pt x="464" y="1436"/>
                  </a:lnTo>
                  <a:lnTo>
                    <a:pt x="466" y="1441"/>
                  </a:lnTo>
                  <a:lnTo>
                    <a:pt x="468" y="1444"/>
                  </a:lnTo>
                  <a:lnTo>
                    <a:pt x="471" y="1447"/>
                  </a:lnTo>
                  <a:lnTo>
                    <a:pt x="474" y="1448"/>
                  </a:lnTo>
                  <a:lnTo>
                    <a:pt x="478" y="1450"/>
                  </a:lnTo>
                  <a:lnTo>
                    <a:pt x="482" y="1450"/>
                  </a:lnTo>
                  <a:lnTo>
                    <a:pt x="486" y="1450"/>
                  </a:lnTo>
                  <a:lnTo>
                    <a:pt x="491" y="1447"/>
                  </a:lnTo>
                  <a:lnTo>
                    <a:pt x="495" y="1445"/>
                  </a:lnTo>
                  <a:lnTo>
                    <a:pt x="499" y="1442"/>
                  </a:lnTo>
                  <a:lnTo>
                    <a:pt x="502" y="1438"/>
                  </a:lnTo>
                  <a:lnTo>
                    <a:pt x="505" y="1434"/>
                  </a:lnTo>
                  <a:lnTo>
                    <a:pt x="508" y="1429"/>
                  </a:lnTo>
                  <a:lnTo>
                    <a:pt x="510" y="1423"/>
                  </a:lnTo>
                  <a:lnTo>
                    <a:pt x="511" y="1417"/>
                  </a:lnTo>
                  <a:lnTo>
                    <a:pt x="515" y="1411"/>
                  </a:lnTo>
                  <a:lnTo>
                    <a:pt x="517" y="1407"/>
                  </a:lnTo>
                  <a:lnTo>
                    <a:pt x="520" y="1403"/>
                  </a:lnTo>
                  <a:lnTo>
                    <a:pt x="523" y="1399"/>
                  </a:lnTo>
                  <a:lnTo>
                    <a:pt x="526" y="1396"/>
                  </a:lnTo>
                  <a:lnTo>
                    <a:pt x="529" y="1395"/>
                  </a:lnTo>
                  <a:lnTo>
                    <a:pt x="533" y="1394"/>
                  </a:lnTo>
                  <a:lnTo>
                    <a:pt x="537" y="1393"/>
                  </a:lnTo>
                  <a:lnTo>
                    <a:pt x="541" y="1393"/>
                  </a:lnTo>
                  <a:lnTo>
                    <a:pt x="545" y="1394"/>
                  </a:lnTo>
                  <a:lnTo>
                    <a:pt x="549" y="1395"/>
                  </a:lnTo>
                  <a:lnTo>
                    <a:pt x="557" y="1399"/>
                  </a:lnTo>
                  <a:lnTo>
                    <a:pt x="566" y="1405"/>
                  </a:lnTo>
                  <a:lnTo>
                    <a:pt x="574" y="1412"/>
                  </a:lnTo>
                  <a:lnTo>
                    <a:pt x="581" y="1419"/>
                  </a:lnTo>
                  <a:lnTo>
                    <a:pt x="590" y="1429"/>
                  </a:lnTo>
                  <a:lnTo>
                    <a:pt x="596" y="1437"/>
                  </a:lnTo>
                  <a:lnTo>
                    <a:pt x="602" y="1446"/>
                  </a:lnTo>
                  <a:lnTo>
                    <a:pt x="607" y="1456"/>
                  </a:lnTo>
                  <a:lnTo>
                    <a:pt x="612" y="1464"/>
                  </a:lnTo>
                  <a:lnTo>
                    <a:pt x="615" y="1471"/>
                  </a:lnTo>
                  <a:lnTo>
                    <a:pt x="617" y="1481"/>
                  </a:lnTo>
                  <a:lnTo>
                    <a:pt x="617" y="1489"/>
                  </a:lnTo>
                  <a:lnTo>
                    <a:pt x="616" y="1495"/>
                  </a:lnTo>
                  <a:lnTo>
                    <a:pt x="613" y="1501"/>
                  </a:lnTo>
                  <a:lnTo>
                    <a:pt x="608" y="1505"/>
                  </a:lnTo>
                  <a:lnTo>
                    <a:pt x="603" y="1508"/>
                  </a:lnTo>
                  <a:lnTo>
                    <a:pt x="598" y="1511"/>
                  </a:lnTo>
                  <a:lnTo>
                    <a:pt x="592" y="1513"/>
                  </a:lnTo>
                  <a:lnTo>
                    <a:pt x="579" y="1518"/>
                  </a:lnTo>
                  <a:lnTo>
                    <a:pt x="567" y="1526"/>
                  </a:lnTo>
                  <a:lnTo>
                    <a:pt x="563" y="1530"/>
                  </a:lnTo>
                  <a:lnTo>
                    <a:pt x="558" y="1536"/>
                  </a:lnTo>
                  <a:lnTo>
                    <a:pt x="555" y="1542"/>
                  </a:lnTo>
                  <a:lnTo>
                    <a:pt x="554" y="1552"/>
                  </a:lnTo>
                  <a:lnTo>
                    <a:pt x="555" y="1557"/>
                  </a:lnTo>
                  <a:lnTo>
                    <a:pt x="557" y="1560"/>
                  </a:lnTo>
                  <a:lnTo>
                    <a:pt x="560" y="1563"/>
                  </a:lnTo>
                  <a:lnTo>
                    <a:pt x="566" y="1564"/>
                  </a:lnTo>
                  <a:lnTo>
                    <a:pt x="578" y="1564"/>
                  </a:lnTo>
                  <a:lnTo>
                    <a:pt x="594" y="1562"/>
                  </a:lnTo>
                  <a:lnTo>
                    <a:pt x="611" y="1560"/>
                  </a:lnTo>
                  <a:lnTo>
                    <a:pt x="627" y="1558"/>
                  </a:lnTo>
                  <a:lnTo>
                    <a:pt x="635" y="1559"/>
                  </a:lnTo>
                  <a:lnTo>
                    <a:pt x="641" y="1560"/>
                  </a:lnTo>
                  <a:lnTo>
                    <a:pt x="647" y="1562"/>
                  </a:lnTo>
                  <a:lnTo>
                    <a:pt x="652" y="1565"/>
                  </a:lnTo>
                  <a:lnTo>
                    <a:pt x="676" y="1589"/>
                  </a:lnTo>
                  <a:lnTo>
                    <a:pt x="710" y="1623"/>
                  </a:lnTo>
                  <a:lnTo>
                    <a:pt x="725" y="1640"/>
                  </a:lnTo>
                  <a:lnTo>
                    <a:pt x="739" y="1658"/>
                  </a:lnTo>
                  <a:lnTo>
                    <a:pt x="744" y="1665"/>
                  </a:lnTo>
                  <a:lnTo>
                    <a:pt x="748" y="1673"/>
                  </a:lnTo>
                  <a:lnTo>
                    <a:pt x="751" y="1679"/>
                  </a:lnTo>
                  <a:lnTo>
                    <a:pt x="752" y="1685"/>
                  </a:lnTo>
                  <a:lnTo>
                    <a:pt x="750" y="1702"/>
                  </a:lnTo>
                  <a:lnTo>
                    <a:pt x="747" y="1719"/>
                  </a:lnTo>
                  <a:lnTo>
                    <a:pt x="746" y="1727"/>
                  </a:lnTo>
                  <a:lnTo>
                    <a:pt x="747" y="1735"/>
                  </a:lnTo>
                  <a:lnTo>
                    <a:pt x="749" y="1740"/>
                  </a:lnTo>
                  <a:lnTo>
                    <a:pt x="751" y="1743"/>
                  </a:lnTo>
                  <a:lnTo>
                    <a:pt x="754" y="1747"/>
                  </a:lnTo>
                  <a:lnTo>
                    <a:pt x="758" y="1750"/>
                  </a:lnTo>
                  <a:lnTo>
                    <a:pt x="765" y="1755"/>
                  </a:lnTo>
                  <a:lnTo>
                    <a:pt x="774" y="1759"/>
                  </a:lnTo>
                  <a:lnTo>
                    <a:pt x="783" y="1763"/>
                  </a:lnTo>
                  <a:lnTo>
                    <a:pt x="792" y="1766"/>
                  </a:lnTo>
                  <a:lnTo>
                    <a:pt x="812" y="1770"/>
                  </a:lnTo>
                  <a:lnTo>
                    <a:pt x="829" y="1773"/>
                  </a:lnTo>
                  <a:lnTo>
                    <a:pt x="832" y="1787"/>
                  </a:lnTo>
                  <a:lnTo>
                    <a:pt x="832" y="1798"/>
                  </a:lnTo>
                  <a:lnTo>
                    <a:pt x="832" y="1806"/>
                  </a:lnTo>
                  <a:lnTo>
                    <a:pt x="832" y="1814"/>
                  </a:lnTo>
                  <a:lnTo>
                    <a:pt x="829" y="1820"/>
                  </a:lnTo>
                  <a:lnTo>
                    <a:pt x="827" y="1824"/>
                  </a:lnTo>
                  <a:lnTo>
                    <a:pt x="825" y="1827"/>
                  </a:lnTo>
                  <a:lnTo>
                    <a:pt x="821" y="1830"/>
                  </a:lnTo>
                  <a:lnTo>
                    <a:pt x="813" y="1834"/>
                  </a:lnTo>
                  <a:lnTo>
                    <a:pt x="801" y="1839"/>
                  </a:lnTo>
                  <a:lnTo>
                    <a:pt x="794" y="1842"/>
                  </a:lnTo>
                  <a:lnTo>
                    <a:pt x="787" y="1845"/>
                  </a:lnTo>
                  <a:lnTo>
                    <a:pt x="778" y="1850"/>
                  </a:lnTo>
                  <a:lnTo>
                    <a:pt x="770" y="1856"/>
                  </a:lnTo>
                  <a:lnTo>
                    <a:pt x="769" y="1858"/>
                  </a:lnTo>
                  <a:lnTo>
                    <a:pt x="769" y="1862"/>
                  </a:lnTo>
                  <a:lnTo>
                    <a:pt x="770" y="1866"/>
                  </a:lnTo>
                  <a:lnTo>
                    <a:pt x="772" y="1870"/>
                  </a:lnTo>
                  <a:lnTo>
                    <a:pt x="780" y="1880"/>
                  </a:lnTo>
                  <a:lnTo>
                    <a:pt x="792" y="1893"/>
                  </a:lnTo>
                  <a:lnTo>
                    <a:pt x="807" y="1906"/>
                  </a:lnTo>
                  <a:lnTo>
                    <a:pt x="824" y="1921"/>
                  </a:lnTo>
                  <a:lnTo>
                    <a:pt x="844" y="1937"/>
                  </a:lnTo>
                  <a:lnTo>
                    <a:pt x="865" y="1951"/>
                  </a:lnTo>
                  <a:lnTo>
                    <a:pt x="887" y="1966"/>
                  </a:lnTo>
                  <a:lnTo>
                    <a:pt x="909" y="1980"/>
                  </a:lnTo>
                  <a:lnTo>
                    <a:pt x="930" y="1991"/>
                  </a:lnTo>
                  <a:lnTo>
                    <a:pt x="949" y="2000"/>
                  </a:lnTo>
                  <a:lnTo>
                    <a:pt x="959" y="2005"/>
                  </a:lnTo>
                  <a:lnTo>
                    <a:pt x="968" y="2008"/>
                  </a:lnTo>
                  <a:lnTo>
                    <a:pt x="977" y="2011"/>
                  </a:lnTo>
                  <a:lnTo>
                    <a:pt x="984" y="2012"/>
                  </a:lnTo>
                  <a:lnTo>
                    <a:pt x="991" y="2013"/>
                  </a:lnTo>
                  <a:lnTo>
                    <a:pt x="997" y="2013"/>
                  </a:lnTo>
                  <a:lnTo>
                    <a:pt x="1003" y="2012"/>
                  </a:lnTo>
                  <a:lnTo>
                    <a:pt x="1007" y="2010"/>
                  </a:lnTo>
                  <a:lnTo>
                    <a:pt x="1015" y="2001"/>
                  </a:lnTo>
                  <a:lnTo>
                    <a:pt x="1023" y="1992"/>
                  </a:lnTo>
                  <a:lnTo>
                    <a:pt x="1031" y="1984"/>
                  </a:lnTo>
                  <a:lnTo>
                    <a:pt x="1040" y="1975"/>
                  </a:lnTo>
                  <a:lnTo>
                    <a:pt x="1048" y="1971"/>
                  </a:lnTo>
                  <a:lnTo>
                    <a:pt x="1061" y="1965"/>
                  </a:lnTo>
                  <a:lnTo>
                    <a:pt x="1067" y="1962"/>
                  </a:lnTo>
                  <a:lnTo>
                    <a:pt x="1073" y="1961"/>
                  </a:lnTo>
                  <a:lnTo>
                    <a:pt x="1076" y="1961"/>
                  </a:lnTo>
                  <a:lnTo>
                    <a:pt x="1078" y="1962"/>
                  </a:lnTo>
                  <a:lnTo>
                    <a:pt x="1079" y="1963"/>
                  </a:lnTo>
                  <a:lnTo>
                    <a:pt x="1080" y="1965"/>
                  </a:lnTo>
                  <a:lnTo>
                    <a:pt x="1083" y="1968"/>
                  </a:lnTo>
                  <a:lnTo>
                    <a:pt x="1084" y="1972"/>
                  </a:lnTo>
                  <a:lnTo>
                    <a:pt x="1086" y="1978"/>
                  </a:lnTo>
                  <a:lnTo>
                    <a:pt x="1087" y="1985"/>
                  </a:lnTo>
                  <a:lnTo>
                    <a:pt x="1087" y="1998"/>
                  </a:lnTo>
                  <a:lnTo>
                    <a:pt x="1086" y="2008"/>
                  </a:lnTo>
                  <a:lnTo>
                    <a:pt x="1085" y="2018"/>
                  </a:lnTo>
                  <a:lnTo>
                    <a:pt x="1085" y="2029"/>
                  </a:lnTo>
                  <a:lnTo>
                    <a:pt x="1086" y="2038"/>
                  </a:lnTo>
                  <a:lnTo>
                    <a:pt x="1089" y="2048"/>
                  </a:lnTo>
                  <a:lnTo>
                    <a:pt x="1092" y="2058"/>
                  </a:lnTo>
                  <a:lnTo>
                    <a:pt x="1097" y="2067"/>
                  </a:lnTo>
                  <a:lnTo>
                    <a:pt x="1104" y="2077"/>
                  </a:lnTo>
                  <a:lnTo>
                    <a:pt x="1110" y="2086"/>
                  </a:lnTo>
                  <a:lnTo>
                    <a:pt x="1117" y="2094"/>
                  </a:lnTo>
                  <a:lnTo>
                    <a:pt x="1125" y="2103"/>
                  </a:lnTo>
                  <a:lnTo>
                    <a:pt x="1133" y="2110"/>
                  </a:lnTo>
                  <a:lnTo>
                    <a:pt x="1141" y="2117"/>
                  </a:lnTo>
                  <a:lnTo>
                    <a:pt x="1150" y="2123"/>
                  </a:lnTo>
                  <a:lnTo>
                    <a:pt x="1158" y="2130"/>
                  </a:lnTo>
                  <a:lnTo>
                    <a:pt x="1166" y="2135"/>
                  </a:lnTo>
                  <a:lnTo>
                    <a:pt x="1175" y="2139"/>
                  </a:lnTo>
                  <a:lnTo>
                    <a:pt x="1175" y="2139"/>
                  </a:lnTo>
                  <a:lnTo>
                    <a:pt x="1183" y="2138"/>
                  </a:lnTo>
                  <a:lnTo>
                    <a:pt x="1191" y="2138"/>
                  </a:lnTo>
                  <a:lnTo>
                    <a:pt x="1200" y="2140"/>
                  </a:lnTo>
                  <a:lnTo>
                    <a:pt x="1208" y="2142"/>
                  </a:lnTo>
                  <a:lnTo>
                    <a:pt x="1216" y="2144"/>
                  </a:lnTo>
                  <a:lnTo>
                    <a:pt x="1225" y="2145"/>
                  </a:lnTo>
                  <a:lnTo>
                    <a:pt x="1233" y="2145"/>
                  </a:lnTo>
                  <a:lnTo>
                    <a:pt x="1241" y="2144"/>
                  </a:lnTo>
                  <a:lnTo>
                    <a:pt x="1253" y="2140"/>
                  </a:lnTo>
                  <a:lnTo>
                    <a:pt x="1273" y="2133"/>
                  </a:lnTo>
                  <a:lnTo>
                    <a:pt x="1296" y="2125"/>
                  </a:lnTo>
                  <a:lnTo>
                    <a:pt x="1321" y="2114"/>
                  </a:lnTo>
                  <a:lnTo>
                    <a:pt x="1332" y="2108"/>
                  </a:lnTo>
                  <a:lnTo>
                    <a:pt x="1344" y="2102"/>
                  </a:lnTo>
                  <a:lnTo>
                    <a:pt x="1353" y="2095"/>
                  </a:lnTo>
                  <a:lnTo>
                    <a:pt x="1361" y="2089"/>
                  </a:lnTo>
                  <a:lnTo>
                    <a:pt x="1368" y="2082"/>
                  </a:lnTo>
                  <a:lnTo>
                    <a:pt x="1372" y="2074"/>
                  </a:lnTo>
                  <a:lnTo>
                    <a:pt x="1373" y="2071"/>
                  </a:lnTo>
                  <a:lnTo>
                    <a:pt x="1374" y="2067"/>
                  </a:lnTo>
                  <a:lnTo>
                    <a:pt x="1374" y="2064"/>
                  </a:lnTo>
                  <a:lnTo>
                    <a:pt x="1373" y="2061"/>
                  </a:lnTo>
                  <a:lnTo>
                    <a:pt x="1363" y="2056"/>
                  </a:lnTo>
                  <a:lnTo>
                    <a:pt x="1356" y="2050"/>
                  </a:lnTo>
                  <a:lnTo>
                    <a:pt x="1350" y="2044"/>
                  </a:lnTo>
                  <a:lnTo>
                    <a:pt x="1345" y="2037"/>
                  </a:lnTo>
                  <a:lnTo>
                    <a:pt x="1340" y="2029"/>
                  </a:lnTo>
                  <a:lnTo>
                    <a:pt x="1339" y="2020"/>
                  </a:lnTo>
                  <a:lnTo>
                    <a:pt x="1339" y="2016"/>
                  </a:lnTo>
                  <a:lnTo>
                    <a:pt x="1339" y="2012"/>
                  </a:lnTo>
                  <a:lnTo>
                    <a:pt x="1340" y="2007"/>
                  </a:lnTo>
                  <a:lnTo>
                    <a:pt x="1342" y="2001"/>
                  </a:lnTo>
                  <a:lnTo>
                    <a:pt x="1348" y="1997"/>
                  </a:lnTo>
                  <a:lnTo>
                    <a:pt x="1353" y="1993"/>
                  </a:lnTo>
                  <a:lnTo>
                    <a:pt x="1358" y="1989"/>
                  </a:lnTo>
                  <a:lnTo>
                    <a:pt x="1363" y="1984"/>
                  </a:lnTo>
                  <a:lnTo>
                    <a:pt x="1372" y="1972"/>
                  </a:lnTo>
                  <a:lnTo>
                    <a:pt x="1379" y="1960"/>
                  </a:lnTo>
                  <a:lnTo>
                    <a:pt x="1385" y="1946"/>
                  </a:lnTo>
                  <a:lnTo>
                    <a:pt x="1389" y="1932"/>
                  </a:lnTo>
                  <a:lnTo>
                    <a:pt x="1391" y="1918"/>
                  </a:lnTo>
                  <a:lnTo>
                    <a:pt x="1393" y="1904"/>
                  </a:lnTo>
                  <a:lnTo>
                    <a:pt x="1393" y="1889"/>
                  </a:lnTo>
                  <a:lnTo>
                    <a:pt x="1393" y="1873"/>
                  </a:lnTo>
                  <a:lnTo>
                    <a:pt x="1393" y="1857"/>
                  </a:lnTo>
                  <a:lnTo>
                    <a:pt x="1396" y="1842"/>
                  </a:lnTo>
                  <a:lnTo>
                    <a:pt x="1398" y="1832"/>
                  </a:lnTo>
                  <a:lnTo>
                    <a:pt x="1403" y="1825"/>
                  </a:lnTo>
                  <a:lnTo>
                    <a:pt x="1407" y="1819"/>
                  </a:lnTo>
                  <a:lnTo>
                    <a:pt x="1413" y="1814"/>
                  </a:lnTo>
                  <a:lnTo>
                    <a:pt x="1420" y="1809"/>
                  </a:lnTo>
                  <a:lnTo>
                    <a:pt x="1426" y="1804"/>
                  </a:lnTo>
                  <a:lnTo>
                    <a:pt x="1432" y="1799"/>
                  </a:lnTo>
                  <a:lnTo>
                    <a:pt x="1437" y="1792"/>
                  </a:lnTo>
                  <a:lnTo>
                    <a:pt x="1438" y="1781"/>
                  </a:lnTo>
                  <a:lnTo>
                    <a:pt x="1439" y="1768"/>
                  </a:lnTo>
                  <a:lnTo>
                    <a:pt x="1440" y="1760"/>
                  </a:lnTo>
                  <a:lnTo>
                    <a:pt x="1442" y="1754"/>
                  </a:lnTo>
                  <a:lnTo>
                    <a:pt x="1443" y="1750"/>
                  </a:lnTo>
                  <a:lnTo>
                    <a:pt x="1446" y="1747"/>
                  </a:lnTo>
                  <a:lnTo>
                    <a:pt x="1451" y="1744"/>
                  </a:lnTo>
                  <a:lnTo>
                    <a:pt x="1456" y="1741"/>
                  </a:lnTo>
                  <a:lnTo>
                    <a:pt x="1461" y="1740"/>
                  </a:lnTo>
                  <a:lnTo>
                    <a:pt x="1469" y="1739"/>
                  </a:lnTo>
                  <a:lnTo>
                    <a:pt x="1475" y="1735"/>
                  </a:lnTo>
                  <a:lnTo>
                    <a:pt x="1481" y="1732"/>
                  </a:lnTo>
                  <a:lnTo>
                    <a:pt x="1487" y="1727"/>
                  </a:lnTo>
                  <a:lnTo>
                    <a:pt x="1492" y="1722"/>
                  </a:lnTo>
                  <a:lnTo>
                    <a:pt x="1501" y="1708"/>
                  </a:lnTo>
                  <a:lnTo>
                    <a:pt x="1509" y="1694"/>
                  </a:lnTo>
                  <a:lnTo>
                    <a:pt x="1519" y="1679"/>
                  </a:lnTo>
                  <a:lnTo>
                    <a:pt x="1528" y="1668"/>
                  </a:lnTo>
                  <a:lnTo>
                    <a:pt x="1533" y="1662"/>
                  </a:lnTo>
                  <a:lnTo>
                    <a:pt x="1538" y="1658"/>
                  </a:lnTo>
                  <a:lnTo>
                    <a:pt x="1545" y="1656"/>
                  </a:lnTo>
                  <a:lnTo>
                    <a:pt x="1552" y="1655"/>
                  </a:lnTo>
                  <a:lnTo>
                    <a:pt x="1555" y="1660"/>
                  </a:lnTo>
                  <a:lnTo>
                    <a:pt x="1558" y="1665"/>
                  </a:lnTo>
                  <a:lnTo>
                    <a:pt x="1560" y="1672"/>
                  </a:lnTo>
                  <a:lnTo>
                    <a:pt x="1561" y="1677"/>
                  </a:lnTo>
                  <a:lnTo>
                    <a:pt x="1564" y="1689"/>
                  </a:lnTo>
                  <a:lnTo>
                    <a:pt x="1564" y="1702"/>
                  </a:lnTo>
                  <a:lnTo>
                    <a:pt x="1565" y="1716"/>
                  </a:lnTo>
                  <a:lnTo>
                    <a:pt x="1567" y="1727"/>
                  </a:lnTo>
                  <a:lnTo>
                    <a:pt x="1568" y="1733"/>
                  </a:lnTo>
                  <a:lnTo>
                    <a:pt x="1570" y="1740"/>
                  </a:lnTo>
                  <a:lnTo>
                    <a:pt x="1572" y="1745"/>
                  </a:lnTo>
                  <a:lnTo>
                    <a:pt x="1575" y="1750"/>
                  </a:lnTo>
                  <a:lnTo>
                    <a:pt x="1580" y="1755"/>
                  </a:lnTo>
                  <a:lnTo>
                    <a:pt x="1585" y="1759"/>
                  </a:lnTo>
                  <a:lnTo>
                    <a:pt x="1591" y="1761"/>
                  </a:lnTo>
                  <a:lnTo>
                    <a:pt x="1595" y="1761"/>
                  </a:lnTo>
                  <a:lnTo>
                    <a:pt x="1600" y="1760"/>
                  </a:lnTo>
                  <a:lnTo>
                    <a:pt x="1604" y="1758"/>
                  </a:lnTo>
                  <a:lnTo>
                    <a:pt x="1608" y="1754"/>
                  </a:lnTo>
                  <a:lnTo>
                    <a:pt x="1611" y="1750"/>
                  </a:lnTo>
                  <a:lnTo>
                    <a:pt x="1618" y="1739"/>
                  </a:lnTo>
                  <a:lnTo>
                    <a:pt x="1623" y="1726"/>
                  </a:lnTo>
                  <a:lnTo>
                    <a:pt x="1627" y="1715"/>
                  </a:lnTo>
                  <a:lnTo>
                    <a:pt x="1629" y="1705"/>
                  </a:lnTo>
                  <a:lnTo>
                    <a:pt x="1630" y="1687"/>
                  </a:lnTo>
                  <a:lnTo>
                    <a:pt x="1630" y="1670"/>
                  </a:lnTo>
                  <a:lnTo>
                    <a:pt x="1630" y="1660"/>
                  </a:lnTo>
                  <a:lnTo>
                    <a:pt x="1631" y="1652"/>
                  </a:lnTo>
                  <a:lnTo>
                    <a:pt x="1633" y="1644"/>
                  </a:lnTo>
                  <a:lnTo>
                    <a:pt x="1638" y="1635"/>
                  </a:lnTo>
                  <a:lnTo>
                    <a:pt x="1644" y="1627"/>
                  </a:lnTo>
                  <a:lnTo>
                    <a:pt x="1651" y="1620"/>
                  </a:lnTo>
                  <a:lnTo>
                    <a:pt x="1662" y="1611"/>
                  </a:lnTo>
                  <a:lnTo>
                    <a:pt x="1672" y="1604"/>
                  </a:lnTo>
                  <a:lnTo>
                    <a:pt x="1694" y="1590"/>
                  </a:lnTo>
                  <a:lnTo>
                    <a:pt x="1714" y="1579"/>
                  </a:lnTo>
                  <a:lnTo>
                    <a:pt x="1720" y="1574"/>
                  </a:lnTo>
                  <a:lnTo>
                    <a:pt x="1726" y="1568"/>
                  </a:lnTo>
                  <a:lnTo>
                    <a:pt x="1732" y="1562"/>
                  </a:lnTo>
                  <a:lnTo>
                    <a:pt x="1739" y="1556"/>
                  </a:lnTo>
                  <a:lnTo>
                    <a:pt x="1748" y="1542"/>
                  </a:lnTo>
                  <a:lnTo>
                    <a:pt x="1757" y="1528"/>
                  </a:lnTo>
                  <a:lnTo>
                    <a:pt x="1774" y="1496"/>
                  </a:lnTo>
                  <a:lnTo>
                    <a:pt x="1789" y="1466"/>
                  </a:lnTo>
                  <a:lnTo>
                    <a:pt x="1791" y="1460"/>
                  </a:lnTo>
                  <a:lnTo>
                    <a:pt x="1792" y="1453"/>
                  </a:lnTo>
                  <a:lnTo>
                    <a:pt x="1792" y="1445"/>
                  </a:lnTo>
                  <a:lnTo>
                    <a:pt x="1793" y="1437"/>
                  </a:lnTo>
                  <a:lnTo>
                    <a:pt x="1792" y="1420"/>
                  </a:lnTo>
                  <a:lnTo>
                    <a:pt x="1790" y="1403"/>
                  </a:lnTo>
                  <a:lnTo>
                    <a:pt x="1788" y="1385"/>
                  </a:lnTo>
                  <a:lnTo>
                    <a:pt x="1786" y="1367"/>
                  </a:lnTo>
                  <a:lnTo>
                    <a:pt x="1785" y="1350"/>
                  </a:lnTo>
                  <a:lnTo>
                    <a:pt x="1785" y="1335"/>
                  </a:lnTo>
                  <a:lnTo>
                    <a:pt x="1785" y="1324"/>
                  </a:lnTo>
                  <a:lnTo>
                    <a:pt x="1787" y="1315"/>
                  </a:lnTo>
                  <a:lnTo>
                    <a:pt x="1788" y="1306"/>
                  </a:lnTo>
                  <a:lnTo>
                    <a:pt x="1789" y="1295"/>
                  </a:lnTo>
                  <a:lnTo>
                    <a:pt x="1789" y="1295"/>
                  </a:lnTo>
                  <a:lnTo>
                    <a:pt x="1792" y="1281"/>
                  </a:lnTo>
                  <a:lnTo>
                    <a:pt x="1793" y="1266"/>
                  </a:lnTo>
                  <a:lnTo>
                    <a:pt x="1794" y="1251"/>
                  </a:lnTo>
                  <a:lnTo>
                    <a:pt x="1793" y="1236"/>
                  </a:lnTo>
                  <a:lnTo>
                    <a:pt x="1779" y="1228"/>
                  </a:lnTo>
                  <a:lnTo>
                    <a:pt x="1767" y="1224"/>
                  </a:lnTo>
                  <a:lnTo>
                    <a:pt x="1753" y="1221"/>
                  </a:lnTo>
                  <a:lnTo>
                    <a:pt x="1740" y="1219"/>
                  </a:lnTo>
                  <a:lnTo>
                    <a:pt x="1712" y="1216"/>
                  </a:lnTo>
                  <a:lnTo>
                    <a:pt x="1682" y="1214"/>
                  </a:lnTo>
                  <a:lnTo>
                    <a:pt x="1678" y="1209"/>
                  </a:lnTo>
                  <a:lnTo>
                    <a:pt x="1674" y="1203"/>
                  </a:lnTo>
                  <a:lnTo>
                    <a:pt x="1674" y="1198"/>
                  </a:lnTo>
                  <a:lnTo>
                    <a:pt x="1675" y="1193"/>
                  </a:lnTo>
                  <a:lnTo>
                    <a:pt x="1676" y="1187"/>
                  </a:lnTo>
                  <a:lnTo>
                    <a:pt x="1678" y="1180"/>
                  </a:lnTo>
                  <a:lnTo>
                    <a:pt x="1682" y="1167"/>
                  </a:lnTo>
                  <a:lnTo>
                    <a:pt x="1688" y="1154"/>
                  </a:lnTo>
                  <a:lnTo>
                    <a:pt x="1693" y="1141"/>
                  </a:lnTo>
                  <a:lnTo>
                    <a:pt x="1697" y="1127"/>
                  </a:lnTo>
                  <a:lnTo>
                    <a:pt x="1698" y="1121"/>
                  </a:lnTo>
                  <a:lnTo>
                    <a:pt x="1698" y="1116"/>
                  </a:lnTo>
                  <a:lnTo>
                    <a:pt x="1698" y="1109"/>
                  </a:lnTo>
                  <a:lnTo>
                    <a:pt x="1696" y="1104"/>
                  </a:lnTo>
                  <a:lnTo>
                    <a:pt x="1697" y="1098"/>
                  </a:lnTo>
                  <a:lnTo>
                    <a:pt x="1696" y="1091"/>
                  </a:lnTo>
                  <a:lnTo>
                    <a:pt x="1668" y="1107"/>
                  </a:lnTo>
                  <a:lnTo>
                    <a:pt x="1629" y="1130"/>
                  </a:lnTo>
                  <a:lnTo>
                    <a:pt x="1620" y="1136"/>
                  </a:lnTo>
                  <a:lnTo>
                    <a:pt x="1610" y="1140"/>
                  </a:lnTo>
                  <a:lnTo>
                    <a:pt x="1602" y="1143"/>
                  </a:lnTo>
                  <a:lnTo>
                    <a:pt x="1594" y="1144"/>
                  </a:lnTo>
                  <a:lnTo>
                    <a:pt x="1590" y="1144"/>
                  </a:lnTo>
                  <a:lnTo>
                    <a:pt x="1586" y="1143"/>
                  </a:lnTo>
                  <a:lnTo>
                    <a:pt x="1583" y="1142"/>
                  </a:lnTo>
                  <a:lnTo>
                    <a:pt x="1580" y="1141"/>
                  </a:lnTo>
                  <a:lnTo>
                    <a:pt x="1577" y="1138"/>
                  </a:lnTo>
                  <a:lnTo>
                    <a:pt x="1575" y="1136"/>
                  </a:lnTo>
                  <a:lnTo>
                    <a:pt x="1573" y="1131"/>
                  </a:lnTo>
                  <a:lnTo>
                    <a:pt x="1572" y="1127"/>
                  </a:lnTo>
                  <a:lnTo>
                    <a:pt x="1570" y="1119"/>
                  </a:lnTo>
                  <a:lnTo>
                    <a:pt x="1569" y="1112"/>
                  </a:lnTo>
                  <a:lnTo>
                    <a:pt x="1569" y="1103"/>
                  </a:lnTo>
                  <a:lnTo>
                    <a:pt x="1571" y="1095"/>
                  </a:lnTo>
                  <a:lnTo>
                    <a:pt x="1575" y="1079"/>
                  </a:lnTo>
                  <a:lnTo>
                    <a:pt x="1582" y="1065"/>
                  </a:lnTo>
                  <a:lnTo>
                    <a:pt x="1591" y="1049"/>
                  </a:lnTo>
                  <a:lnTo>
                    <a:pt x="1597" y="1033"/>
                  </a:lnTo>
                  <a:lnTo>
                    <a:pt x="1600" y="1025"/>
                  </a:lnTo>
                  <a:lnTo>
                    <a:pt x="1602" y="1018"/>
                  </a:lnTo>
                  <a:lnTo>
                    <a:pt x="1604" y="1009"/>
                  </a:lnTo>
                  <a:lnTo>
                    <a:pt x="1604" y="1000"/>
                  </a:lnTo>
                  <a:lnTo>
                    <a:pt x="1596" y="994"/>
                  </a:lnTo>
                  <a:lnTo>
                    <a:pt x="1588" y="988"/>
                  </a:lnTo>
                  <a:lnTo>
                    <a:pt x="1579" y="984"/>
                  </a:lnTo>
                  <a:lnTo>
                    <a:pt x="1570" y="981"/>
                  </a:lnTo>
                  <a:lnTo>
                    <a:pt x="1552" y="976"/>
                  </a:lnTo>
                  <a:lnTo>
                    <a:pt x="1530" y="969"/>
                  </a:lnTo>
                  <a:lnTo>
                    <a:pt x="1522" y="965"/>
                  </a:lnTo>
                  <a:lnTo>
                    <a:pt x="1513" y="961"/>
                  </a:lnTo>
                  <a:lnTo>
                    <a:pt x="1506" y="957"/>
                  </a:lnTo>
                  <a:lnTo>
                    <a:pt x="1499" y="952"/>
                  </a:lnTo>
                  <a:lnTo>
                    <a:pt x="1493" y="946"/>
                  </a:lnTo>
                  <a:lnTo>
                    <a:pt x="1488" y="938"/>
                  </a:lnTo>
                  <a:lnTo>
                    <a:pt x="1486" y="934"/>
                  </a:lnTo>
                  <a:lnTo>
                    <a:pt x="1485" y="930"/>
                  </a:lnTo>
                  <a:lnTo>
                    <a:pt x="1484" y="925"/>
                  </a:lnTo>
                  <a:lnTo>
                    <a:pt x="1484" y="920"/>
                  </a:lnTo>
                  <a:lnTo>
                    <a:pt x="1485" y="913"/>
                  </a:lnTo>
                  <a:lnTo>
                    <a:pt x="1487" y="906"/>
                  </a:lnTo>
                  <a:lnTo>
                    <a:pt x="1491" y="900"/>
                  </a:lnTo>
                  <a:lnTo>
                    <a:pt x="1495" y="895"/>
                  </a:lnTo>
                  <a:lnTo>
                    <a:pt x="1506" y="883"/>
                  </a:lnTo>
                  <a:lnTo>
                    <a:pt x="1520" y="873"/>
                  </a:lnTo>
                  <a:lnTo>
                    <a:pt x="1533" y="864"/>
                  </a:lnTo>
                  <a:lnTo>
                    <a:pt x="1545" y="855"/>
                  </a:lnTo>
                  <a:lnTo>
                    <a:pt x="1549" y="851"/>
                  </a:lnTo>
                  <a:lnTo>
                    <a:pt x="1553" y="848"/>
                  </a:lnTo>
                  <a:lnTo>
                    <a:pt x="1555" y="843"/>
                  </a:lnTo>
                  <a:lnTo>
                    <a:pt x="1555" y="839"/>
                  </a:lnTo>
                  <a:lnTo>
                    <a:pt x="1548" y="834"/>
                  </a:lnTo>
                  <a:lnTo>
                    <a:pt x="1543" y="829"/>
                  </a:lnTo>
                  <a:lnTo>
                    <a:pt x="1540" y="823"/>
                  </a:lnTo>
                  <a:lnTo>
                    <a:pt x="1537" y="817"/>
                  </a:lnTo>
                  <a:lnTo>
                    <a:pt x="1537" y="812"/>
                  </a:lnTo>
                  <a:lnTo>
                    <a:pt x="1538" y="807"/>
                  </a:lnTo>
                  <a:lnTo>
                    <a:pt x="1541" y="803"/>
                  </a:lnTo>
                  <a:lnTo>
                    <a:pt x="1545" y="797"/>
                  </a:lnTo>
                  <a:lnTo>
                    <a:pt x="1549" y="793"/>
                  </a:lnTo>
                  <a:lnTo>
                    <a:pt x="1554" y="789"/>
                  </a:lnTo>
                  <a:lnTo>
                    <a:pt x="1559" y="786"/>
                  </a:lnTo>
                  <a:lnTo>
                    <a:pt x="1566" y="783"/>
                  </a:lnTo>
                  <a:lnTo>
                    <a:pt x="1578" y="778"/>
                  </a:lnTo>
                  <a:lnTo>
                    <a:pt x="1592" y="775"/>
                  </a:lnTo>
                  <a:lnTo>
                    <a:pt x="1615" y="774"/>
                  </a:lnTo>
                  <a:lnTo>
                    <a:pt x="1641" y="772"/>
                  </a:lnTo>
                  <a:lnTo>
                    <a:pt x="1647" y="771"/>
                  </a:lnTo>
                  <a:lnTo>
                    <a:pt x="1652" y="770"/>
                  </a:lnTo>
                  <a:lnTo>
                    <a:pt x="1656" y="768"/>
                  </a:lnTo>
                  <a:lnTo>
                    <a:pt x="1659" y="766"/>
                  </a:lnTo>
                  <a:lnTo>
                    <a:pt x="1662" y="763"/>
                  </a:lnTo>
                  <a:lnTo>
                    <a:pt x="1663" y="759"/>
                  </a:lnTo>
                  <a:lnTo>
                    <a:pt x="1663" y="754"/>
                  </a:lnTo>
                  <a:lnTo>
                    <a:pt x="1660" y="747"/>
                  </a:lnTo>
                  <a:lnTo>
                    <a:pt x="1660" y="743"/>
                  </a:lnTo>
                  <a:lnTo>
                    <a:pt x="1659" y="739"/>
                  </a:lnTo>
                  <a:lnTo>
                    <a:pt x="1658" y="736"/>
                  </a:lnTo>
                  <a:lnTo>
                    <a:pt x="1656" y="733"/>
                  </a:lnTo>
                  <a:lnTo>
                    <a:pt x="1652" y="728"/>
                  </a:lnTo>
                  <a:lnTo>
                    <a:pt x="1647" y="723"/>
                  </a:lnTo>
                  <a:lnTo>
                    <a:pt x="1640" y="720"/>
                  </a:lnTo>
                  <a:lnTo>
                    <a:pt x="1631" y="718"/>
                  </a:lnTo>
                  <a:lnTo>
                    <a:pt x="1623" y="716"/>
                  </a:lnTo>
                  <a:lnTo>
                    <a:pt x="1614" y="716"/>
                  </a:lnTo>
                  <a:lnTo>
                    <a:pt x="1577" y="716"/>
                  </a:lnTo>
                  <a:lnTo>
                    <a:pt x="1548" y="714"/>
                  </a:lnTo>
                  <a:lnTo>
                    <a:pt x="1541" y="712"/>
                  </a:lnTo>
                  <a:lnTo>
                    <a:pt x="1533" y="709"/>
                  </a:lnTo>
                  <a:lnTo>
                    <a:pt x="1527" y="706"/>
                  </a:lnTo>
                  <a:lnTo>
                    <a:pt x="1522" y="700"/>
                  </a:lnTo>
                  <a:lnTo>
                    <a:pt x="1517" y="696"/>
                  </a:lnTo>
                  <a:lnTo>
                    <a:pt x="1511" y="690"/>
                  </a:lnTo>
                  <a:lnTo>
                    <a:pt x="1507" y="684"/>
                  </a:lnTo>
                  <a:lnTo>
                    <a:pt x="1504" y="678"/>
                  </a:lnTo>
                  <a:lnTo>
                    <a:pt x="1501" y="670"/>
                  </a:lnTo>
                  <a:lnTo>
                    <a:pt x="1499" y="663"/>
                  </a:lnTo>
                  <a:lnTo>
                    <a:pt x="1497" y="656"/>
                  </a:lnTo>
                  <a:lnTo>
                    <a:pt x="1496" y="648"/>
                  </a:lnTo>
                  <a:lnTo>
                    <a:pt x="1496" y="641"/>
                  </a:lnTo>
                  <a:lnTo>
                    <a:pt x="1496" y="633"/>
                  </a:lnTo>
                  <a:lnTo>
                    <a:pt x="1497" y="625"/>
                  </a:lnTo>
                  <a:lnTo>
                    <a:pt x="1498" y="618"/>
                  </a:lnTo>
                  <a:lnTo>
                    <a:pt x="1503" y="613"/>
                  </a:lnTo>
                  <a:lnTo>
                    <a:pt x="1508" y="609"/>
                  </a:lnTo>
                  <a:lnTo>
                    <a:pt x="1515" y="604"/>
                  </a:lnTo>
                  <a:lnTo>
                    <a:pt x="1522" y="601"/>
                  </a:lnTo>
                  <a:lnTo>
                    <a:pt x="1529" y="598"/>
                  </a:lnTo>
                  <a:lnTo>
                    <a:pt x="1536" y="596"/>
                  </a:lnTo>
                  <a:lnTo>
                    <a:pt x="1545" y="595"/>
                  </a:lnTo>
                  <a:lnTo>
                    <a:pt x="1551" y="594"/>
                  </a:lnTo>
                  <a:lnTo>
                    <a:pt x="1557" y="595"/>
                  </a:lnTo>
                  <a:lnTo>
                    <a:pt x="1562" y="596"/>
                  </a:lnTo>
                  <a:lnTo>
                    <a:pt x="1568" y="597"/>
                  </a:lnTo>
                  <a:lnTo>
                    <a:pt x="1572" y="599"/>
                  </a:lnTo>
                  <a:lnTo>
                    <a:pt x="1577" y="601"/>
                  </a:lnTo>
                  <a:lnTo>
                    <a:pt x="1582" y="603"/>
                  </a:lnTo>
                  <a:lnTo>
                    <a:pt x="1588" y="604"/>
                  </a:lnTo>
                  <a:lnTo>
                    <a:pt x="1593" y="604"/>
                  </a:lnTo>
                  <a:lnTo>
                    <a:pt x="1596" y="602"/>
                  </a:lnTo>
                  <a:lnTo>
                    <a:pt x="1596" y="602"/>
                  </a:lnTo>
                  <a:lnTo>
                    <a:pt x="1594" y="585"/>
                  </a:lnTo>
                  <a:lnTo>
                    <a:pt x="1593" y="566"/>
                  </a:lnTo>
                  <a:lnTo>
                    <a:pt x="1592" y="558"/>
                  </a:lnTo>
                  <a:lnTo>
                    <a:pt x="1591" y="548"/>
                  </a:lnTo>
                  <a:lnTo>
                    <a:pt x="1590" y="540"/>
                  </a:lnTo>
                  <a:lnTo>
                    <a:pt x="1586" y="530"/>
                  </a:lnTo>
                  <a:lnTo>
                    <a:pt x="1578" y="521"/>
                  </a:lnTo>
                  <a:lnTo>
                    <a:pt x="1570" y="512"/>
                  </a:lnTo>
                  <a:lnTo>
                    <a:pt x="1566" y="507"/>
                  </a:lnTo>
                  <a:lnTo>
                    <a:pt x="1561" y="503"/>
                  </a:lnTo>
                  <a:lnTo>
                    <a:pt x="1556" y="499"/>
                  </a:lnTo>
                  <a:lnTo>
                    <a:pt x="1551" y="496"/>
                  </a:lnTo>
                  <a:lnTo>
                    <a:pt x="1526" y="475"/>
                  </a:lnTo>
                  <a:lnTo>
                    <a:pt x="1504" y="454"/>
                  </a:lnTo>
                  <a:lnTo>
                    <a:pt x="1498" y="449"/>
                  </a:lnTo>
                  <a:lnTo>
                    <a:pt x="1493" y="445"/>
                  </a:lnTo>
                  <a:lnTo>
                    <a:pt x="1485" y="441"/>
                  </a:lnTo>
                  <a:lnTo>
                    <a:pt x="1479" y="438"/>
                  </a:lnTo>
                  <a:lnTo>
                    <a:pt x="1472" y="435"/>
                  </a:lnTo>
                  <a:lnTo>
                    <a:pt x="1463" y="433"/>
                  </a:lnTo>
                  <a:lnTo>
                    <a:pt x="1454" y="432"/>
                  </a:lnTo>
                  <a:lnTo>
                    <a:pt x="1445" y="431"/>
                  </a:lnTo>
                  <a:lnTo>
                    <a:pt x="1434" y="432"/>
                  </a:lnTo>
                  <a:lnTo>
                    <a:pt x="1423" y="437"/>
                  </a:lnTo>
                  <a:lnTo>
                    <a:pt x="1409" y="442"/>
                  </a:lnTo>
                  <a:lnTo>
                    <a:pt x="1397" y="449"/>
                  </a:lnTo>
                  <a:lnTo>
                    <a:pt x="1383" y="456"/>
                  </a:lnTo>
                  <a:lnTo>
                    <a:pt x="1372" y="464"/>
                  </a:lnTo>
                  <a:lnTo>
                    <a:pt x="1360" y="472"/>
                  </a:lnTo>
                  <a:lnTo>
                    <a:pt x="1352" y="478"/>
                  </a:lnTo>
                  <a:lnTo>
                    <a:pt x="1347" y="481"/>
                  </a:lnTo>
                  <a:lnTo>
                    <a:pt x="1341" y="485"/>
                  </a:lnTo>
                  <a:lnTo>
                    <a:pt x="1337" y="486"/>
                  </a:lnTo>
                  <a:lnTo>
                    <a:pt x="1332" y="486"/>
                  </a:lnTo>
                  <a:lnTo>
                    <a:pt x="1327" y="485"/>
                  </a:lnTo>
                  <a:lnTo>
                    <a:pt x="1323" y="482"/>
                  </a:lnTo>
                  <a:lnTo>
                    <a:pt x="1317" y="479"/>
                  </a:lnTo>
                  <a:lnTo>
                    <a:pt x="1313" y="475"/>
                  </a:lnTo>
                  <a:lnTo>
                    <a:pt x="1305" y="465"/>
                  </a:lnTo>
                  <a:lnTo>
                    <a:pt x="1297" y="452"/>
                  </a:lnTo>
                  <a:lnTo>
                    <a:pt x="1289" y="438"/>
                  </a:lnTo>
                  <a:lnTo>
                    <a:pt x="1282" y="421"/>
                  </a:lnTo>
                  <a:lnTo>
                    <a:pt x="1276" y="404"/>
                  </a:lnTo>
                  <a:lnTo>
                    <a:pt x="1269" y="386"/>
                  </a:lnTo>
                  <a:lnTo>
                    <a:pt x="1264" y="369"/>
                  </a:lnTo>
                  <a:lnTo>
                    <a:pt x="1260" y="352"/>
                  </a:lnTo>
                  <a:lnTo>
                    <a:pt x="1253" y="324"/>
                  </a:lnTo>
                  <a:lnTo>
                    <a:pt x="1249" y="306"/>
                  </a:lnTo>
                  <a:lnTo>
                    <a:pt x="1247" y="295"/>
                  </a:lnTo>
                  <a:lnTo>
                    <a:pt x="1243" y="284"/>
                  </a:lnTo>
                  <a:lnTo>
                    <a:pt x="1240" y="275"/>
                  </a:lnTo>
                  <a:lnTo>
                    <a:pt x="1237" y="265"/>
                  </a:lnTo>
                  <a:lnTo>
                    <a:pt x="1229" y="249"/>
                  </a:lnTo>
                  <a:lnTo>
                    <a:pt x="1218" y="234"/>
                  </a:lnTo>
                  <a:lnTo>
                    <a:pt x="1208" y="220"/>
                  </a:lnTo>
                  <a:lnTo>
                    <a:pt x="1195" y="206"/>
                  </a:lnTo>
                  <a:lnTo>
                    <a:pt x="1182" y="192"/>
                  </a:lnTo>
                  <a:lnTo>
                    <a:pt x="1166" y="177"/>
                  </a:lnTo>
                  <a:lnTo>
                    <a:pt x="1163" y="178"/>
                  </a:lnTo>
                  <a:lnTo>
                    <a:pt x="1160" y="179"/>
                  </a:lnTo>
                  <a:lnTo>
                    <a:pt x="1157" y="197"/>
                  </a:lnTo>
                  <a:lnTo>
                    <a:pt x="1153" y="215"/>
                  </a:lnTo>
                  <a:lnTo>
                    <a:pt x="1146" y="234"/>
                  </a:lnTo>
                  <a:lnTo>
                    <a:pt x="1140" y="253"/>
                  </a:lnTo>
                  <a:lnTo>
                    <a:pt x="1134" y="273"/>
                  </a:lnTo>
                  <a:lnTo>
                    <a:pt x="1129" y="292"/>
                  </a:lnTo>
                  <a:lnTo>
                    <a:pt x="1124" y="310"/>
                  </a:lnTo>
                  <a:lnTo>
                    <a:pt x="1119" y="329"/>
                  </a:lnTo>
                  <a:lnTo>
                    <a:pt x="1117" y="337"/>
                  </a:lnTo>
                  <a:lnTo>
                    <a:pt x="1113" y="345"/>
                  </a:lnTo>
                  <a:lnTo>
                    <a:pt x="1108" y="351"/>
                  </a:lnTo>
                  <a:lnTo>
                    <a:pt x="1101" y="358"/>
                  </a:lnTo>
                  <a:lnTo>
                    <a:pt x="1093" y="365"/>
                  </a:lnTo>
                  <a:lnTo>
                    <a:pt x="1084" y="370"/>
                  </a:lnTo>
                  <a:lnTo>
                    <a:pt x="1076" y="375"/>
                  </a:lnTo>
                  <a:lnTo>
                    <a:pt x="1065" y="378"/>
                  </a:lnTo>
                  <a:lnTo>
                    <a:pt x="1056" y="381"/>
                  </a:lnTo>
                  <a:lnTo>
                    <a:pt x="1046" y="382"/>
                  </a:lnTo>
                  <a:lnTo>
                    <a:pt x="1037" y="382"/>
                  </a:lnTo>
                  <a:lnTo>
                    <a:pt x="1029" y="380"/>
                  </a:lnTo>
                  <a:lnTo>
                    <a:pt x="1024" y="378"/>
                  </a:lnTo>
                  <a:lnTo>
                    <a:pt x="1021" y="376"/>
                  </a:lnTo>
                  <a:lnTo>
                    <a:pt x="1018" y="374"/>
                  </a:lnTo>
                  <a:lnTo>
                    <a:pt x="1015" y="370"/>
                  </a:lnTo>
                  <a:lnTo>
                    <a:pt x="1012" y="367"/>
                  </a:lnTo>
                  <a:lnTo>
                    <a:pt x="1010" y="362"/>
                  </a:lnTo>
                  <a:lnTo>
                    <a:pt x="1008" y="357"/>
                  </a:lnTo>
                  <a:lnTo>
                    <a:pt x="1006" y="352"/>
                  </a:lnTo>
                  <a:lnTo>
                    <a:pt x="1002" y="337"/>
                  </a:lnTo>
                  <a:lnTo>
                    <a:pt x="997" y="323"/>
                  </a:lnTo>
                  <a:lnTo>
                    <a:pt x="991" y="308"/>
                  </a:lnTo>
                  <a:lnTo>
                    <a:pt x="985" y="294"/>
                  </a:lnTo>
                  <a:lnTo>
                    <a:pt x="972" y="264"/>
                  </a:lnTo>
                  <a:lnTo>
                    <a:pt x="961" y="236"/>
                  </a:lnTo>
                  <a:lnTo>
                    <a:pt x="961" y="236"/>
                  </a:lnTo>
                  <a:lnTo>
                    <a:pt x="939" y="235"/>
                  </a:lnTo>
                  <a:lnTo>
                    <a:pt x="916" y="233"/>
                  </a:lnTo>
                  <a:lnTo>
                    <a:pt x="893" y="233"/>
                  </a:lnTo>
                  <a:lnTo>
                    <a:pt x="870" y="235"/>
                  </a:lnTo>
                  <a:lnTo>
                    <a:pt x="864" y="236"/>
                  </a:lnTo>
                  <a:lnTo>
                    <a:pt x="855" y="237"/>
                  </a:lnTo>
                  <a:lnTo>
                    <a:pt x="845" y="237"/>
                  </a:lnTo>
                  <a:lnTo>
                    <a:pt x="836" y="236"/>
                  </a:lnTo>
                  <a:lnTo>
                    <a:pt x="826" y="234"/>
                  </a:lnTo>
                  <a:lnTo>
                    <a:pt x="819" y="231"/>
                  </a:lnTo>
                  <a:lnTo>
                    <a:pt x="816" y="228"/>
                  </a:lnTo>
                  <a:lnTo>
                    <a:pt x="814" y="225"/>
                  </a:lnTo>
                  <a:lnTo>
                    <a:pt x="813" y="222"/>
                  </a:lnTo>
                  <a:lnTo>
                    <a:pt x="813" y="217"/>
                  </a:lnTo>
                  <a:lnTo>
                    <a:pt x="810" y="212"/>
                  </a:lnTo>
                  <a:lnTo>
                    <a:pt x="807" y="207"/>
                  </a:lnTo>
                  <a:lnTo>
                    <a:pt x="804" y="201"/>
                  </a:lnTo>
                  <a:lnTo>
                    <a:pt x="803" y="195"/>
                  </a:lnTo>
                  <a:lnTo>
                    <a:pt x="800" y="181"/>
                  </a:lnTo>
                  <a:lnTo>
                    <a:pt x="797" y="169"/>
                  </a:lnTo>
                  <a:lnTo>
                    <a:pt x="791" y="152"/>
                  </a:lnTo>
                  <a:lnTo>
                    <a:pt x="783" y="136"/>
                  </a:lnTo>
                  <a:lnTo>
                    <a:pt x="778" y="130"/>
                  </a:lnTo>
                  <a:lnTo>
                    <a:pt x="773" y="123"/>
                  </a:lnTo>
                  <a:lnTo>
                    <a:pt x="767" y="115"/>
                  </a:lnTo>
                  <a:lnTo>
                    <a:pt x="760" y="109"/>
                  </a:lnTo>
                  <a:lnTo>
                    <a:pt x="757" y="105"/>
                  </a:lnTo>
                  <a:lnTo>
                    <a:pt x="753" y="101"/>
                  </a:lnTo>
                  <a:lnTo>
                    <a:pt x="750" y="95"/>
                  </a:lnTo>
                  <a:lnTo>
                    <a:pt x="748" y="90"/>
                  </a:lnTo>
                  <a:lnTo>
                    <a:pt x="744" y="79"/>
                  </a:lnTo>
                  <a:lnTo>
                    <a:pt x="742" y="66"/>
                  </a:lnTo>
                  <a:lnTo>
                    <a:pt x="740" y="54"/>
                  </a:lnTo>
                  <a:lnTo>
                    <a:pt x="737" y="42"/>
                  </a:lnTo>
                  <a:lnTo>
                    <a:pt x="734" y="31"/>
                  </a:lnTo>
                  <a:lnTo>
                    <a:pt x="729" y="20"/>
                  </a:lnTo>
                  <a:lnTo>
                    <a:pt x="720" y="21"/>
                  </a:lnTo>
                  <a:lnTo>
                    <a:pt x="710" y="23"/>
                  </a:lnTo>
                  <a:lnTo>
                    <a:pt x="700" y="28"/>
                  </a:lnTo>
                  <a:lnTo>
                    <a:pt x="690" y="33"/>
                  </a:lnTo>
                  <a:lnTo>
                    <a:pt x="670" y="45"/>
                  </a:lnTo>
                  <a:lnTo>
                    <a:pt x="650" y="60"/>
                  </a:lnTo>
                  <a:lnTo>
                    <a:pt x="630" y="76"/>
                  </a:lnTo>
                  <a:lnTo>
                    <a:pt x="612" y="91"/>
                  </a:lnTo>
                  <a:lnTo>
                    <a:pt x="602" y="99"/>
                  </a:lnTo>
                  <a:lnTo>
                    <a:pt x="594" y="105"/>
                  </a:lnTo>
                  <a:lnTo>
                    <a:pt x="586" y="110"/>
                  </a:lnTo>
                  <a:lnTo>
                    <a:pt x="576" y="115"/>
                  </a:lnTo>
                  <a:lnTo>
                    <a:pt x="568" y="118"/>
                  </a:lnTo>
                  <a:lnTo>
                    <a:pt x="559" y="121"/>
                  </a:lnTo>
                  <a:lnTo>
                    <a:pt x="552" y="125"/>
                  </a:lnTo>
                  <a:lnTo>
                    <a:pt x="545" y="126"/>
                  </a:lnTo>
                  <a:lnTo>
                    <a:pt x="529" y="128"/>
                  </a:lnTo>
                  <a:lnTo>
                    <a:pt x="510" y="128"/>
                  </a:lnTo>
                  <a:lnTo>
                    <a:pt x="500" y="129"/>
                  </a:lnTo>
                  <a:lnTo>
                    <a:pt x="490" y="131"/>
                  </a:lnTo>
                  <a:lnTo>
                    <a:pt x="478" y="134"/>
                  </a:lnTo>
                  <a:lnTo>
                    <a:pt x="467" y="137"/>
                  </a:lnTo>
                  <a:lnTo>
                    <a:pt x="456" y="140"/>
                  </a:lnTo>
                  <a:lnTo>
                    <a:pt x="446" y="141"/>
                  </a:lnTo>
                  <a:lnTo>
                    <a:pt x="441" y="141"/>
                  </a:lnTo>
                  <a:lnTo>
                    <a:pt x="435" y="141"/>
                  </a:lnTo>
                  <a:lnTo>
                    <a:pt x="430" y="140"/>
                  </a:lnTo>
                  <a:lnTo>
                    <a:pt x="425" y="138"/>
                  </a:lnTo>
                  <a:lnTo>
                    <a:pt x="420" y="135"/>
                  </a:lnTo>
                  <a:lnTo>
                    <a:pt x="415" y="132"/>
                  </a:lnTo>
                  <a:lnTo>
                    <a:pt x="408" y="127"/>
                  </a:lnTo>
                  <a:lnTo>
                    <a:pt x="402" y="120"/>
                  </a:lnTo>
                  <a:lnTo>
                    <a:pt x="389" y="108"/>
                  </a:lnTo>
                  <a:lnTo>
                    <a:pt x="376" y="93"/>
                  </a:lnTo>
                  <a:lnTo>
                    <a:pt x="362" y="79"/>
                  </a:lnTo>
                  <a:lnTo>
                    <a:pt x="350" y="64"/>
                  </a:lnTo>
                  <a:lnTo>
                    <a:pt x="338" y="53"/>
                  </a:lnTo>
                  <a:lnTo>
                    <a:pt x="329" y="43"/>
                  </a:lnTo>
                  <a:lnTo>
                    <a:pt x="317" y="34"/>
                  </a:lnTo>
                  <a:lnTo>
                    <a:pt x="301" y="22"/>
                  </a:lnTo>
                  <a:lnTo>
                    <a:pt x="287" y="11"/>
                  </a:lnTo>
                  <a:lnTo>
                    <a:pt x="277" y="0"/>
                  </a:lnTo>
                  <a:lnTo>
                    <a:pt x="271" y="1"/>
                  </a:lnTo>
                  <a:lnTo>
                    <a:pt x="264" y="4"/>
                  </a:lnTo>
                  <a:lnTo>
                    <a:pt x="259" y="8"/>
                  </a:lnTo>
                  <a:lnTo>
                    <a:pt x="254" y="12"/>
                  </a:lnTo>
                  <a:lnTo>
                    <a:pt x="250" y="18"/>
                  </a:lnTo>
                  <a:lnTo>
                    <a:pt x="246" y="24"/>
                  </a:lnTo>
                  <a:lnTo>
                    <a:pt x="241" y="32"/>
                  </a:lnTo>
                  <a:lnTo>
                    <a:pt x="238" y="40"/>
                  </a:lnTo>
                  <a:lnTo>
                    <a:pt x="227" y="72"/>
                  </a:lnTo>
                  <a:lnTo>
                    <a:pt x="219" y="97"/>
                  </a:lnTo>
                  <a:lnTo>
                    <a:pt x="206" y="131"/>
                  </a:lnTo>
                  <a:lnTo>
                    <a:pt x="192" y="163"/>
                  </a:lnTo>
                  <a:lnTo>
                    <a:pt x="187" y="171"/>
                  </a:lnTo>
                  <a:lnTo>
                    <a:pt x="182" y="177"/>
                  </a:lnTo>
                  <a:lnTo>
                    <a:pt x="177" y="183"/>
                  </a:lnTo>
                  <a:lnTo>
                    <a:pt x="171" y="189"/>
                  </a:lnTo>
                  <a:lnTo>
                    <a:pt x="163" y="193"/>
                  </a:lnTo>
                  <a:lnTo>
                    <a:pt x="155" y="198"/>
                  </a:lnTo>
                  <a:lnTo>
                    <a:pt x="147" y="201"/>
                  </a:lnTo>
                  <a:lnTo>
                    <a:pt x="136" y="203"/>
                  </a:lnTo>
                  <a:lnTo>
                    <a:pt x="129" y="204"/>
                  </a:lnTo>
                  <a:lnTo>
                    <a:pt x="120" y="204"/>
                  </a:lnTo>
                  <a:lnTo>
                    <a:pt x="116" y="205"/>
                  </a:lnTo>
                  <a:lnTo>
                    <a:pt x="113" y="206"/>
                  </a:lnTo>
                  <a:lnTo>
                    <a:pt x="109" y="207"/>
                  </a:lnTo>
                  <a:lnTo>
                    <a:pt x="107" y="209"/>
                  </a:lnTo>
                  <a:lnTo>
                    <a:pt x="102" y="214"/>
                  </a:lnTo>
                  <a:lnTo>
                    <a:pt x="100" y="218"/>
                  </a:lnTo>
                  <a:lnTo>
                    <a:pt x="99" y="223"/>
                  </a:lnTo>
                  <a:lnTo>
                    <a:pt x="99" y="227"/>
                  </a:lnTo>
                  <a:lnTo>
                    <a:pt x="99" y="232"/>
                  </a:lnTo>
                  <a:lnTo>
                    <a:pt x="99" y="236"/>
                  </a:lnTo>
                  <a:lnTo>
                    <a:pt x="98" y="241"/>
                  </a:lnTo>
                  <a:lnTo>
                    <a:pt x="95" y="247"/>
                  </a:lnTo>
                  <a:lnTo>
                    <a:pt x="95" y="247"/>
                  </a:lnTo>
                  <a:lnTo>
                    <a:pt x="105" y="249"/>
                  </a:lnTo>
                  <a:lnTo>
                    <a:pt x="115" y="252"/>
                  </a:lnTo>
                  <a:lnTo>
                    <a:pt x="125" y="254"/>
                  </a:lnTo>
                  <a:lnTo>
                    <a:pt x="132" y="258"/>
                  </a:lnTo>
                  <a:lnTo>
                    <a:pt x="134" y="258"/>
                  </a:lnTo>
                  <a:lnTo>
                    <a:pt x="141" y="266"/>
                  </a:lnTo>
                  <a:lnTo>
                    <a:pt x="147" y="274"/>
                  </a:lnTo>
                  <a:lnTo>
                    <a:pt x="149" y="281"/>
                  </a:lnTo>
                  <a:lnTo>
                    <a:pt x="149" y="288"/>
                  </a:lnTo>
                  <a:lnTo>
                    <a:pt x="148" y="296"/>
                  </a:lnTo>
                  <a:lnTo>
                    <a:pt x="144" y="304"/>
                  </a:lnTo>
                  <a:lnTo>
                    <a:pt x="140" y="314"/>
                  </a:lnTo>
                  <a:lnTo>
                    <a:pt x="136" y="325"/>
                  </a:lnTo>
                  <a:lnTo>
                    <a:pt x="133" y="333"/>
                  </a:lnTo>
                  <a:lnTo>
                    <a:pt x="130" y="342"/>
                  </a:lnTo>
                  <a:lnTo>
                    <a:pt x="128" y="351"/>
                  </a:lnTo>
                  <a:lnTo>
                    <a:pt x="127" y="361"/>
                  </a:lnTo>
                  <a:lnTo>
                    <a:pt x="125" y="382"/>
                  </a:lnTo>
                  <a:lnTo>
                    <a:pt x="124" y="404"/>
                  </a:lnTo>
                  <a:lnTo>
                    <a:pt x="125" y="427"/>
                  </a:lnTo>
                  <a:lnTo>
                    <a:pt x="128" y="448"/>
                  </a:lnTo>
                  <a:lnTo>
                    <a:pt x="130" y="457"/>
                  </a:lnTo>
                  <a:lnTo>
                    <a:pt x="132" y="467"/>
                  </a:lnTo>
                  <a:lnTo>
                    <a:pt x="135" y="475"/>
                  </a:lnTo>
                  <a:lnTo>
                    <a:pt x="138" y="483"/>
                  </a:lnTo>
                  <a:lnTo>
                    <a:pt x="150" y="505"/>
                  </a:lnTo>
                  <a:lnTo>
                    <a:pt x="162" y="527"/>
                  </a:lnTo>
                  <a:lnTo>
                    <a:pt x="167" y="539"/>
                  </a:lnTo>
                  <a:lnTo>
                    <a:pt x="172" y="550"/>
                  </a:lnTo>
                  <a:lnTo>
                    <a:pt x="175" y="562"/>
                  </a:lnTo>
                  <a:lnTo>
                    <a:pt x="176" y="575"/>
                  </a:lnTo>
                  <a:lnTo>
                    <a:pt x="176" y="579"/>
                  </a:lnTo>
                  <a:lnTo>
                    <a:pt x="174" y="583"/>
                  </a:lnTo>
                  <a:lnTo>
                    <a:pt x="171" y="587"/>
                  </a:lnTo>
                  <a:lnTo>
                    <a:pt x="166" y="590"/>
                  </a:lnTo>
                  <a:lnTo>
                    <a:pt x="156" y="596"/>
                  </a:lnTo>
                  <a:lnTo>
                    <a:pt x="144" y="601"/>
                  </a:lnTo>
                  <a:lnTo>
                    <a:pt x="118" y="611"/>
                  </a:lnTo>
                  <a:lnTo>
                    <a:pt x="100" y="618"/>
                  </a:lnTo>
                  <a:lnTo>
                    <a:pt x="92" y="622"/>
                  </a:lnTo>
                  <a:lnTo>
                    <a:pt x="87" y="627"/>
                  </a:lnTo>
                  <a:lnTo>
                    <a:pt x="84" y="634"/>
                  </a:lnTo>
                  <a:lnTo>
                    <a:pt x="83" y="640"/>
                  </a:lnTo>
                  <a:lnTo>
                    <a:pt x="82" y="646"/>
                  </a:lnTo>
                  <a:lnTo>
                    <a:pt x="84" y="654"/>
                  </a:lnTo>
                  <a:lnTo>
                    <a:pt x="86" y="661"/>
                  </a:lnTo>
                  <a:lnTo>
                    <a:pt x="88" y="669"/>
                  </a:lnTo>
                  <a:lnTo>
                    <a:pt x="95" y="685"/>
                  </a:lnTo>
                  <a:lnTo>
                    <a:pt x="102" y="700"/>
                  </a:lnTo>
                  <a:lnTo>
                    <a:pt x="105" y="708"/>
                  </a:lnTo>
                  <a:lnTo>
                    <a:pt x="106" y="715"/>
                  </a:lnTo>
                  <a:lnTo>
                    <a:pt x="107" y="722"/>
                  </a:lnTo>
                  <a:lnTo>
                    <a:pt x="107" y="730"/>
                  </a:lnTo>
                  <a:lnTo>
                    <a:pt x="103" y="743"/>
                  </a:lnTo>
                  <a:lnTo>
                    <a:pt x="100" y="756"/>
                  </a:lnTo>
                  <a:lnTo>
                    <a:pt x="95" y="768"/>
                  </a:lnTo>
                  <a:lnTo>
                    <a:pt x="90" y="781"/>
                  </a:lnTo>
                  <a:lnTo>
                    <a:pt x="88" y="791"/>
                  </a:lnTo>
                  <a:lnTo>
                    <a:pt x="88" y="800"/>
                  </a:lnTo>
                  <a:lnTo>
                    <a:pt x="89" y="808"/>
                  </a:lnTo>
                  <a:lnTo>
                    <a:pt x="91" y="815"/>
                  </a:lnTo>
                  <a:lnTo>
                    <a:pt x="98" y="830"/>
                  </a:lnTo>
                  <a:lnTo>
                    <a:pt x="102" y="847"/>
                  </a:lnTo>
                  <a:lnTo>
                    <a:pt x="113" y="862"/>
                  </a:lnTo>
                  <a:lnTo>
                    <a:pt x="129" y="885"/>
                  </a:lnTo>
                  <a:lnTo>
                    <a:pt x="135" y="897"/>
                  </a:lnTo>
                  <a:lnTo>
                    <a:pt x="138" y="907"/>
                  </a:lnTo>
                  <a:lnTo>
                    <a:pt x="139" y="912"/>
                  </a:lnTo>
                  <a:lnTo>
                    <a:pt x="139" y="917"/>
                  </a:lnTo>
                  <a:lnTo>
                    <a:pt x="138" y="922"/>
                  </a:lnTo>
                  <a:lnTo>
                    <a:pt x="136" y="926"/>
                  </a:lnTo>
                  <a:lnTo>
                    <a:pt x="129" y="933"/>
                  </a:lnTo>
                  <a:lnTo>
                    <a:pt x="119" y="939"/>
                  </a:lnTo>
                  <a:lnTo>
                    <a:pt x="109" y="946"/>
                  </a:lnTo>
                  <a:lnTo>
                    <a:pt x="100" y="951"/>
                  </a:lnTo>
                  <a:lnTo>
                    <a:pt x="94" y="954"/>
                  </a:lnTo>
                  <a:lnTo>
                    <a:pt x="91" y="958"/>
                  </a:lnTo>
                  <a:lnTo>
                    <a:pt x="89" y="962"/>
                  </a:lnTo>
                  <a:lnTo>
                    <a:pt x="86" y="968"/>
                  </a:lnTo>
                  <a:lnTo>
                    <a:pt x="84" y="973"/>
                  </a:lnTo>
                  <a:lnTo>
                    <a:pt x="82" y="977"/>
                  </a:lnTo>
                  <a:lnTo>
                    <a:pt x="80" y="980"/>
                  </a:lnTo>
                  <a:lnTo>
                    <a:pt x="77" y="983"/>
                  </a:lnTo>
                  <a:lnTo>
                    <a:pt x="76" y="994"/>
                  </a:lnTo>
                  <a:lnTo>
                    <a:pt x="71" y="1004"/>
                  </a:lnTo>
                  <a:lnTo>
                    <a:pt x="66" y="1013"/>
                  </a:lnTo>
                  <a:lnTo>
                    <a:pt x="60" y="1023"/>
                  </a:lnTo>
                  <a:lnTo>
                    <a:pt x="53" y="1031"/>
                  </a:lnTo>
                  <a:lnTo>
                    <a:pt x="44" y="1038"/>
                  </a:lnTo>
                  <a:lnTo>
                    <a:pt x="35" y="1044"/>
                  </a:lnTo>
                  <a:lnTo>
                    <a:pt x="25" y="1048"/>
                  </a:lnTo>
                  <a:lnTo>
                    <a:pt x="15" y="1051"/>
                  </a:lnTo>
                  <a:lnTo>
                    <a:pt x="8" y="1055"/>
                  </a:lnTo>
                  <a:lnTo>
                    <a:pt x="4" y="1059"/>
                  </a:lnTo>
                  <a:lnTo>
                    <a:pt x="1" y="1065"/>
                  </a:lnTo>
                  <a:lnTo>
                    <a:pt x="0" y="1070"/>
                  </a:lnTo>
                  <a:lnTo>
                    <a:pt x="1" y="1075"/>
                  </a:lnTo>
                  <a:lnTo>
                    <a:pt x="2" y="1081"/>
                  </a:lnTo>
                  <a:lnTo>
                    <a:pt x="5" y="1089"/>
                  </a:lnTo>
                  <a:lnTo>
                    <a:pt x="12" y="1102"/>
                  </a:lnTo>
                  <a:lnTo>
                    <a:pt x="19" y="1116"/>
                  </a:lnTo>
                  <a:lnTo>
                    <a:pt x="24" y="1123"/>
                  </a:lnTo>
                  <a:lnTo>
                    <a:pt x="27" y="1130"/>
                  </a:lnTo>
                  <a:lnTo>
                    <a:pt x="30" y="1138"/>
                  </a:lnTo>
                  <a:lnTo>
                    <a:pt x="31" y="1144"/>
                  </a:lnTo>
                  <a:lnTo>
                    <a:pt x="32" y="1158"/>
                  </a:lnTo>
                  <a:lnTo>
                    <a:pt x="31" y="1172"/>
                  </a:lnTo>
                  <a:lnTo>
                    <a:pt x="30" y="1187"/>
                  </a:lnTo>
                  <a:lnTo>
                    <a:pt x="31" y="1201"/>
                  </a:lnTo>
                  <a:lnTo>
                    <a:pt x="35" y="1216"/>
                  </a:lnTo>
                  <a:lnTo>
                    <a:pt x="40" y="1229"/>
                  </a:lnTo>
                  <a:lnTo>
                    <a:pt x="45" y="1242"/>
                  </a:lnTo>
                  <a:lnTo>
                    <a:pt x="50" y="1257"/>
                  </a:lnTo>
                  <a:lnTo>
                    <a:pt x="50" y="1257"/>
                  </a:lnTo>
                  <a:close/>
                </a:path>
              </a:pathLst>
            </a:custGeom>
            <a:noFill/>
            <a:ln w="127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86" name="Freeform 123">
              <a:extLst>
                <a:ext uri="{FF2B5EF4-FFF2-40B4-BE49-F238E27FC236}">
                  <a16:creationId xmlns:a16="http://schemas.microsoft.com/office/drawing/2014/main" id="{E6A645B1-4595-46A2-9199-B6E230103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328" y="4631932"/>
              <a:ext cx="655676" cy="518739"/>
            </a:xfrm>
            <a:custGeom>
              <a:avLst/>
              <a:gdLst>
                <a:gd name="T0" fmla="*/ 895 w 2606"/>
                <a:gd name="T1" fmla="*/ 307 h 2136"/>
                <a:gd name="T2" fmla="*/ 797 w 2606"/>
                <a:gd name="T3" fmla="*/ 452 h 2136"/>
                <a:gd name="T4" fmla="*/ 730 w 2606"/>
                <a:gd name="T5" fmla="*/ 577 h 2136"/>
                <a:gd name="T6" fmla="*/ 675 w 2606"/>
                <a:gd name="T7" fmla="*/ 607 h 2136"/>
                <a:gd name="T8" fmla="*/ 648 w 2606"/>
                <a:gd name="T9" fmla="*/ 518 h 2136"/>
                <a:gd name="T10" fmla="*/ 564 w 2606"/>
                <a:gd name="T11" fmla="*/ 602 h 2136"/>
                <a:gd name="T12" fmla="*/ 523 w 2606"/>
                <a:gd name="T13" fmla="*/ 671 h 2136"/>
                <a:gd name="T14" fmla="*/ 488 w 2606"/>
                <a:gd name="T15" fmla="*/ 808 h 2136"/>
                <a:gd name="T16" fmla="*/ 443 w 2606"/>
                <a:gd name="T17" fmla="*/ 891 h 2136"/>
                <a:gd name="T18" fmla="*/ 456 w 2606"/>
                <a:gd name="T19" fmla="*/ 957 h 2136"/>
                <a:gd name="T20" fmla="*/ 303 w 2606"/>
                <a:gd name="T21" fmla="*/ 1002 h 2136"/>
                <a:gd name="T22" fmla="*/ 195 w 2606"/>
                <a:gd name="T23" fmla="*/ 1123 h 2136"/>
                <a:gd name="T24" fmla="*/ 205 w 2606"/>
                <a:gd name="T25" fmla="*/ 1226 h 2136"/>
                <a:gd name="T26" fmla="*/ 117 w 2606"/>
                <a:gd name="T27" fmla="*/ 1210 h 2136"/>
                <a:gd name="T28" fmla="*/ 0 w 2606"/>
                <a:gd name="T29" fmla="*/ 1336 h 2136"/>
                <a:gd name="T30" fmla="*/ 83 w 2606"/>
                <a:gd name="T31" fmla="*/ 1424 h 2136"/>
                <a:gd name="T32" fmla="*/ 220 w 2606"/>
                <a:gd name="T33" fmla="*/ 1483 h 2136"/>
                <a:gd name="T34" fmla="*/ 378 w 2606"/>
                <a:gd name="T35" fmla="*/ 1523 h 2136"/>
                <a:gd name="T36" fmla="*/ 538 w 2606"/>
                <a:gd name="T37" fmla="*/ 1494 h 2136"/>
                <a:gd name="T38" fmla="*/ 656 w 2606"/>
                <a:gd name="T39" fmla="*/ 1456 h 2136"/>
                <a:gd name="T40" fmla="*/ 836 w 2606"/>
                <a:gd name="T41" fmla="*/ 1456 h 2136"/>
                <a:gd name="T42" fmla="*/ 832 w 2606"/>
                <a:gd name="T43" fmla="*/ 1551 h 2136"/>
                <a:gd name="T44" fmla="*/ 918 w 2606"/>
                <a:gd name="T45" fmla="*/ 1682 h 2136"/>
                <a:gd name="T46" fmla="*/ 925 w 2606"/>
                <a:gd name="T47" fmla="*/ 1825 h 2136"/>
                <a:gd name="T48" fmla="*/ 1005 w 2606"/>
                <a:gd name="T49" fmla="*/ 2024 h 2136"/>
                <a:gd name="T50" fmla="*/ 1125 w 2606"/>
                <a:gd name="T51" fmla="*/ 2136 h 2136"/>
                <a:gd name="T52" fmla="*/ 1262 w 2606"/>
                <a:gd name="T53" fmla="*/ 2097 h 2136"/>
                <a:gd name="T54" fmla="*/ 1300 w 2606"/>
                <a:gd name="T55" fmla="*/ 2026 h 2136"/>
                <a:gd name="T56" fmla="*/ 1389 w 2606"/>
                <a:gd name="T57" fmla="*/ 1971 h 2136"/>
                <a:gd name="T58" fmla="*/ 1460 w 2606"/>
                <a:gd name="T59" fmla="*/ 1834 h 2136"/>
                <a:gd name="T60" fmla="*/ 1498 w 2606"/>
                <a:gd name="T61" fmla="*/ 1733 h 2136"/>
                <a:gd name="T62" fmla="*/ 1450 w 2606"/>
                <a:gd name="T63" fmla="*/ 1667 h 2136"/>
                <a:gd name="T64" fmla="*/ 1475 w 2606"/>
                <a:gd name="T65" fmla="*/ 1534 h 2136"/>
                <a:gd name="T66" fmla="*/ 1419 w 2606"/>
                <a:gd name="T67" fmla="*/ 1435 h 2136"/>
                <a:gd name="T68" fmla="*/ 1456 w 2606"/>
                <a:gd name="T69" fmla="*/ 1332 h 2136"/>
                <a:gd name="T70" fmla="*/ 1508 w 2606"/>
                <a:gd name="T71" fmla="*/ 1263 h 2136"/>
                <a:gd name="T72" fmla="*/ 1494 w 2606"/>
                <a:gd name="T73" fmla="*/ 1162 h 2136"/>
                <a:gd name="T74" fmla="*/ 1620 w 2606"/>
                <a:gd name="T75" fmla="*/ 1048 h 2136"/>
                <a:gd name="T76" fmla="*/ 1652 w 2606"/>
                <a:gd name="T77" fmla="*/ 921 h 2136"/>
                <a:gd name="T78" fmla="*/ 1715 w 2606"/>
                <a:gd name="T79" fmla="*/ 824 h 2136"/>
                <a:gd name="T80" fmla="*/ 1698 w 2606"/>
                <a:gd name="T81" fmla="*/ 684 h 2136"/>
                <a:gd name="T82" fmla="*/ 1780 w 2606"/>
                <a:gd name="T83" fmla="*/ 626 h 2136"/>
                <a:gd name="T84" fmla="*/ 1908 w 2606"/>
                <a:gd name="T85" fmla="*/ 656 h 2136"/>
                <a:gd name="T86" fmla="*/ 2022 w 2606"/>
                <a:gd name="T87" fmla="*/ 748 h 2136"/>
                <a:gd name="T88" fmla="*/ 2178 w 2606"/>
                <a:gd name="T89" fmla="*/ 667 h 2136"/>
                <a:gd name="T90" fmla="*/ 2357 w 2606"/>
                <a:gd name="T91" fmla="*/ 641 h 2136"/>
                <a:gd name="T92" fmla="*/ 2528 w 2606"/>
                <a:gd name="T93" fmla="*/ 476 h 2136"/>
                <a:gd name="T94" fmla="*/ 2594 w 2606"/>
                <a:gd name="T95" fmla="*/ 418 h 2136"/>
                <a:gd name="T96" fmla="*/ 2392 w 2606"/>
                <a:gd name="T97" fmla="*/ 316 h 2136"/>
                <a:gd name="T98" fmla="*/ 2294 w 2606"/>
                <a:gd name="T99" fmla="*/ 189 h 2136"/>
                <a:gd name="T100" fmla="*/ 2110 w 2606"/>
                <a:gd name="T101" fmla="*/ 71 h 2136"/>
                <a:gd name="T102" fmla="*/ 1995 w 2606"/>
                <a:gd name="T103" fmla="*/ 72 h 2136"/>
                <a:gd name="T104" fmla="*/ 1912 w 2606"/>
                <a:gd name="T105" fmla="*/ 140 h 2136"/>
                <a:gd name="T106" fmla="*/ 1835 w 2606"/>
                <a:gd name="T107" fmla="*/ 90 h 2136"/>
                <a:gd name="T108" fmla="*/ 1706 w 2606"/>
                <a:gd name="T109" fmla="*/ 10 h 2136"/>
                <a:gd name="T110" fmla="*/ 1577 w 2606"/>
                <a:gd name="T111" fmla="*/ 31 h 2136"/>
                <a:gd name="T112" fmla="*/ 1604 w 2606"/>
                <a:gd name="T113" fmla="*/ 204 h 2136"/>
                <a:gd name="T114" fmla="*/ 1604 w 2606"/>
                <a:gd name="T115" fmla="*/ 296 h 2136"/>
                <a:gd name="T116" fmla="*/ 1555 w 2606"/>
                <a:gd name="T117" fmla="*/ 426 h 2136"/>
                <a:gd name="T118" fmla="*/ 1469 w 2606"/>
                <a:gd name="T119" fmla="*/ 478 h 2136"/>
                <a:gd name="T120" fmla="*/ 1331 w 2606"/>
                <a:gd name="T121" fmla="*/ 451 h 2136"/>
                <a:gd name="T122" fmla="*/ 1201 w 2606"/>
                <a:gd name="T123" fmla="*/ 373 h 2136"/>
                <a:gd name="T124" fmla="*/ 1069 w 2606"/>
                <a:gd name="T125" fmla="*/ 237 h 2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06" h="2136">
                  <a:moveTo>
                    <a:pt x="892" y="157"/>
                  </a:moveTo>
                  <a:lnTo>
                    <a:pt x="891" y="168"/>
                  </a:lnTo>
                  <a:lnTo>
                    <a:pt x="890" y="177"/>
                  </a:lnTo>
                  <a:lnTo>
                    <a:pt x="888" y="186"/>
                  </a:lnTo>
                  <a:lnTo>
                    <a:pt x="888" y="197"/>
                  </a:lnTo>
                  <a:lnTo>
                    <a:pt x="888" y="212"/>
                  </a:lnTo>
                  <a:lnTo>
                    <a:pt x="889" y="229"/>
                  </a:lnTo>
                  <a:lnTo>
                    <a:pt x="891" y="247"/>
                  </a:lnTo>
                  <a:lnTo>
                    <a:pt x="893" y="265"/>
                  </a:lnTo>
                  <a:lnTo>
                    <a:pt x="895" y="282"/>
                  </a:lnTo>
                  <a:lnTo>
                    <a:pt x="896" y="299"/>
                  </a:lnTo>
                  <a:lnTo>
                    <a:pt x="895" y="307"/>
                  </a:lnTo>
                  <a:lnTo>
                    <a:pt x="895" y="315"/>
                  </a:lnTo>
                  <a:lnTo>
                    <a:pt x="894" y="322"/>
                  </a:lnTo>
                  <a:lnTo>
                    <a:pt x="892" y="328"/>
                  </a:lnTo>
                  <a:lnTo>
                    <a:pt x="877" y="358"/>
                  </a:lnTo>
                  <a:lnTo>
                    <a:pt x="860" y="390"/>
                  </a:lnTo>
                  <a:lnTo>
                    <a:pt x="851" y="404"/>
                  </a:lnTo>
                  <a:lnTo>
                    <a:pt x="842" y="418"/>
                  </a:lnTo>
                  <a:lnTo>
                    <a:pt x="835" y="424"/>
                  </a:lnTo>
                  <a:lnTo>
                    <a:pt x="829" y="430"/>
                  </a:lnTo>
                  <a:lnTo>
                    <a:pt x="823" y="436"/>
                  </a:lnTo>
                  <a:lnTo>
                    <a:pt x="817" y="441"/>
                  </a:lnTo>
                  <a:lnTo>
                    <a:pt x="797" y="452"/>
                  </a:lnTo>
                  <a:lnTo>
                    <a:pt x="775" y="466"/>
                  </a:lnTo>
                  <a:lnTo>
                    <a:pt x="765" y="473"/>
                  </a:lnTo>
                  <a:lnTo>
                    <a:pt x="754" y="482"/>
                  </a:lnTo>
                  <a:lnTo>
                    <a:pt x="747" y="489"/>
                  </a:lnTo>
                  <a:lnTo>
                    <a:pt x="741" y="497"/>
                  </a:lnTo>
                  <a:lnTo>
                    <a:pt x="736" y="506"/>
                  </a:lnTo>
                  <a:lnTo>
                    <a:pt x="734" y="514"/>
                  </a:lnTo>
                  <a:lnTo>
                    <a:pt x="733" y="522"/>
                  </a:lnTo>
                  <a:lnTo>
                    <a:pt x="733" y="532"/>
                  </a:lnTo>
                  <a:lnTo>
                    <a:pt x="733" y="549"/>
                  </a:lnTo>
                  <a:lnTo>
                    <a:pt x="732" y="567"/>
                  </a:lnTo>
                  <a:lnTo>
                    <a:pt x="730" y="577"/>
                  </a:lnTo>
                  <a:lnTo>
                    <a:pt x="726" y="588"/>
                  </a:lnTo>
                  <a:lnTo>
                    <a:pt x="721" y="601"/>
                  </a:lnTo>
                  <a:lnTo>
                    <a:pt x="714" y="612"/>
                  </a:lnTo>
                  <a:lnTo>
                    <a:pt x="711" y="616"/>
                  </a:lnTo>
                  <a:lnTo>
                    <a:pt x="707" y="620"/>
                  </a:lnTo>
                  <a:lnTo>
                    <a:pt x="703" y="622"/>
                  </a:lnTo>
                  <a:lnTo>
                    <a:pt x="698" y="623"/>
                  </a:lnTo>
                  <a:lnTo>
                    <a:pt x="694" y="623"/>
                  </a:lnTo>
                  <a:lnTo>
                    <a:pt x="688" y="621"/>
                  </a:lnTo>
                  <a:lnTo>
                    <a:pt x="683" y="617"/>
                  </a:lnTo>
                  <a:lnTo>
                    <a:pt x="678" y="612"/>
                  </a:lnTo>
                  <a:lnTo>
                    <a:pt x="675" y="607"/>
                  </a:lnTo>
                  <a:lnTo>
                    <a:pt x="673" y="602"/>
                  </a:lnTo>
                  <a:lnTo>
                    <a:pt x="671" y="595"/>
                  </a:lnTo>
                  <a:lnTo>
                    <a:pt x="670" y="589"/>
                  </a:lnTo>
                  <a:lnTo>
                    <a:pt x="668" y="578"/>
                  </a:lnTo>
                  <a:lnTo>
                    <a:pt x="667" y="564"/>
                  </a:lnTo>
                  <a:lnTo>
                    <a:pt x="667" y="551"/>
                  </a:lnTo>
                  <a:lnTo>
                    <a:pt x="664" y="539"/>
                  </a:lnTo>
                  <a:lnTo>
                    <a:pt x="663" y="534"/>
                  </a:lnTo>
                  <a:lnTo>
                    <a:pt x="661" y="527"/>
                  </a:lnTo>
                  <a:lnTo>
                    <a:pt x="658" y="522"/>
                  </a:lnTo>
                  <a:lnTo>
                    <a:pt x="655" y="517"/>
                  </a:lnTo>
                  <a:lnTo>
                    <a:pt x="648" y="518"/>
                  </a:lnTo>
                  <a:lnTo>
                    <a:pt x="641" y="520"/>
                  </a:lnTo>
                  <a:lnTo>
                    <a:pt x="636" y="524"/>
                  </a:lnTo>
                  <a:lnTo>
                    <a:pt x="631" y="530"/>
                  </a:lnTo>
                  <a:lnTo>
                    <a:pt x="622" y="541"/>
                  </a:lnTo>
                  <a:lnTo>
                    <a:pt x="612" y="556"/>
                  </a:lnTo>
                  <a:lnTo>
                    <a:pt x="604" y="570"/>
                  </a:lnTo>
                  <a:lnTo>
                    <a:pt x="595" y="584"/>
                  </a:lnTo>
                  <a:lnTo>
                    <a:pt x="590" y="589"/>
                  </a:lnTo>
                  <a:lnTo>
                    <a:pt x="584" y="594"/>
                  </a:lnTo>
                  <a:lnTo>
                    <a:pt x="578" y="597"/>
                  </a:lnTo>
                  <a:lnTo>
                    <a:pt x="572" y="601"/>
                  </a:lnTo>
                  <a:lnTo>
                    <a:pt x="564" y="602"/>
                  </a:lnTo>
                  <a:lnTo>
                    <a:pt x="559" y="603"/>
                  </a:lnTo>
                  <a:lnTo>
                    <a:pt x="554" y="606"/>
                  </a:lnTo>
                  <a:lnTo>
                    <a:pt x="549" y="609"/>
                  </a:lnTo>
                  <a:lnTo>
                    <a:pt x="546" y="612"/>
                  </a:lnTo>
                  <a:lnTo>
                    <a:pt x="545" y="616"/>
                  </a:lnTo>
                  <a:lnTo>
                    <a:pt x="543" y="622"/>
                  </a:lnTo>
                  <a:lnTo>
                    <a:pt x="542" y="630"/>
                  </a:lnTo>
                  <a:lnTo>
                    <a:pt x="541" y="643"/>
                  </a:lnTo>
                  <a:lnTo>
                    <a:pt x="540" y="654"/>
                  </a:lnTo>
                  <a:lnTo>
                    <a:pt x="535" y="661"/>
                  </a:lnTo>
                  <a:lnTo>
                    <a:pt x="529" y="666"/>
                  </a:lnTo>
                  <a:lnTo>
                    <a:pt x="523" y="671"/>
                  </a:lnTo>
                  <a:lnTo>
                    <a:pt x="516" y="676"/>
                  </a:lnTo>
                  <a:lnTo>
                    <a:pt x="510" y="681"/>
                  </a:lnTo>
                  <a:lnTo>
                    <a:pt x="506" y="687"/>
                  </a:lnTo>
                  <a:lnTo>
                    <a:pt x="501" y="694"/>
                  </a:lnTo>
                  <a:lnTo>
                    <a:pt x="499" y="704"/>
                  </a:lnTo>
                  <a:lnTo>
                    <a:pt x="496" y="719"/>
                  </a:lnTo>
                  <a:lnTo>
                    <a:pt x="496" y="735"/>
                  </a:lnTo>
                  <a:lnTo>
                    <a:pt x="496" y="751"/>
                  </a:lnTo>
                  <a:lnTo>
                    <a:pt x="496" y="766"/>
                  </a:lnTo>
                  <a:lnTo>
                    <a:pt x="494" y="780"/>
                  </a:lnTo>
                  <a:lnTo>
                    <a:pt x="492" y="794"/>
                  </a:lnTo>
                  <a:lnTo>
                    <a:pt x="488" y="808"/>
                  </a:lnTo>
                  <a:lnTo>
                    <a:pt x="482" y="822"/>
                  </a:lnTo>
                  <a:lnTo>
                    <a:pt x="475" y="834"/>
                  </a:lnTo>
                  <a:lnTo>
                    <a:pt x="466" y="846"/>
                  </a:lnTo>
                  <a:lnTo>
                    <a:pt x="461" y="851"/>
                  </a:lnTo>
                  <a:lnTo>
                    <a:pt x="456" y="855"/>
                  </a:lnTo>
                  <a:lnTo>
                    <a:pt x="451" y="859"/>
                  </a:lnTo>
                  <a:lnTo>
                    <a:pt x="445" y="863"/>
                  </a:lnTo>
                  <a:lnTo>
                    <a:pt x="443" y="869"/>
                  </a:lnTo>
                  <a:lnTo>
                    <a:pt x="442" y="874"/>
                  </a:lnTo>
                  <a:lnTo>
                    <a:pt x="442" y="878"/>
                  </a:lnTo>
                  <a:lnTo>
                    <a:pt x="442" y="882"/>
                  </a:lnTo>
                  <a:lnTo>
                    <a:pt x="443" y="891"/>
                  </a:lnTo>
                  <a:lnTo>
                    <a:pt x="448" y="899"/>
                  </a:lnTo>
                  <a:lnTo>
                    <a:pt x="453" y="906"/>
                  </a:lnTo>
                  <a:lnTo>
                    <a:pt x="459" y="912"/>
                  </a:lnTo>
                  <a:lnTo>
                    <a:pt x="466" y="918"/>
                  </a:lnTo>
                  <a:lnTo>
                    <a:pt x="476" y="923"/>
                  </a:lnTo>
                  <a:lnTo>
                    <a:pt x="477" y="926"/>
                  </a:lnTo>
                  <a:lnTo>
                    <a:pt x="477" y="929"/>
                  </a:lnTo>
                  <a:lnTo>
                    <a:pt x="476" y="933"/>
                  </a:lnTo>
                  <a:lnTo>
                    <a:pt x="475" y="936"/>
                  </a:lnTo>
                  <a:lnTo>
                    <a:pt x="471" y="944"/>
                  </a:lnTo>
                  <a:lnTo>
                    <a:pt x="464" y="951"/>
                  </a:lnTo>
                  <a:lnTo>
                    <a:pt x="456" y="957"/>
                  </a:lnTo>
                  <a:lnTo>
                    <a:pt x="447" y="964"/>
                  </a:lnTo>
                  <a:lnTo>
                    <a:pt x="435" y="970"/>
                  </a:lnTo>
                  <a:lnTo>
                    <a:pt x="424" y="976"/>
                  </a:lnTo>
                  <a:lnTo>
                    <a:pt x="399" y="987"/>
                  </a:lnTo>
                  <a:lnTo>
                    <a:pt x="376" y="995"/>
                  </a:lnTo>
                  <a:lnTo>
                    <a:pt x="356" y="1002"/>
                  </a:lnTo>
                  <a:lnTo>
                    <a:pt x="344" y="1006"/>
                  </a:lnTo>
                  <a:lnTo>
                    <a:pt x="336" y="1007"/>
                  </a:lnTo>
                  <a:lnTo>
                    <a:pt x="328" y="1007"/>
                  </a:lnTo>
                  <a:lnTo>
                    <a:pt x="319" y="1006"/>
                  </a:lnTo>
                  <a:lnTo>
                    <a:pt x="311" y="1004"/>
                  </a:lnTo>
                  <a:lnTo>
                    <a:pt x="303" y="1002"/>
                  </a:lnTo>
                  <a:lnTo>
                    <a:pt x="294" y="1000"/>
                  </a:lnTo>
                  <a:lnTo>
                    <a:pt x="286" y="1000"/>
                  </a:lnTo>
                  <a:lnTo>
                    <a:pt x="278" y="1001"/>
                  </a:lnTo>
                  <a:lnTo>
                    <a:pt x="278" y="1001"/>
                  </a:lnTo>
                  <a:lnTo>
                    <a:pt x="253" y="1028"/>
                  </a:lnTo>
                  <a:lnTo>
                    <a:pt x="228" y="1056"/>
                  </a:lnTo>
                  <a:lnTo>
                    <a:pt x="217" y="1072"/>
                  </a:lnTo>
                  <a:lnTo>
                    <a:pt x="207" y="1088"/>
                  </a:lnTo>
                  <a:lnTo>
                    <a:pt x="204" y="1096"/>
                  </a:lnTo>
                  <a:lnTo>
                    <a:pt x="199" y="1105"/>
                  </a:lnTo>
                  <a:lnTo>
                    <a:pt x="197" y="1114"/>
                  </a:lnTo>
                  <a:lnTo>
                    <a:pt x="195" y="1123"/>
                  </a:lnTo>
                  <a:lnTo>
                    <a:pt x="194" y="1130"/>
                  </a:lnTo>
                  <a:lnTo>
                    <a:pt x="196" y="1140"/>
                  </a:lnTo>
                  <a:lnTo>
                    <a:pt x="198" y="1149"/>
                  </a:lnTo>
                  <a:lnTo>
                    <a:pt x="201" y="1159"/>
                  </a:lnTo>
                  <a:lnTo>
                    <a:pt x="206" y="1169"/>
                  </a:lnTo>
                  <a:lnTo>
                    <a:pt x="209" y="1180"/>
                  </a:lnTo>
                  <a:lnTo>
                    <a:pt x="211" y="1189"/>
                  </a:lnTo>
                  <a:lnTo>
                    <a:pt x="212" y="1197"/>
                  </a:lnTo>
                  <a:lnTo>
                    <a:pt x="212" y="1206"/>
                  </a:lnTo>
                  <a:lnTo>
                    <a:pt x="211" y="1213"/>
                  </a:lnTo>
                  <a:lnTo>
                    <a:pt x="208" y="1220"/>
                  </a:lnTo>
                  <a:lnTo>
                    <a:pt x="205" y="1226"/>
                  </a:lnTo>
                  <a:lnTo>
                    <a:pt x="200" y="1233"/>
                  </a:lnTo>
                  <a:lnTo>
                    <a:pt x="194" y="1237"/>
                  </a:lnTo>
                  <a:lnTo>
                    <a:pt x="187" y="1240"/>
                  </a:lnTo>
                  <a:lnTo>
                    <a:pt x="180" y="1241"/>
                  </a:lnTo>
                  <a:lnTo>
                    <a:pt x="172" y="1241"/>
                  </a:lnTo>
                  <a:lnTo>
                    <a:pt x="167" y="1240"/>
                  </a:lnTo>
                  <a:lnTo>
                    <a:pt x="161" y="1238"/>
                  </a:lnTo>
                  <a:lnTo>
                    <a:pt x="157" y="1236"/>
                  </a:lnTo>
                  <a:lnTo>
                    <a:pt x="146" y="1229"/>
                  </a:lnTo>
                  <a:lnTo>
                    <a:pt x="137" y="1222"/>
                  </a:lnTo>
                  <a:lnTo>
                    <a:pt x="127" y="1215"/>
                  </a:lnTo>
                  <a:lnTo>
                    <a:pt x="117" y="1210"/>
                  </a:lnTo>
                  <a:lnTo>
                    <a:pt x="111" y="1209"/>
                  </a:lnTo>
                  <a:lnTo>
                    <a:pt x="105" y="1208"/>
                  </a:lnTo>
                  <a:lnTo>
                    <a:pt x="98" y="1208"/>
                  </a:lnTo>
                  <a:lnTo>
                    <a:pt x="90" y="1209"/>
                  </a:lnTo>
                  <a:lnTo>
                    <a:pt x="85" y="1212"/>
                  </a:lnTo>
                  <a:lnTo>
                    <a:pt x="80" y="1216"/>
                  </a:lnTo>
                  <a:lnTo>
                    <a:pt x="73" y="1221"/>
                  </a:lnTo>
                  <a:lnTo>
                    <a:pt x="67" y="1229"/>
                  </a:lnTo>
                  <a:lnTo>
                    <a:pt x="53" y="1246"/>
                  </a:lnTo>
                  <a:lnTo>
                    <a:pt x="40" y="1266"/>
                  </a:lnTo>
                  <a:lnTo>
                    <a:pt x="16" y="1307"/>
                  </a:lnTo>
                  <a:lnTo>
                    <a:pt x="0" y="1336"/>
                  </a:lnTo>
                  <a:lnTo>
                    <a:pt x="1" y="1341"/>
                  </a:lnTo>
                  <a:lnTo>
                    <a:pt x="4" y="1352"/>
                  </a:lnTo>
                  <a:lnTo>
                    <a:pt x="11" y="1365"/>
                  </a:lnTo>
                  <a:lnTo>
                    <a:pt x="17" y="1381"/>
                  </a:lnTo>
                  <a:lnTo>
                    <a:pt x="24" y="1397"/>
                  </a:lnTo>
                  <a:lnTo>
                    <a:pt x="32" y="1409"/>
                  </a:lnTo>
                  <a:lnTo>
                    <a:pt x="38" y="1418"/>
                  </a:lnTo>
                  <a:lnTo>
                    <a:pt x="42" y="1423"/>
                  </a:lnTo>
                  <a:lnTo>
                    <a:pt x="51" y="1424"/>
                  </a:lnTo>
                  <a:lnTo>
                    <a:pt x="62" y="1425"/>
                  </a:lnTo>
                  <a:lnTo>
                    <a:pt x="72" y="1425"/>
                  </a:lnTo>
                  <a:lnTo>
                    <a:pt x="83" y="1424"/>
                  </a:lnTo>
                  <a:lnTo>
                    <a:pt x="105" y="1422"/>
                  </a:lnTo>
                  <a:lnTo>
                    <a:pt x="125" y="1419"/>
                  </a:lnTo>
                  <a:lnTo>
                    <a:pt x="147" y="1417"/>
                  </a:lnTo>
                  <a:lnTo>
                    <a:pt x="168" y="1415"/>
                  </a:lnTo>
                  <a:lnTo>
                    <a:pt x="179" y="1415"/>
                  </a:lnTo>
                  <a:lnTo>
                    <a:pt x="188" y="1416"/>
                  </a:lnTo>
                  <a:lnTo>
                    <a:pt x="198" y="1417"/>
                  </a:lnTo>
                  <a:lnTo>
                    <a:pt x="208" y="1418"/>
                  </a:lnTo>
                  <a:lnTo>
                    <a:pt x="209" y="1437"/>
                  </a:lnTo>
                  <a:lnTo>
                    <a:pt x="211" y="1455"/>
                  </a:lnTo>
                  <a:lnTo>
                    <a:pt x="215" y="1470"/>
                  </a:lnTo>
                  <a:lnTo>
                    <a:pt x="220" y="1483"/>
                  </a:lnTo>
                  <a:lnTo>
                    <a:pt x="227" y="1496"/>
                  </a:lnTo>
                  <a:lnTo>
                    <a:pt x="235" y="1506"/>
                  </a:lnTo>
                  <a:lnTo>
                    <a:pt x="244" y="1514"/>
                  </a:lnTo>
                  <a:lnTo>
                    <a:pt x="255" y="1522"/>
                  </a:lnTo>
                  <a:lnTo>
                    <a:pt x="266" y="1527"/>
                  </a:lnTo>
                  <a:lnTo>
                    <a:pt x="279" y="1531"/>
                  </a:lnTo>
                  <a:lnTo>
                    <a:pt x="293" y="1533"/>
                  </a:lnTo>
                  <a:lnTo>
                    <a:pt x="308" y="1534"/>
                  </a:lnTo>
                  <a:lnTo>
                    <a:pt x="325" y="1533"/>
                  </a:lnTo>
                  <a:lnTo>
                    <a:pt x="341" y="1531"/>
                  </a:lnTo>
                  <a:lnTo>
                    <a:pt x="359" y="1528"/>
                  </a:lnTo>
                  <a:lnTo>
                    <a:pt x="378" y="1523"/>
                  </a:lnTo>
                  <a:lnTo>
                    <a:pt x="390" y="1518"/>
                  </a:lnTo>
                  <a:lnTo>
                    <a:pt x="403" y="1513"/>
                  </a:lnTo>
                  <a:lnTo>
                    <a:pt x="414" y="1507"/>
                  </a:lnTo>
                  <a:lnTo>
                    <a:pt x="426" y="1502"/>
                  </a:lnTo>
                  <a:lnTo>
                    <a:pt x="449" y="1489"/>
                  </a:lnTo>
                  <a:lnTo>
                    <a:pt x="473" y="1479"/>
                  </a:lnTo>
                  <a:lnTo>
                    <a:pt x="481" y="1477"/>
                  </a:lnTo>
                  <a:lnTo>
                    <a:pt x="489" y="1477"/>
                  </a:lnTo>
                  <a:lnTo>
                    <a:pt x="497" y="1478"/>
                  </a:lnTo>
                  <a:lnTo>
                    <a:pt x="505" y="1480"/>
                  </a:lnTo>
                  <a:lnTo>
                    <a:pt x="522" y="1486"/>
                  </a:lnTo>
                  <a:lnTo>
                    <a:pt x="538" y="1494"/>
                  </a:lnTo>
                  <a:lnTo>
                    <a:pt x="547" y="1497"/>
                  </a:lnTo>
                  <a:lnTo>
                    <a:pt x="555" y="1499"/>
                  </a:lnTo>
                  <a:lnTo>
                    <a:pt x="563" y="1500"/>
                  </a:lnTo>
                  <a:lnTo>
                    <a:pt x="573" y="1500"/>
                  </a:lnTo>
                  <a:lnTo>
                    <a:pt x="582" y="1498"/>
                  </a:lnTo>
                  <a:lnTo>
                    <a:pt x="591" y="1494"/>
                  </a:lnTo>
                  <a:lnTo>
                    <a:pt x="602" y="1487"/>
                  </a:lnTo>
                  <a:lnTo>
                    <a:pt x="612" y="1478"/>
                  </a:lnTo>
                  <a:lnTo>
                    <a:pt x="621" y="1471"/>
                  </a:lnTo>
                  <a:lnTo>
                    <a:pt x="631" y="1465"/>
                  </a:lnTo>
                  <a:lnTo>
                    <a:pt x="643" y="1460"/>
                  </a:lnTo>
                  <a:lnTo>
                    <a:pt x="656" y="1456"/>
                  </a:lnTo>
                  <a:lnTo>
                    <a:pt x="671" y="1452"/>
                  </a:lnTo>
                  <a:lnTo>
                    <a:pt x="686" y="1449"/>
                  </a:lnTo>
                  <a:lnTo>
                    <a:pt x="703" y="1447"/>
                  </a:lnTo>
                  <a:lnTo>
                    <a:pt x="720" y="1446"/>
                  </a:lnTo>
                  <a:lnTo>
                    <a:pt x="737" y="1445"/>
                  </a:lnTo>
                  <a:lnTo>
                    <a:pt x="754" y="1445"/>
                  </a:lnTo>
                  <a:lnTo>
                    <a:pt x="770" y="1445"/>
                  </a:lnTo>
                  <a:lnTo>
                    <a:pt x="785" y="1446"/>
                  </a:lnTo>
                  <a:lnTo>
                    <a:pt x="801" y="1448"/>
                  </a:lnTo>
                  <a:lnTo>
                    <a:pt x="815" y="1450"/>
                  </a:lnTo>
                  <a:lnTo>
                    <a:pt x="826" y="1453"/>
                  </a:lnTo>
                  <a:lnTo>
                    <a:pt x="836" y="1456"/>
                  </a:lnTo>
                  <a:lnTo>
                    <a:pt x="840" y="1458"/>
                  </a:lnTo>
                  <a:lnTo>
                    <a:pt x="843" y="1460"/>
                  </a:lnTo>
                  <a:lnTo>
                    <a:pt x="845" y="1463"/>
                  </a:lnTo>
                  <a:lnTo>
                    <a:pt x="847" y="1466"/>
                  </a:lnTo>
                  <a:lnTo>
                    <a:pt x="849" y="1474"/>
                  </a:lnTo>
                  <a:lnTo>
                    <a:pt x="849" y="1482"/>
                  </a:lnTo>
                  <a:lnTo>
                    <a:pt x="848" y="1491"/>
                  </a:lnTo>
                  <a:lnTo>
                    <a:pt x="846" y="1502"/>
                  </a:lnTo>
                  <a:lnTo>
                    <a:pt x="843" y="1513"/>
                  </a:lnTo>
                  <a:lnTo>
                    <a:pt x="839" y="1526"/>
                  </a:lnTo>
                  <a:lnTo>
                    <a:pt x="835" y="1538"/>
                  </a:lnTo>
                  <a:lnTo>
                    <a:pt x="832" y="1551"/>
                  </a:lnTo>
                  <a:lnTo>
                    <a:pt x="830" y="1563"/>
                  </a:lnTo>
                  <a:lnTo>
                    <a:pt x="829" y="1575"/>
                  </a:lnTo>
                  <a:lnTo>
                    <a:pt x="829" y="1587"/>
                  </a:lnTo>
                  <a:lnTo>
                    <a:pt x="831" y="1599"/>
                  </a:lnTo>
                  <a:lnTo>
                    <a:pt x="832" y="1604"/>
                  </a:lnTo>
                  <a:lnTo>
                    <a:pt x="835" y="1609"/>
                  </a:lnTo>
                  <a:lnTo>
                    <a:pt x="838" y="1614"/>
                  </a:lnTo>
                  <a:lnTo>
                    <a:pt x="842" y="1619"/>
                  </a:lnTo>
                  <a:lnTo>
                    <a:pt x="859" y="1635"/>
                  </a:lnTo>
                  <a:lnTo>
                    <a:pt x="878" y="1652"/>
                  </a:lnTo>
                  <a:lnTo>
                    <a:pt x="897" y="1668"/>
                  </a:lnTo>
                  <a:lnTo>
                    <a:pt x="918" y="1682"/>
                  </a:lnTo>
                  <a:lnTo>
                    <a:pt x="922" y="1694"/>
                  </a:lnTo>
                  <a:lnTo>
                    <a:pt x="925" y="1706"/>
                  </a:lnTo>
                  <a:lnTo>
                    <a:pt x="927" y="1719"/>
                  </a:lnTo>
                  <a:lnTo>
                    <a:pt x="928" y="1731"/>
                  </a:lnTo>
                  <a:lnTo>
                    <a:pt x="929" y="1744"/>
                  </a:lnTo>
                  <a:lnTo>
                    <a:pt x="928" y="1756"/>
                  </a:lnTo>
                  <a:lnTo>
                    <a:pt x="927" y="1769"/>
                  </a:lnTo>
                  <a:lnTo>
                    <a:pt x="925" y="1783"/>
                  </a:lnTo>
                  <a:lnTo>
                    <a:pt x="923" y="1797"/>
                  </a:lnTo>
                  <a:lnTo>
                    <a:pt x="922" y="1809"/>
                  </a:lnTo>
                  <a:lnTo>
                    <a:pt x="923" y="1818"/>
                  </a:lnTo>
                  <a:lnTo>
                    <a:pt x="925" y="1825"/>
                  </a:lnTo>
                  <a:lnTo>
                    <a:pt x="928" y="1834"/>
                  </a:lnTo>
                  <a:lnTo>
                    <a:pt x="933" y="1841"/>
                  </a:lnTo>
                  <a:lnTo>
                    <a:pt x="940" y="1849"/>
                  </a:lnTo>
                  <a:lnTo>
                    <a:pt x="949" y="1860"/>
                  </a:lnTo>
                  <a:lnTo>
                    <a:pt x="956" y="1870"/>
                  </a:lnTo>
                  <a:lnTo>
                    <a:pt x="964" y="1883"/>
                  </a:lnTo>
                  <a:lnTo>
                    <a:pt x="970" y="1897"/>
                  </a:lnTo>
                  <a:lnTo>
                    <a:pt x="975" y="1913"/>
                  </a:lnTo>
                  <a:lnTo>
                    <a:pt x="986" y="1947"/>
                  </a:lnTo>
                  <a:lnTo>
                    <a:pt x="995" y="1985"/>
                  </a:lnTo>
                  <a:lnTo>
                    <a:pt x="1000" y="2005"/>
                  </a:lnTo>
                  <a:lnTo>
                    <a:pt x="1005" y="2024"/>
                  </a:lnTo>
                  <a:lnTo>
                    <a:pt x="1012" y="2043"/>
                  </a:lnTo>
                  <a:lnTo>
                    <a:pt x="1019" y="2061"/>
                  </a:lnTo>
                  <a:lnTo>
                    <a:pt x="1026" y="2079"/>
                  </a:lnTo>
                  <a:lnTo>
                    <a:pt x="1036" y="2095"/>
                  </a:lnTo>
                  <a:lnTo>
                    <a:pt x="1045" y="2111"/>
                  </a:lnTo>
                  <a:lnTo>
                    <a:pt x="1056" y="2126"/>
                  </a:lnTo>
                  <a:lnTo>
                    <a:pt x="1058" y="2130"/>
                  </a:lnTo>
                  <a:lnTo>
                    <a:pt x="1060" y="2134"/>
                  </a:lnTo>
                  <a:lnTo>
                    <a:pt x="1060" y="2134"/>
                  </a:lnTo>
                  <a:lnTo>
                    <a:pt x="1074" y="2135"/>
                  </a:lnTo>
                  <a:lnTo>
                    <a:pt x="1097" y="2135"/>
                  </a:lnTo>
                  <a:lnTo>
                    <a:pt x="1125" y="2136"/>
                  </a:lnTo>
                  <a:lnTo>
                    <a:pt x="1154" y="2136"/>
                  </a:lnTo>
                  <a:lnTo>
                    <a:pt x="1184" y="2135"/>
                  </a:lnTo>
                  <a:lnTo>
                    <a:pt x="1209" y="2133"/>
                  </a:lnTo>
                  <a:lnTo>
                    <a:pt x="1220" y="2131"/>
                  </a:lnTo>
                  <a:lnTo>
                    <a:pt x="1229" y="2128"/>
                  </a:lnTo>
                  <a:lnTo>
                    <a:pt x="1235" y="2125"/>
                  </a:lnTo>
                  <a:lnTo>
                    <a:pt x="1239" y="2121"/>
                  </a:lnTo>
                  <a:lnTo>
                    <a:pt x="1246" y="2116"/>
                  </a:lnTo>
                  <a:lnTo>
                    <a:pt x="1251" y="2112"/>
                  </a:lnTo>
                  <a:lnTo>
                    <a:pt x="1257" y="2107"/>
                  </a:lnTo>
                  <a:lnTo>
                    <a:pt x="1260" y="2102"/>
                  </a:lnTo>
                  <a:lnTo>
                    <a:pt x="1262" y="2097"/>
                  </a:lnTo>
                  <a:lnTo>
                    <a:pt x="1264" y="2090"/>
                  </a:lnTo>
                  <a:lnTo>
                    <a:pt x="1265" y="2084"/>
                  </a:lnTo>
                  <a:lnTo>
                    <a:pt x="1266" y="2077"/>
                  </a:lnTo>
                  <a:lnTo>
                    <a:pt x="1267" y="2064"/>
                  </a:lnTo>
                  <a:lnTo>
                    <a:pt x="1268" y="2052"/>
                  </a:lnTo>
                  <a:lnTo>
                    <a:pt x="1269" y="2045"/>
                  </a:lnTo>
                  <a:lnTo>
                    <a:pt x="1270" y="2039"/>
                  </a:lnTo>
                  <a:lnTo>
                    <a:pt x="1272" y="2034"/>
                  </a:lnTo>
                  <a:lnTo>
                    <a:pt x="1275" y="2030"/>
                  </a:lnTo>
                  <a:lnTo>
                    <a:pt x="1284" y="2028"/>
                  </a:lnTo>
                  <a:lnTo>
                    <a:pt x="1292" y="2027"/>
                  </a:lnTo>
                  <a:lnTo>
                    <a:pt x="1300" y="2026"/>
                  </a:lnTo>
                  <a:lnTo>
                    <a:pt x="1309" y="2026"/>
                  </a:lnTo>
                  <a:lnTo>
                    <a:pt x="1318" y="2027"/>
                  </a:lnTo>
                  <a:lnTo>
                    <a:pt x="1327" y="2026"/>
                  </a:lnTo>
                  <a:lnTo>
                    <a:pt x="1336" y="2025"/>
                  </a:lnTo>
                  <a:lnTo>
                    <a:pt x="1344" y="2022"/>
                  </a:lnTo>
                  <a:lnTo>
                    <a:pt x="1349" y="2020"/>
                  </a:lnTo>
                  <a:lnTo>
                    <a:pt x="1354" y="2017"/>
                  </a:lnTo>
                  <a:lnTo>
                    <a:pt x="1358" y="2014"/>
                  </a:lnTo>
                  <a:lnTo>
                    <a:pt x="1362" y="2010"/>
                  </a:lnTo>
                  <a:lnTo>
                    <a:pt x="1369" y="2002"/>
                  </a:lnTo>
                  <a:lnTo>
                    <a:pt x="1377" y="1992"/>
                  </a:lnTo>
                  <a:lnTo>
                    <a:pt x="1389" y="1971"/>
                  </a:lnTo>
                  <a:lnTo>
                    <a:pt x="1403" y="1954"/>
                  </a:lnTo>
                  <a:lnTo>
                    <a:pt x="1403" y="1954"/>
                  </a:lnTo>
                  <a:lnTo>
                    <a:pt x="1404" y="1931"/>
                  </a:lnTo>
                  <a:lnTo>
                    <a:pt x="1405" y="1906"/>
                  </a:lnTo>
                  <a:lnTo>
                    <a:pt x="1407" y="1894"/>
                  </a:lnTo>
                  <a:lnTo>
                    <a:pt x="1410" y="1883"/>
                  </a:lnTo>
                  <a:lnTo>
                    <a:pt x="1412" y="1877"/>
                  </a:lnTo>
                  <a:lnTo>
                    <a:pt x="1414" y="1872"/>
                  </a:lnTo>
                  <a:lnTo>
                    <a:pt x="1417" y="1868"/>
                  </a:lnTo>
                  <a:lnTo>
                    <a:pt x="1421" y="1864"/>
                  </a:lnTo>
                  <a:lnTo>
                    <a:pt x="1440" y="1848"/>
                  </a:lnTo>
                  <a:lnTo>
                    <a:pt x="1460" y="1834"/>
                  </a:lnTo>
                  <a:lnTo>
                    <a:pt x="1479" y="1819"/>
                  </a:lnTo>
                  <a:lnTo>
                    <a:pt x="1498" y="1803"/>
                  </a:lnTo>
                  <a:lnTo>
                    <a:pt x="1508" y="1794"/>
                  </a:lnTo>
                  <a:lnTo>
                    <a:pt x="1516" y="1784"/>
                  </a:lnTo>
                  <a:lnTo>
                    <a:pt x="1518" y="1778"/>
                  </a:lnTo>
                  <a:lnTo>
                    <a:pt x="1520" y="1772"/>
                  </a:lnTo>
                  <a:lnTo>
                    <a:pt x="1520" y="1766"/>
                  </a:lnTo>
                  <a:lnTo>
                    <a:pt x="1518" y="1757"/>
                  </a:lnTo>
                  <a:lnTo>
                    <a:pt x="1515" y="1750"/>
                  </a:lnTo>
                  <a:lnTo>
                    <a:pt x="1510" y="1744"/>
                  </a:lnTo>
                  <a:lnTo>
                    <a:pt x="1504" y="1738"/>
                  </a:lnTo>
                  <a:lnTo>
                    <a:pt x="1498" y="1733"/>
                  </a:lnTo>
                  <a:lnTo>
                    <a:pt x="1489" y="1729"/>
                  </a:lnTo>
                  <a:lnTo>
                    <a:pt x="1482" y="1726"/>
                  </a:lnTo>
                  <a:lnTo>
                    <a:pt x="1474" y="1724"/>
                  </a:lnTo>
                  <a:lnTo>
                    <a:pt x="1466" y="1722"/>
                  </a:lnTo>
                  <a:lnTo>
                    <a:pt x="1457" y="1712"/>
                  </a:lnTo>
                  <a:lnTo>
                    <a:pt x="1451" y="1704"/>
                  </a:lnTo>
                  <a:lnTo>
                    <a:pt x="1449" y="1700"/>
                  </a:lnTo>
                  <a:lnTo>
                    <a:pt x="1446" y="1695"/>
                  </a:lnTo>
                  <a:lnTo>
                    <a:pt x="1446" y="1689"/>
                  </a:lnTo>
                  <a:lnTo>
                    <a:pt x="1446" y="1679"/>
                  </a:lnTo>
                  <a:lnTo>
                    <a:pt x="1447" y="1673"/>
                  </a:lnTo>
                  <a:lnTo>
                    <a:pt x="1450" y="1667"/>
                  </a:lnTo>
                  <a:lnTo>
                    <a:pt x="1452" y="1660"/>
                  </a:lnTo>
                  <a:lnTo>
                    <a:pt x="1455" y="1654"/>
                  </a:lnTo>
                  <a:lnTo>
                    <a:pt x="1458" y="1648"/>
                  </a:lnTo>
                  <a:lnTo>
                    <a:pt x="1461" y="1641"/>
                  </a:lnTo>
                  <a:lnTo>
                    <a:pt x="1463" y="1634"/>
                  </a:lnTo>
                  <a:lnTo>
                    <a:pt x="1464" y="1628"/>
                  </a:lnTo>
                  <a:lnTo>
                    <a:pt x="1467" y="1618"/>
                  </a:lnTo>
                  <a:lnTo>
                    <a:pt x="1468" y="1607"/>
                  </a:lnTo>
                  <a:lnTo>
                    <a:pt x="1470" y="1595"/>
                  </a:lnTo>
                  <a:lnTo>
                    <a:pt x="1470" y="1582"/>
                  </a:lnTo>
                  <a:lnTo>
                    <a:pt x="1472" y="1556"/>
                  </a:lnTo>
                  <a:lnTo>
                    <a:pt x="1475" y="1534"/>
                  </a:lnTo>
                  <a:lnTo>
                    <a:pt x="1476" y="1524"/>
                  </a:lnTo>
                  <a:lnTo>
                    <a:pt x="1475" y="1513"/>
                  </a:lnTo>
                  <a:lnTo>
                    <a:pt x="1474" y="1504"/>
                  </a:lnTo>
                  <a:lnTo>
                    <a:pt x="1470" y="1495"/>
                  </a:lnTo>
                  <a:lnTo>
                    <a:pt x="1466" y="1486"/>
                  </a:lnTo>
                  <a:lnTo>
                    <a:pt x="1461" y="1478"/>
                  </a:lnTo>
                  <a:lnTo>
                    <a:pt x="1454" y="1472"/>
                  </a:lnTo>
                  <a:lnTo>
                    <a:pt x="1445" y="1465"/>
                  </a:lnTo>
                  <a:lnTo>
                    <a:pt x="1437" y="1459"/>
                  </a:lnTo>
                  <a:lnTo>
                    <a:pt x="1430" y="1452"/>
                  </a:lnTo>
                  <a:lnTo>
                    <a:pt x="1423" y="1445"/>
                  </a:lnTo>
                  <a:lnTo>
                    <a:pt x="1419" y="1435"/>
                  </a:lnTo>
                  <a:lnTo>
                    <a:pt x="1415" y="1426"/>
                  </a:lnTo>
                  <a:lnTo>
                    <a:pt x="1413" y="1416"/>
                  </a:lnTo>
                  <a:lnTo>
                    <a:pt x="1412" y="1407"/>
                  </a:lnTo>
                  <a:lnTo>
                    <a:pt x="1412" y="1397"/>
                  </a:lnTo>
                  <a:lnTo>
                    <a:pt x="1413" y="1387"/>
                  </a:lnTo>
                  <a:lnTo>
                    <a:pt x="1415" y="1378"/>
                  </a:lnTo>
                  <a:lnTo>
                    <a:pt x="1419" y="1368"/>
                  </a:lnTo>
                  <a:lnTo>
                    <a:pt x="1425" y="1359"/>
                  </a:lnTo>
                  <a:lnTo>
                    <a:pt x="1430" y="1351"/>
                  </a:lnTo>
                  <a:lnTo>
                    <a:pt x="1437" y="1343"/>
                  </a:lnTo>
                  <a:lnTo>
                    <a:pt x="1446" y="1337"/>
                  </a:lnTo>
                  <a:lnTo>
                    <a:pt x="1456" y="1332"/>
                  </a:lnTo>
                  <a:lnTo>
                    <a:pt x="1458" y="1326"/>
                  </a:lnTo>
                  <a:lnTo>
                    <a:pt x="1461" y="1320"/>
                  </a:lnTo>
                  <a:lnTo>
                    <a:pt x="1464" y="1315"/>
                  </a:lnTo>
                  <a:lnTo>
                    <a:pt x="1468" y="1311"/>
                  </a:lnTo>
                  <a:lnTo>
                    <a:pt x="1478" y="1304"/>
                  </a:lnTo>
                  <a:lnTo>
                    <a:pt x="1487" y="1295"/>
                  </a:lnTo>
                  <a:lnTo>
                    <a:pt x="1491" y="1291"/>
                  </a:lnTo>
                  <a:lnTo>
                    <a:pt x="1495" y="1287"/>
                  </a:lnTo>
                  <a:lnTo>
                    <a:pt x="1500" y="1282"/>
                  </a:lnTo>
                  <a:lnTo>
                    <a:pt x="1503" y="1277"/>
                  </a:lnTo>
                  <a:lnTo>
                    <a:pt x="1506" y="1270"/>
                  </a:lnTo>
                  <a:lnTo>
                    <a:pt x="1508" y="1263"/>
                  </a:lnTo>
                  <a:lnTo>
                    <a:pt x="1510" y="1255"/>
                  </a:lnTo>
                  <a:lnTo>
                    <a:pt x="1510" y="1245"/>
                  </a:lnTo>
                  <a:lnTo>
                    <a:pt x="1509" y="1237"/>
                  </a:lnTo>
                  <a:lnTo>
                    <a:pt x="1506" y="1226"/>
                  </a:lnTo>
                  <a:lnTo>
                    <a:pt x="1502" y="1215"/>
                  </a:lnTo>
                  <a:lnTo>
                    <a:pt x="1496" y="1202"/>
                  </a:lnTo>
                  <a:lnTo>
                    <a:pt x="1492" y="1190"/>
                  </a:lnTo>
                  <a:lnTo>
                    <a:pt x="1490" y="1178"/>
                  </a:lnTo>
                  <a:lnTo>
                    <a:pt x="1490" y="1173"/>
                  </a:lnTo>
                  <a:lnTo>
                    <a:pt x="1491" y="1169"/>
                  </a:lnTo>
                  <a:lnTo>
                    <a:pt x="1492" y="1165"/>
                  </a:lnTo>
                  <a:lnTo>
                    <a:pt x="1494" y="1162"/>
                  </a:lnTo>
                  <a:lnTo>
                    <a:pt x="1506" y="1151"/>
                  </a:lnTo>
                  <a:lnTo>
                    <a:pt x="1517" y="1143"/>
                  </a:lnTo>
                  <a:lnTo>
                    <a:pt x="1529" y="1136"/>
                  </a:lnTo>
                  <a:lnTo>
                    <a:pt x="1540" y="1129"/>
                  </a:lnTo>
                  <a:lnTo>
                    <a:pt x="1562" y="1118"/>
                  </a:lnTo>
                  <a:lnTo>
                    <a:pt x="1582" y="1105"/>
                  </a:lnTo>
                  <a:lnTo>
                    <a:pt x="1591" y="1099"/>
                  </a:lnTo>
                  <a:lnTo>
                    <a:pt x="1600" y="1092"/>
                  </a:lnTo>
                  <a:lnTo>
                    <a:pt x="1607" y="1084"/>
                  </a:lnTo>
                  <a:lnTo>
                    <a:pt x="1612" y="1073"/>
                  </a:lnTo>
                  <a:lnTo>
                    <a:pt x="1616" y="1062"/>
                  </a:lnTo>
                  <a:lnTo>
                    <a:pt x="1620" y="1048"/>
                  </a:lnTo>
                  <a:lnTo>
                    <a:pt x="1621" y="1031"/>
                  </a:lnTo>
                  <a:lnTo>
                    <a:pt x="1620" y="1013"/>
                  </a:lnTo>
                  <a:lnTo>
                    <a:pt x="1626" y="995"/>
                  </a:lnTo>
                  <a:lnTo>
                    <a:pt x="1629" y="980"/>
                  </a:lnTo>
                  <a:lnTo>
                    <a:pt x="1630" y="968"/>
                  </a:lnTo>
                  <a:lnTo>
                    <a:pt x="1632" y="956"/>
                  </a:lnTo>
                  <a:lnTo>
                    <a:pt x="1633" y="951"/>
                  </a:lnTo>
                  <a:lnTo>
                    <a:pt x="1635" y="946"/>
                  </a:lnTo>
                  <a:lnTo>
                    <a:pt x="1637" y="940"/>
                  </a:lnTo>
                  <a:lnTo>
                    <a:pt x="1641" y="934"/>
                  </a:lnTo>
                  <a:lnTo>
                    <a:pt x="1646" y="928"/>
                  </a:lnTo>
                  <a:lnTo>
                    <a:pt x="1652" y="921"/>
                  </a:lnTo>
                  <a:lnTo>
                    <a:pt x="1659" y="913"/>
                  </a:lnTo>
                  <a:lnTo>
                    <a:pt x="1667" y="906"/>
                  </a:lnTo>
                  <a:lnTo>
                    <a:pt x="1678" y="897"/>
                  </a:lnTo>
                  <a:lnTo>
                    <a:pt x="1688" y="887"/>
                  </a:lnTo>
                  <a:lnTo>
                    <a:pt x="1698" y="876"/>
                  </a:lnTo>
                  <a:lnTo>
                    <a:pt x="1706" y="863"/>
                  </a:lnTo>
                  <a:lnTo>
                    <a:pt x="1709" y="857"/>
                  </a:lnTo>
                  <a:lnTo>
                    <a:pt x="1712" y="851"/>
                  </a:lnTo>
                  <a:lnTo>
                    <a:pt x="1714" y="845"/>
                  </a:lnTo>
                  <a:lnTo>
                    <a:pt x="1715" y="837"/>
                  </a:lnTo>
                  <a:lnTo>
                    <a:pt x="1716" y="831"/>
                  </a:lnTo>
                  <a:lnTo>
                    <a:pt x="1715" y="824"/>
                  </a:lnTo>
                  <a:lnTo>
                    <a:pt x="1714" y="818"/>
                  </a:lnTo>
                  <a:lnTo>
                    <a:pt x="1711" y="810"/>
                  </a:lnTo>
                  <a:lnTo>
                    <a:pt x="1707" y="801"/>
                  </a:lnTo>
                  <a:lnTo>
                    <a:pt x="1704" y="789"/>
                  </a:lnTo>
                  <a:lnTo>
                    <a:pt x="1701" y="778"/>
                  </a:lnTo>
                  <a:lnTo>
                    <a:pt x="1698" y="765"/>
                  </a:lnTo>
                  <a:lnTo>
                    <a:pt x="1696" y="752"/>
                  </a:lnTo>
                  <a:lnTo>
                    <a:pt x="1695" y="737"/>
                  </a:lnTo>
                  <a:lnTo>
                    <a:pt x="1694" y="724"/>
                  </a:lnTo>
                  <a:lnTo>
                    <a:pt x="1695" y="710"/>
                  </a:lnTo>
                  <a:lnTo>
                    <a:pt x="1696" y="696"/>
                  </a:lnTo>
                  <a:lnTo>
                    <a:pt x="1698" y="684"/>
                  </a:lnTo>
                  <a:lnTo>
                    <a:pt x="1702" y="671"/>
                  </a:lnTo>
                  <a:lnTo>
                    <a:pt x="1707" y="660"/>
                  </a:lnTo>
                  <a:lnTo>
                    <a:pt x="1713" y="651"/>
                  </a:lnTo>
                  <a:lnTo>
                    <a:pt x="1721" y="642"/>
                  </a:lnTo>
                  <a:lnTo>
                    <a:pt x="1725" y="639"/>
                  </a:lnTo>
                  <a:lnTo>
                    <a:pt x="1730" y="636"/>
                  </a:lnTo>
                  <a:lnTo>
                    <a:pt x="1735" y="633"/>
                  </a:lnTo>
                  <a:lnTo>
                    <a:pt x="1740" y="631"/>
                  </a:lnTo>
                  <a:lnTo>
                    <a:pt x="1752" y="628"/>
                  </a:lnTo>
                  <a:lnTo>
                    <a:pt x="1761" y="627"/>
                  </a:lnTo>
                  <a:lnTo>
                    <a:pt x="1772" y="626"/>
                  </a:lnTo>
                  <a:lnTo>
                    <a:pt x="1780" y="626"/>
                  </a:lnTo>
                  <a:lnTo>
                    <a:pt x="1788" y="626"/>
                  </a:lnTo>
                  <a:lnTo>
                    <a:pt x="1797" y="628"/>
                  </a:lnTo>
                  <a:lnTo>
                    <a:pt x="1805" y="629"/>
                  </a:lnTo>
                  <a:lnTo>
                    <a:pt x="1812" y="632"/>
                  </a:lnTo>
                  <a:lnTo>
                    <a:pt x="1828" y="636"/>
                  </a:lnTo>
                  <a:lnTo>
                    <a:pt x="1845" y="641"/>
                  </a:lnTo>
                  <a:lnTo>
                    <a:pt x="1861" y="646"/>
                  </a:lnTo>
                  <a:lnTo>
                    <a:pt x="1881" y="649"/>
                  </a:lnTo>
                  <a:lnTo>
                    <a:pt x="1889" y="650"/>
                  </a:lnTo>
                  <a:lnTo>
                    <a:pt x="1895" y="652"/>
                  </a:lnTo>
                  <a:lnTo>
                    <a:pt x="1902" y="654"/>
                  </a:lnTo>
                  <a:lnTo>
                    <a:pt x="1908" y="656"/>
                  </a:lnTo>
                  <a:lnTo>
                    <a:pt x="1920" y="662"/>
                  </a:lnTo>
                  <a:lnTo>
                    <a:pt x="1930" y="669"/>
                  </a:lnTo>
                  <a:lnTo>
                    <a:pt x="1941" y="678"/>
                  </a:lnTo>
                  <a:lnTo>
                    <a:pt x="1950" y="687"/>
                  </a:lnTo>
                  <a:lnTo>
                    <a:pt x="1958" y="696"/>
                  </a:lnTo>
                  <a:lnTo>
                    <a:pt x="1967" y="706"/>
                  </a:lnTo>
                  <a:lnTo>
                    <a:pt x="1975" y="715"/>
                  </a:lnTo>
                  <a:lnTo>
                    <a:pt x="1983" y="724"/>
                  </a:lnTo>
                  <a:lnTo>
                    <a:pt x="1993" y="732"/>
                  </a:lnTo>
                  <a:lnTo>
                    <a:pt x="2002" y="738"/>
                  </a:lnTo>
                  <a:lnTo>
                    <a:pt x="2012" y="743"/>
                  </a:lnTo>
                  <a:lnTo>
                    <a:pt x="2022" y="748"/>
                  </a:lnTo>
                  <a:lnTo>
                    <a:pt x="2027" y="749"/>
                  </a:lnTo>
                  <a:lnTo>
                    <a:pt x="2033" y="749"/>
                  </a:lnTo>
                  <a:lnTo>
                    <a:pt x="2040" y="749"/>
                  </a:lnTo>
                  <a:lnTo>
                    <a:pt x="2046" y="748"/>
                  </a:lnTo>
                  <a:lnTo>
                    <a:pt x="2059" y="743"/>
                  </a:lnTo>
                  <a:lnTo>
                    <a:pt x="2073" y="738"/>
                  </a:lnTo>
                  <a:lnTo>
                    <a:pt x="2087" y="732"/>
                  </a:lnTo>
                  <a:lnTo>
                    <a:pt x="2100" y="725"/>
                  </a:lnTo>
                  <a:lnTo>
                    <a:pt x="2125" y="708"/>
                  </a:lnTo>
                  <a:lnTo>
                    <a:pt x="2149" y="690"/>
                  </a:lnTo>
                  <a:lnTo>
                    <a:pt x="2166" y="678"/>
                  </a:lnTo>
                  <a:lnTo>
                    <a:pt x="2178" y="667"/>
                  </a:lnTo>
                  <a:lnTo>
                    <a:pt x="2189" y="660"/>
                  </a:lnTo>
                  <a:lnTo>
                    <a:pt x="2197" y="655"/>
                  </a:lnTo>
                  <a:lnTo>
                    <a:pt x="2208" y="652"/>
                  </a:lnTo>
                  <a:lnTo>
                    <a:pt x="2220" y="651"/>
                  </a:lnTo>
                  <a:lnTo>
                    <a:pt x="2237" y="650"/>
                  </a:lnTo>
                  <a:lnTo>
                    <a:pt x="2261" y="650"/>
                  </a:lnTo>
                  <a:lnTo>
                    <a:pt x="2284" y="650"/>
                  </a:lnTo>
                  <a:lnTo>
                    <a:pt x="2306" y="650"/>
                  </a:lnTo>
                  <a:lnTo>
                    <a:pt x="2324" y="650"/>
                  </a:lnTo>
                  <a:lnTo>
                    <a:pt x="2341" y="646"/>
                  </a:lnTo>
                  <a:lnTo>
                    <a:pt x="2349" y="644"/>
                  </a:lnTo>
                  <a:lnTo>
                    <a:pt x="2357" y="641"/>
                  </a:lnTo>
                  <a:lnTo>
                    <a:pt x="2365" y="638"/>
                  </a:lnTo>
                  <a:lnTo>
                    <a:pt x="2372" y="633"/>
                  </a:lnTo>
                  <a:lnTo>
                    <a:pt x="2380" y="628"/>
                  </a:lnTo>
                  <a:lnTo>
                    <a:pt x="2387" y="621"/>
                  </a:lnTo>
                  <a:lnTo>
                    <a:pt x="2395" y="613"/>
                  </a:lnTo>
                  <a:lnTo>
                    <a:pt x="2403" y="604"/>
                  </a:lnTo>
                  <a:lnTo>
                    <a:pt x="2488" y="492"/>
                  </a:lnTo>
                  <a:lnTo>
                    <a:pt x="2492" y="490"/>
                  </a:lnTo>
                  <a:lnTo>
                    <a:pt x="2496" y="485"/>
                  </a:lnTo>
                  <a:lnTo>
                    <a:pt x="2507" y="481"/>
                  </a:lnTo>
                  <a:lnTo>
                    <a:pt x="2517" y="478"/>
                  </a:lnTo>
                  <a:lnTo>
                    <a:pt x="2528" y="476"/>
                  </a:lnTo>
                  <a:lnTo>
                    <a:pt x="2537" y="475"/>
                  </a:lnTo>
                  <a:lnTo>
                    <a:pt x="2546" y="473"/>
                  </a:lnTo>
                  <a:lnTo>
                    <a:pt x="2555" y="471"/>
                  </a:lnTo>
                  <a:lnTo>
                    <a:pt x="2560" y="469"/>
                  </a:lnTo>
                  <a:lnTo>
                    <a:pt x="2564" y="466"/>
                  </a:lnTo>
                  <a:lnTo>
                    <a:pt x="2568" y="463"/>
                  </a:lnTo>
                  <a:lnTo>
                    <a:pt x="2574" y="460"/>
                  </a:lnTo>
                  <a:lnTo>
                    <a:pt x="2579" y="452"/>
                  </a:lnTo>
                  <a:lnTo>
                    <a:pt x="2584" y="445"/>
                  </a:lnTo>
                  <a:lnTo>
                    <a:pt x="2588" y="436"/>
                  </a:lnTo>
                  <a:lnTo>
                    <a:pt x="2591" y="427"/>
                  </a:lnTo>
                  <a:lnTo>
                    <a:pt x="2594" y="418"/>
                  </a:lnTo>
                  <a:lnTo>
                    <a:pt x="2598" y="410"/>
                  </a:lnTo>
                  <a:lnTo>
                    <a:pt x="2602" y="401"/>
                  </a:lnTo>
                  <a:lnTo>
                    <a:pt x="2606" y="393"/>
                  </a:lnTo>
                  <a:lnTo>
                    <a:pt x="2606" y="393"/>
                  </a:lnTo>
                  <a:lnTo>
                    <a:pt x="2579" y="385"/>
                  </a:lnTo>
                  <a:lnTo>
                    <a:pt x="2544" y="373"/>
                  </a:lnTo>
                  <a:lnTo>
                    <a:pt x="2505" y="361"/>
                  </a:lnTo>
                  <a:lnTo>
                    <a:pt x="2464" y="347"/>
                  </a:lnTo>
                  <a:lnTo>
                    <a:pt x="2444" y="340"/>
                  </a:lnTo>
                  <a:lnTo>
                    <a:pt x="2425" y="331"/>
                  </a:lnTo>
                  <a:lnTo>
                    <a:pt x="2408" y="324"/>
                  </a:lnTo>
                  <a:lnTo>
                    <a:pt x="2392" y="316"/>
                  </a:lnTo>
                  <a:lnTo>
                    <a:pt x="2378" y="307"/>
                  </a:lnTo>
                  <a:lnTo>
                    <a:pt x="2366" y="299"/>
                  </a:lnTo>
                  <a:lnTo>
                    <a:pt x="2361" y="296"/>
                  </a:lnTo>
                  <a:lnTo>
                    <a:pt x="2358" y="292"/>
                  </a:lnTo>
                  <a:lnTo>
                    <a:pt x="2354" y="288"/>
                  </a:lnTo>
                  <a:lnTo>
                    <a:pt x="2351" y="283"/>
                  </a:lnTo>
                  <a:lnTo>
                    <a:pt x="2339" y="255"/>
                  </a:lnTo>
                  <a:lnTo>
                    <a:pt x="2330" y="233"/>
                  </a:lnTo>
                  <a:lnTo>
                    <a:pt x="2323" y="223"/>
                  </a:lnTo>
                  <a:lnTo>
                    <a:pt x="2316" y="212"/>
                  </a:lnTo>
                  <a:lnTo>
                    <a:pt x="2307" y="202"/>
                  </a:lnTo>
                  <a:lnTo>
                    <a:pt x="2294" y="189"/>
                  </a:lnTo>
                  <a:lnTo>
                    <a:pt x="2277" y="174"/>
                  </a:lnTo>
                  <a:lnTo>
                    <a:pt x="2257" y="155"/>
                  </a:lnTo>
                  <a:lnTo>
                    <a:pt x="2233" y="135"/>
                  </a:lnTo>
                  <a:lnTo>
                    <a:pt x="2207" y="116"/>
                  </a:lnTo>
                  <a:lnTo>
                    <a:pt x="2193" y="107"/>
                  </a:lnTo>
                  <a:lnTo>
                    <a:pt x="2180" y="98"/>
                  </a:lnTo>
                  <a:lnTo>
                    <a:pt x="2167" y="90"/>
                  </a:lnTo>
                  <a:lnTo>
                    <a:pt x="2154" y="83"/>
                  </a:lnTo>
                  <a:lnTo>
                    <a:pt x="2142" y="78"/>
                  </a:lnTo>
                  <a:lnTo>
                    <a:pt x="2130" y="74"/>
                  </a:lnTo>
                  <a:lnTo>
                    <a:pt x="2119" y="72"/>
                  </a:lnTo>
                  <a:lnTo>
                    <a:pt x="2110" y="71"/>
                  </a:lnTo>
                  <a:lnTo>
                    <a:pt x="2101" y="73"/>
                  </a:lnTo>
                  <a:lnTo>
                    <a:pt x="2093" y="76"/>
                  </a:lnTo>
                  <a:lnTo>
                    <a:pt x="2083" y="80"/>
                  </a:lnTo>
                  <a:lnTo>
                    <a:pt x="2075" y="85"/>
                  </a:lnTo>
                  <a:lnTo>
                    <a:pt x="2066" y="89"/>
                  </a:lnTo>
                  <a:lnTo>
                    <a:pt x="2057" y="92"/>
                  </a:lnTo>
                  <a:lnTo>
                    <a:pt x="2053" y="93"/>
                  </a:lnTo>
                  <a:lnTo>
                    <a:pt x="2049" y="93"/>
                  </a:lnTo>
                  <a:lnTo>
                    <a:pt x="2045" y="93"/>
                  </a:lnTo>
                  <a:lnTo>
                    <a:pt x="2041" y="91"/>
                  </a:lnTo>
                  <a:lnTo>
                    <a:pt x="2017" y="80"/>
                  </a:lnTo>
                  <a:lnTo>
                    <a:pt x="1995" y="72"/>
                  </a:lnTo>
                  <a:lnTo>
                    <a:pt x="1984" y="68"/>
                  </a:lnTo>
                  <a:lnTo>
                    <a:pt x="1975" y="66"/>
                  </a:lnTo>
                  <a:lnTo>
                    <a:pt x="1966" y="65"/>
                  </a:lnTo>
                  <a:lnTo>
                    <a:pt x="1957" y="66"/>
                  </a:lnTo>
                  <a:lnTo>
                    <a:pt x="1949" y="68"/>
                  </a:lnTo>
                  <a:lnTo>
                    <a:pt x="1942" y="73"/>
                  </a:lnTo>
                  <a:lnTo>
                    <a:pt x="1935" y="79"/>
                  </a:lnTo>
                  <a:lnTo>
                    <a:pt x="1929" y="86"/>
                  </a:lnTo>
                  <a:lnTo>
                    <a:pt x="1924" y="97"/>
                  </a:lnTo>
                  <a:lnTo>
                    <a:pt x="1920" y="108"/>
                  </a:lnTo>
                  <a:lnTo>
                    <a:pt x="1916" y="123"/>
                  </a:lnTo>
                  <a:lnTo>
                    <a:pt x="1912" y="140"/>
                  </a:lnTo>
                  <a:lnTo>
                    <a:pt x="1907" y="143"/>
                  </a:lnTo>
                  <a:lnTo>
                    <a:pt x="1902" y="144"/>
                  </a:lnTo>
                  <a:lnTo>
                    <a:pt x="1896" y="143"/>
                  </a:lnTo>
                  <a:lnTo>
                    <a:pt x="1891" y="141"/>
                  </a:lnTo>
                  <a:lnTo>
                    <a:pt x="1884" y="139"/>
                  </a:lnTo>
                  <a:lnTo>
                    <a:pt x="1879" y="136"/>
                  </a:lnTo>
                  <a:lnTo>
                    <a:pt x="1874" y="133"/>
                  </a:lnTo>
                  <a:lnTo>
                    <a:pt x="1868" y="129"/>
                  </a:lnTo>
                  <a:lnTo>
                    <a:pt x="1858" y="120"/>
                  </a:lnTo>
                  <a:lnTo>
                    <a:pt x="1849" y="109"/>
                  </a:lnTo>
                  <a:lnTo>
                    <a:pt x="1842" y="99"/>
                  </a:lnTo>
                  <a:lnTo>
                    <a:pt x="1835" y="90"/>
                  </a:lnTo>
                  <a:lnTo>
                    <a:pt x="1831" y="81"/>
                  </a:lnTo>
                  <a:lnTo>
                    <a:pt x="1828" y="73"/>
                  </a:lnTo>
                  <a:lnTo>
                    <a:pt x="1821" y="64"/>
                  </a:lnTo>
                  <a:lnTo>
                    <a:pt x="1812" y="57"/>
                  </a:lnTo>
                  <a:lnTo>
                    <a:pt x="1803" y="51"/>
                  </a:lnTo>
                  <a:lnTo>
                    <a:pt x="1794" y="43"/>
                  </a:lnTo>
                  <a:lnTo>
                    <a:pt x="1784" y="38"/>
                  </a:lnTo>
                  <a:lnTo>
                    <a:pt x="1774" y="33"/>
                  </a:lnTo>
                  <a:lnTo>
                    <a:pt x="1762" y="28"/>
                  </a:lnTo>
                  <a:lnTo>
                    <a:pt x="1752" y="23"/>
                  </a:lnTo>
                  <a:lnTo>
                    <a:pt x="1729" y="15"/>
                  </a:lnTo>
                  <a:lnTo>
                    <a:pt x="1706" y="10"/>
                  </a:lnTo>
                  <a:lnTo>
                    <a:pt x="1683" y="7"/>
                  </a:lnTo>
                  <a:lnTo>
                    <a:pt x="1661" y="6"/>
                  </a:lnTo>
                  <a:lnTo>
                    <a:pt x="1647" y="5"/>
                  </a:lnTo>
                  <a:lnTo>
                    <a:pt x="1632" y="3"/>
                  </a:lnTo>
                  <a:lnTo>
                    <a:pt x="1616" y="1"/>
                  </a:lnTo>
                  <a:lnTo>
                    <a:pt x="1601" y="0"/>
                  </a:lnTo>
                  <a:lnTo>
                    <a:pt x="1598" y="1"/>
                  </a:lnTo>
                  <a:lnTo>
                    <a:pt x="1594" y="2"/>
                  </a:lnTo>
                  <a:lnTo>
                    <a:pt x="1591" y="5"/>
                  </a:lnTo>
                  <a:lnTo>
                    <a:pt x="1588" y="9"/>
                  </a:lnTo>
                  <a:lnTo>
                    <a:pt x="1582" y="19"/>
                  </a:lnTo>
                  <a:lnTo>
                    <a:pt x="1577" y="31"/>
                  </a:lnTo>
                  <a:lnTo>
                    <a:pt x="1567" y="56"/>
                  </a:lnTo>
                  <a:lnTo>
                    <a:pt x="1562" y="76"/>
                  </a:lnTo>
                  <a:lnTo>
                    <a:pt x="1561" y="88"/>
                  </a:lnTo>
                  <a:lnTo>
                    <a:pt x="1561" y="100"/>
                  </a:lnTo>
                  <a:lnTo>
                    <a:pt x="1562" y="111"/>
                  </a:lnTo>
                  <a:lnTo>
                    <a:pt x="1564" y="122"/>
                  </a:lnTo>
                  <a:lnTo>
                    <a:pt x="1567" y="133"/>
                  </a:lnTo>
                  <a:lnTo>
                    <a:pt x="1572" y="144"/>
                  </a:lnTo>
                  <a:lnTo>
                    <a:pt x="1577" y="153"/>
                  </a:lnTo>
                  <a:lnTo>
                    <a:pt x="1582" y="163"/>
                  </a:lnTo>
                  <a:lnTo>
                    <a:pt x="1593" y="184"/>
                  </a:lnTo>
                  <a:lnTo>
                    <a:pt x="1604" y="204"/>
                  </a:lnTo>
                  <a:lnTo>
                    <a:pt x="1609" y="216"/>
                  </a:lnTo>
                  <a:lnTo>
                    <a:pt x="1613" y="226"/>
                  </a:lnTo>
                  <a:lnTo>
                    <a:pt x="1616" y="237"/>
                  </a:lnTo>
                  <a:lnTo>
                    <a:pt x="1618" y="250"/>
                  </a:lnTo>
                  <a:lnTo>
                    <a:pt x="1620" y="258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6" y="278"/>
                  </a:lnTo>
                  <a:lnTo>
                    <a:pt x="1614" y="283"/>
                  </a:lnTo>
                  <a:lnTo>
                    <a:pt x="1611" y="288"/>
                  </a:lnTo>
                  <a:lnTo>
                    <a:pt x="1607" y="292"/>
                  </a:lnTo>
                  <a:lnTo>
                    <a:pt x="1604" y="296"/>
                  </a:lnTo>
                  <a:lnTo>
                    <a:pt x="1594" y="304"/>
                  </a:lnTo>
                  <a:lnTo>
                    <a:pt x="1585" y="313"/>
                  </a:lnTo>
                  <a:lnTo>
                    <a:pt x="1575" y="322"/>
                  </a:lnTo>
                  <a:lnTo>
                    <a:pt x="1564" y="333"/>
                  </a:lnTo>
                  <a:lnTo>
                    <a:pt x="1559" y="343"/>
                  </a:lnTo>
                  <a:lnTo>
                    <a:pt x="1555" y="352"/>
                  </a:lnTo>
                  <a:lnTo>
                    <a:pt x="1553" y="361"/>
                  </a:lnTo>
                  <a:lnTo>
                    <a:pt x="1552" y="369"/>
                  </a:lnTo>
                  <a:lnTo>
                    <a:pt x="1552" y="388"/>
                  </a:lnTo>
                  <a:lnTo>
                    <a:pt x="1553" y="408"/>
                  </a:lnTo>
                  <a:lnTo>
                    <a:pt x="1555" y="417"/>
                  </a:lnTo>
                  <a:lnTo>
                    <a:pt x="1555" y="426"/>
                  </a:lnTo>
                  <a:lnTo>
                    <a:pt x="1554" y="434"/>
                  </a:lnTo>
                  <a:lnTo>
                    <a:pt x="1551" y="442"/>
                  </a:lnTo>
                  <a:lnTo>
                    <a:pt x="1547" y="448"/>
                  </a:lnTo>
                  <a:lnTo>
                    <a:pt x="1540" y="454"/>
                  </a:lnTo>
                  <a:lnTo>
                    <a:pt x="1534" y="460"/>
                  </a:lnTo>
                  <a:lnTo>
                    <a:pt x="1526" y="464"/>
                  </a:lnTo>
                  <a:lnTo>
                    <a:pt x="1517" y="468"/>
                  </a:lnTo>
                  <a:lnTo>
                    <a:pt x="1508" y="472"/>
                  </a:lnTo>
                  <a:lnTo>
                    <a:pt x="1499" y="474"/>
                  </a:lnTo>
                  <a:lnTo>
                    <a:pt x="1489" y="476"/>
                  </a:lnTo>
                  <a:lnTo>
                    <a:pt x="1479" y="478"/>
                  </a:lnTo>
                  <a:lnTo>
                    <a:pt x="1469" y="478"/>
                  </a:lnTo>
                  <a:lnTo>
                    <a:pt x="1461" y="479"/>
                  </a:lnTo>
                  <a:lnTo>
                    <a:pt x="1452" y="478"/>
                  </a:lnTo>
                  <a:lnTo>
                    <a:pt x="1444" y="477"/>
                  </a:lnTo>
                  <a:lnTo>
                    <a:pt x="1437" y="475"/>
                  </a:lnTo>
                  <a:lnTo>
                    <a:pt x="1430" y="473"/>
                  </a:lnTo>
                  <a:lnTo>
                    <a:pt x="1422" y="470"/>
                  </a:lnTo>
                  <a:lnTo>
                    <a:pt x="1409" y="465"/>
                  </a:lnTo>
                  <a:lnTo>
                    <a:pt x="1394" y="460"/>
                  </a:lnTo>
                  <a:lnTo>
                    <a:pt x="1379" y="455"/>
                  </a:lnTo>
                  <a:lnTo>
                    <a:pt x="1362" y="453"/>
                  </a:lnTo>
                  <a:lnTo>
                    <a:pt x="1346" y="452"/>
                  </a:lnTo>
                  <a:lnTo>
                    <a:pt x="1331" y="451"/>
                  </a:lnTo>
                  <a:lnTo>
                    <a:pt x="1314" y="450"/>
                  </a:lnTo>
                  <a:lnTo>
                    <a:pt x="1298" y="448"/>
                  </a:lnTo>
                  <a:lnTo>
                    <a:pt x="1290" y="447"/>
                  </a:lnTo>
                  <a:lnTo>
                    <a:pt x="1282" y="445"/>
                  </a:lnTo>
                  <a:lnTo>
                    <a:pt x="1273" y="442"/>
                  </a:lnTo>
                  <a:lnTo>
                    <a:pt x="1266" y="439"/>
                  </a:lnTo>
                  <a:lnTo>
                    <a:pt x="1256" y="433"/>
                  </a:lnTo>
                  <a:lnTo>
                    <a:pt x="1246" y="426"/>
                  </a:lnTo>
                  <a:lnTo>
                    <a:pt x="1237" y="419"/>
                  </a:lnTo>
                  <a:lnTo>
                    <a:pt x="1230" y="411"/>
                  </a:lnTo>
                  <a:lnTo>
                    <a:pt x="1214" y="393"/>
                  </a:lnTo>
                  <a:lnTo>
                    <a:pt x="1201" y="373"/>
                  </a:lnTo>
                  <a:lnTo>
                    <a:pt x="1189" y="353"/>
                  </a:lnTo>
                  <a:lnTo>
                    <a:pt x="1175" y="333"/>
                  </a:lnTo>
                  <a:lnTo>
                    <a:pt x="1169" y="324"/>
                  </a:lnTo>
                  <a:lnTo>
                    <a:pt x="1162" y="315"/>
                  </a:lnTo>
                  <a:lnTo>
                    <a:pt x="1154" y="306"/>
                  </a:lnTo>
                  <a:lnTo>
                    <a:pt x="1147" y="298"/>
                  </a:lnTo>
                  <a:lnTo>
                    <a:pt x="1130" y="284"/>
                  </a:lnTo>
                  <a:lnTo>
                    <a:pt x="1114" y="272"/>
                  </a:lnTo>
                  <a:lnTo>
                    <a:pt x="1097" y="259"/>
                  </a:lnTo>
                  <a:lnTo>
                    <a:pt x="1080" y="246"/>
                  </a:lnTo>
                  <a:lnTo>
                    <a:pt x="1075" y="242"/>
                  </a:lnTo>
                  <a:lnTo>
                    <a:pt x="1069" y="237"/>
                  </a:lnTo>
                  <a:lnTo>
                    <a:pt x="1062" y="234"/>
                  </a:lnTo>
                  <a:lnTo>
                    <a:pt x="1055" y="231"/>
                  </a:lnTo>
                  <a:lnTo>
                    <a:pt x="1043" y="226"/>
                  </a:lnTo>
                  <a:lnTo>
                    <a:pt x="1030" y="219"/>
                  </a:lnTo>
                  <a:lnTo>
                    <a:pt x="892" y="157"/>
                  </a:lnTo>
                  <a:lnTo>
                    <a:pt x="892" y="157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87" name="Freeform 124">
              <a:extLst>
                <a:ext uri="{FF2B5EF4-FFF2-40B4-BE49-F238E27FC236}">
                  <a16:creationId xmlns:a16="http://schemas.microsoft.com/office/drawing/2014/main" id="{8DEE1E8D-D8D3-44FE-A22E-EC90BFA56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9328" y="4631932"/>
              <a:ext cx="655676" cy="518739"/>
            </a:xfrm>
            <a:custGeom>
              <a:avLst/>
              <a:gdLst>
                <a:gd name="T0" fmla="*/ 895 w 2606"/>
                <a:gd name="T1" fmla="*/ 307 h 2136"/>
                <a:gd name="T2" fmla="*/ 797 w 2606"/>
                <a:gd name="T3" fmla="*/ 452 h 2136"/>
                <a:gd name="T4" fmla="*/ 730 w 2606"/>
                <a:gd name="T5" fmla="*/ 577 h 2136"/>
                <a:gd name="T6" fmla="*/ 675 w 2606"/>
                <a:gd name="T7" fmla="*/ 607 h 2136"/>
                <a:gd name="T8" fmla="*/ 648 w 2606"/>
                <a:gd name="T9" fmla="*/ 518 h 2136"/>
                <a:gd name="T10" fmla="*/ 564 w 2606"/>
                <a:gd name="T11" fmla="*/ 602 h 2136"/>
                <a:gd name="T12" fmla="*/ 523 w 2606"/>
                <a:gd name="T13" fmla="*/ 671 h 2136"/>
                <a:gd name="T14" fmla="*/ 488 w 2606"/>
                <a:gd name="T15" fmla="*/ 808 h 2136"/>
                <a:gd name="T16" fmla="*/ 443 w 2606"/>
                <a:gd name="T17" fmla="*/ 891 h 2136"/>
                <a:gd name="T18" fmla="*/ 456 w 2606"/>
                <a:gd name="T19" fmla="*/ 957 h 2136"/>
                <a:gd name="T20" fmla="*/ 303 w 2606"/>
                <a:gd name="T21" fmla="*/ 1002 h 2136"/>
                <a:gd name="T22" fmla="*/ 195 w 2606"/>
                <a:gd name="T23" fmla="*/ 1123 h 2136"/>
                <a:gd name="T24" fmla="*/ 205 w 2606"/>
                <a:gd name="T25" fmla="*/ 1226 h 2136"/>
                <a:gd name="T26" fmla="*/ 117 w 2606"/>
                <a:gd name="T27" fmla="*/ 1210 h 2136"/>
                <a:gd name="T28" fmla="*/ 0 w 2606"/>
                <a:gd name="T29" fmla="*/ 1336 h 2136"/>
                <a:gd name="T30" fmla="*/ 83 w 2606"/>
                <a:gd name="T31" fmla="*/ 1424 h 2136"/>
                <a:gd name="T32" fmla="*/ 220 w 2606"/>
                <a:gd name="T33" fmla="*/ 1483 h 2136"/>
                <a:gd name="T34" fmla="*/ 378 w 2606"/>
                <a:gd name="T35" fmla="*/ 1523 h 2136"/>
                <a:gd name="T36" fmla="*/ 538 w 2606"/>
                <a:gd name="T37" fmla="*/ 1494 h 2136"/>
                <a:gd name="T38" fmla="*/ 656 w 2606"/>
                <a:gd name="T39" fmla="*/ 1456 h 2136"/>
                <a:gd name="T40" fmla="*/ 836 w 2606"/>
                <a:gd name="T41" fmla="*/ 1456 h 2136"/>
                <a:gd name="T42" fmla="*/ 832 w 2606"/>
                <a:gd name="T43" fmla="*/ 1551 h 2136"/>
                <a:gd name="T44" fmla="*/ 918 w 2606"/>
                <a:gd name="T45" fmla="*/ 1682 h 2136"/>
                <a:gd name="T46" fmla="*/ 925 w 2606"/>
                <a:gd name="T47" fmla="*/ 1825 h 2136"/>
                <a:gd name="T48" fmla="*/ 1005 w 2606"/>
                <a:gd name="T49" fmla="*/ 2024 h 2136"/>
                <a:gd name="T50" fmla="*/ 1125 w 2606"/>
                <a:gd name="T51" fmla="*/ 2136 h 2136"/>
                <a:gd name="T52" fmla="*/ 1262 w 2606"/>
                <a:gd name="T53" fmla="*/ 2097 h 2136"/>
                <a:gd name="T54" fmla="*/ 1300 w 2606"/>
                <a:gd name="T55" fmla="*/ 2026 h 2136"/>
                <a:gd name="T56" fmla="*/ 1389 w 2606"/>
                <a:gd name="T57" fmla="*/ 1971 h 2136"/>
                <a:gd name="T58" fmla="*/ 1460 w 2606"/>
                <a:gd name="T59" fmla="*/ 1834 h 2136"/>
                <a:gd name="T60" fmla="*/ 1498 w 2606"/>
                <a:gd name="T61" fmla="*/ 1733 h 2136"/>
                <a:gd name="T62" fmla="*/ 1450 w 2606"/>
                <a:gd name="T63" fmla="*/ 1667 h 2136"/>
                <a:gd name="T64" fmla="*/ 1475 w 2606"/>
                <a:gd name="T65" fmla="*/ 1534 h 2136"/>
                <a:gd name="T66" fmla="*/ 1419 w 2606"/>
                <a:gd name="T67" fmla="*/ 1435 h 2136"/>
                <a:gd name="T68" fmla="*/ 1456 w 2606"/>
                <a:gd name="T69" fmla="*/ 1332 h 2136"/>
                <a:gd name="T70" fmla="*/ 1508 w 2606"/>
                <a:gd name="T71" fmla="*/ 1263 h 2136"/>
                <a:gd name="T72" fmla="*/ 1494 w 2606"/>
                <a:gd name="T73" fmla="*/ 1162 h 2136"/>
                <a:gd name="T74" fmla="*/ 1620 w 2606"/>
                <a:gd name="T75" fmla="*/ 1048 h 2136"/>
                <a:gd name="T76" fmla="*/ 1652 w 2606"/>
                <a:gd name="T77" fmla="*/ 921 h 2136"/>
                <a:gd name="T78" fmla="*/ 1715 w 2606"/>
                <a:gd name="T79" fmla="*/ 824 h 2136"/>
                <a:gd name="T80" fmla="*/ 1698 w 2606"/>
                <a:gd name="T81" fmla="*/ 684 h 2136"/>
                <a:gd name="T82" fmla="*/ 1780 w 2606"/>
                <a:gd name="T83" fmla="*/ 626 h 2136"/>
                <a:gd name="T84" fmla="*/ 1908 w 2606"/>
                <a:gd name="T85" fmla="*/ 656 h 2136"/>
                <a:gd name="T86" fmla="*/ 2022 w 2606"/>
                <a:gd name="T87" fmla="*/ 748 h 2136"/>
                <a:gd name="T88" fmla="*/ 2178 w 2606"/>
                <a:gd name="T89" fmla="*/ 667 h 2136"/>
                <a:gd name="T90" fmla="*/ 2357 w 2606"/>
                <a:gd name="T91" fmla="*/ 641 h 2136"/>
                <a:gd name="T92" fmla="*/ 2528 w 2606"/>
                <a:gd name="T93" fmla="*/ 476 h 2136"/>
                <a:gd name="T94" fmla="*/ 2594 w 2606"/>
                <a:gd name="T95" fmla="*/ 418 h 2136"/>
                <a:gd name="T96" fmla="*/ 2392 w 2606"/>
                <a:gd name="T97" fmla="*/ 316 h 2136"/>
                <a:gd name="T98" fmla="*/ 2294 w 2606"/>
                <a:gd name="T99" fmla="*/ 189 h 2136"/>
                <a:gd name="T100" fmla="*/ 2110 w 2606"/>
                <a:gd name="T101" fmla="*/ 71 h 2136"/>
                <a:gd name="T102" fmla="*/ 1995 w 2606"/>
                <a:gd name="T103" fmla="*/ 72 h 2136"/>
                <a:gd name="T104" fmla="*/ 1912 w 2606"/>
                <a:gd name="T105" fmla="*/ 140 h 2136"/>
                <a:gd name="T106" fmla="*/ 1835 w 2606"/>
                <a:gd name="T107" fmla="*/ 90 h 2136"/>
                <a:gd name="T108" fmla="*/ 1706 w 2606"/>
                <a:gd name="T109" fmla="*/ 10 h 2136"/>
                <a:gd name="T110" fmla="*/ 1577 w 2606"/>
                <a:gd name="T111" fmla="*/ 31 h 2136"/>
                <a:gd name="T112" fmla="*/ 1604 w 2606"/>
                <a:gd name="T113" fmla="*/ 204 h 2136"/>
                <a:gd name="T114" fmla="*/ 1604 w 2606"/>
                <a:gd name="T115" fmla="*/ 296 h 2136"/>
                <a:gd name="T116" fmla="*/ 1555 w 2606"/>
                <a:gd name="T117" fmla="*/ 426 h 2136"/>
                <a:gd name="T118" fmla="*/ 1469 w 2606"/>
                <a:gd name="T119" fmla="*/ 478 h 2136"/>
                <a:gd name="T120" fmla="*/ 1331 w 2606"/>
                <a:gd name="T121" fmla="*/ 451 h 2136"/>
                <a:gd name="T122" fmla="*/ 1201 w 2606"/>
                <a:gd name="T123" fmla="*/ 373 h 2136"/>
                <a:gd name="T124" fmla="*/ 1069 w 2606"/>
                <a:gd name="T125" fmla="*/ 237 h 2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06" h="2136">
                  <a:moveTo>
                    <a:pt x="892" y="157"/>
                  </a:moveTo>
                  <a:lnTo>
                    <a:pt x="891" y="168"/>
                  </a:lnTo>
                  <a:lnTo>
                    <a:pt x="890" y="177"/>
                  </a:lnTo>
                  <a:lnTo>
                    <a:pt x="888" y="186"/>
                  </a:lnTo>
                  <a:lnTo>
                    <a:pt x="888" y="197"/>
                  </a:lnTo>
                  <a:lnTo>
                    <a:pt x="888" y="212"/>
                  </a:lnTo>
                  <a:lnTo>
                    <a:pt x="889" y="229"/>
                  </a:lnTo>
                  <a:lnTo>
                    <a:pt x="891" y="247"/>
                  </a:lnTo>
                  <a:lnTo>
                    <a:pt x="893" y="265"/>
                  </a:lnTo>
                  <a:lnTo>
                    <a:pt x="895" y="282"/>
                  </a:lnTo>
                  <a:lnTo>
                    <a:pt x="896" y="299"/>
                  </a:lnTo>
                  <a:lnTo>
                    <a:pt x="895" y="307"/>
                  </a:lnTo>
                  <a:lnTo>
                    <a:pt x="895" y="315"/>
                  </a:lnTo>
                  <a:lnTo>
                    <a:pt x="894" y="322"/>
                  </a:lnTo>
                  <a:lnTo>
                    <a:pt x="892" y="328"/>
                  </a:lnTo>
                  <a:lnTo>
                    <a:pt x="877" y="358"/>
                  </a:lnTo>
                  <a:lnTo>
                    <a:pt x="860" y="390"/>
                  </a:lnTo>
                  <a:lnTo>
                    <a:pt x="851" y="404"/>
                  </a:lnTo>
                  <a:lnTo>
                    <a:pt x="842" y="418"/>
                  </a:lnTo>
                  <a:lnTo>
                    <a:pt x="835" y="424"/>
                  </a:lnTo>
                  <a:lnTo>
                    <a:pt x="829" y="430"/>
                  </a:lnTo>
                  <a:lnTo>
                    <a:pt x="823" y="436"/>
                  </a:lnTo>
                  <a:lnTo>
                    <a:pt x="817" y="441"/>
                  </a:lnTo>
                  <a:lnTo>
                    <a:pt x="797" y="452"/>
                  </a:lnTo>
                  <a:lnTo>
                    <a:pt x="775" y="466"/>
                  </a:lnTo>
                  <a:lnTo>
                    <a:pt x="765" y="473"/>
                  </a:lnTo>
                  <a:lnTo>
                    <a:pt x="754" y="482"/>
                  </a:lnTo>
                  <a:lnTo>
                    <a:pt x="747" y="489"/>
                  </a:lnTo>
                  <a:lnTo>
                    <a:pt x="741" y="497"/>
                  </a:lnTo>
                  <a:lnTo>
                    <a:pt x="736" y="506"/>
                  </a:lnTo>
                  <a:lnTo>
                    <a:pt x="734" y="514"/>
                  </a:lnTo>
                  <a:lnTo>
                    <a:pt x="733" y="522"/>
                  </a:lnTo>
                  <a:lnTo>
                    <a:pt x="733" y="532"/>
                  </a:lnTo>
                  <a:lnTo>
                    <a:pt x="733" y="549"/>
                  </a:lnTo>
                  <a:lnTo>
                    <a:pt x="732" y="567"/>
                  </a:lnTo>
                  <a:lnTo>
                    <a:pt x="730" y="577"/>
                  </a:lnTo>
                  <a:lnTo>
                    <a:pt x="726" y="588"/>
                  </a:lnTo>
                  <a:lnTo>
                    <a:pt x="721" y="601"/>
                  </a:lnTo>
                  <a:lnTo>
                    <a:pt x="714" y="612"/>
                  </a:lnTo>
                  <a:lnTo>
                    <a:pt x="711" y="616"/>
                  </a:lnTo>
                  <a:lnTo>
                    <a:pt x="707" y="620"/>
                  </a:lnTo>
                  <a:lnTo>
                    <a:pt x="703" y="622"/>
                  </a:lnTo>
                  <a:lnTo>
                    <a:pt x="698" y="623"/>
                  </a:lnTo>
                  <a:lnTo>
                    <a:pt x="694" y="623"/>
                  </a:lnTo>
                  <a:lnTo>
                    <a:pt x="688" y="621"/>
                  </a:lnTo>
                  <a:lnTo>
                    <a:pt x="683" y="617"/>
                  </a:lnTo>
                  <a:lnTo>
                    <a:pt x="678" y="612"/>
                  </a:lnTo>
                  <a:lnTo>
                    <a:pt x="675" y="607"/>
                  </a:lnTo>
                  <a:lnTo>
                    <a:pt x="673" y="602"/>
                  </a:lnTo>
                  <a:lnTo>
                    <a:pt x="671" y="595"/>
                  </a:lnTo>
                  <a:lnTo>
                    <a:pt x="670" y="589"/>
                  </a:lnTo>
                  <a:lnTo>
                    <a:pt x="668" y="578"/>
                  </a:lnTo>
                  <a:lnTo>
                    <a:pt x="667" y="564"/>
                  </a:lnTo>
                  <a:lnTo>
                    <a:pt x="667" y="551"/>
                  </a:lnTo>
                  <a:lnTo>
                    <a:pt x="664" y="539"/>
                  </a:lnTo>
                  <a:lnTo>
                    <a:pt x="663" y="534"/>
                  </a:lnTo>
                  <a:lnTo>
                    <a:pt x="661" y="527"/>
                  </a:lnTo>
                  <a:lnTo>
                    <a:pt x="658" y="522"/>
                  </a:lnTo>
                  <a:lnTo>
                    <a:pt x="655" y="517"/>
                  </a:lnTo>
                  <a:lnTo>
                    <a:pt x="648" y="518"/>
                  </a:lnTo>
                  <a:lnTo>
                    <a:pt x="641" y="520"/>
                  </a:lnTo>
                  <a:lnTo>
                    <a:pt x="636" y="524"/>
                  </a:lnTo>
                  <a:lnTo>
                    <a:pt x="631" y="530"/>
                  </a:lnTo>
                  <a:lnTo>
                    <a:pt x="622" y="541"/>
                  </a:lnTo>
                  <a:lnTo>
                    <a:pt x="612" y="556"/>
                  </a:lnTo>
                  <a:lnTo>
                    <a:pt x="604" y="570"/>
                  </a:lnTo>
                  <a:lnTo>
                    <a:pt x="595" y="584"/>
                  </a:lnTo>
                  <a:lnTo>
                    <a:pt x="590" y="589"/>
                  </a:lnTo>
                  <a:lnTo>
                    <a:pt x="584" y="594"/>
                  </a:lnTo>
                  <a:lnTo>
                    <a:pt x="578" y="597"/>
                  </a:lnTo>
                  <a:lnTo>
                    <a:pt x="572" y="601"/>
                  </a:lnTo>
                  <a:lnTo>
                    <a:pt x="564" y="602"/>
                  </a:lnTo>
                  <a:lnTo>
                    <a:pt x="559" y="603"/>
                  </a:lnTo>
                  <a:lnTo>
                    <a:pt x="554" y="606"/>
                  </a:lnTo>
                  <a:lnTo>
                    <a:pt x="549" y="609"/>
                  </a:lnTo>
                  <a:lnTo>
                    <a:pt x="546" y="612"/>
                  </a:lnTo>
                  <a:lnTo>
                    <a:pt x="545" y="616"/>
                  </a:lnTo>
                  <a:lnTo>
                    <a:pt x="543" y="622"/>
                  </a:lnTo>
                  <a:lnTo>
                    <a:pt x="542" y="630"/>
                  </a:lnTo>
                  <a:lnTo>
                    <a:pt x="541" y="643"/>
                  </a:lnTo>
                  <a:lnTo>
                    <a:pt x="540" y="654"/>
                  </a:lnTo>
                  <a:lnTo>
                    <a:pt x="535" y="661"/>
                  </a:lnTo>
                  <a:lnTo>
                    <a:pt x="529" y="666"/>
                  </a:lnTo>
                  <a:lnTo>
                    <a:pt x="523" y="671"/>
                  </a:lnTo>
                  <a:lnTo>
                    <a:pt x="516" y="676"/>
                  </a:lnTo>
                  <a:lnTo>
                    <a:pt x="510" y="681"/>
                  </a:lnTo>
                  <a:lnTo>
                    <a:pt x="506" y="687"/>
                  </a:lnTo>
                  <a:lnTo>
                    <a:pt x="501" y="694"/>
                  </a:lnTo>
                  <a:lnTo>
                    <a:pt x="499" y="704"/>
                  </a:lnTo>
                  <a:lnTo>
                    <a:pt x="496" y="719"/>
                  </a:lnTo>
                  <a:lnTo>
                    <a:pt x="496" y="735"/>
                  </a:lnTo>
                  <a:lnTo>
                    <a:pt x="496" y="751"/>
                  </a:lnTo>
                  <a:lnTo>
                    <a:pt x="496" y="766"/>
                  </a:lnTo>
                  <a:lnTo>
                    <a:pt x="494" y="780"/>
                  </a:lnTo>
                  <a:lnTo>
                    <a:pt x="492" y="794"/>
                  </a:lnTo>
                  <a:lnTo>
                    <a:pt x="488" y="808"/>
                  </a:lnTo>
                  <a:lnTo>
                    <a:pt x="482" y="822"/>
                  </a:lnTo>
                  <a:lnTo>
                    <a:pt x="475" y="834"/>
                  </a:lnTo>
                  <a:lnTo>
                    <a:pt x="466" y="846"/>
                  </a:lnTo>
                  <a:lnTo>
                    <a:pt x="461" y="851"/>
                  </a:lnTo>
                  <a:lnTo>
                    <a:pt x="456" y="855"/>
                  </a:lnTo>
                  <a:lnTo>
                    <a:pt x="451" y="859"/>
                  </a:lnTo>
                  <a:lnTo>
                    <a:pt x="445" y="863"/>
                  </a:lnTo>
                  <a:lnTo>
                    <a:pt x="443" y="869"/>
                  </a:lnTo>
                  <a:lnTo>
                    <a:pt x="442" y="874"/>
                  </a:lnTo>
                  <a:lnTo>
                    <a:pt x="442" y="878"/>
                  </a:lnTo>
                  <a:lnTo>
                    <a:pt x="442" y="882"/>
                  </a:lnTo>
                  <a:lnTo>
                    <a:pt x="443" y="891"/>
                  </a:lnTo>
                  <a:lnTo>
                    <a:pt x="448" y="899"/>
                  </a:lnTo>
                  <a:lnTo>
                    <a:pt x="453" y="906"/>
                  </a:lnTo>
                  <a:lnTo>
                    <a:pt x="459" y="912"/>
                  </a:lnTo>
                  <a:lnTo>
                    <a:pt x="466" y="918"/>
                  </a:lnTo>
                  <a:lnTo>
                    <a:pt x="476" y="923"/>
                  </a:lnTo>
                  <a:lnTo>
                    <a:pt x="477" y="926"/>
                  </a:lnTo>
                  <a:lnTo>
                    <a:pt x="477" y="929"/>
                  </a:lnTo>
                  <a:lnTo>
                    <a:pt x="476" y="933"/>
                  </a:lnTo>
                  <a:lnTo>
                    <a:pt x="475" y="936"/>
                  </a:lnTo>
                  <a:lnTo>
                    <a:pt x="471" y="944"/>
                  </a:lnTo>
                  <a:lnTo>
                    <a:pt x="464" y="951"/>
                  </a:lnTo>
                  <a:lnTo>
                    <a:pt x="456" y="957"/>
                  </a:lnTo>
                  <a:lnTo>
                    <a:pt x="447" y="964"/>
                  </a:lnTo>
                  <a:lnTo>
                    <a:pt x="435" y="970"/>
                  </a:lnTo>
                  <a:lnTo>
                    <a:pt x="424" y="976"/>
                  </a:lnTo>
                  <a:lnTo>
                    <a:pt x="399" y="987"/>
                  </a:lnTo>
                  <a:lnTo>
                    <a:pt x="376" y="995"/>
                  </a:lnTo>
                  <a:lnTo>
                    <a:pt x="356" y="1002"/>
                  </a:lnTo>
                  <a:lnTo>
                    <a:pt x="344" y="1006"/>
                  </a:lnTo>
                  <a:lnTo>
                    <a:pt x="336" y="1007"/>
                  </a:lnTo>
                  <a:lnTo>
                    <a:pt x="328" y="1007"/>
                  </a:lnTo>
                  <a:lnTo>
                    <a:pt x="319" y="1006"/>
                  </a:lnTo>
                  <a:lnTo>
                    <a:pt x="311" y="1004"/>
                  </a:lnTo>
                  <a:lnTo>
                    <a:pt x="303" y="1002"/>
                  </a:lnTo>
                  <a:lnTo>
                    <a:pt x="294" y="1000"/>
                  </a:lnTo>
                  <a:lnTo>
                    <a:pt x="286" y="1000"/>
                  </a:lnTo>
                  <a:lnTo>
                    <a:pt x="278" y="1001"/>
                  </a:lnTo>
                  <a:lnTo>
                    <a:pt x="278" y="1001"/>
                  </a:lnTo>
                  <a:lnTo>
                    <a:pt x="253" y="1028"/>
                  </a:lnTo>
                  <a:lnTo>
                    <a:pt x="228" y="1056"/>
                  </a:lnTo>
                  <a:lnTo>
                    <a:pt x="217" y="1072"/>
                  </a:lnTo>
                  <a:lnTo>
                    <a:pt x="207" y="1088"/>
                  </a:lnTo>
                  <a:lnTo>
                    <a:pt x="204" y="1096"/>
                  </a:lnTo>
                  <a:lnTo>
                    <a:pt x="199" y="1105"/>
                  </a:lnTo>
                  <a:lnTo>
                    <a:pt x="197" y="1114"/>
                  </a:lnTo>
                  <a:lnTo>
                    <a:pt x="195" y="1123"/>
                  </a:lnTo>
                  <a:lnTo>
                    <a:pt x="194" y="1130"/>
                  </a:lnTo>
                  <a:lnTo>
                    <a:pt x="196" y="1140"/>
                  </a:lnTo>
                  <a:lnTo>
                    <a:pt x="198" y="1149"/>
                  </a:lnTo>
                  <a:lnTo>
                    <a:pt x="201" y="1159"/>
                  </a:lnTo>
                  <a:lnTo>
                    <a:pt x="206" y="1169"/>
                  </a:lnTo>
                  <a:lnTo>
                    <a:pt x="209" y="1180"/>
                  </a:lnTo>
                  <a:lnTo>
                    <a:pt x="211" y="1189"/>
                  </a:lnTo>
                  <a:lnTo>
                    <a:pt x="212" y="1197"/>
                  </a:lnTo>
                  <a:lnTo>
                    <a:pt x="212" y="1206"/>
                  </a:lnTo>
                  <a:lnTo>
                    <a:pt x="211" y="1213"/>
                  </a:lnTo>
                  <a:lnTo>
                    <a:pt x="208" y="1220"/>
                  </a:lnTo>
                  <a:lnTo>
                    <a:pt x="205" y="1226"/>
                  </a:lnTo>
                  <a:lnTo>
                    <a:pt x="200" y="1233"/>
                  </a:lnTo>
                  <a:lnTo>
                    <a:pt x="194" y="1237"/>
                  </a:lnTo>
                  <a:lnTo>
                    <a:pt x="187" y="1240"/>
                  </a:lnTo>
                  <a:lnTo>
                    <a:pt x="180" y="1241"/>
                  </a:lnTo>
                  <a:lnTo>
                    <a:pt x="172" y="1241"/>
                  </a:lnTo>
                  <a:lnTo>
                    <a:pt x="167" y="1240"/>
                  </a:lnTo>
                  <a:lnTo>
                    <a:pt x="161" y="1238"/>
                  </a:lnTo>
                  <a:lnTo>
                    <a:pt x="157" y="1236"/>
                  </a:lnTo>
                  <a:lnTo>
                    <a:pt x="146" y="1229"/>
                  </a:lnTo>
                  <a:lnTo>
                    <a:pt x="137" y="1222"/>
                  </a:lnTo>
                  <a:lnTo>
                    <a:pt x="127" y="1215"/>
                  </a:lnTo>
                  <a:lnTo>
                    <a:pt x="117" y="1210"/>
                  </a:lnTo>
                  <a:lnTo>
                    <a:pt x="111" y="1209"/>
                  </a:lnTo>
                  <a:lnTo>
                    <a:pt x="105" y="1208"/>
                  </a:lnTo>
                  <a:lnTo>
                    <a:pt x="98" y="1208"/>
                  </a:lnTo>
                  <a:lnTo>
                    <a:pt x="90" y="1209"/>
                  </a:lnTo>
                  <a:lnTo>
                    <a:pt x="85" y="1212"/>
                  </a:lnTo>
                  <a:lnTo>
                    <a:pt x="80" y="1216"/>
                  </a:lnTo>
                  <a:lnTo>
                    <a:pt x="73" y="1221"/>
                  </a:lnTo>
                  <a:lnTo>
                    <a:pt x="67" y="1229"/>
                  </a:lnTo>
                  <a:lnTo>
                    <a:pt x="53" y="1246"/>
                  </a:lnTo>
                  <a:lnTo>
                    <a:pt x="40" y="1266"/>
                  </a:lnTo>
                  <a:lnTo>
                    <a:pt x="16" y="1307"/>
                  </a:lnTo>
                  <a:lnTo>
                    <a:pt x="0" y="1336"/>
                  </a:lnTo>
                  <a:lnTo>
                    <a:pt x="1" y="1341"/>
                  </a:lnTo>
                  <a:lnTo>
                    <a:pt x="4" y="1352"/>
                  </a:lnTo>
                  <a:lnTo>
                    <a:pt x="11" y="1365"/>
                  </a:lnTo>
                  <a:lnTo>
                    <a:pt x="17" y="1381"/>
                  </a:lnTo>
                  <a:lnTo>
                    <a:pt x="24" y="1397"/>
                  </a:lnTo>
                  <a:lnTo>
                    <a:pt x="32" y="1409"/>
                  </a:lnTo>
                  <a:lnTo>
                    <a:pt x="38" y="1418"/>
                  </a:lnTo>
                  <a:lnTo>
                    <a:pt x="42" y="1423"/>
                  </a:lnTo>
                  <a:lnTo>
                    <a:pt x="51" y="1424"/>
                  </a:lnTo>
                  <a:lnTo>
                    <a:pt x="62" y="1425"/>
                  </a:lnTo>
                  <a:lnTo>
                    <a:pt x="72" y="1425"/>
                  </a:lnTo>
                  <a:lnTo>
                    <a:pt x="83" y="1424"/>
                  </a:lnTo>
                  <a:lnTo>
                    <a:pt x="105" y="1422"/>
                  </a:lnTo>
                  <a:lnTo>
                    <a:pt x="125" y="1419"/>
                  </a:lnTo>
                  <a:lnTo>
                    <a:pt x="147" y="1417"/>
                  </a:lnTo>
                  <a:lnTo>
                    <a:pt x="168" y="1415"/>
                  </a:lnTo>
                  <a:lnTo>
                    <a:pt x="179" y="1415"/>
                  </a:lnTo>
                  <a:lnTo>
                    <a:pt x="188" y="1416"/>
                  </a:lnTo>
                  <a:lnTo>
                    <a:pt x="198" y="1417"/>
                  </a:lnTo>
                  <a:lnTo>
                    <a:pt x="208" y="1418"/>
                  </a:lnTo>
                  <a:lnTo>
                    <a:pt x="209" y="1437"/>
                  </a:lnTo>
                  <a:lnTo>
                    <a:pt x="211" y="1455"/>
                  </a:lnTo>
                  <a:lnTo>
                    <a:pt x="215" y="1470"/>
                  </a:lnTo>
                  <a:lnTo>
                    <a:pt x="220" y="1483"/>
                  </a:lnTo>
                  <a:lnTo>
                    <a:pt x="227" y="1496"/>
                  </a:lnTo>
                  <a:lnTo>
                    <a:pt x="235" y="1506"/>
                  </a:lnTo>
                  <a:lnTo>
                    <a:pt x="244" y="1514"/>
                  </a:lnTo>
                  <a:lnTo>
                    <a:pt x="255" y="1522"/>
                  </a:lnTo>
                  <a:lnTo>
                    <a:pt x="266" y="1527"/>
                  </a:lnTo>
                  <a:lnTo>
                    <a:pt x="279" y="1531"/>
                  </a:lnTo>
                  <a:lnTo>
                    <a:pt x="293" y="1533"/>
                  </a:lnTo>
                  <a:lnTo>
                    <a:pt x="308" y="1534"/>
                  </a:lnTo>
                  <a:lnTo>
                    <a:pt x="325" y="1533"/>
                  </a:lnTo>
                  <a:lnTo>
                    <a:pt x="341" y="1531"/>
                  </a:lnTo>
                  <a:lnTo>
                    <a:pt x="359" y="1528"/>
                  </a:lnTo>
                  <a:lnTo>
                    <a:pt x="378" y="1523"/>
                  </a:lnTo>
                  <a:lnTo>
                    <a:pt x="390" y="1518"/>
                  </a:lnTo>
                  <a:lnTo>
                    <a:pt x="403" y="1513"/>
                  </a:lnTo>
                  <a:lnTo>
                    <a:pt x="414" y="1507"/>
                  </a:lnTo>
                  <a:lnTo>
                    <a:pt x="426" y="1502"/>
                  </a:lnTo>
                  <a:lnTo>
                    <a:pt x="449" y="1489"/>
                  </a:lnTo>
                  <a:lnTo>
                    <a:pt x="473" y="1479"/>
                  </a:lnTo>
                  <a:lnTo>
                    <a:pt x="481" y="1477"/>
                  </a:lnTo>
                  <a:lnTo>
                    <a:pt x="489" y="1477"/>
                  </a:lnTo>
                  <a:lnTo>
                    <a:pt x="497" y="1478"/>
                  </a:lnTo>
                  <a:lnTo>
                    <a:pt x="505" y="1480"/>
                  </a:lnTo>
                  <a:lnTo>
                    <a:pt x="522" y="1486"/>
                  </a:lnTo>
                  <a:lnTo>
                    <a:pt x="538" y="1494"/>
                  </a:lnTo>
                  <a:lnTo>
                    <a:pt x="547" y="1497"/>
                  </a:lnTo>
                  <a:lnTo>
                    <a:pt x="555" y="1499"/>
                  </a:lnTo>
                  <a:lnTo>
                    <a:pt x="563" y="1500"/>
                  </a:lnTo>
                  <a:lnTo>
                    <a:pt x="573" y="1500"/>
                  </a:lnTo>
                  <a:lnTo>
                    <a:pt x="582" y="1498"/>
                  </a:lnTo>
                  <a:lnTo>
                    <a:pt x="591" y="1494"/>
                  </a:lnTo>
                  <a:lnTo>
                    <a:pt x="602" y="1487"/>
                  </a:lnTo>
                  <a:lnTo>
                    <a:pt x="612" y="1478"/>
                  </a:lnTo>
                  <a:lnTo>
                    <a:pt x="621" y="1471"/>
                  </a:lnTo>
                  <a:lnTo>
                    <a:pt x="631" y="1465"/>
                  </a:lnTo>
                  <a:lnTo>
                    <a:pt x="643" y="1460"/>
                  </a:lnTo>
                  <a:lnTo>
                    <a:pt x="656" y="1456"/>
                  </a:lnTo>
                  <a:lnTo>
                    <a:pt x="671" y="1452"/>
                  </a:lnTo>
                  <a:lnTo>
                    <a:pt x="686" y="1449"/>
                  </a:lnTo>
                  <a:lnTo>
                    <a:pt x="703" y="1447"/>
                  </a:lnTo>
                  <a:lnTo>
                    <a:pt x="720" y="1446"/>
                  </a:lnTo>
                  <a:lnTo>
                    <a:pt x="737" y="1445"/>
                  </a:lnTo>
                  <a:lnTo>
                    <a:pt x="754" y="1445"/>
                  </a:lnTo>
                  <a:lnTo>
                    <a:pt x="770" y="1445"/>
                  </a:lnTo>
                  <a:lnTo>
                    <a:pt x="785" y="1446"/>
                  </a:lnTo>
                  <a:lnTo>
                    <a:pt x="801" y="1448"/>
                  </a:lnTo>
                  <a:lnTo>
                    <a:pt x="815" y="1450"/>
                  </a:lnTo>
                  <a:lnTo>
                    <a:pt x="826" y="1453"/>
                  </a:lnTo>
                  <a:lnTo>
                    <a:pt x="836" y="1456"/>
                  </a:lnTo>
                  <a:lnTo>
                    <a:pt x="840" y="1458"/>
                  </a:lnTo>
                  <a:lnTo>
                    <a:pt x="843" y="1460"/>
                  </a:lnTo>
                  <a:lnTo>
                    <a:pt x="845" y="1463"/>
                  </a:lnTo>
                  <a:lnTo>
                    <a:pt x="847" y="1466"/>
                  </a:lnTo>
                  <a:lnTo>
                    <a:pt x="849" y="1474"/>
                  </a:lnTo>
                  <a:lnTo>
                    <a:pt x="849" y="1482"/>
                  </a:lnTo>
                  <a:lnTo>
                    <a:pt x="848" y="1491"/>
                  </a:lnTo>
                  <a:lnTo>
                    <a:pt x="846" y="1502"/>
                  </a:lnTo>
                  <a:lnTo>
                    <a:pt x="843" y="1513"/>
                  </a:lnTo>
                  <a:lnTo>
                    <a:pt x="839" y="1526"/>
                  </a:lnTo>
                  <a:lnTo>
                    <a:pt x="835" y="1538"/>
                  </a:lnTo>
                  <a:lnTo>
                    <a:pt x="832" y="1551"/>
                  </a:lnTo>
                  <a:lnTo>
                    <a:pt x="830" y="1563"/>
                  </a:lnTo>
                  <a:lnTo>
                    <a:pt x="829" y="1575"/>
                  </a:lnTo>
                  <a:lnTo>
                    <a:pt x="829" y="1587"/>
                  </a:lnTo>
                  <a:lnTo>
                    <a:pt x="831" y="1599"/>
                  </a:lnTo>
                  <a:lnTo>
                    <a:pt x="832" y="1604"/>
                  </a:lnTo>
                  <a:lnTo>
                    <a:pt x="835" y="1609"/>
                  </a:lnTo>
                  <a:lnTo>
                    <a:pt x="838" y="1614"/>
                  </a:lnTo>
                  <a:lnTo>
                    <a:pt x="842" y="1619"/>
                  </a:lnTo>
                  <a:lnTo>
                    <a:pt x="859" y="1635"/>
                  </a:lnTo>
                  <a:lnTo>
                    <a:pt x="878" y="1652"/>
                  </a:lnTo>
                  <a:lnTo>
                    <a:pt x="897" y="1668"/>
                  </a:lnTo>
                  <a:lnTo>
                    <a:pt x="918" y="1682"/>
                  </a:lnTo>
                  <a:lnTo>
                    <a:pt x="922" y="1694"/>
                  </a:lnTo>
                  <a:lnTo>
                    <a:pt x="925" y="1706"/>
                  </a:lnTo>
                  <a:lnTo>
                    <a:pt x="927" y="1719"/>
                  </a:lnTo>
                  <a:lnTo>
                    <a:pt x="928" y="1731"/>
                  </a:lnTo>
                  <a:lnTo>
                    <a:pt x="929" y="1744"/>
                  </a:lnTo>
                  <a:lnTo>
                    <a:pt x="928" y="1756"/>
                  </a:lnTo>
                  <a:lnTo>
                    <a:pt x="927" y="1769"/>
                  </a:lnTo>
                  <a:lnTo>
                    <a:pt x="925" y="1783"/>
                  </a:lnTo>
                  <a:lnTo>
                    <a:pt x="923" y="1797"/>
                  </a:lnTo>
                  <a:lnTo>
                    <a:pt x="922" y="1809"/>
                  </a:lnTo>
                  <a:lnTo>
                    <a:pt x="923" y="1818"/>
                  </a:lnTo>
                  <a:lnTo>
                    <a:pt x="925" y="1825"/>
                  </a:lnTo>
                  <a:lnTo>
                    <a:pt x="928" y="1834"/>
                  </a:lnTo>
                  <a:lnTo>
                    <a:pt x="933" y="1841"/>
                  </a:lnTo>
                  <a:lnTo>
                    <a:pt x="940" y="1849"/>
                  </a:lnTo>
                  <a:lnTo>
                    <a:pt x="949" y="1860"/>
                  </a:lnTo>
                  <a:lnTo>
                    <a:pt x="956" y="1870"/>
                  </a:lnTo>
                  <a:lnTo>
                    <a:pt x="964" y="1883"/>
                  </a:lnTo>
                  <a:lnTo>
                    <a:pt x="970" y="1897"/>
                  </a:lnTo>
                  <a:lnTo>
                    <a:pt x="975" y="1913"/>
                  </a:lnTo>
                  <a:lnTo>
                    <a:pt x="986" y="1947"/>
                  </a:lnTo>
                  <a:lnTo>
                    <a:pt x="995" y="1985"/>
                  </a:lnTo>
                  <a:lnTo>
                    <a:pt x="1000" y="2005"/>
                  </a:lnTo>
                  <a:lnTo>
                    <a:pt x="1005" y="2024"/>
                  </a:lnTo>
                  <a:lnTo>
                    <a:pt x="1012" y="2043"/>
                  </a:lnTo>
                  <a:lnTo>
                    <a:pt x="1019" y="2061"/>
                  </a:lnTo>
                  <a:lnTo>
                    <a:pt x="1026" y="2079"/>
                  </a:lnTo>
                  <a:lnTo>
                    <a:pt x="1036" y="2095"/>
                  </a:lnTo>
                  <a:lnTo>
                    <a:pt x="1045" y="2111"/>
                  </a:lnTo>
                  <a:lnTo>
                    <a:pt x="1056" y="2126"/>
                  </a:lnTo>
                  <a:lnTo>
                    <a:pt x="1058" y="2130"/>
                  </a:lnTo>
                  <a:lnTo>
                    <a:pt x="1060" y="2134"/>
                  </a:lnTo>
                  <a:lnTo>
                    <a:pt x="1060" y="2134"/>
                  </a:lnTo>
                  <a:lnTo>
                    <a:pt x="1074" y="2135"/>
                  </a:lnTo>
                  <a:lnTo>
                    <a:pt x="1097" y="2135"/>
                  </a:lnTo>
                  <a:lnTo>
                    <a:pt x="1125" y="2136"/>
                  </a:lnTo>
                  <a:lnTo>
                    <a:pt x="1154" y="2136"/>
                  </a:lnTo>
                  <a:lnTo>
                    <a:pt x="1184" y="2135"/>
                  </a:lnTo>
                  <a:lnTo>
                    <a:pt x="1209" y="2133"/>
                  </a:lnTo>
                  <a:lnTo>
                    <a:pt x="1220" y="2131"/>
                  </a:lnTo>
                  <a:lnTo>
                    <a:pt x="1229" y="2128"/>
                  </a:lnTo>
                  <a:lnTo>
                    <a:pt x="1235" y="2125"/>
                  </a:lnTo>
                  <a:lnTo>
                    <a:pt x="1239" y="2121"/>
                  </a:lnTo>
                  <a:lnTo>
                    <a:pt x="1246" y="2116"/>
                  </a:lnTo>
                  <a:lnTo>
                    <a:pt x="1251" y="2112"/>
                  </a:lnTo>
                  <a:lnTo>
                    <a:pt x="1257" y="2107"/>
                  </a:lnTo>
                  <a:lnTo>
                    <a:pt x="1260" y="2102"/>
                  </a:lnTo>
                  <a:lnTo>
                    <a:pt x="1262" y="2097"/>
                  </a:lnTo>
                  <a:lnTo>
                    <a:pt x="1264" y="2090"/>
                  </a:lnTo>
                  <a:lnTo>
                    <a:pt x="1265" y="2084"/>
                  </a:lnTo>
                  <a:lnTo>
                    <a:pt x="1266" y="2077"/>
                  </a:lnTo>
                  <a:lnTo>
                    <a:pt x="1267" y="2064"/>
                  </a:lnTo>
                  <a:lnTo>
                    <a:pt x="1268" y="2052"/>
                  </a:lnTo>
                  <a:lnTo>
                    <a:pt x="1269" y="2045"/>
                  </a:lnTo>
                  <a:lnTo>
                    <a:pt x="1270" y="2039"/>
                  </a:lnTo>
                  <a:lnTo>
                    <a:pt x="1272" y="2034"/>
                  </a:lnTo>
                  <a:lnTo>
                    <a:pt x="1275" y="2030"/>
                  </a:lnTo>
                  <a:lnTo>
                    <a:pt x="1284" y="2028"/>
                  </a:lnTo>
                  <a:lnTo>
                    <a:pt x="1292" y="2027"/>
                  </a:lnTo>
                  <a:lnTo>
                    <a:pt x="1300" y="2026"/>
                  </a:lnTo>
                  <a:lnTo>
                    <a:pt x="1309" y="2026"/>
                  </a:lnTo>
                  <a:lnTo>
                    <a:pt x="1318" y="2027"/>
                  </a:lnTo>
                  <a:lnTo>
                    <a:pt x="1327" y="2026"/>
                  </a:lnTo>
                  <a:lnTo>
                    <a:pt x="1336" y="2025"/>
                  </a:lnTo>
                  <a:lnTo>
                    <a:pt x="1344" y="2022"/>
                  </a:lnTo>
                  <a:lnTo>
                    <a:pt x="1349" y="2020"/>
                  </a:lnTo>
                  <a:lnTo>
                    <a:pt x="1354" y="2017"/>
                  </a:lnTo>
                  <a:lnTo>
                    <a:pt x="1358" y="2014"/>
                  </a:lnTo>
                  <a:lnTo>
                    <a:pt x="1362" y="2010"/>
                  </a:lnTo>
                  <a:lnTo>
                    <a:pt x="1369" y="2002"/>
                  </a:lnTo>
                  <a:lnTo>
                    <a:pt x="1377" y="1992"/>
                  </a:lnTo>
                  <a:lnTo>
                    <a:pt x="1389" y="1971"/>
                  </a:lnTo>
                  <a:lnTo>
                    <a:pt x="1403" y="1954"/>
                  </a:lnTo>
                  <a:lnTo>
                    <a:pt x="1403" y="1954"/>
                  </a:lnTo>
                  <a:lnTo>
                    <a:pt x="1404" y="1931"/>
                  </a:lnTo>
                  <a:lnTo>
                    <a:pt x="1405" y="1906"/>
                  </a:lnTo>
                  <a:lnTo>
                    <a:pt x="1407" y="1894"/>
                  </a:lnTo>
                  <a:lnTo>
                    <a:pt x="1410" y="1883"/>
                  </a:lnTo>
                  <a:lnTo>
                    <a:pt x="1412" y="1877"/>
                  </a:lnTo>
                  <a:lnTo>
                    <a:pt x="1414" y="1872"/>
                  </a:lnTo>
                  <a:lnTo>
                    <a:pt x="1417" y="1868"/>
                  </a:lnTo>
                  <a:lnTo>
                    <a:pt x="1421" y="1864"/>
                  </a:lnTo>
                  <a:lnTo>
                    <a:pt x="1440" y="1848"/>
                  </a:lnTo>
                  <a:lnTo>
                    <a:pt x="1460" y="1834"/>
                  </a:lnTo>
                  <a:lnTo>
                    <a:pt x="1479" y="1819"/>
                  </a:lnTo>
                  <a:lnTo>
                    <a:pt x="1498" y="1803"/>
                  </a:lnTo>
                  <a:lnTo>
                    <a:pt x="1508" y="1794"/>
                  </a:lnTo>
                  <a:lnTo>
                    <a:pt x="1516" y="1784"/>
                  </a:lnTo>
                  <a:lnTo>
                    <a:pt x="1518" y="1778"/>
                  </a:lnTo>
                  <a:lnTo>
                    <a:pt x="1520" y="1772"/>
                  </a:lnTo>
                  <a:lnTo>
                    <a:pt x="1520" y="1766"/>
                  </a:lnTo>
                  <a:lnTo>
                    <a:pt x="1518" y="1757"/>
                  </a:lnTo>
                  <a:lnTo>
                    <a:pt x="1515" y="1750"/>
                  </a:lnTo>
                  <a:lnTo>
                    <a:pt x="1510" y="1744"/>
                  </a:lnTo>
                  <a:lnTo>
                    <a:pt x="1504" y="1738"/>
                  </a:lnTo>
                  <a:lnTo>
                    <a:pt x="1498" y="1733"/>
                  </a:lnTo>
                  <a:lnTo>
                    <a:pt x="1489" y="1729"/>
                  </a:lnTo>
                  <a:lnTo>
                    <a:pt x="1482" y="1726"/>
                  </a:lnTo>
                  <a:lnTo>
                    <a:pt x="1474" y="1724"/>
                  </a:lnTo>
                  <a:lnTo>
                    <a:pt x="1466" y="1722"/>
                  </a:lnTo>
                  <a:lnTo>
                    <a:pt x="1457" y="1712"/>
                  </a:lnTo>
                  <a:lnTo>
                    <a:pt x="1451" y="1704"/>
                  </a:lnTo>
                  <a:lnTo>
                    <a:pt x="1449" y="1700"/>
                  </a:lnTo>
                  <a:lnTo>
                    <a:pt x="1446" y="1695"/>
                  </a:lnTo>
                  <a:lnTo>
                    <a:pt x="1446" y="1689"/>
                  </a:lnTo>
                  <a:lnTo>
                    <a:pt x="1446" y="1679"/>
                  </a:lnTo>
                  <a:lnTo>
                    <a:pt x="1447" y="1673"/>
                  </a:lnTo>
                  <a:lnTo>
                    <a:pt x="1450" y="1667"/>
                  </a:lnTo>
                  <a:lnTo>
                    <a:pt x="1452" y="1660"/>
                  </a:lnTo>
                  <a:lnTo>
                    <a:pt x="1455" y="1654"/>
                  </a:lnTo>
                  <a:lnTo>
                    <a:pt x="1458" y="1648"/>
                  </a:lnTo>
                  <a:lnTo>
                    <a:pt x="1461" y="1641"/>
                  </a:lnTo>
                  <a:lnTo>
                    <a:pt x="1463" y="1634"/>
                  </a:lnTo>
                  <a:lnTo>
                    <a:pt x="1464" y="1628"/>
                  </a:lnTo>
                  <a:lnTo>
                    <a:pt x="1467" y="1618"/>
                  </a:lnTo>
                  <a:lnTo>
                    <a:pt x="1468" y="1607"/>
                  </a:lnTo>
                  <a:lnTo>
                    <a:pt x="1470" y="1595"/>
                  </a:lnTo>
                  <a:lnTo>
                    <a:pt x="1470" y="1582"/>
                  </a:lnTo>
                  <a:lnTo>
                    <a:pt x="1472" y="1556"/>
                  </a:lnTo>
                  <a:lnTo>
                    <a:pt x="1475" y="1534"/>
                  </a:lnTo>
                  <a:lnTo>
                    <a:pt x="1476" y="1524"/>
                  </a:lnTo>
                  <a:lnTo>
                    <a:pt x="1475" y="1513"/>
                  </a:lnTo>
                  <a:lnTo>
                    <a:pt x="1474" y="1504"/>
                  </a:lnTo>
                  <a:lnTo>
                    <a:pt x="1470" y="1495"/>
                  </a:lnTo>
                  <a:lnTo>
                    <a:pt x="1466" y="1486"/>
                  </a:lnTo>
                  <a:lnTo>
                    <a:pt x="1461" y="1478"/>
                  </a:lnTo>
                  <a:lnTo>
                    <a:pt x="1454" y="1472"/>
                  </a:lnTo>
                  <a:lnTo>
                    <a:pt x="1445" y="1465"/>
                  </a:lnTo>
                  <a:lnTo>
                    <a:pt x="1437" y="1459"/>
                  </a:lnTo>
                  <a:lnTo>
                    <a:pt x="1430" y="1452"/>
                  </a:lnTo>
                  <a:lnTo>
                    <a:pt x="1423" y="1445"/>
                  </a:lnTo>
                  <a:lnTo>
                    <a:pt x="1419" y="1435"/>
                  </a:lnTo>
                  <a:lnTo>
                    <a:pt x="1415" y="1426"/>
                  </a:lnTo>
                  <a:lnTo>
                    <a:pt x="1413" y="1416"/>
                  </a:lnTo>
                  <a:lnTo>
                    <a:pt x="1412" y="1407"/>
                  </a:lnTo>
                  <a:lnTo>
                    <a:pt x="1412" y="1397"/>
                  </a:lnTo>
                  <a:lnTo>
                    <a:pt x="1413" y="1387"/>
                  </a:lnTo>
                  <a:lnTo>
                    <a:pt x="1415" y="1378"/>
                  </a:lnTo>
                  <a:lnTo>
                    <a:pt x="1419" y="1368"/>
                  </a:lnTo>
                  <a:lnTo>
                    <a:pt x="1425" y="1359"/>
                  </a:lnTo>
                  <a:lnTo>
                    <a:pt x="1430" y="1351"/>
                  </a:lnTo>
                  <a:lnTo>
                    <a:pt x="1437" y="1343"/>
                  </a:lnTo>
                  <a:lnTo>
                    <a:pt x="1446" y="1337"/>
                  </a:lnTo>
                  <a:lnTo>
                    <a:pt x="1456" y="1332"/>
                  </a:lnTo>
                  <a:lnTo>
                    <a:pt x="1458" y="1326"/>
                  </a:lnTo>
                  <a:lnTo>
                    <a:pt x="1461" y="1320"/>
                  </a:lnTo>
                  <a:lnTo>
                    <a:pt x="1464" y="1315"/>
                  </a:lnTo>
                  <a:lnTo>
                    <a:pt x="1468" y="1311"/>
                  </a:lnTo>
                  <a:lnTo>
                    <a:pt x="1478" y="1304"/>
                  </a:lnTo>
                  <a:lnTo>
                    <a:pt x="1487" y="1295"/>
                  </a:lnTo>
                  <a:lnTo>
                    <a:pt x="1491" y="1291"/>
                  </a:lnTo>
                  <a:lnTo>
                    <a:pt x="1495" y="1287"/>
                  </a:lnTo>
                  <a:lnTo>
                    <a:pt x="1500" y="1282"/>
                  </a:lnTo>
                  <a:lnTo>
                    <a:pt x="1503" y="1277"/>
                  </a:lnTo>
                  <a:lnTo>
                    <a:pt x="1506" y="1270"/>
                  </a:lnTo>
                  <a:lnTo>
                    <a:pt x="1508" y="1263"/>
                  </a:lnTo>
                  <a:lnTo>
                    <a:pt x="1510" y="1255"/>
                  </a:lnTo>
                  <a:lnTo>
                    <a:pt x="1510" y="1245"/>
                  </a:lnTo>
                  <a:lnTo>
                    <a:pt x="1509" y="1237"/>
                  </a:lnTo>
                  <a:lnTo>
                    <a:pt x="1506" y="1226"/>
                  </a:lnTo>
                  <a:lnTo>
                    <a:pt x="1502" y="1215"/>
                  </a:lnTo>
                  <a:lnTo>
                    <a:pt x="1496" y="1202"/>
                  </a:lnTo>
                  <a:lnTo>
                    <a:pt x="1492" y="1190"/>
                  </a:lnTo>
                  <a:lnTo>
                    <a:pt x="1490" y="1178"/>
                  </a:lnTo>
                  <a:lnTo>
                    <a:pt x="1490" y="1173"/>
                  </a:lnTo>
                  <a:lnTo>
                    <a:pt x="1491" y="1169"/>
                  </a:lnTo>
                  <a:lnTo>
                    <a:pt x="1492" y="1165"/>
                  </a:lnTo>
                  <a:lnTo>
                    <a:pt x="1494" y="1162"/>
                  </a:lnTo>
                  <a:lnTo>
                    <a:pt x="1506" y="1151"/>
                  </a:lnTo>
                  <a:lnTo>
                    <a:pt x="1517" y="1143"/>
                  </a:lnTo>
                  <a:lnTo>
                    <a:pt x="1529" y="1136"/>
                  </a:lnTo>
                  <a:lnTo>
                    <a:pt x="1540" y="1129"/>
                  </a:lnTo>
                  <a:lnTo>
                    <a:pt x="1562" y="1118"/>
                  </a:lnTo>
                  <a:lnTo>
                    <a:pt x="1582" y="1105"/>
                  </a:lnTo>
                  <a:lnTo>
                    <a:pt x="1591" y="1099"/>
                  </a:lnTo>
                  <a:lnTo>
                    <a:pt x="1600" y="1092"/>
                  </a:lnTo>
                  <a:lnTo>
                    <a:pt x="1607" y="1084"/>
                  </a:lnTo>
                  <a:lnTo>
                    <a:pt x="1612" y="1073"/>
                  </a:lnTo>
                  <a:lnTo>
                    <a:pt x="1616" y="1062"/>
                  </a:lnTo>
                  <a:lnTo>
                    <a:pt x="1620" y="1048"/>
                  </a:lnTo>
                  <a:lnTo>
                    <a:pt x="1621" y="1031"/>
                  </a:lnTo>
                  <a:lnTo>
                    <a:pt x="1620" y="1013"/>
                  </a:lnTo>
                  <a:lnTo>
                    <a:pt x="1626" y="995"/>
                  </a:lnTo>
                  <a:lnTo>
                    <a:pt x="1629" y="980"/>
                  </a:lnTo>
                  <a:lnTo>
                    <a:pt x="1630" y="968"/>
                  </a:lnTo>
                  <a:lnTo>
                    <a:pt x="1632" y="956"/>
                  </a:lnTo>
                  <a:lnTo>
                    <a:pt x="1633" y="951"/>
                  </a:lnTo>
                  <a:lnTo>
                    <a:pt x="1635" y="946"/>
                  </a:lnTo>
                  <a:lnTo>
                    <a:pt x="1637" y="940"/>
                  </a:lnTo>
                  <a:lnTo>
                    <a:pt x="1641" y="934"/>
                  </a:lnTo>
                  <a:lnTo>
                    <a:pt x="1646" y="928"/>
                  </a:lnTo>
                  <a:lnTo>
                    <a:pt x="1652" y="921"/>
                  </a:lnTo>
                  <a:lnTo>
                    <a:pt x="1659" y="913"/>
                  </a:lnTo>
                  <a:lnTo>
                    <a:pt x="1667" y="906"/>
                  </a:lnTo>
                  <a:lnTo>
                    <a:pt x="1678" y="897"/>
                  </a:lnTo>
                  <a:lnTo>
                    <a:pt x="1688" y="887"/>
                  </a:lnTo>
                  <a:lnTo>
                    <a:pt x="1698" y="876"/>
                  </a:lnTo>
                  <a:lnTo>
                    <a:pt x="1706" y="863"/>
                  </a:lnTo>
                  <a:lnTo>
                    <a:pt x="1709" y="857"/>
                  </a:lnTo>
                  <a:lnTo>
                    <a:pt x="1712" y="851"/>
                  </a:lnTo>
                  <a:lnTo>
                    <a:pt x="1714" y="845"/>
                  </a:lnTo>
                  <a:lnTo>
                    <a:pt x="1715" y="837"/>
                  </a:lnTo>
                  <a:lnTo>
                    <a:pt x="1716" y="831"/>
                  </a:lnTo>
                  <a:lnTo>
                    <a:pt x="1715" y="824"/>
                  </a:lnTo>
                  <a:lnTo>
                    <a:pt x="1714" y="818"/>
                  </a:lnTo>
                  <a:lnTo>
                    <a:pt x="1711" y="810"/>
                  </a:lnTo>
                  <a:lnTo>
                    <a:pt x="1707" y="801"/>
                  </a:lnTo>
                  <a:lnTo>
                    <a:pt x="1704" y="789"/>
                  </a:lnTo>
                  <a:lnTo>
                    <a:pt x="1701" y="778"/>
                  </a:lnTo>
                  <a:lnTo>
                    <a:pt x="1698" y="765"/>
                  </a:lnTo>
                  <a:lnTo>
                    <a:pt x="1696" y="752"/>
                  </a:lnTo>
                  <a:lnTo>
                    <a:pt x="1695" y="737"/>
                  </a:lnTo>
                  <a:lnTo>
                    <a:pt x="1694" y="724"/>
                  </a:lnTo>
                  <a:lnTo>
                    <a:pt x="1695" y="710"/>
                  </a:lnTo>
                  <a:lnTo>
                    <a:pt x="1696" y="696"/>
                  </a:lnTo>
                  <a:lnTo>
                    <a:pt x="1698" y="684"/>
                  </a:lnTo>
                  <a:lnTo>
                    <a:pt x="1702" y="671"/>
                  </a:lnTo>
                  <a:lnTo>
                    <a:pt x="1707" y="660"/>
                  </a:lnTo>
                  <a:lnTo>
                    <a:pt x="1713" y="651"/>
                  </a:lnTo>
                  <a:lnTo>
                    <a:pt x="1721" y="642"/>
                  </a:lnTo>
                  <a:lnTo>
                    <a:pt x="1725" y="639"/>
                  </a:lnTo>
                  <a:lnTo>
                    <a:pt x="1730" y="636"/>
                  </a:lnTo>
                  <a:lnTo>
                    <a:pt x="1735" y="633"/>
                  </a:lnTo>
                  <a:lnTo>
                    <a:pt x="1740" y="631"/>
                  </a:lnTo>
                  <a:lnTo>
                    <a:pt x="1752" y="628"/>
                  </a:lnTo>
                  <a:lnTo>
                    <a:pt x="1761" y="627"/>
                  </a:lnTo>
                  <a:lnTo>
                    <a:pt x="1772" y="626"/>
                  </a:lnTo>
                  <a:lnTo>
                    <a:pt x="1780" y="626"/>
                  </a:lnTo>
                  <a:lnTo>
                    <a:pt x="1788" y="626"/>
                  </a:lnTo>
                  <a:lnTo>
                    <a:pt x="1797" y="628"/>
                  </a:lnTo>
                  <a:lnTo>
                    <a:pt x="1805" y="629"/>
                  </a:lnTo>
                  <a:lnTo>
                    <a:pt x="1812" y="632"/>
                  </a:lnTo>
                  <a:lnTo>
                    <a:pt x="1828" y="636"/>
                  </a:lnTo>
                  <a:lnTo>
                    <a:pt x="1845" y="641"/>
                  </a:lnTo>
                  <a:lnTo>
                    <a:pt x="1861" y="646"/>
                  </a:lnTo>
                  <a:lnTo>
                    <a:pt x="1881" y="649"/>
                  </a:lnTo>
                  <a:lnTo>
                    <a:pt x="1889" y="650"/>
                  </a:lnTo>
                  <a:lnTo>
                    <a:pt x="1895" y="652"/>
                  </a:lnTo>
                  <a:lnTo>
                    <a:pt x="1902" y="654"/>
                  </a:lnTo>
                  <a:lnTo>
                    <a:pt x="1908" y="656"/>
                  </a:lnTo>
                  <a:lnTo>
                    <a:pt x="1920" y="662"/>
                  </a:lnTo>
                  <a:lnTo>
                    <a:pt x="1930" y="669"/>
                  </a:lnTo>
                  <a:lnTo>
                    <a:pt x="1941" y="678"/>
                  </a:lnTo>
                  <a:lnTo>
                    <a:pt x="1950" y="687"/>
                  </a:lnTo>
                  <a:lnTo>
                    <a:pt x="1958" y="696"/>
                  </a:lnTo>
                  <a:lnTo>
                    <a:pt x="1967" y="706"/>
                  </a:lnTo>
                  <a:lnTo>
                    <a:pt x="1975" y="715"/>
                  </a:lnTo>
                  <a:lnTo>
                    <a:pt x="1983" y="724"/>
                  </a:lnTo>
                  <a:lnTo>
                    <a:pt x="1993" y="732"/>
                  </a:lnTo>
                  <a:lnTo>
                    <a:pt x="2002" y="738"/>
                  </a:lnTo>
                  <a:lnTo>
                    <a:pt x="2012" y="743"/>
                  </a:lnTo>
                  <a:lnTo>
                    <a:pt x="2022" y="748"/>
                  </a:lnTo>
                  <a:lnTo>
                    <a:pt x="2027" y="749"/>
                  </a:lnTo>
                  <a:lnTo>
                    <a:pt x="2033" y="749"/>
                  </a:lnTo>
                  <a:lnTo>
                    <a:pt x="2040" y="749"/>
                  </a:lnTo>
                  <a:lnTo>
                    <a:pt x="2046" y="748"/>
                  </a:lnTo>
                  <a:lnTo>
                    <a:pt x="2059" y="743"/>
                  </a:lnTo>
                  <a:lnTo>
                    <a:pt x="2073" y="738"/>
                  </a:lnTo>
                  <a:lnTo>
                    <a:pt x="2087" y="732"/>
                  </a:lnTo>
                  <a:lnTo>
                    <a:pt x="2100" y="725"/>
                  </a:lnTo>
                  <a:lnTo>
                    <a:pt x="2125" y="708"/>
                  </a:lnTo>
                  <a:lnTo>
                    <a:pt x="2149" y="690"/>
                  </a:lnTo>
                  <a:lnTo>
                    <a:pt x="2166" y="678"/>
                  </a:lnTo>
                  <a:lnTo>
                    <a:pt x="2178" y="667"/>
                  </a:lnTo>
                  <a:lnTo>
                    <a:pt x="2189" y="660"/>
                  </a:lnTo>
                  <a:lnTo>
                    <a:pt x="2197" y="655"/>
                  </a:lnTo>
                  <a:lnTo>
                    <a:pt x="2208" y="652"/>
                  </a:lnTo>
                  <a:lnTo>
                    <a:pt x="2220" y="651"/>
                  </a:lnTo>
                  <a:lnTo>
                    <a:pt x="2237" y="650"/>
                  </a:lnTo>
                  <a:lnTo>
                    <a:pt x="2261" y="650"/>
                  </a:lnTo>
                  <a:lnTo>
                    <a:pt x="2284" y="650"/>
                  </a:lnTo>
                  <a:lnTo>
                    <a:pt x="2306" y="650"/>
                  </a:lnTo>
                  <a:lnTo>
                    <a:pt x="2324" y="650"/>
                  </a:lnTo>
                  <a:lnTo>
                    <a:pt x="2341" y="646"/>
                  </a:lnTo>
                  <a:lnTo>
                    <a:pt x="2349" y="644"/>
                  </a:lnTo>
                  <a:lnTo>
                    <a:pt x="2357" y="641"/>
                  </a:lnTo>
                  <a:lnTo>
                    <a:pt x="2365" y="638"/>
                  </a:lnTo>
                  <a:lnTo>
                    <a:pt x="2372" y="633"/>
                  </a:lnTo>
                  <a:lnTo>
                    <a:pt x="2380" y="628"/>
                  </a:lnTo>
                  <a:lnTo>
                    <a:pt x="2387" y="621"/>
                  </a:lnTo>
                  <a:lnTo>
                    <a:pt x="2395" y="613"/>
                  </a:lnTo>
                  <a:lnTo>
                    <a:pt x="2403" y="604"/>
                  </a:lnTo>
                  <a:lnTo>
                    <a:pt x="2488" y="492"/>
                  </a:lnTo>
                  <a:lnTo>
                    <a:pt x="2492" y="490"/>
                  </a:lnTo>
                  <a:lnTo>
                    <a:pt x="2496" y="485"/>
                  </a:lnTo>
                  <a:lnTo>
                    <a:pt x="2507" y="481"/>
                  </a:lnTo>
                  <a:lnTo>
                    <a:pt x="2517" y="478"/>
                  </a:lnTo>
                  <a:lnTo>
                    <a:pt x="2528" y="476"/>
                  </a:lnTo>
                  <a:lnTo>
                    <a:pt x="2537" y="475"/>
                  </a:lnTo>
                  <a:lnTo>
                    <a:pt x="2546" y="473"/>
                  </a:lnTo>
                  <a:lnTo>
                    <a:pt x="2555" y="471"/>
                  </a:lnTo>
                  <a:lnTo>
                    <a:pt x="2560" y="469"/>
                  </a:lnTo>
                  <a:lnTo>
                    <a:pt x="2564" y="466"/>
                  </a:lnTo>
                  <a:lnTo>
                    <a:pt x="2568" y="463"/>
                  </a:lnTo>
                  <a:lnTo>
                    <a:pt x="2574" y="460"/>
                  </a:lnTo>
                  <a:lnTo>
                    <a:pt x="2579" y="452"/>
                  </a:lnTo>
                  <a:lnTo>
                    <a:pt x="2584" y="445"/>
                  </a:lnTo>
                  <a:lnTo>
                    <a:pt x="2588" y="436"/>
                  </a:lnTo>
                  <a:lnTo>
                    <a:pt x="2591" y="427"/>
                  </a:lnTo>
                  <a:lnTo>
                    <a:pt x="2594" y="418"/>
                  </a:lnTo>
                  <a:lnTo>
                    <a:pt x="2598" y="410"/>
                  </a:lnTo>
                  <a:lnTo>
                    <a:pt x="2602" y="401"/>
                  </a:lnTo>
                  <a:lnTo>
                    <a:pt x="2606" y="393"/>
                  </a:lnTo>
                  <a:lnTo>
                    <a:pt x="2606" y="393"/>
                  </a:lnTo>
                  <a:lnTo>
                    <a:pt x="2579" y="385"/>
                  </a:lnTo>
                  <a:lnTo>
                    <a:pt x="2544" y="373"/>
                  </a:lnTo>
                  <a:lnTo>
                    <a:pt x="2505" y="361"/>
                  </a:lnTo>
                  <a:lnTo>
                    <a:pt x="2464" y="347"/>
                  </a:lnTo>
                  <a:lnTo>
                    <a:pt x="2444" y="340"/>
                  </a:lnTo>
                  <a:lnTo>
                    <a:pt x="2425" y="331"/>
                  </a:lnTo>
                  <a:lnTo>
                    <a:pt x="2408" y="324"/>
                  </a:lnTo>
                  <a:lnTo>
                    <a:pt x="2392" y="316"/>
                  </a:lnTo>
                  <a:lnTo>
                    <a:pt x="2378" y="307"/>
                  </a:lnTo>
                  <a:lnTo>
                    <a:pt x="2366" y="299"/>
                  </a:lnTo>
                  <a:lnTo>
                    <a:pt x="2361" y="296"/>
                  </a:lnTo>
                  <a:lnTo>
                    <a:pt x="2358" y="292"/>
                  </a:lnTo>
                  <a:lnTo>
                    <a:pt x="2354" y="288"/>
                  </a:lnTo>
                  <a:lnTo>
                    <a:pt x="2351" y="283"/>
                  </a:lnTo>
                  <a:lnTo>
                    <a:pt x="2339" y="255"/>
                  </a:lnTo>
                  <a:lnTo>
                    <a:pt x="2330" y="233"/>
                  </a:lnTo>
                  <a:lnTo>
                    <a:pt x="2323" y="223"/>
                  </a:lnTo>
                  <a:lnTo>
                    <a:pt x="2316" y="212"/>
                  </a:lnTo>
                  <a:lnTo>
                    <a:pt x="2307" y="202"/>
                  </a:lnTo>
                  <a:lnTo>
                    <a:pt x="2294" y="189"/>
                  </a:lnTo>
                  <a:lnTo>
                    <a:pt x="2277" y="174"/>
                  </a:lnTo>
                  <a:lnTo>
                    <a:pt x="2257" y="155"/>
                  </a:lnTo>
                  <a:lnTo>
                    <a:pt x="2233" y="135"/>
                  </a:lnTo>
                  <a:lnTo>
                    <a:pt x="2207" y="116"/>
                  </a:lnTo>
                  <a:lnTo>
                    <a:pt x="2193" y="107"/>
                  </a:lnTo>
                  <a:lnTo>
                    <a:pt x="2180" y="98"/>
                  </a:lnTo>
                  <a:lnTo>
                    <a:pt x="2167" y="90"/>
                  </a:lnTo>
                  <a:lnTo>
                    <a:pt x="2154" y="83"/>
                  </a:lnTo>
                  <a:lnTo>
                    <a:pt x="2142" y="78"/>
                  </a:lnTo>
                  <a:lnTo>
                    <a:pt x="2130" y="74"/>
                  </a:lnTo>
                  <a:lnTo>
                    <a:pt x="2119" y="72"/>
                  </a:lnTo>
                  <a:lnTo>
                    <a:pt x="2110" y="71"/>
                  </a:lnTo>
                  <a:lnTo>
                    <a:pt x="2101" y="73"/>
                  </a:lnTo>
                  <a:lnTo>
                    <a:pt x="2093" y="76"/>
                  </a:lnTo>
                  <a:lnTo>
                    <a:pt x="2083" y="80"/>
                  </a:lnTo>
                  <a:lnTo>
                    <a:pt x="2075" y="85"/>
                  </a:lnTo>
                  <a:lnTo>
                    <a:pt x="2066" y="89"/>
                  </a:lnTo>
                  <a:lnTo>
                    <a:pt x="2057" y="92"/>
                  </a:lnTo>
                  <a:lnTo>
                    <a:pt x="2053" y="93"/>
                  </a:lnTo>
                  <a:lnTo>
                    <a:pt x="2049" y="93"/>
                  </a:lnTo>
                  <a:lnTo>
                    <a:pt x="2045" y="93"/>
                  </a:lnTo>
                  <a:lnTo>
                    <a:pt x="2041" y="91"/>
                  </a:lnTo>
                  <a:lnTo>
                    <a:pt x="2017" y="80"/>
                  </a:lnTo>
                  <a:lnTo>
                    <a:pt x="1995" y="72"/>
                  </a:lnTo>
                  <a:lnTo>
                    <a:pt x="1984" y="68"/>
                  </a:lnTo>
                  <a:lnTo>
                    <a:pt x="1975" y="66"/>
                  </a:lnTo>
                  <a:lnTo>
                    <a:pt x="1966" y="65"/>
                  </a:lnTo>
                  <a:lnTo>
                    <a:pt x="1957" y="66"/>
                  </a:lnTo>
                  <a:lnTo>
                    <a:pt x="1949" y="68"/>
                  </a:lnTo>
                  <a:lnTo>
                    <a:pt x="1942" y="73"/>
                  </a:lnTo>
                  <a:lnTo>
                    <a:pt x="1935" y="79"/>
                  </a:lnTo>
                  <a:lnTo>
                    <a:pt x="1929" y="86"/>
                  </a:lnTo>
                  <a:lnTo>
                    <a:pt x="1924" y="97"/>
                  </a:lnTo>
                  <a:lnTo>
                    <a:pt x="1920" y="108"/>
                  </a:lnTo>
                  <a:lnTo>
                    <a:pt x="1916" y="123"/>
                  </a:lnTo>
                  <a:lnTo>
                    <a:pt x="1912" y="140"/>
                  </a:lnTo>
                  <a:lnTo>
                    <a:pt x="1907" y="143"/>
                  </a:lnTo>
                  <a:lnTo>
                    <a:pt x="1902" y="144"/>
                  </a:lnTo>
                  <a:lnTo>
                    <a:pt x="1896" y="143"/>
                  </a:lnTo>
                  <a:lnTo>
                    <a:pt x="1891" y="141"/>
                  </a:lnTo>
                  <a:lnTo>
                    <a:pt x="1884" y="139"/>
                  </a:lnTo>
                  <a:lnTo>
                    <a:pt x="1879" y="136"/>
                  </a:lnTo>
                  <a:lnTo>
                    <a:pt x="1874" y="133"/>
                  </a:lnTo>
                  <a:lnTo>
                    <a:pt x="1868" y="129"/>
                  </a:lnTo>
                  <a:lnTo>
                    <a:pt x="1858" y="120"/>
                  </a:lnTo>
                  <a:lnTo>
                    <a:pt x="1849" y="109"/>
                  </a:lnTo>
                  <a:lnTo>
                    <a:pt x="1842" y="99"/>
                  </a:lnTo>
                  <a:lnTo>
                    <a:pt x="1835" y="90"/>
                  </a:lnTo>
                  <a:lnTo>
                    <a:pt x="1831" y="81"/>
                  </a:lnTo>
                  <a:lnTo>
                    <a:pt x="1828" y="73"/>
                  </a:lnTo>
                  <a:lnTo>
                    <a:pt x="1821" y="64"/>
                  </a:lnTo>
                  <a:lnTo>
                    <a:pt x="1812" y="57"/>
                  </a:lnTo>
                  <a:lnTo>
                    <a:pt x="1803" y="51"/>
                  </a:lnTo>
                  <a:lnTo>
                    <a:pt x="1794" y="43"/>
                  </a:lnTo>
                  <a:lnTo>
                    <a:pt x="1784" y="38"/>
                  </a:lnTo>
                  <a:lnTo>
                    <a:pt x="1774" y="33"/>
                  </a:lnTo>
                  <a:lnTo>
                    <a:pt x="1762" y="28"/>
                  </a:lnTo>
                  <a:lnTo>
                    <a:pt x="1752" y="23"/>
                  </a:lnTo>
                  <a:lnTo>
                    <a:pt x="1729" y="15"/>
                  </a:lnTo>
                  <a:lnTo>
                    <a:pt x="1706" y="10"/>
                  </a:lnTo>
                  <a:lnTo>
                    <a:pt x="1683" y="7"/>
                  </a:lnTo>
                  <a:lnTo>
                    <a:pt x="1661" y="6"/>
                  </a:lnTo>
                  <a:lnTo>
                    <a:pt x="1647" y="5"/>
                  </a:lnTo>
                  <a:lnTo>
                    <a:pt x="1632" y="3"/>
                  </a:lnTo>
                  <a:lnTo>
                    <a:pt x="1616" y="1"/>
                  </a:lnTo>
                  <a:lnTo>
                    <a:pt x="1601" y="0"/>
                  </a:lnTo>
                  <a:lnTo>
                    <a:pt x="1598" y="1"/>
                  </a:lnTo>
                  <a:lnTo>
                    <a:pt x="1594" y="2"/>
                  </a:lnTo>
                  <a:lnTo>
                    <a:pt x="1591" y="5"/>
                  </a:lnTo>
                  <a:lnTo>
                    <a:pt x="1588" y="9"/>
                  </a:lnTo>
                  <a:lnTo>
                    <a:pt x="1582" y="19"/>
                  </a:lnTo>
                  <a:lnTo>
                    <a:pt x="1577" y="31"/>
                  </a:lnTo>
                  <a:lnTo>
                    <a:pt x="1567" y="56"/>
                  </a:lnTo>
                  <a:lnTo>
                    <a:pt x="1562" y="76"/>
                  </a:lnTo>
                  <a:lnTo>
                    <a:pt x="1561" y="88"/>
                  </a:lnTo>
                  <a:lnTo>
                    <a:pt x="1561" y="100"/>
                  </a:lnTo>
                  <a:lnTo>
                    <a:pt x="1562" y="111"/>
                  </a:lnTo>
                  <a:lnTo>
                    <a:pt x="1564" y="122"/>
                  </a:lnTo>
                  <a:lnTo>
                    <a:pt x="1567" y="133"/>
                  </a:lnTo>
                  <a:lnTo>
                    <a:pt x="1572" y="144"/>
                  </a:lnTo>
                  <a:lnTo>
                    <a:pt x="1577" y="153"/>
                  </a:lnTo>
                  <a:lnTo>
                    <a:pt x="1582" y="163"/>
                  </a:lnTo>
                  <a:lnTo>
                    <a:pt x="1593" y="184"/>
                  </a:lnTo>
                  <a:lnTo>
                    <a:pt x="1604" y="204"/>
                  </a:lnTo>
                  <a:lnTo>
                    <a:pt x="1609" y="216"/>
                  </a:lnTo>
                  <a:lnTo>
                    <a:pt x="1613" y="226"/>
                  </a:lnTo>
                  <a:lnTo>
                    <a:pt x="1616" y="237"/>
                  </a:lnTo>
                  <a:lnTo>
                    <a:pt x="1618" y="250"/>
                  </a:lnTo>
                  <a:lnTo>
                    <a:pt x="1620" y="258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6" y="278"/>
                  </a:lnTo>
                  <a:lnTo>
                    <a:pt x="1614" y="283"/>
                  </a:lnTo>
                  <a:lnTo>
                    <a:pt x="1611" y="288"/>
                  </a:lnTo>
                  <a:lnTo>
                    <a:pt x="1607" y="292"/>
                  </a:lnTo>
                  <a:lnTo>
                    <a:pt x="1604" y="296"/>
                  </a:lnTo>
                  <a:lnTo>
                    <a:pt x="1594" y="304"/>
                  </a:lnTo>
                  <a:lnTo>
                    <a:pt x="1585" y="313"/>
                  </a:lnTo>
                  <a:lnTo>
                    <a:pt x="1575" y="322"/>
                  </a:lnTo>
                  <a:lnTo>
                    <a:pt x="1564" y="333"/>
                  </a:lnTo>
                  <a:lnTo>
                    <a:pt x="1559" y="343"/>
                  </a:lnTo>
                  <a:lnTo>
                    <a:pt x="1555" y="352"/>
                  </a:lnTo>
                  <a:lnTo>
                    <a:pt x="1553" y="361"/>
                  </a:lnTo>
                  <a:lnTo>
                    <a:pt x="1552" y="369"/>
                  </a:lnTo>
                  <a:lnTo>
                    <a:pt x="1552" y="388"/>
                  </a:lnTo>
                  <a:lnTo>
                    <a:pt x="1553" y="408"/>
                  </a:lnTo>
                  <a:lnTo>
                    <a:pt x="1555" y="417"/>
                  </a:lnTo>
                  <a:lnTo>
                    <a:pt x="1555" y="426"/>
                  </a:lnTo>
                  <a:lnTo>
                    <a:pt x="1554" y="434"/>
                  </a:lnTo>
                  <a:lnTo>
                    <a:pt x="1551" y="442"/>
                  </a:lnTo>
                  <a:lnTo>
                    <a:pt x="1547" y="448"/>
                  </a:lnTo>
                  <a:lnTo>
                    <a:pt x="1540" y="454"/>
                  </a:lnTo>
                  <a:lnTo>
                    <a:pt x="1534" y="460"/>
                  </a:lnTo>
                  <a:lnTo>
                    <a:pt x="1526" y="464"/>
                  </a:lnTo>
                  <a:lnTo>
                    <a:pt x="1517" y="468"/>
                  </a:lnTo>
                  <a:lnTo>
                    <a:pt x="1508" y="472"/>
                  </a:lnTo>
                  <a:lnTo>
                    <a:pt x="1499" y="474"/>
                  </a:lnTo>
                  <a:lnTo>
                    <a:pt x="1489" y="476"/>
                  </a:lnTo>
                  <a:lnTo>
                    <a:pt x="1479" y="478"/>
                  </a:lnTo>
                  <a:lnTo>
                    <a:pt x="1469" y="478"/>
                  </a:lnTo>
                  <a:lnTo>
                    <a:pt x="1461" y="479"/>
                  </a:lnTo>
                  <a:lnTo>
                    <a:pt x="1452" y="478"/>
                  </a:lnTo>
                  <a:lnTo>
                    <a:pt x="1444" y="477"/>
                  </a:lnTo>
                  <a:lnTo>
                    <a:pt x="1437" y="475"/>
                  </a:lnTo>
                  <a:lnTo>
                    <a:pt x="1430" y="473"/>
                  </a:lnTo>
                  <a:lnTo>
                    <a:pt x="1422" y="470"/>
                  </a:lnTo>
                  <a:lnTo>
                    <a:pt x="1409" y="465"/>
                  </a:lnTo>
                  <a:lnTo>
                    <a:pt x="1394" y="460"/>
                  </a:lnTo>
                  <a:lnTo>
                    <a:pt x="1379" y="455"/>
                  </a:lnTo>
                  <a:lnTo>
                    <a:pt x="1362" y="453"/>
                  </a:lnTo>
                  <a:lnTo>
                    <a:pt x="1346" y="452"/>
                  </a:lnTo>
                  <a:lnTo>
                    <a:pt x="1331" y="451"/>
                  </a:lnTo>
                  <a:lnTo>
                    <a:pt x="1314" y="450"/>
                  </a:lnTo>
                  <a:lnTo>
                    <a:pt x="1298" y="448"/>
                  </a:lnTo>
                  <a:lnTo>
                    <a:pt x="1290" y="447"/>
                  </a:lnTo>
                  <a:lnTo>
                    <a:pt x="1282" y="445"/>
                  </a:lnTo>
                  <a:lnTo>
                    <a:pt x="1273" y="442"/>
                  </a:lnTo>
                  <a:lnTo>
                    <a:pt x="1266" y="439"/>
                  </a:lnTo>
                  <a:lnTo>
                    <a:pt x="1256" y="433"/>
                  </a:lnTo>
                  <a:lnTo>
                    <a:pt x="1246" y="426"/>
                  </a:lnTo>
                  <a:lnTo>
                    <a:pt x="1237" y="419"/>
                  </a:lnTo>
                  <a:lnTo>
                    <a:pt x="1230" y="411"/>
                  </a:lnTo>
                  <a:lnTo>
                    <a:pt x="1214" y="393"/>
                  </a:lnTo>
                  <a:lnTo>
                    <a:pt x="1201" y="373"/>
                  </a:lnTo>
                  <a:lnTo>
                    <a:pt x="1189" y="353"/>
                  </a:lnTo>
                  <a:lnTo>
                    <a:pt x="1175" y="333"/>
                  </a:lnTo>
                  <a:lnTo>
                    <a:pt x="1169" y="324"/>
                  </a:lnTo>
                  <a:lnTo>
                    <a:pt x="1162" y="315"/>
                  </a:lnTo>
                  <a:lnTo>
                    <a:pt x="1154" y="306"/>
                  </a:lnTo>
                  <a:lnTo>
                    <a:pt x="1147" y="298"/>
                  </a:lnTo>
                  <a:lnTo>
                    <a:pt x="1130" y="284"/>
                  </a:lnTo>
                  <a:lnTo>
                    <a:pt x="1114" y="272"/>
                  </a:lnTo>
                  <a:lnTo>
                    <a:pt x="1097" y="259"/>
                  </a:lnTo>
                  <a:lnTo>
                    <a:pt x="1080" y="246"/>
                  </a:lnTo>
                  <a:lnTo>
                    <a:pt x="1075" y="242"/>
                  </a:lnTo>
                  <a:lnTo>
                    <a:pt x="1069" y="237"/>
                  </a:lnTo>
                  <a:lnTo>
                    <a:pt x="1062" y="234"/>
                  </a:lnTo>
                  <a:lnTo>
                    <a:pt x="1055" y="231"/>
                  </a:lnTo>
                  <a:lnTo>
                    <a:pt x="1043" y="226"/>
                  </a:lnTo>
                  <a:lnTo>
                    <a:pt x="1030" y="219"/>
                  </a:lnTo>
                  <a:lnTo>
                    <a:pt x="892" y="157"/>
                  </a:lnTo>
                  <a:lnTo>
                    <a:pt x="892" y="157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88" name="Freeform 125">
              <a:extLst>
                <a:ext uri="{FF2B5EF4-FFF2-40B4-BE49-F238E27FC236}">
                  <a16:creationId xmlns:a16="http://schemas.microsoft.com/office/drawing/2014/main" id="{6D854D32-44EB-4C5E-A2A6-28849DCAD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80" y="3887337"/>
              <a:ext cx="614978" cy="498340"/>
            </a:xfrm>
            <a:custGeom>
              <a:avLst/>
              <a:gdLst>
                <a:gd name="T0" fmla="*/ 343 w 2448"/>
                <a:gd name="T1" fmla="*/ 1902 h 2053"/>
                <a:gd name="T2" fmla="*/ 272 w 2448"/>
                <a:gd name="T3" fmla="*/ 1645 h 2053"/>
                <a:gd name="T4" fmla="*/ 313 w 2448"/>
                <a:gd name="T5" fmla="*/ 1510 h 2053"/>
                <a:gd name="T6" fmla="*/ 226 w 2448"/>
                <a:gd name="T7" fmla="*/ 1386 h 2053"/>
                <a:gd name="T8" fmla="*/ 128 w 2448"/>
                <a:gd name="T9" fmla="*/ 1311 h 2053"/>
                <a:gd name="T10" fmla="*/ 111 w 2448"/>
                <a:gd name="T11" fmla="*/ 1211 h 2053"/>
                <a:gd name="T12" fmla="*/ 229 w 2448"/>
                <a:gd name="T13" fmla="*/ 1128 h 2053"/>
                <a:gd name="T14" fmla="*/ 308 w 2448"/>
                <a:gd name="T15" fmla="*/ 949 h 2053"/>
                <a:gd name="T16" fmla="*/ 285 w 2448"/>
                <a:gd name="T17" fmla="*/ 873 h 2053"/>
                <a:gd name="T18" fmla="*/ 264 w 2448"/>
                <a:gd name="T19" fmla="*/ 768 h 2053"/>
                <a:gd name="T20" fmla="*/ 323 w 2448"/>
                <a:gd name="T21" fmla="*/ 640 h 2053"/>
                <a:gd name="T22" fmla="*/ 380 w 2448"/>
                <a:gd name="T23" fmla="*/ 683 h 2053"/>
                <a:gd name="T24" fmla="*/ 492 w 2448"/>
                <a:gd name="T25" fmla="*/ 821 h 2053"/>
                <a:gd name="T26" fmla="*/ 599 w 2448"/>
                <a:gd name="T27" fmla="*/ 830 h 2053"/>
                <a:gd name="T28" fmla="*/ 550 w 2448"/>
                <a:gd name="T29" fmla="*/ 795 h 2053"/>
                <a:gd name="T30" fmla="*/ 516 w 2448"/>
                <a:gd name="T31" fmla="*/ 726 h 2053"/>
                <a:gd name="T32" fmla="*/ 653 w 2448"/>
                <a:gd name="T33" fmla="*/ 664 h 2053"/>
                <a:gd name="T34" fmla="*/ 639 w 2448"/>
                <a:gd name="T35" fmla="*/ 570 h 2053"/>
                <a:gd name="T36" fmla="*/ 502 w 2448"/>
                <a:gd name="T37" fmla="*/ 516 h 2053"/>
                <a:gd name="T38" fmla="*/ 310 w 2448"/>
                <a:gd name="T39" fmla="*/ 467 h 2053"/>
                <a:gd name="T40" fmla="*/ 171 w 2448"/>
                <a:gd name="T41" fmla="*/ 300 h 2053"/>
                <a:gd name="T42" fmla="*/ 118 w 2448"/>
                <a:gd name="T43" fmla="*/ 258 h 2053"/>
                <a:gd name="T44" fmla="*/ 6 w 2448"/>
                <a:gd name="T45" fmla="*/ 262 h 2053"/>
                <a:gd name="T46" fmla="*/ 112 w 2448"/>
                <a:gd name="T47" fmla="*/ 202 h 2053"/>
                <a:gd name="T48" fmla="*/ 349 w 2448"/>
                <a:gd name="T49" fmla="*/ 197 h 2053"/>
                <a:gd name="T50" fmla="*/ 394 w 2448"/>
                <a:gd name="T51" fmla="*/ 297 h 2053"/>
                <a:gd name="T52" fmla="*/ 494 w 2448"/>
                <a:gd name="T53" fmla="*/ 336 h 2053"/>
                <a:gd name="T54" fmla="*/ 521 w 2448"/>
                <a:gd name="T55" fmla="*/ 142 h 2053"/>
                <a:gd name="T56" fmla="*/ 712 w 2448"/>
                <a:gd name="T57" fmla="*/ 1 h 2053"/>
                <a:gd name="T58" fmla="*/ 746 w 2448"/>
                <a:gd name="T59" fmla="*/ 55 h 2053"/>
                <a:gd name="T60" fmla="*/ 723 w 2448"/>
                <a:gd name="T61" fmla="*/ 230 h 2053"/>
                <a:gd name="T62" fmla="*/ 888 w 2448"/>
                <a:gd name="T63" fmla="*/ 277 h 2053"/>
                <a:gd name="T64" fmla="*/ 1019 w 2448"/>
                <a:gd name="T65" fmla="*/ 163 h 2053"/>
                <a:gd name="T66" fmla="*/ 1109 w 2448"/>
                <a:gd name="T67" fmla="*/ 165 h 2053"/>
                <a:gd name="T68" fmla="*/ 1226 w 2448"/>
                <a:gd name="T69" fmla="*/ 242 h 2053"/>
                <a:gd name="T70" fmla="*/ 1324 w 2448"/>
                <a:gd name="T71" fmla="*/ 275 h 2053"/>
                <a:gd name="T72" fmla="*/ 1405 w 2448"/>
                <a:gd name="T73" fmla="*/ 257 h 2053"/>
                <a:gd name="T74" fmla="*/ 1460 w 2448"/>
                <a:gd name="T75" fmla="*/ 313 h 2053"/>
                <a:gd name="T76" fmla="*/ 1557 w 2448"/>
                <a:gd name="T77" fmla="*/ 328 h 2053"/>
                <a:gd name="T78" fmla="*/ 1546 w 2448"/>
                <a:gd name="T79" fmla="*/ 455 h 2053"/>
                <a:gd name="T80" fmla="*/ 1609 w 2448"/>
                <a:gd name="T81" fmla="*/ 565 h 2053"/>
                <a:gd name="T82" fmla="*/ 1690 w 2448"/>
                <a:gd name="T83" fmla="*/ 699 h 2053"/>
                <a:gd name="T84" fmla="*/ 1815 w 2448"/>
                <a:gd name="T85" fmla="*/ 734 h 2053"/>
                <a:gd name="T86" fmla="*/ 1909 w 2448"/>
                <a:gd name="T87" fmla="*/ 861 h 2053"/>
                <a:gd name="T88" fmla="*/ 2073 w 2448"/>
                <a:gd name="T89" fmla="*/ 861 h 2053"/>
                <a:gd name="T90" fmla="*/ 2105 w 2448"/>
                <a:gd name="T91" fmla="*/ 941 h 2053"/>
                <a:gd name="T92" fmla="*/ 2098 w 2448"/>
                <a:gd name="T93" fmla="*/ 1004 h 2053"/>
                <a:gd name="T94" fmla="*/ 2250 w 2448"/>
                <a:gd name="T95" fmla="*/ 1044 h 2053"/>
                <a:gd name="T96" fmla="*/ 2349 w 2448"/>
                <a:gd name="T97" fmla="*/ 1150 h 2053"/>
                <a:gd name="T98" fmla="*/ 2445 w 2448"/>
                <a:gd name="T99" fmla="*/ 1185 h 2053"/>
                <a:gd name="T100" fmla="*/ 2341 w 2448"/>
                <a:gd name="T101" fmla="*/ 1257 h 2053"/>
                <a:gd name="T102" fmla="*/ 2166 w 2448"/>
                <a:gd name="T103" fmla="*/ 1291 h 2053"/>
                <a:gd name="T104" fmla="*/ 2001 w 2448"/>
                <a:gd name="T105" fmla="*/ 1380 h 2053"/>
                <a:gd name="T106" fmla="*/ 1861 w 2448"/>
                <a:gd name="T107" fmla="*/ 1446 h 2053"/>
                <a:gd name="T108" fmla="*/ 1600 w 2448"/>
                <a:gd name="T109" fmla="*/ 1597 h 2053"/>
                <a:gd name="T110" fmla="*/ 1324 w 2448"/>
                <a:gd name="T111" fmla="*/ 1680 h 2053"/>
                <a:gd name="T112" fmla="*/ 1166 w 2448"/>
                <a:gd name="T113" fmla="*/ 1896 h 2053"/>
                <a:gd name="T114" fmla="*/ 1058 w 2448"/>
                <a:gd name="T115" fmla="*/ 1918 h 2053"/>
                <a:gd name="T116" fmla="*/ 957 w 2448"/>
                <a:gd name="T117" fmla="*/ 1852 h 2053"/>
                <a:gd name="T118" fmla="*/ 813 w 2448"/>
                <a:gd name="T119" fmla="*/ 1913 h 2053"/>
                <a:gd name="T120" fmla="*/ 713 w 2448"/>
                <a:gd name="T121" fmla="*/ 2005 h 2053"/>
                <a:gd name="T122" fmla="*/ 479 w 2448"/>
                <a:gd name="T123" fmla="*/ 2047 h 2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8" h="2053">
                  <a:moveTo>
                    <a:pt x="436" y="2037"/>
                  </a:moveTo>
                  <a:lnTo>
                    <a:pt x="435" y="2033"/>
                  </a:lnTo>
                  <a:lnTo>
                    <a:pt x="433" y="2029"/>
                  </a:lnTo>
                  <a:lnTo>
                    <a:pt x="431" y="2026"/>
                  </a:lnTo>
                  <a:lnTo>
                    <a:pt x="428" y="2022"/>
                  </a:lnTo>
                  <a:lnTo>
                    <a:pt x="425" y="2012"/>
                  </a:lnTo>
                  <a:lnTo>
                    <a:pt x="420" y="2001"/>
                  </a:lnTo>
                  <a:lnTo>
                    <a:pt x="415" y="1990"/>
                  </a:lnTo>
                  <a:lnTo>
                    <a:pt x="407" y="1981"/>
                  </a:lnTo>
                  <a:lnTo>
                    <a:pt x="393" y="1961"/>
                  </a:lnTo>
                  <a:lnTo>
                    <a:pt x="376" y="1942"/>
                  </a:lnTo>
                  <a:lnTo>
                    <a:pt x="358" y="1922"/>
                  </a:lnTo>
                  <a:lnTo>
                    <a:pt x="343" y="1902"/>
                  </a:lnTo>
                  <a:lnTo>
                    <a:pt x="336" y="1892"/>
                  </a:lnTo>
                  <a:lnTo>
                    <a:pt x="329" y="1882"/>
                  </a:lnTo>
                  <a:lnTo>
                    <a:pt x="324" y="1870"/>
                  </a:lnTo>
                  <a:lnTo>
                    <a:pt x="320" y="1859"/>
                  </a:lnTo>
                  <a:lnTo>
                    <a:pt x="312" y="1832"/>
                  </a:lnTo>
                  <a:lnTo>
                    <a:pt x="307" y="1804"/>
                  </a:lnTo>
                  <a:lnTo>
                    <a:pt x="301" y="1777"/>
                  </a:lnTo>
                  <a:lnTo>
                    <a:pt x="295" y="1750"/>
                  </a:lnTo>
                  <a:lnTo>
                    <a:pt x="292" y="1731"/>
                  </a:lnTo>
                  <a:lnTo>
                    <a:pt x="286" y="1712"/>
                  </a:lnTo>
                  <a:lnTo>
                    <a:pt x="281" y="1690"/>
                  </a:lnTo>
                  <a:lnTo>
                    <a:pt x="276" y="1667"/>
                  </a:lnTo>
                  <a:lnTo>
                    <a:pt x="272" y="1645"/>
                  </a:lnTo>
                  <a:lnTo>
                    <a:pt x="269" y="1623"/>
                  </a:lnTo>
                  <a:lnTo>
                    <a:pt x="268" y="1613"/>
                  </a:lnTo>
                  <a:lnTo>
                    <a:pt x="268" y="1603"/>
                  </a:lnTo>
                  <a:lnTo>
                    <a:pt x="268" y="1595"/>
                  </a:lnTo>
                  <a:lnTo>
                    <a:pt x="270" y="1586"/>
                  </a:lnTo>
                  <a:lnTo>
                    <a:pt x="281" y="1577"/>
                  </a:lnTo>
                  <a:lnTo>
                    <a:pt x="293" y="1565"/>
                  </a:lnTo>
                  <a:lnTo>
                    <a:pt x="305" y="1553"/>
                  </a:lnTo>
                  <a:lnTo>
                    <a:pt x="318" y="1543"/>
                  </a:lnTo>
                  <a:lnTo>
                    <a:pt x="318" y="1535"/>
                  </a:lnTo>
                  <a:lnTo>
                    <a:pt x="317" y="1527"/>
                  </a:lnTo>
                  <a:lnTo>
                    <a:pt x="316" y="1519"/>
                  </a:lnTo>
                  <a:lnTo>
                    <a:pt x="313" y="1510"/>
                  </a:lnTo>
                  <a:lnTo>
                    <a:pt x="309" y="1501"/>
                  </a:lnTo>
                  <a:lnTo>
                    <a:pt x="305" y="1492"/>
                  </a:lnTo>
                  <a:lnTo>
                    <a:pt x="301" y="1483"/>
                  </a:lnTo>
                  <a:lnTo>
                    <a:pt x="296" y="1474"/>
                  </a:lnTo>
                  <a:lnTo>
                    <a:pt x="284" y="1457"/>
                  </a:lnTo>
                  <a:lnTo>
                    <a:pt x="272" y="1441"/>
                  </a:lnTo>
                  <a:lnTo>
                    <a:pt x="259" y="1428"/>
                  </a:lnTo>
                  <a:lnTo>
                    <a:pt x="247" y="1416"/>
                  </a:lnTo>
                  <a:lnTo>
                    <a:pt x="243" y="1412"/>
                  </a:lnTo>
                  <a:lnTo>
                    <a:pt x="238" y="1408"/>
                  </a:lnTo>
                  <a:lnTo>
                    <a:pt x="234" y="1403"/>
                  </a:lnTo>
                  <a:lnTo>
                    <a:pt x="231" y="1398"/>
                  </a:lnTo>
                  <a:lnTo>
                    <a:pt x="226" y="1386"/>
                  </a:lnTo>
                  <a:lnTo>
                    <a:pt x="221" y="1374"/>
                  </a:lnTo>
                  <a:lnTo>
                    <a:pt x="216" y="1362"/>
                  </a:lnTo>
                  <a:lnTo>
                    <a:pt x="210" y="1352"/>
                  </a:lnTo>
                  <a:lnTo>
                    <a:pt x="207" y="1346"/>
                  </a:lnTo>
                  <a:lnTo>
                    <a:pt x="204" y="1342"/>
                  </a:lnTo>
                  <a:lnTo>
                    <a:pt x="200" y="1339"/>
                  </a:lnTo>
                  <a:lnTo>
                    <a:pt x="196" y="1335"/>
                  </a:lnTo>
                  <a:lnTo>
                    <a:pt x="186" y="1331"/>
                  </a:lnTo>
                  <a:lnTo>
                    <a:pt x="177" y="1327"/>
                  </a:lnTo>
                  <a:lnTo>
                    <a:pt x="167" y="1323"/>
                  </a:lnTo>
                  <a:lnTo>
                    <a:pt x="159" y="1320"/>
                  </a:lnTo>
                  <a:lnTo>
                    <a:pt x="142" y="1316"/>
                  </a:lnTo>
                  <a:lnTo>
                    <a:pt x="128" y="1311"/>
                  </a:lnTo>
                  <a:lnTo>
                    <a:pt x="122" y="1307"/>
                  </a:lnTo>
                  <a:lnTo>
                    <a:pt x="115" y="1303"/>
                  </a:lnTo>
                  <a:lnTo>
                    <a:pt x="110" y="1298"/>
                  </a:lnTo>
                  <a:lnTo>
                    <a:pt x="106" y="1291"/>
                  </a:lnTo>
                  <a:lnTo>
                    <a:pt x="102" y="1284"/>
                  </a:lnTo>
                  <a:lnTo>
                    <a:pt x="100" y="1274"/>
                  </a:lnTo>
                  <a:lnTo>
                    <a:pt x="98" y="1263"/>
                  </a:lnTo>
                  <a:lnTo>
                    <a:pt x="98" y="1250"/>
                  </a:lnTo>
                  <a:lnTo>
                    <a:pt x="98" y="1239"/>
                  </a:lnTo>
                  <a:lnTo>
                    <a:pt x="99" y="1230"/>
                  </a:lnTo>
                  <a:lnTo>
                    <a:pt x="102" y="1222"/>
                  </a:lnTo>
                  <a:lnTo>
                    <a:pt x="106" y="1216"/>
                  </a:lnTo>
                  <a:lnTo>
                    <a:pt x="111" y="1211"/>
                  </a:lnTo>
                  <a:lnTo>
                    <a:pt x="117" y="1207"/>
                  </a:lnTo>
                  <a:lnTo>
                    <a:pt x="126" y="1202"/>
                  </a:lnTo>
                  <a:lnTo>
                    <a:pt x="136" y="1199"/>
                  </a:lnTo>
                  <a:lnTo>
                    <a:pt x="149" y="1196"/>
                  </a:lnTo>
                  <a:lnTo>
                    <a:pt x="159" y="1193"/>
                  </a:lnTo>
                  <a:lnTo>
                    <a:pt x="167" y="1190"/>
                  </a:lnTo>
                  <a:lnTo>
                    <a:pt x="176" y="1186"/>
                  </a:lnTo>
                  <a:lnTo>
                    <a:pt x="191" y="1175"/>
                  </a:lnTo>
                  <a:lnTo>
                    <a:pt x="210" y="1161"/>
                  </a:lnTo>
                  <a:lnTo>
                    <a:pt x="216" y="1153"/>
                  </a:lnTo>
                  <a:lnTo>
                    <a:pt x="222" y="1146"/>
                  </a:lnTo>
                  <a:lnTo>
                    <a:pt x="226" y="1138"/>
                  </a:lnTo>
                  <a:lnTo>
                    <a:pt x="229" y="1128"/>
                  </a:lnTo>
                  <a:lnTo>
                    <a:pt x="234" y="1108"/>
                  </a:lnTo>
                  <a:lnTo>
                    <a:pt x="237" y="1086"/>
                  </a:lnTo>
                  <a:lnTo>
                    <a:pt x="240" y="1064"/>
                  </a:lnTo>
                  <a:lnTo>
                    <a:pt x="243" y="1042"/>
                  </a:lnTo>
                  <a:lnTo>
                    <a:pt x="245" y="1030"/>
                  </a:lnTo>
                  <a:lnTo>
                    <a:pt x="246" y="1021"/>
                  </a:lnTo>
                  <a:lnTo>
                    <a:pt x="249" y="1010"/>
                  </a:lnTo>
                  <a:lnTo>
                    <a:pt x="251" y="1001"/>
                  </a:lnTo>
                  <a:lnTo>
                    <a:pt x="261" y="995"/>
                  </a:lnTo>
                  <a:lnTo>
                    <a:pt x="274" y="985"/>
                  </a:lnTo>
                  <a:lnTo>
                    <a:pt x="288" y="972"/>
                  </a:lnTo>
                  <a:lnTo>
                    <a:pt x="302" y="957"/>
                  </a:lnTo>
                  <a:lnTo>
                    <a:pt x="308" y="949"/>
                  </a:lnTo>
                  <a:lnTo>
                    <a:pt x="313" y="942"/>
                  </a:lnTo>
                  <a:lnTo>
                    <a:pt x="319" y="934"/>
                  </a:lnTo>
                  <a:lnTo>
                    <a:pt x="322" y="926"/>
                  </a:lnTo>
                  <a:lnTo>
                    <a:pt x="324" y="919"/>
                  </a:lnTo>
                  <a:lnTo>
                    <a:pt x="324" y="912"/>
                  </a:lnTo>
                  <a:lnTo>
                    <a:pt x="323" y="909"/>
                  </a:lnTo>
                  <a:lnTo>
                    <a:pt x="322" y="906"/>
                  </a:lnTo>
                  <a:lnTo>
                    <a:pt x="320" y="903"/>
                  </a:lnTo>
                  <a:lnTo>
                    <a:pt x="318" y="901"/>
                  </a:lnTo>
                  <a:lnTo>
                    <a:pt x="306" y="892"/>
                  </a:lnTo>
                  <a:lnTo>
                    <a:pt x="295" y="882"/>
                  </a:lnTo>
                  <a:lnTo>
                    <a:pt x="289" y="878"/>
                  </a:lnTo>
                  <a:lnTo>
                    <a:pt x="285" y="873"/>
                  </a:lnTo>
                  <a:lnTo>
                    <a:pt x="282" y="867"/>
                  </a:lnTo>
                  <a:lnTo>
                    <a:pt x="279" y="858"/>
                  </a:lnTo>
                  <a:lnTo>
                    <a:pt x="278" y="845"/>
                  </a:lnTo>
                  <a:lnTo>
                    <a:pt x="278" y="827"/>
                  </a:lnTo>
                  <a:lnTo>
                    <a:pt x="278" y="819"/>
                  </a:lnTo>
                  <a:lnTo>
                    <a:pt x="278" y="810"/>
                  </a:lnTo>
                  <a:lnTo>
                    <a:pt x="276" y="804"/>
                  </a:lnTo>
                  <a:lnTo>
                    <a:pt x="274" y="799"/>
                  </a:lnTo>
                  <a:lnTo>
                    <a:pt x="274" y="793"/>
                  </a:lnTo>
                  <a:lnTo>
                    <a:pt x="273" y="788"/>
                  </a:lnTo>
                  <a:lnTo>
                    <a:pt x="272" y="783"/>
                  </a:lnTo>
                  <a:lnTo>
                    <a:pt x="270" y="778"/>
                  </a:lnTo>
                  <a:lnTo>
                    <a:pt x="264" y="768"/>
                  </a:lnTo>
                  <a:lnTo>
                    <a:pt x="259" y="759"/>
                  </a:lnTo>
                  <a:lnTo>
                    <a:pt x="255" y="749"/>
                  </a:lnTo>
                  <a:lnTo>
                    <a:pt x="252" y="737"/>
                  </a:lnTo>
                  <a:lnTo>
                    <a:pt x="251" y="731"/>
                  </a:lnTo>
                  <a:lnTo>
                    <a:pt x="251" y="725"/>
                  </a:lnTo>
                  <a:lnTo>
                    <a:pt x="251" y="717"/>
                  </a:lnTo>
                  <a:lnTo>
                    <a:pt x="253" y="710"/>
                  </a:lnTo>
                  <a:lnTo>
                    <a:pt x="264" y="701"/>
                  </a:lnTo>
                  <a:lnTo>
                    <a:pt x="276" y="689"/>
                  </a:lnTo>
                  <a:lnTo>
                    <a:pt x="287" y="677"/>
                  </a:lnTo>
                  <a:lnTo>
                    <a:pt x="299" y="664"/>
                  </a:lnTo>
                  <a:lnTo>
                    <a:pt x="311" y="652"/>
                  </a:lnTo>
                  <a:lnTo>
                    <a:pt x="323" y="640"/>
                  </a:lnTo>
                  <a:lnTo>
                    <a:pt x="330" y="636"/>
                  </a:lnTo>
                  <a:lnTo>
                    <a:pt x="336" y="632"/>
                  </a:lnTo>
                  <a:lnTo>
                    <a:pt x="343" y="628"/>
                  </a:lnTo>
                  <a:lnTo>
                    <a:pt x="350" y="626"/>
                  </a:lnTo>
                  <a:lnTo>
                    <a:pt x="356" y="623"/>
                  </a:lnTo>
                  <a:lnTo>
                    <a:pt x="361" y="624"/>
                  </a:lnTo>
                  <a:lnTo>
                    <a:pt x="366" y="627"/>
                  </a:lnTo>
                  <a:lnTo>
                    <a:pt x="370" y="630"/>
                  </a:lnTo>
                  <a:lnTo>
                    <a:pt x="372" y="635"/>
                  </a:lnTo>
                  <a:lnTo>
                    <a:pt x="375" y="640"/>
                  </a:lnTo>
                  <a:lnTo>
                    <a:pt x="376" y="646"/>
                  </a:lnTo>
                  <a:lnTo>
                    <a:pt x="378" y="654"/>
                  </a:lnTo>
                  <a:lnTo>
                    <a:pt x="380" y="683"/>
                  </a:lnTo>
                  <a:lnTo>
                    <a:pt x="381" y="704"/>
                  </a:lnTo>
                  <a:lnTo>
                    <a:pt x="383" y="713"/>
                  </a:lnTo>
                  <a:lnTo>
                    <a:pt x="388" y="723"/>
                  </a:lnTo>
                  <a:lnTo>
                    <a:pt x="395" y="732"/>
                  </a:lnTo>
                  <a:lnTo>
                    <a:pt x="402" y="742"/>
                  </a:lnTo>
                  <a:lnTo>
                    <a:pt x="411" y="753"/>
                  </a:lnTo>
                  <a:lnTo>
                    <a:pt x="421" y="764"/>
                  </a:lnTo>
                  <a:lnTo>
                    <a:pt x="432" y="775"/>
                  </a:lnTo>
                  <a:lnTo>
                    <a:pt x="444" y="785"/>
                  </a:lnTo>
                  <a:lnTo>
                    <a:pt x="455" y="795"/>
                  </a:lnTo>
                  <a:lnTo>
                    <a:pt x="468" y="804"/>
                  </a:lnTo>
                  <a:lnTo>
                    <a:pt x="480" y="813"/>
                  </a:lnTo>
                  <a:lnTo>
                    <a:pt x="492" y="821"/>
                  </a:lnTo>
                  <a:lnTo>
                    <a:pt x="503" y="828"/>
                  </a:lnTo>
                  <a:lnTo>
                    <a:pt x="515" y="833"/>
                  </a:lnTo>
                  <a:lnTo>
                    <a:pt x="524" y="837"/>
                  </a:lnTo>
                  <a:lnTo>
                    <a:pt x="533" y="840"/>
                  </a:lnTo>
                  <a:lnTo>
                    <a:pt x="542" y="843"/>
                  </a:lnTo>
                  <a:lnTo>
                    <a:pt x="552" y="844"/>
                  </a:lnTo>
                  <a:lnTo>
                    <a:pt x="564" y="843"/>
                  </a:lnTo>
                  <a:lnTo>
                    <a:pt x="576" y="841"/>
                  </a:lnTo>
                  <a:lnTo>
                    <a:pt x="581" y="840"/>
                  </a:lnTo>
                  <a:lnTo>
                    <a:pt x="587" y="838"/>
                  </a:lnTo>
                  <a:lnTo>
                    <a:pt x="592" y="836"/>
                  </a:lnTo>
                  <a:lnTo>
                    <a:pt x="596" y="833"/>
                  </a:lnTo>
                  <a:lnTo>
                    <a:pt x="599" y="830"/>
                  </a:lnTo>
                  <a:lnTo>
                    <a:pt x="602" y="826"/>
                  </a:lnTo>
                  <a:lnTo>
                    <a:pt x="604" y="821"/>
                  </a:lnTo>
                  <a:lnTo>
                    <a:pt x="605" y="815"/>
                  </a:lnTo>
                  <a:lnTo>
                    <a:pt x="605" y="811"/>
                  </a:lnTo>
                  <a:lnTo>
                    <a:pt x="604" y="808"/>
                  </a:lnTo>
                  <a:lnTo>
                    <a:pt x="603" y="805"/>
                  </a:lnTo>
                  <a:lnTo>
                    <a:pt x="601" y="803"/>
                  </a:lnTo>
                  <a:lnTo>
                    <a:pt x="596" y="800"/>
                  </a:lnTo>
                  <a:lnTo>
                    <a:pt x="590" y="798"/>
                  </a:lnTo>
                  <a:lnTo>
                    <a:pt x="574" y="798"/>
                  </a:lnTo>
                  <a:lnTo>
                    <a:pt x="561" y="798"/>
                  </a:lnTo>
                  <a:lnTo>
                    <a:pt x="555" y="797"/>
                  </a:lnTo>
                  <a:lnTo>
                    <a:pt x="550" y="795"/>
                  </a:lnTo>
                  <a:lnTo>
                    <a:pt x="545" y="791"/>
                  </a:lnTo>
                  <a:lnTo>
                    <a:pt x="540" y="787"/>
                  </a:lnTo>
                  <a:lnTo>
                    <a:pt x="536" y="783"/>
                  </a:lnTo>
                  <a:lnTo>
                    <a:pt x="530" y="778"/>
                  </a:lnTo>
                  <a:lnTo>
                    <a:pt x="526" y="773"/>
                  </a:lnTo>
                  <a:lnTo>
                    <a:pt x="523" y="767"/>
                  </a:lnTo>
                  <a:lnTo>
                    <a:pt x="520" y="761"/>
                  </a:lnTo>
                  <a:lnTo>
                    <a:pt x="517" y="755"/>
                  </a:lnTo>
                  <a:lnTo>
                    <a:pt x="515" y="749"/>
                  </a:lnTo>
                  <a:lnTo>
                    <a:pt x="514" y="742"/>
                  </a:lnTo>
                  <a:lnTo>
                    <a:pt x="514" y="737"/>
                  </a:lnTo>
                  <a:lnTo>
                    <a:pt x="515" y="731"/>
                  </a:lnTo>
                  <a:lnTo>
                    <a:pt x="516" y="726"/>
                  </a:lnTo>
                  <a:lnTo>
                    <a:pt x="519" y="722"/>
                  </a:lnTo>
                  <a:lnTo>
                    <a:pt x="526" y="712"/>
                  </a:lnTo>
                  <a:lnTo>
                    <a:pt x="536" y="705"/>
                  </a:lnTo>
                  <a:lnTo>
                    <a:pt x="545" y="700"/>
                  </a:lnTo>
                  <a:lnTo>
                    <a:pt x="554" y="696"/>
                  </a:lnTo>
                  <a:lnTo>
                    <a:pt x="575" y="691"/>
                  </a:lnTo>
                  <a:lnTo>
                    <a:pt x="596" y="688"/>
                  </a:lnTo>
                  <a:lnTo>
                    <a:pt x="606" y="686"/>
                  </a:lnTo>
                  <a:lnTo>
                    <a:pt x="617" y="684"/>
                  </a:lnTo>
                  <a:lnTo>
                    <a:pt x="626" y="681"/>
                  </a:lnTo>
                  <a:lnTo>
                    <a:pt x="636" y="677"/>
                  </a:lnTo>
                  <a:lnTo>
                    <a:pt x="645" y="671"/>
                  </a:lnTo>
                  <a:lnTo>
                    <a:pt x="653" y="664"/>
                  </a:lnTo>
                  <a:lnTo>
                    <a:pt x="656" y="659"/>
                  </a:lnTo>
                  <a:lnTo>
                    <a:pt x="661" y="655"/>
                  </a:lnTo>
                  <a:lnTo>
                    <a:pt x="664" y="648"/>
                  </a:lnTo>
                  <a:lnTo>
                    <a:pt x="667" y="642"/>
                  </a:lnTo>
                  <a:lnTo>
                    <a:pt x="671" y="631"/>
                  </a:lnTo>
                  <a:lnTo>
                    <a:pt x="673" y="619"/>
                  </a:lnTo>
                  <a:lnTo>
                    <a:pt x="673" y="610"/>
                  </a:lnTo>
                  <a:lnTo>
                    <a:pt x="671" y="600"/>
                  </a:lnTo>
                  <a:lnTo>
                    <a:pt x="667" y="593"/>
                  </a:lnTo>
                  <a:lnTo>
                    <a:pt x="662" y="586"/>
                  </a:lnTo>
                  <a:lnTo>
                    <a:pt x="655" y="581"/>
                  </a:lnTo>
                  <a:lnTo>
                    <a:pt x="648" y="574"/>
                  </a:lnTo>
                  <a:lnTo>
                    <a:pt x="639" y="570"/>
                  </a:lnTo>
                  <a:lnTo>
                    <a:pt x="630" y="566"/>
                  </a:lnTo>
                  <a:lnTo>
                    <a:pt x="621" y="563"/>
                  </a:lnTo>
                  <a:lnTo>
                    <a:pt x="611" y="560"/>
                  </a:lnTo>
                  <a:lnTo>
                    <a:pt x="592" y="555"/>
                  </a:lnTo>
                  <a:lnTo>
                    <a:pt x="574" y="549"/>
                  </a:lnTo>
                  <a:lnTo>
                    <a:pt x="568" y="547"/>
                  </a:lnTo>
                  <a:lnTo>
                    <a:pt x="562" y="544"/>
                  </a:lnTo>
                  <a:lnTo>
                    <a:pt x="555" y="541"/>
                  </a:lnTo>
                  <a:lnTo>
                    <a:pt x="548" y="537"/>
                  </a:lnTo>
                  <a:lnTo>
                    <a:pt x="536" y="527"/>
                  </a:lnTo>
                  <a:lnTo>
                    <a:pt x="522" y="521"/>
                  </a:lnTo>
                  <a:lnTo>
                    <a:pt x="513" y="518"/>
                  </a:lnTo>
                  <a:lnTo>
                    <a:pt x="502" y="516"/>
                  </a:lnTo>
                  <a:lnTo>
                    <a:pt x="492" y="516"/>
                  </a:lnTo>
                  <a:lnTo>
                    <a:pt x="482" y="516"/>
                  </a:lnTo>
                  <a:lnTo>
                    <a:pt x="461" y="518"/>
                  </a:lnTo>
                  <a:lnTo>
                    <a:pt x="441" y="519"/>
                  </a:lnTo>
                  <a:lnTo>
                    <a:pt x="431" y="519"/>
                  </a:lnTo>
                  <a:lnTo>
                    <a:pt x="422" y="518"/>
                  </a:lnTo>
                  <a:lnTo>
                    <a:pt x="412" y="517"/>
                  </a:lnTo>
                  <a:lnTo>
                    <a:pt x="403" y="514"/>
                  </a:lnTo>
                  <a:lnTo>
                    <a:pt x="384" y="509"/>
                  </a:lnTo>
                  <a:lnTo>
                    <a:pt x="366" y="500"/>
                  </a:lnTo>
                  <a:lnTo>
                    <a:pt x="347" y="491"/>
                  </a:lnTo>
                  <a:lnTo>
                    <a:pt x="329" y="479"/>
                  </a:lnTo>
                  <a:lnTo>
                    <a:pt x="310" y="467"/>
                  </a:lnTo>
                  <a:lnTo>
                    <a:pt x="293" y="453"/>
                  </a:lnTo>
                  <a:lnTo>
                    <a:pt x="275" y="439"/>
                  </a:lnTo>
                  <a:lnTo>
                    <a:pt x="258" y="424"/>
                  </a:lnTo>
                  <a:lnTo>
                    <a:pt x="241" y="410"/>
                  </a:lnTo>
                  <a:lnTo>
                    <a:pt x="226" y="395"/>
                  </a:lnTo>
                  <a:lnTo>
                    <a:pt x="197" y="366"/>
                  </a:lnTo>
                  <a:lnTo>
                    <a:pt x="170" y="340"/>
                  </a:lnTo>
                  <a:lnTo>
                    <a:pt x="170" y="340"/>
                  </a:lnTo>
                  <a:lnTo>
                    <a:pt x="171" y="331"/>
                  </a:lnTo>
                  <a:lnTo>
                    <a:pt x="172" y="323"/>
                  </a:lnTo>
                  <a:lnTo>
                    <a:pt x="173" y="315"/>
                  </a:lnTo>
                  <a:lnTo>
                    <a:pt x="172" y="307"/>
                  </a:lnTo>
                  <a:lnTo>
                    <a:pt x="171" y="300"/>
                  </a:lnTo>
                  <a:lnTo>
                    <a:pt x="167" y="294"/>
                  </a:lnTo>
                  <a:lnTo>
                    <a:pt x="163" y="286"/>
                  </a:lnTo>
                  <a:lnTo>
                    <a:pt x="157" y="281"/>
                  </a:lnTo>
                  <a:lnTo>
                    <a:pt x="152" y="278"/>
                  </a:lnTo>
                  <a:lnTo>
                    <a:pt x="148" y="277"/>
                  </a:lnTo>
                  <a:lnTo>
                    <a:pt x="143" y="277"/>
                  </a:lnTo>
                  <a:lnTo>
                    <a:pt x="139" y="278"/>
                  </a:lnTo>
                  <a:lnTo>
                    <a:pt x="135" y="277"/>
                  </a:lnTo>
                  <a:lnTo>
                    <a:pt x="131" y="276"/>
                  </a:lnTo>
                  <a:lnTo>
                    <a:pt x="127" y="272"/>
                  </a:lnTo>
                  <a:lnTo>
                    <a:pt x="123" y="264"/>
                  </a:lnTo>
                  <a:lnTo>
                    <a:pt x="121" y="260"/>
                  </a:lnTo>
                  <a:lnTo>
                    <a:pt x="118" y="258"/>
                  </a:lnTo>
                  <a:lnTo>
                    <a:pt x="116" y="256"/>
                  </a:lnTo>
                  <a:lnTo>
                    <a:pt x="113" y="256"/>
                  </a:lnTo>
                  <a:lnTo>
                    <a:pt x="106" y="257"/>
                  </a:lnTo>
                  <a:lnTo>
                    <a:pt x="99" y="260"/>
                  </a:lnTo>
                  <a:lnTo>
                    <a:pt x="90" y="265"/>
                  </a:lnTo>
                  <a:lnTo>
                    <a:pt x="82" y="268"/>
                  </a:lnTo>
                  <a:lnTo>
                    <a:pt x="75" y="272"/>
                  </a:lnTo>
                  <a:lnTo>
                    <a:pt x="67" y="273"/>
                  </a:lnTo>
                  <a:lnTo>
                    <a:pt x="52" y="273"/>
                  </a:lnTo>
                  <a:lnTo>
                    <a:pt x="32" y="270"/>
                  </a:lnTo>
                  <a:lnTo>
                    <a:pt x="23" y="268"/>
                  </a:lnTo>
                  <a:lnTo>
                    <a:pt x="13" y="266"/>
                  </a:lnTo>
                  <a:lnTo>
                    <a:pt x="6" y="262"/>
                  </a:lnTo>
                  <a:lnTo>
                    <a:pt x="0" y="259"/>
                  </a:lnTo>
                  <a:lnTo>
                    <a:pt x="3" y="255"/>
                  </a:lnTo>
                  <a:lnTo>
                    <a:pt x="9" y="248"/>
                  </a:lnTo>
                  <a:lnTo>
                    <a:pt x="19" y="240"/>
                  </a:lnTo>
                  <a:lnTo>
                    <a:pt x="32" y="230"/>
                  </a:lnTo>
                  <a:lnTo>
                    <a:pt x="43" y="222"/>
                  </a:lnTo>
                  <a:lnTo>
                    <a:pt x="56" y="213"/>
                  </a:lnTo>
                  <a:lnTo>
                    <a:pt x="65" y="208"/>
                  </a:lnTo>
                  <a:lnTo>
                    <a:pt x="72" y="205"/>
                  </a:lnTo>
                  <a:lnTo>
                    <a:pt x="82" y="202"/>
                  </a:lnTo>
                  <a:lnTo>
                    <a:pt x="92" y="201"/>
                  </a:lnTo>
                  <a:lnTo>
                    <a:pt x="103" y="201"/>
                  </a:lnTo>
                  <a:lnTo>
                    <a:pt x="112" y="202"/>
                  </a:lnTo>
                  <a:lnTo>
                    <a:pt x="123" y="203"/>
                  </a:lnTo>
                  <a:lnTo>
                    <a:pt x="133" y="203"/>
                  </a:lnTo>
                  <a:lnTo>
                    <a:pt x="143" y="202"/>
                  </a:lnTo>
                  <a:lnTo>
                    <a:pt x="155" y="201"/>
                  </a:lnTo>
                  <a:lnTo>
                    <a:pt x="180" y="195"/>
                  </a:lnTo>
                  <a:lnTo>
                    <a:pt x="203" y="190"/>
                  </a:lnTo>
                  <a:lnTo>
                    <a:pt x="226" y="187"/>
                  </a:lnTo>
                  <a:lnTo>
                    <a:pt x="249" y="185"/>
                  </a:lnTo>
                  <a:lnTo>
                    <a:pt x="271" y="184"/>
                  </a:lnTo>
                  <a:lnTo>
                    <a:pt x="294" y="185"/>
                  </a:lnTo>
                  <a:lnTo>
                    <a:pt x="317" y="189"/>
                  </a:lnTo>
                  <a:lnTo>
                    <a:pt x="342" y="195"/>
                  </a:lnTo>
                  <a:lnTo>
                    <a:pt x="349" y="197"/>
                  </a:lnTo>
                  <a:lnTo>
                    <a:pt x="354" y="199"/>
                  </a:lnTo>
                  <a:lnTo>
                    <a:pt x="359" y="202"/>
                  </a:lnTo>
                  <a:lnTo>
                    <a:pt x="363" y="204"/>
                  </a:lnTo>
                  <a:lnTo>
                    <a:pt x="367" y="207"/>
                  </a:lnTo>
                  <a:lnTo>
                    <a:pt x="369" y="210"/>
                  </a:lnTo>
                  <a:lnTo>
                    <a:pt x="371" y="213"/>
                  </a:lnTo>
                  <a:lnTo>
                    <a:pt x="372" y="218"/>
                  </a:lnTo>
                  <a:lnTo>
                    <a:pt x="375" y="235"/>
                  </a:lnTo>
                  <a:lnTo>
                    <a:pt x="378" y="259"/>
                  </a:lnTo>
                  <a:lnTo>
                    <a:pt x="380" y="269"/>
                  </a:lnTo>
                  <a:lnTo>
                    <a:pt x="384" y="278"/>
                  </a:lnTo>
                  <a:lnTo>
                    <a:pt x="388" y="288"/>
                  </a:lnTo>
                  <a:lnTo>
                    <a:pt x="394" y="297"/>
                  </a:lnTo>
                  <a:lnTo>
                    <a:pt x="400" y="306"/>
                  </a:lnTo>
                  <a:lnTo>
                    <a:pt x="407" y="315"/>
                  </a:lnTo>
                  <a:lnTo>
                    <a:pt x="415" y="323"/>
                  </a:lnTo>
                  <a:lnTo>
                    <a:pt x="423" y="329"/>
                  </a:lnTo>
                  <a:lnTo>
                    <a:pt x="431" y="336"/>
                  </a:lnTo>
                  <a:lnTo>
                    <a:pt x="440" y="341"/>
                  </a:lnTo>
                  <a:lnTo>
                    <a:pt x="449" y="344"/>
                  </a:lnTo>
                  <a:lnTo>
                    <a:pt x="459" y="345"/>
                  </a:lnTo>
                  <a:lnTo>
                    <a:pt x="469" y="345"/>
                  </a:lnTo>
                  <a:lnTo>
                    <a:pt x="479" y="343"/>
                  </a:lnTo>
                  <a:lnTo>
                    <a:pt x="483" y="341"/>
                  </a:lnTo>
                  <a:lnTo>
                    <a:pt x="489" y="339"/>
                  </a:lnTo>
                  <a:lnTo>
                    <a:pt x="494" y="336"/>
                  </a:lnTo>
                  <a:lnTo>
                    <a:pt x="499" y="332"/>
                  </a:lnTo>
                  <a:lnTo>
                    <a:pt x="505" y="325"/>
                  </a:lnTo>
                  <a:lnTo>
                    <a:pt x="510" y="317"/>
                  </a:lnTo>
                  <a:lnTo>
                    <a:pt x="516" y="306"/>
                  </a:lnTo>
                  <a:lnTo>
                    <a:pt x="519" y="296"/>
                  </a:lnTo>
                  <a:lnTo>
                    <a:pt x="521" y="283"/>
                  </a:lnTo>
                  <a:lnTo>
                    <a:pt x="523" y="271"/>
                  </a:lnTo>
                  <a:lnTo>
                    <a:pt x="524" y="257"/>
                  </a:lnTo>
                  <a:lnTo>
                    <a:pt x="525" y="244"/>
                  </a:lnTo>
                  <a:lnTo>
                    <a:pt x="524" y="216"/>
                  </a:lnTo>
                  <a:lnTo>
                    <a:pt x="523" y="188"/>
                  </a:lnTo>
                  <a:lnTo>
                    <a:pt x="521" y="163"/>
                  </a:lnTo>
                  <a:lnTo>
                    <a:pt x="521" y="142"/>
                  </a:lnTo>
                  <a:lnTo>
                    <a:pt x="521" y="110"/>
                  </a:lnTo>
                  <a:lnTo>
                    <a:pt x="521" y="77"/>
                  </a:lnTo>
                  <a:lnTo>
                    <a:pt x="521" y="61"/>
                  </a:lnTo>
                  <a:lnTo>
                    <a:pt x="522" y="44"/>
                  </a:lnTo>
                  <a:lnTo>
                    <a:pt x="524" y="29"/>
                  </a:lnTo>
                  <a:lnTo>
                    <a:pt x="526" y="13"/>
                  </a:lnTo>
                  <a:lnTo>
                    <a:pt x="541" y="11"/>
                  </a:lnTo>
                  <a:lnTo>
                    <a:pt x="566" y="8"/>
                  </a:lnTo>
                  <a:lnTo>
                    <a:pt x="598" y="5"/>
                  </a:lnTo>
                  <a:lnTo>
                    <a:pt x="635" y="2"/>
                  </a:lnTo>
                  <a:lnTo>
                    <a:pt x="669" y="0"/>
                  </a:lnTo>
                  <a:lnTo>
                    <a:pt x="700" y="0"/>
                  </a:lnTo>
                  <a:lnTo>
                    <a:pt x="712" y="1"/>
                  </a:lnTo>
                  <a:lnTo>
                    <a:pt x="721" y="3"/>
                  </a:lnTo>
                  <a:lnTo>
                    <a:pt x="725" y="4"/>
                  </a:lnTo>
                  <a:lnTo>
                    <a:pt x="728" y="5"/>
                  </a:lnTo>
                  <a:lnTo>
                    <a:pt x="729" y="6"/>
                  </a:lnTo>
                  <a:lnTo>
                    <a:pt x="730" y="7"/>
                  </a:lnTo>
                  <a:lnTo>
                    <a:pt x="735" y="10"/>
                  </a:lnTo>
                  <a:lnTo>
                    <a:pt x="738" y="13"/>
                  </a:lnTo>
                  <a:lnTo>
                    <a:pt x="741" y="16"/>
                  </a:lnTo>
                  <a:lnTo>
                    <a:pt x="743" y="19"/>
                  </a:lnTo>
                  <a:lnTo>
                    <a:pt x="746" y="28"/>
                  </a:lnTo>
                  <a:lnTo>
                    <a:pt x="747" y="36"/>
                  </a:lnTo>
                  <a:lnTo>
                    <a:pt x="747" y="44"/>
                  </a:lnTo>
                  <a:lnTo>
                    <a:pt x="746" y="55"/>
                  </a:lnTo>
                  <a:lnTo>
                    <a:pt x="744" y="64"/>
                  </a:lnTo>
                  <a:lnTo>
                    <a:pt x="741" y="75"/>
                  </a:lnTo>
                  <a:lnTo>
                    <a:pt x="725" y="114"/>
                  </a:lnTo>
                  <a:lnTo>
                    <a:pt x="713" y="145"/>
                  </a:lnTo>
                  <a:lnTo>
                    <a:pt x="709" y="163"/>
                  </a:lnTo>
                  <a:lnTo>
                    <a:pt x="708" y="180"/>
                  </a:lnTo>
                  <a:lnTo>
                    <a:pt x="708" y="188"/>
                  </a:lnTo>
                  <a:lnTo>
                    <a:pt x="709" y="197"/>
                  </a:lnTo>
                  <a:lnTo>
                    <a:pt x="710" y="204"/>
                  </a:lnTo>
                  <a:lnTo>
                    <a:pt x="712" y="211"/>
                  </a:lnTo>
                  <a:lnTo>
                    <a:pt x="715" y="218"/>
                  </a:lnTo>
                  <a:lnTo>
                    <a:pt x="719" y="224"/>
                  </a:lnTo>
                  <a:lnTo>
                    <a:pt x="723" y="230"/>
                  </a:lnTo>
                  <a:lnTo>
                    <a:pt x="729" y="236"/>
                  </a:lnTo>
                  <a:lnTo>
                    <a:pt x="736" y="242"/>
                  </a:lnTo>
                  <a:lnTo>
                    <a:pt x="743" y="246"/>
                  </a:lnTo>
                  <a:lnTo>
                    <a:pt x="751" y="250"/>
                  </a:lnTo>
                  <a:lnTo>
                    <a:pt x="760" y="254"/>
                  </a:lnTo>
                  <a:lnTo>
                    <a:pt x="790" y="266"/>
                  </a:lnTo>
                  <a:lnTo>
                    <a:pt x="818" y="275"/>
                  </a:lnTo>
                  <a:lnTo>
                    <a:pt x="831" y="278"/>
                  </a:lnTo>
                  <a:lnTo>
                    <a:pt x="843" y="280"/>
                  </a:lnTo>
                  <a:lnTo>
                    <a:pt x="855" y="281"/>
                  </a:lnTo>
                  <a:lnTo>
                    <a:pt x="866" y="281"/>
                  </a:lnTo>
                  <a:lnTo>
                    <a:pt x="877" y="280"/>
                  </a:lnTo>
                  <a:lnTo>
                    <a:pt x="888" y="277"/>
                  </a:lnTo>
                  <a:lnTo>
                    <a:pt x="898" y="272"/>
                  </a:lnTo>
                  <a:lnTo>
                    <a:pt x="909" y="266"/>
                  </a:lnTo>
                  <a:lnTo>
                    <a:pt x="918" y="257"/>
                  </a:lnTo>
                  <a:lnTo>
                    <a:pt x="929" y="247"/>
                  </a:lnTo>
                  <a:lnTo>
                    <a:pt x="938" y="233"/>
                  </a:lnTo>
                  <a:lnTo>
                    <a:pt x="948" y="219"/>
                  </a:lnTo>
                  <a:lnTo>
                    <a:pt x="953" y="211"/>
                  </a:lnTo>
                  <a:lnTo>
                    <a:pt x="960" y="204"/>
                  </a:lnTo>
                  <a:lnTo>
                    <a:pt x="969" y="196"/>
                  </a:lnTo>
                  <a:lnTo>
                    <a:pt x="981" y="187"/>
                  </a:lnTo>
                  <a:lnTo>
                    <a:pt x="992" y="179"/>
                  </a:lnTo>
                  <a:lnTo>
                    <a:pt x="1006" y="172"/>
                  </a:lnTo>
                  <a:lnTo>
                    <a:pt x="1019" y="163"/>
                  </a:lnTo>
                  <a:lnTo>
                    <a:pt x="1034" y="157"/>
                  </a:lnTo>
                  <a:lnTo>
                    <a:pt x="1047" y="152"/>
                  </a:lnTo>
                  <a:lnTo>
                    <a:pt x="1061" y="149"/>
                  </a:lnTo>
                  <a:lnTo>
                    <a:pt x="1067" y="148"/>
                  </a:lnTo>
                  <a:lnTo>
                    <a:pt x="1074" y="147"/>
                  </a:lnTo>
                  <a:lnTo>
                    <a:pt x="1080" y="147"/>
                  </a:lnTo>
                  <a:lnTo>
                    <a:pt x="1085" y="148"/>
                  </a:lnTo>
                  <a:lnTo>
                    <a:pt x="1090" y="149"/>
                  </a:lnTo>
                  <a:lnTo>
                    <a:pt x="1095" y="151"/>
                  </a:lnTo>
                  <a:lnTo>
                    <a:pt x="1100" y="153"/>
                  </a:lnTo>
                  <a:lnTo>
                    <a:pt x="1104" y="156"/>
                  </a:lnTo>
                  <a:lnTo>
                    <a:pt x="1107" y="160"/>
                  </a:lnTo>
                  <a:lnTo>
                    <a:pt x="1109" y="165"/>
                  </a:lnTo>
                  <a:lnTo>
                    <a:pt x="1111" y="171"/>
                  </a:lnTo>
                  <a:lnTo>
                    <a:pt x="1113" y="178"/>
                  </a:lnTo>
                  <a:lnTo>
                    <a:pt x="1138" y="201"/>
                  </a:lnTo>
                  <a:lnTo>
                    <a:pt x="1159" y="221"/>
                  </a:lnTo>
                  <a:lnTo>
                    <a:pt x="1164" y="225"/>
                  </a:lnTo>
                  <a:lnTo>
                    <a:pt x="1170" y="229"/>
                  </a:lnTo>
                  <a:lnTo>
                    <a:pt x="1178" y="233"/>
                  </a:lnTo>
                  <a:lnTo>
                    <a:pt x="1185" y="235"/>
                  </a:lnTo>
                  <a:lnTo>
                    <a:pt x="1193" y="238"/>
                  </a:lnTo>
                  <a:lnTo>
                    <a:pt x="1203" y="240"/>
                  </a:lnTo>
                  <a:lnTo>
                    <a:pt x="1213" y="241"/>
                  </a:lnTo>
                  <a:lnTo>
                    <a:pt x="1226" y="242"/>
                  </a:lnTo>
                  <a:lnTo>
                    <a:pt x="1226" y="242"/>
                  </a:lnTo>
                  <a:lnTo>
                    <a:pt x="1240" y="250"/>
                  </a:lnTo>
                  <a:lnTo>
                    <a:pt x="1255" y="256"/>
                  </a:lnTo>
                  <a:lnTo>
                    <a:pt x="1262" y="260"/>
                  </a:lnTo>
                  <a:lnTo>
                    <a:pt x="1268" y="265"/>
                  </a:lnTo>
                  <a:lnTo>
                    <a:pt x="1276" y="269"/>
                  </a:lnTo>
                  <a:lnTo>
                    <a:pt x="1282" y="275"/>
                  </a:lnTo>
                  <a:lnTo>
                    <a:pt x="1287" y="279"/>
                  </a:lnTo>
                  <a:lnTo>
                    <a:pt x="1292" y="282"/>
                  </a:lnTo>
                  <a:lnTo>
                    <a:pt x="1299" y="283"/>
                  </a:lnTo>
                  <a:lnTo>
                    <a:pt x="1305" y="283"/>
                  </a:lnTo>
                  <a:lnTo>
                    <a:pt x="1311" y="281"/>
                  </a:lnTo>
                  <a:lnTo>
                    <a:pt x="1317" y="278"/>
                  </a:lnTo>
                  <a:lnTo>
                    <a:pt x="1324" y="275"/>
                  </a:lnTo>
                  <a:lnTo>
                    <a:pt x="1331" y="271"/>
                  </a:lnTo>
                  <a:lnTo>
                    <a:pt x="1345" y="262"/>
                  </a:lnTo>
                  <a:lnTo>
                    <a:pt x="1358" y="253"/>
                  </a:lnTo>
                  <a:lnTo>
                    <a:pt x="1364" y="250"/>
                  </a:lnTo>
                  <a:lnTo>
                    <a:pt x="1372" y="247"/>
                  </a:lnTo>
                  <a:lnTo>
                    <a:pt x="1378" y="244"/>
                  </a:lnTo>
                  <a:lnTo>
                    <a:pt x="1384" y="243"/>
                  </a:lnTo>
                  <a:lnTo>
                    <a:pt x="1390" y="243"/>
                  </a:lnTo>
                  <a:lnTo>
                    <a:pt x="1396" y="244"/>
                  </a:lnTo>
                  <a:lnTo>
                    <a:pt x="1399" y="246"/>
                  </a:lnTo>
                  <a:lnTo>
                    <a:pt x="1402" y="249"/>
                  </a:lnTo>
                  <a:lnTo>
                    <a:pt x="1404" y="253"/>
                  </a:lnTo>
                  <a:lnTo>
                    <a:pt x="1405" y="257"/>
                  </a:lnTo>
                  <a:lnTo>
                    <a:pt x="1406" y="262"/>
                  </a:lnTo>
                  <a:lnTo>
                    <a:pt x="1406" y="268"/>
                  </a:lnTo>
                  <a:lnTo>
                    <a:pt x="1403" y="292"/>
                  </a:lnTo>
                  <a:lnTo>
                    <a:pt x="1400" y="314"/>
                  </a:lnTo>
                  <a:lnTo>
                    <a:pt x="1405" y="318"/>
                  </a:lnTo>
                  <a:lnTo>
                    <a:pt x="1409" y="322"/>
                  </a:lnTo>
                  <a:lnTo>
                    <a:pt x="1419" y="323"/>
                  </a:lnTo>
                  <a:lnTo>
                    <a:pt x="1426" y="323"/>
                  </a:lnTo>
                  <a:lnTo>
                    <a:pt x="1433" y="323"/>
                  </a:lnTo>
                  <a:lnTo>
                    <a:pt x="1441" y="322"/>
                  </a:lnTo>
                  <a:lnTo>
                    <a:pt x="1447" y="320"/>
                  </a:lnTo>
                  <a:lnTo>
                    <a:pt x="1453" y="317"/>
                  </a:lnTo>
                  <a:lnTo>
                    <a:pt x="1460" y="313"/>
                  </a:lnTo>
                  <a:lnTo>
                    <a:pt x="1469" y="307"/>
                  </a:lnTo>
                  <a:lnTo>
                    <a:pt x="1488" y="296"/>
                  </a:lnTo>
                  <a:lnTo>
                    <a:pt x="1502" y="289"/>
                  </a:lnTo>
                  <a:lnTo>
                    <a:pt x="1508" y="288"/>
                  </a:lnTo>
                  <a:lnTo>
                    <a:pt x="1512" y="286"/>
                  </a:lnTo>
                  <a:lnTo>
                    <a:pt x="1517" y="286"/>
                  </a:lnTo>
                  <a:lnTo>
                    <a:pt x="1521" y="288"/>
                  </a:lnTo>
                  <a:lnTo>
                    <a:pt x="1524" y="291"/>
                  </a:lnTo>
                  <a:lnTo>
                    <a:pt x="1528" y="294"/>
                  </a:lnTo>
                  <a:lnTo>
                    <a:pt x="1531" y="297"/>
                  </a:lnTo>
                  <a:lnTo>
                    <a:pt x="1535" y="302"/>
                  </a:lnTo>
                  <a:lnTo>
                    <a:pt x="1545" y="314"/>
                  </a:lnTo>
                  <a:lnTo>
                    <a:pt x="1557" y="328"/>
                  </a:lnTo>
                  <a:lnTo>
                    <a:pt x="1568" y="341"/>
                  </a:lnTo>
                  <a:lnTo>
                    <a:pt x="1575" y="351"/>
                  </a:lnTo>
                  <a:lnTo>
                    <a:pt x="1580" y="361"/>
                  </a:lnTo>
                  <a:lnTo>
                    <a:pt x="1582" y="369"/>
                  </a:lnTo>
                  <a:lnTo>
                    <a:pt x="1582" y="376"/>
                  </a:lnTo>
                  <a:lnTo>
                    <a:pt x="1581" y="383"/>
                  </a:lnTo>
                  <a:lnTo>
                    <a:pt x="1579" y="390"/>
                  </a:lnTo>
                  <a:lnTo>
                    <a:pt x="1575" y="396"/>
                  </a:lnTo>
                  <a:lnTo>
                    <a:pt x="1566" y="410"/>
                  </a:lnTo>
                  <a:lnTo>
                    <a:pt x="1556" y="424"/>
                  </a:lnTo>
                  <a:lnTo>
                    <a:pt x="1551" y="434"/>
                  </a:lnTo>
                  <a:lnTo>
                    <a:pt x="1548" y="443"/>
                  </a:lnTo>
                  <a:lnTo>
                    <a:pt x="1546" y="455"/>
                  </a:lnTo>
                  <a:lnTo>
                    <a:pt x="1545" y="468"/>
                  </a:lnTo>
                  <a:lnTo>
                    <a:pt x="1546" y="483"/>
                  </a:lnTo>
                  <a:lnTo>
                    <a:pt x="1549" y="494"/>
                  </a:lnTo>
                  <a:lnTo>
                    <a:pt x="1553" y="505"/>
                  </a:lnTo>
                  <a:lnTo>
                    <a:pt x="1558" y="514"/>
                  </a:lnTo>
                  <a:lnTo>
                    <a:pt x="1566" y="522"/>
                  </a:lnTo>
                  <a:lnTo>
                    <a:pt x="1574" y="531"/>
                  </a:lnTo>
                  <a:lnTo>
                    <a:pt x="1583" y="538"/>
                  </a:lnTo>
                  <a:lnTo>
                    <a:pt x="1595" y="545"/>
                  </a:lnTo>
                  <a:lnTo>
                    <a:pt x="1599" y="549"/>
                  </a:lnTo>
                  <a:lnTo>
                    <a:pt x="1603" y="555"/>
                  </a:lnTo>
                  <a:lnTo>
                    <a:pt x="1606" y="560"/>
                  </a:lnTo>
                  <a:lnTo>
                    <a:pt x="1609" y="565"/>
                  </a:lnTo>
                  <a:lnTo>
                    <a:pt x="1613" y="578"/>
                  </a:lnTo>
                  <a:lnTo>
                    <a:pt x="1614" y="590"/>
                  </a:lnTo>
                  <a:lnTo>
                    <a:pt x="1614" y="618"/>
                  </a:lnTo>
                  <a:lnTo>
                    <a:pt x="1615" y="643"/>
                  </a:lnTo>
                  <a:lnTo>
                    <a:pt x="1618" y="654"/>
                  </a:lnTo>
                  <a:lnTo>
                    <a:pt x="1621" y="663"/>
                  </a:lnTo>
                  <a:lnTo>
                    <a:pt x="1626" y="670"/>
                  </a:lnTo>
                  <a:lnTo>
                    <a:pt x="1633" y="678"/>
                  </a:lnTo>
                  <a:lnTo>
                    <a:pt x="1641" y="683"/>
                  </a:lnTo>
                  <a:lnTo>
                    <a:pt x="1649" y="687"/>
                  </a:lnTo>
                  <a:lnTo>
                    <a:pt x="1659" y="691"/>
                  </a:lnTo>
                  <a:lnTo>
                    <a:pt x="1669" y="694"/>
                  </a:lnTo>
                  <a:lnTo>
                    <a:pt x="1690" y="699"/>
                  </a:lnTo>
                  <a:lnTo>
                    <a:pt x="1712" y="701"/>
                  </a:lnTo>
                  <a:lnTo>
                    <a:pt x="1732" y="702"/>
                  </a:lnTo>
                  <a:lnTo>
                    <a:pt x="1751" y="704"/>
                  </a:lnTo>
                  <a:lnTo>
                    <a:pt x="1769" y="706"/>
                  </a:lnTo>
                  <a:lnTo>
                    <a:pt x="1783" y="708"/>
                  </a:lnTo>
                  <a:lnTo>
                    <a:pt x="1789" y="710"/>
                  </a:lnTo>
                  <a:lnTo>
                    <a:pt x="1794" y="712"/>
                  </a:lnTo>
                  <a:lnTo>
                    <a:pt x="1798" y="714"/>
                  </a:lnTo>
                  <a:lnTo>
                    <a:pt x="1802" y="716"/>
                  </a:lnTo>
                  <a:lnTo>
                    <a:pt x="1805" y="720"/>
                  </a:lnTo>
                  <a:lnTo>
                    <a:pt x="1809" y="724"/>
                  </a:lnTo>
                  <a:lnTo>
                    <a:pt x="1812" y="729"/>
                  </a:lnTo>
                  <a:lnTo>
                    <a:pt x="1815" y="734"/>
                  </a:lnTo>
                  <a:lnTo>
                    <a:pt x="1820" y="747"/>
                  </a:lnTo>
                  <a:lnTo>
                    <a:pt x="1826" y="762"/>
                  </a:lnTo>
                  <a:lnTo>
                    <a:pt x="1830" y="772"/>
                  </a:lnTo>
                  <a:lnTo>
                    <a:pt x="1836" y="782"/>
                  </a:lnTo>
                  <a:lnTo>
                    <a:pt x="1841" y="792"/>
                  </a:lnTo>
                  <a:lnTo>
                    <a:pt x="1847" y="802"/>
                  </a:lnTo>
                  <a:lnTo>
                    <a:pt x="1854" y="812"/>
                  </a:lnTo>
                  <a:lnTo>
                    <a:pt x="1863" y="822"/>
                  </a:lnTo>
                  <a:lnTo>
                    <a:pt x="1871" y="831"/>
                  </a:lnTo>
                  <a:lnTo>
                    <a:pt x="1879" y="839"/>
                  </a:lnTo>
                  <a:lnTo>
                    <a:pt x="1889" y="848"/>
                  </a:lnTo>
                  <a:lnTo>
                    <a:pt x="1899" y="855"/>
                  </a:lnTo>
                  <a:lnTo>
                    <a:pt x="1909" y="861"/>
                  </a:lnTo>
                  <a:lnTo>
                    <a:pt x="1920" y="867"/>
                  </a:lnTo>
                  <a:lnTo>
                    <a:pt x="1931" y="871"/>
                  </a:lnTo>
                  <a:lnTo>
                    <a:pt x="1941" y="873"/>
                  </a:lnTo>
                  <a:lnTo>
                    <a:pt x="1952" y="874"/>
                  </a:lnTo>
                  <a:lnTo>
                    <a:pt x="1964" y="874"/>
                  </a:lnTo>
                  <a:lnTo>
                    <a:pt x="1986" y="870"/>
                  </a:lnTo>
                  <a:lnTo>
                    <a:pt x="2010" y="865"/>
                  </a:lnTo>
                  <a:lnTo>
                    <a:pt x="2021" y="863"/>
                  </a:lnTo>
                  <a:lnTo>
                    <a:pt x="2033" y="861"/>
                  </a:lnTo>
                  <a:lnTo>
                    <a:pt x="2043" y="860"/>
                  </a:lnTo>
                  <a:lnTo>
                    <a:pt x="2055" y="860"/>
                  </a:lnTo>
                  <a:lnTo>
                    <a:pt x="2064" y="860"/>
                  </a:lnTo>
                  <a:lnTo>
                    <a:pt x="2073" y="861"/>
                  </a:lnTo>
                  <a:lnTo>
                    <a:pt x="2081" y="864"/>
                  </a:lnTo>
                  <a:lnTo>
                    <a:pt x="2088" y="867"/>
                  </a:lnTo>
                  <a:lnTo>
                    <a:pt x="2095" y="871"/>
                  </a:lnTo>
                  <a:lnTo>
                    <a:pt x="2101" y="875"/>
                  </a:lnTo>
                  <a:lnTo>
                    <a:pt x="2105" y="880"/>
                  </a:lnTo>
                  <a:lnTo>
                    <a:pt x="2109" y="886"/>
                  </a:lnTo>
                  <a:lnTo>
                    <a:pt x="2112" y="893"/>
                  </a:lnTo>
                  <a:lnTo>
                    <a:pt x="2113" y="900"/>
                  </a:lnTo>
                  <a:lnTo>
                    <a:pt x="2114" y="907"/>
                  </a:lnTo>
                  <a:lnTo>
                    <a:pt x="2113" y="915"/>
                  </a:lnTo>
                  <a:lnTo>
                    <a:pt x="2112" y="923"/>
                  </a:lnTo>
                  <a:lnTo>
                    <a:pt x="2109" y="931"/>
                  </a:lnTo>
                  <a:lnTo>
                    <a:pt x="2105" y="941"/>
                  </a:lnTo>
                  <a:lnTo>
                    <a:pt x="2099" y="950"/>
                  </a:lnTo>
                  <a:lnTo>
                    <a:pt x="2089" y="953"/>
                  </a:lnTo>
                  <a:lnTo>
                    <a:pt x="2080" y="956"/>
                  </a:lnTo>
                  <a:lnTo>
                    <a:pt x="2069" y="959"/>
                  </a:lnTo>
                  <a:lnTo>
                    <a:pt x="2060" y="962"/>
                  </a:lnTo>
                  <a:lnTo>
                    <a:pt x="2059" y="966"/>
                  </a:lnTo>
                  <a:lnTo>
                    <a:pt x="2059" y="969"/>
                  </a:lnTo>
                  <a:lnTo>
                    <a:pt x="2060" y="973"/>
                  </a:lnTo>
                  <a:lnTo>
                    <a:pt x="2061" y="976"/>
                  </a:lnTo>
                  <a:lnTo>
                    <a:pt x="2071" y="982"/>
                  </a:lnTo>
                  <a:lnTo>
                    <a:pt x="2081" y="989"/>
                  </a:lnTo>
                  <a:lnTo>
                    <a:pt x="2090" y="996"/>
                  </a:lnTo>
                  <a:lnTo>
                    <a:pt x="2098" y="1004"/>
                  </a:lnTo>
                  <a:lnTo>
                    <a:pt x="2114" y="1019"/>
                  </a:lnTo>
                  <a:lnTo>
                    <a:pt x="2130" y="1032"/>
                  </a:lnTo>
                  <a:lnTo>
                    <a:pt x="2137" y="1038"/>
                  </a:lnTo>
                  <a:lnTo>
                    <a:pt x="2146" y="1043"/>
                  </a:lnTo>
                  <a:lnTo>
                    <a:pt x="2156" y="1047"/>
                  </a:lnTo>
                  <a:lnTo>
                    <a:pt x="2165" y="1049"/>
                  </a:lnTo>
                  <a:lnTo>
                    <a:pt x="2176" y="1051"/>
                  </a:lnTo>
                  <a:lnTo>
                    <a:pt x="2188" y="1051"/>
                  </a:lnTo>
                  <a:lnTo>
                    <a:pt x="2202" y="1049"/>
                  </a:lnTo>
                  <a:lnTo>
                    <a:pt x="2216" y="1046"/>
                  </a:lnTo>
                  <a:lnTo>
                    <a:pt x="2229" y="1043"/>
                  </a:lnTo>
                  <a:lnTo>
                    <a:pt x="2239" y="1043"/>
                  </a:lnTo>
                  <a:lnTo>
                    <a:pt x="2250" y="1044"/>
                  </a:lnTo>
                  <a:lnTo>
                    <a:pt x="2257" y="1046"/>
                  </a:lnTo>
                  <a:lnTo>
                    <a:pt x="2264" y="1050"/>
                  </a:lnTo>
                  <a:lnTo>
                    <a:pt x="2270" y="1056"/>
                  </a:lnTo>
                  <a:lnTo>
                    <a:pt x="2276" y="1063"/>
                  </a:lnTo>
                  <a:lnTo>
                    <a:pt x="2281" y="1070"/>
                  </a:lnTo>
                  <a:lnTo>
                    <a:pt x="2289" y="1087"/>
                  </a:lnTo>
                  <a:lnTo>
                    <a:pt x="2299" y="1103"/>
                  </a:lnTo>
                  <a:lnTo>
                    <a:pt x="2304" y="1113"/>
                  </a:lnTo>
                  <a:lnTo>
                    <a:pt x="2310" y="1121"/>
                  </a:lnTo>
                  <a:lnTo>
                    <a:pt x="2317" y="1128"/>
                  </a:lnTo>
                  <a:lnTo>
                    <a:pt x="2326" y="1135"/>
                  </a:lnTo>
                  <a:lnTo>
                    <a:pt x="2338" y="1144"/>
                  </a:lnTo>
                  <a:lnTo>
                    <a:pt x="2349" y="1150"/>
                  </a:lnTo>
                  <a:lnTo>
                    <a:pt x="2358" y="1155"/>
                  </a:lnTo>
                  <a:lnTo>
                    <a:pt x="2367" y="1158"/>
                  </a:lnTo>
                  <a:lnTo>
                    <a:pt x="2376" y="1158"/>
                  </a:lnTo>
                  <a:lnTo>
                    <a:pt x="2386" y="1155"/>
                  </a:lnTo>
                  <a:lnTo>
                    <a:pt x="2399" y="1153"/>
                  </a:lnTo>
                  <a:lnTo>
                    <a:pt x="2413" y="1148"/>
                  </a:lnTo>
                  <a:lnTo>
                    <a:pt x="2413" y="1148"/>
                  </a:lnTo>
                  <a:lnTo>
                    <a:pt x="2419" y="1152"/>
                  </a:lnTo>
                  <a:lnTo>
                    <a:pt x="2425" y="1158"/>
                  </a:lnTo>
                  <a:lnTo>
                    <a:pt x="2427" y="1159"/>
                  </a:lnTo>
                  <a:lnTo>
                    <a:pt x="2436" y="1171"/>
                  </a:lnTo>
                  <a:lnTo>
                    <a:pt x="2443" y="1179"/>
                  </a:lnTo>
                  <a:lnTo>
                    <a:pt x="2445" y="1185"/>
                  </a:lnTo>
                  <a:lnTo>
                    <a:pt x="2446" y="1190"/>
                  </a:lnTo>
                  <a:lnTo>
                    <a:pt x="2447" y="1197"/>
                  </a:lnTo>
                  <a:lnTo>
                    <a:pt x="2448" y="1207"/>
                  </a:lnTo>
                  <a:lnTo>
                    <a:pt x="2439" y="1215"/>
                  </a:lnTo>
                  <a:lnTo>
                    <a:pt x="2432" y="1222"/>
                  </a:lnTo>
                  <a:lnTo>
                    <a:pt x="2424" y="1229"/>
                  </a:lnTo>
                  <a:lnTo>
                    <a:pt x="2415" y="1234"/>
                  </a:lnTo>
                  <a:lnTo>
                    <a:pt x="2407" y="1239"/>
                  </a:lnTo>
                  <a:lnTo>
                    <a:pt x="2398" y="1243"/>
                  </a:lnTo>
                  <a:lnTo>
                    <a:pt x="2388" y="1246"/>
                  </a:lnTo>
                  <a:lnTo>
                    <a:pt x="2380" y="1249"/>
                  </a:lnTo>
                  <a:lnTo>
                    <a:pt x="2361" y="1254"/>
                  </a:lnTo>
                  <a:lnTo>
                    <a:pt x="2341" y="1257"/>
                  </a:lnTo>
                  <a:lnTo>
                    <a:pt x="2322" y="1258"/>
                  </a:lnTo>
                  <a:lnTo>
                    <a:pt x="2303" y="1259"/>
                  </a:lnTo>
                  <a:lnTo>
                    <a:pt x="2283" y="1260"/>
                  </a:lnTo>
                  <a:lnTo>
                    <a:pt x="2263" y="1261"/>
                  </a:lnTo>
                  <a:lnTo>
                    <a:pt x="2244" y="1262"/>
                  </a:lnTo>
                  <a:lnTo>
                    <a:pt x="2226" y="1265"/>
                  </a:lnTo>
                  <a:lnTo>
                    <a:pt x="2216" y="1267"/>
                  </a:lnTo>
                  <a:lnTo>
                    <a:pt x="2207" y="1269"/>
                  </a:lnTo>
                  <a:lnTo>
                    <a:pt x="2199" y="1272"/>
                  </a:lnTo>
                  <a:lnTo>
                    <a:pt x="2190" y="1277"/>
                  </a:lnTo>
                  <a:lnTo>
                    <a:pt x="2182" y="1281"/>
                  </a:lnTo>
                  <a:lnTo>
                    <a:pt x="2174" y="1285"/>
                  </a:lnTo>
                  <a:lnTo>
                    <a:pt x="2166" y="1291"/>
                  </a:lnTo>
                  <a:lnTo>
                    <a:pt x="2159" y="1297"/>
                  </a:lnTo>
                  <a:lnTo>
                    <a:pt x="2130" y="1328"/>
                  </a:lnTo>
                  <a:lnTo>
                    <a:pt x="2101" y="1358"/>
                  </a:lnTo>
                  <a:lnTo>
                    <a:pt x="2092" y="1364"/>
                  </a:lnTo>
                  <a:lnTo>
                    <a:pt x="2084" y="1369"/>
                  </a:lnTo>
                  <a:lnTo>
                    <a:pt x="2075" y="1375"/>
                  </a:lnTo>
                  <a:lnTo>
                    <a:pt x="2066" y="1379"/>
                  </a:lnTo>
                  <a:lnTo>
                    <a:pt x="2056" y="1381"/>
                  </a:lnTo>
                  <a:lnTo>
                    <a:pt x="2045" y="1383"/>
                  </a:lnTo>
                  <a:lnTo>
                    <a:pt x="2035" y="1383"/>
                  </a:lnTo>
                  <a:lnTo>
                    <a:pt x="2022" y="1382"/>
                  </a:lnTo>
                  <a:lnTo>
                    <a:pt x="2011" y="1380"/>
                  </a:lnTo>
                  <a:lnTo>
                    <a:pt x="2001" y="1380"/>
                  </a:lnTo>
                  <a:lnTo>
                    <a:pt x="1993" y="1380"/>
                  </a:lnTo>
                  <a:lnTo>
                    <a:pt x="1985" y="1382"/>
                  </a:lnTo>
                  <a:lnTo>
                    <a:pt x="1977" y="1385"/>
                  </a:lnTo>
                  <a:lnTo>
                    <a:pt x="1970" y="1389"/>
                  </a:lnTo>
                  <a:lnTo>
                    <a:pt x="1964" y="1395"/>
                  </a:lnTo>
                  <a:lnTo>
                    <a:pt x="1957" y="1404"/>
                  </a:lnTo>
                  <a:lnTo>
                    <a:pt x="1947" y="1413"/>
                  </a:lnTo>
                  <a:lnTo>
                    <a:pt x="1938" y="1420"/>
                  </a:lnTo>
                  <a:lnTo>
                    <a:pt x="1928" y="1426"/>
                  </a:lnTo>
                  <a:lnTo>
                    <a:pt x="1918" y="1430"/>
                  </a:lnTo>
                  <a:lnTo>
                    <a:pt x="1896" y="1436"/>
                  </a:lnTo>
                  <a:lnTo>
                    <a:pt x="1872" y="1441"/>
                  </a:lnTo>
                  <a:lnTo>
                    <a:pt x="1861" y="1446"/>
                  </a:lnTo>
                  <a:lnTo>
                    <a:pt x="1849" y="1451"/>
                  </a:lnTo>
                  <a:lnTo>
                    <a:pt x="1839" y="1457"/>
                  </a:lnTo>
                  <a:lnTo>
                    <a:pt x="1827" y="1464"/>
                  </a:lnTo>
                  <a:lnTo>
                    <a:pt x="1804" y="1480"/>
                  </a:lnTo>
                  <a:lnTo>
                    <a:pt x="1781" y="1497"/>
                  </a:lnTo>
                  <a:lnTo>
                    <a:pt x="1760" y="1514"/>
                  </a:lnTo>
                  <a:lnTo>
                    <a:pt x="1738" y="1531"/>
                  </a:lnTo>
                  <a:lnTo>
                    <a:pt x="1717" y="1546"/>
                  </a:lnTo>
                  <a:lnTo>
                    <a:pt x="1697" y="1559"/>
                  </a:lnTo>
                  <a:lnTo>
                    <a:pt x="1674" y="1571"/>
                  </a:lnTo>
                  <a:lnTo>
                    <a:pt x="1650" y="1581"/>
                  </a:lnTo>
                  <a:lnTo>
                    <a:pt x="1625" y="1589"/>
                  </a:lnTo>
                  <a:lnTo>
                    <a:pt x="1600" y="1597"/>
                  </a:lnTo>
                  <a:lnTo>
                    <a:pt x="1574" y="1604"/>
                  </a:lnTo>
                  <a:lnTo>
                    <a:pt x="1548" y="1609"/>
                  </a:lnTo>
                  <a:lnTo>
                    <a:pt x="1522" y="1615"/>
                  </a:lnTo>
                  <a:lnTo>
                    <a:pt x="1497" y="1619"/>
                  </a:lnTo>
                  <a:lnTo>
                    <a:pt x="1471" y="1623"/>
                  </a:lnTo>
                  <a:lnTo>
                    <a:pt x="1447" y="1628"/>
                  </a:lnTo>
                  <a:lnTo>
                    <a:pt x="1425" y="1633"/>
                  </a:lnTo>
                  <a:lnTo>
                    <a:pt x="1405" y="1639"/>
                  </a:lnTo>
                  <a:lnTo>
                    <a:pt x="1386" y="1645"/>
                  </a:lnTo>
                  <a:lnTo>
                    <a:pt x="1370" y="1652"/>
                  </a:lnTo>
                  <a:lnTo>
                    <a:pt x="1353" y="1660"/>
                  </a:lnTo>
                  <a:lnTo>
                    <a:pt x="1338" y="1670"/>
                  </a:lnTo>
                  <a:lnTo>
                    <a:pt x="1324" y="1680"/>
                  </a:lnTo>
                  <a:lnTo>
                    <a:pt x="1310" y="1692"/>
                  </a:lnTo>
                  <a:lnTo>
                    <a:pt x="1297" y="1705"/>
                  </a:lnTo>
                  <a:lnTo>
                    <a:pt x="1284" y="1720"/>
                  </a:lnTo>
                  <a:lnTo>
                    <a:pt x="1272" y="1737"/>
                  </a:lnTo>
                  <a:lnTo>
                    <a:pt x="1258" y="1755"/>
                  </a:lnTo>
                  <a:lnTo>
                    <a:pt x="1246" y="1776"/>
                  </a:lnTo>
                  <a:lnTo>
                    <a:pt x="1232" y="1799"/>
                  </a:lnTo>
                  <a:lnTo>
                    <a:pt x="1219" y="1820"/>
                  </a:lnTo>
                  <a:lnTo>
                    <a:pt x="1204" y="1845"/>
                  </a:lnTo>
                  <a:lnTo>
                    <a:pt x="1195" y="1859"/>
                  </a:lnTo>
                  <a:lnTo>
                    <a:pt x="1186" y="1871"/>
                  </a:lnTo>
                  <a:lnTo>
                    <a:pt x="1177" y="1885"/>
                  </a:lnTo>
                  <a:lnTo>
                    <a:pt x="1166" y="1896"/>
                  </a:lnTo>
                  <a:lnTo>
                    <a:pt x="1155" y="1908"/>
                  </a:lnTo>
                  <a:lnTo>
                    <a:pt x="1143" y="1917"/>
                  </a:lnTo>
                  <a:lnTo>
                    <a:pt x="1132" y="1925"/>
                  </a:lnTo>
                  <a:lnTo>
                    <a:pt x="1119" y="1933"/>
                  </a:lnTo>
                  <a:lnTo>
                    <a:pt x="1113" y="1935"/>
                  </a:lnTo>
                  <a:lnTo>
                    <a:pt x="1107" y="1937"/>
                  </a:lnTo>
                  <a:lnTo>
                    <a:pt x="1101" y="1938"/>
                  </a:lnTo>
                  <a:lnTo>
                    <a:pt x="1094" y="1939"/>
                  </a:lnTo>
                  <a:lnTo>
                    <a:pt x="1087" y="1938"/>
                  </a:lnTo>
                  <a:lnTo>
                    <a:pt x="1081" y="1938"/>
                  </a:lnTo>
                  <a:lnTo>
                    <a:pt x="1074" y="1936"/>
                  </a:lnTo>
                  <a:lnTo>
                    <a:pt x="1067" y="1934"/>
                  </a:lnTo>
                  <a:lnTo>
                    <a:pt x="1058" y="1918"/>
                  </a:lnTo>
                  <a:lnTo>
                    <a:pt x="1047" y="1899"/>
                  </a:lnTo>
                  <a:lnTo>
                    <a:pt x="1042" y="1890"/>
                  </a:lnTo>
                  <a:lnTo>
                    <a:pt x="1038" y="1881"/>
                  </a:lnTo>
                  <a:lnTo>
                    <a:pt x="1035" y="1871"/>
                  </a:lnTo>
                  <a:lnTo>
                    <a:pt x="1033" y="1863"/>
                  </a:lnTo>
                  <a:lnTo>
                    <a:pt x="1027" y="1858"/>
                  </a:lnTo>
                  <a:lnTo>
                    <a:pt x="1020" y="1853"/>
                  </a:lnTo>
                  <a:lnTo>
                    <a:pt x="1013" y="1850"/>
                  </a:lnTo>
                  <a:lnTo>
                    <a:pt x="1005" y="1847"/>
                  </a:lnTo>
                  <a:lnTo>
                    <a:pt x="992" y="1847"/>
                  </a:lnTo>
                  <a:lnTo>
                    <a:pt x="980" y="1848"/>
                  </a:lnTo>
                  <a:lnTo>
                    <a:pt x="968" y="1849"/>
                  </a:lnTo>
                  <a:lnTo>
                    <a:pt x="957" y="1852"/>
                  </a:lnTo>
                  <a:lnTo>
                    <a:pt x="945" y="1856"/>
                  </a:lnTo>
                  <a:lnTo>
                    <a:pt x="934" y="1860"/>
                  </a:lnTo>
                  <a:lnTo>
                    <a:pt x="923" y="1865"/>
                  </a:lnTo>
                  <a:lnTo>
                    <a:pt x="913" y="1871"/>
                  </a:lnTo>
                  <a:lnTo>
                    <a:pt x="907" y="1876"/>
                  </a:lnTo>
                  <a:lnTo>
                    <a:pt x="900" y="1882"/>
                  </a:lnTo>
                  <a:lnTo>
                    <a:pt x="895" y="1888"/>
                  </a:lnTo>
                  <a:lnTo>
                    <a:pt x="890" y="1894"/>
                  </a:lnTo>
                  <a:lnTo>
                    <a:pt x="885" y="1900"/>
                  </a:lnTo>
                  <a:lnTo>
                    <a:pt x="880" y="1906"/>
                  </a:lnTo>
                  <a:lnTo>
                    <a:pt x="872" y="1911"/>
                  </a:lnTo>
                  <a:lnTo>
                    <a:pt x="865" y="1916"/>
                  </a:lnTo>
                  <a:lnTo>
                    <a:pt x="813" y="1913"/>
                  </a:lnTo>
                  <a:lnTo>
                    <a:pt x="805" y="1914"/>
                  </a:lnTo>
                  <a:lnTo>
                    <a:pt x="798" y="1916"/>
                  </a:lnTo>
                  <a:lnTo>
                    <a:pt x="792" y="1920"/>
                  </a:lnTo>
                  <a:lnTo>
                    <a:pt x="786" y="1924"/>
                  </a:lnTo>
                  <a:lnTo>
                    <a:pt x="775" y="1936"/>
                  </a:lnTo>
                  <a:lnTo>
                    <a:pt x="764" y="1946"/>
                  </a:lnTo>
                  <a:lnTo>
                    <a:pt x="758" y="1956"/>
                  </a:lnTo>
                  <a:lnTo>
                    <a:pt x="751" y="1965"/>
                  </a:lnTo>
                  <a:lnTo>
                    <a:pt x="745" y="1974"/>
                  </a:lnTo>
                  <a:lnTo>
                    <a:pt x="738" y="1983"/>
                  </a:lnTo>
                  <a:lnTo>
                    <a:pt x="729" y="1990"/>
                  </a:lnTo>
                  <a:lnTo>
                    <a:pt x="721" y="1997"/>
                  </a:lnTo>
                  <a:lnTo>
                    <a:pt x="713" y="2005"/>
                  </a:lnTo>
                  <a:lnTo>
                    <a:pt x="703" y="2011"/>
                  </a:lnTo>
                  <a:lnTo>
                    <a:pt x="694" y="2016"/>
                  </a:lnTo>
                  <a:lnTo>
                    <a:pt x="684" y="2021"/>
                  </a:lnTo>
                  <a:lnTo>
                    <a:pt x="673" y="2027"/>
                  </a:lnTo>
                  <a:lnTo>
                    <a:pt x="663" y="2031"/>
                  </a:lnTo>
                  <a:lnTo>
                    <a:pt x="641" y="2039"/>
                  </a:lnTo>
                  <a:lnTo>
                    <a:pt x="619" y="2044"/>
                  </a:lnTo>
                  <a:lnTo>
                    <a:pt x="596" y="2049"/>
                  </a:lnTo>
                  <a:lnTo>
                    <a:pt x="572" y="2052"/>
                  </a:lnTo>
                  <a:lnTo>
                    <a:pt x="548" y="2053"/>
                  </a:lnTo>
                  <a:lnTo>
                    <a:pt x="525" y="2052"/>
                  </a:lnTo>
                  <a:lnTo>
                    <a:pt x="502" y="2050"/>
                  </a:lnTo>
                  <a:lnTo>
                    <a:pt x="479" y="2047"/>
                  </a:lnTo>
                  <a:lnTo>
                    <a:pt x="457" y="2042"/>
                  </a:lnTo>
                  <a:lnTo>
                    <a:pt x="436" y="2037"/>
                  </a:lnTo>
                  <a:lnTo>
                    <a:pt x="436" y="203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89" name="Freeform 126">
              <a:extLst>
                <a:ext uri="{FF2B5EF4-FFF2-40B4-BE49-F238E27FC236}">
                  <a16:creationId xmlns:a16="http://schemas.microsoft.com/office/drawing/2014/main" id="{BAD574FE-25CB-4006-A195-B3276CB36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80" y="3887337"/>
              <a:ext cx="614978" cy="498340"/>
            </a:xfrm>
            <a:custGeom>
              <a:avLst/>
              <a:gdLst>
                <a:gd name="T0" fmla="*/ 343 w 2448"/>
                <a:gd name="T1" fmla="*/ 1902 h 2053"/>
                <a:gd name="T2" fmla="*/ 272 w 2448"/>
                <a:gd name="T3" fmla="*/ 1645 h 2053"/>
                <a:gd name="T4" fmla="*/ 313 w 2448"/>
                <a:gd name="T5" fmla="*/ 1510 h 2053"/>
                <a:gd name="T6" fmla="*/ 226 w 2448"/>
                <a:gd name="T7" fmla="*/ 1386 h 2053"/>
                <a:gd name="T8" fmla="*/ 128 w 2448"/>
                <a:gd name="T9" fmla="*/ 1311 h 2053"/>
                <a:gd name="T10" fmla="*/ 111 w 2448"/>
                <a:gd name="T11" fmla="*/ 1211 h 2053"/>
                <a:gd name="T12" fmla="*/ 229 w 2448"/>
                <a:gd name="T13" fmla="*/ 1128 h 2053"/>
                <a:gd name="T14" fmla="*/ 308 w 2448"/>
                <a:gd name="T15" fmla="*/ 949 h 2053"/>
                <a:gd name="T16" fmla="*/ 285 w 2448"/>
                <a:gd name="T17" fmla="*/ 873 h 2053"/>
                <a:gd name="T18" fmla="*/ 264 w 2448"/>
                <a:gd name="T19" fmla="*/ 768 h 2053"/>
                <a:gd name="T20" fmla="*/ 323 w 2448"/>
                <a:gd name="T21" fmla="*/ 640 h 2053"/>
                <a:gd name="T22" fmla="*/ 380 w 2448"/>
                <a:gd name="T23" fmla="*/ 683 h 2053"/>
                <a:gd name="T24" fmla="*/ 492 w 2448"/>
                <a:gd name="T25" fmla="*/ 821 h 2053"/>
                <a:gd name="T26" fmla="*/ 599 w 2448"/>
                <a:gd name="T27" fmla="*/ 830 h 2053"/>
                <a:gd name="T28" fmla="*/ 550 w 2448"/>
                <a:gd name="T29" fmla="*/ 795 h 2053"/>
                <a:gd name="T30" fmla="*/ 516 w 2448"/>
                <a:gd name="T31" fmla="*/ 726 h 2053"/>
                <a:gd name="T32" fmla="*/ 653 w 2448"/>
                <a:gd name="T33" fmla="*/ 664 h 2053"/>
                <a:gd name="T34" fmla="*/ 639 w 2448"/>
                <a:gd name="T35" fmla="*/ 570 h 2053"/>
                <a:gd name="T36" fmla="*/ 502 w 2448"/>
                <a:gd name="T37" fmla="*/ 516 h 2053"/>
                <a:gd name="T38" fmla="*/ 310 w 2448"/>
                <a:gd name="T39" fmla="*/ 467 h 2053"/>
                <a:gd name="T40" fmla="*/ 171 w 2448"/>
                <a:gd name="T41" fmla="*/ 300 h 2053"/>
                <a:gd name="T42" fmla="*/ 118 w 2448"/>
                <a:gd name="T43" fmla="*/ 258 h 2053"/>
                <a:gd name="T44" fmla="*/ 6 w 2448"/>
                <a:gd name="T45" fmla="*/ 262 h 2053"/>
                <a:gd name="T46" fmla="*/ 112 w 2448"/>
                <a:gd name="T47" fmla="*/ 202 h 2053"/>
                <a:gd name="T48" fmla="*/ 349 w 2448"/>
                <a:gd name="T49" fmla="*/ 197 h 2053"/>
                <a:gd name="T50" fmla="*/ 394 w 2448"/>
                <a:gd name="T51" fmla="*/ 297 h 2053"/>
                <a:gd name="T52" fmla="*/ 494 w 2448"/>
                <a:gd name="T53" fmla="*/ 336 h 2053"/>
                <a:gd name="T54" fmla="*/ 521 w 2448"/>
                <a:gd name="T55" fmla="*/ 142 h 2053"/>
                <a:gd name="T56" fmla="*/ 712 w 2448"/>
                <a:gd name="T57" fmla="*/ 1 h 2053"/>
                <a:gd name="T58" fmla="*/ 746 w 2448"/>
                <a:gd name="T59" fmla="*/ 55 h 2053"/>
                <a:gd name="T60" fmla="*/ 723 w 2448"/>
                <a:gd name="T61" fmla="*/ 230 h 2053"/>
                <a:gd name="T62" fmla="*/ 888 w 2448"/>
                <a:gd name="T63" fmla="*/ 277 h 2053"/>
                <a:gd name="T64" fmla="*/ 1019 w 2448"/>
                <a:gd name="T65" fmla="*/ 163 h 2053"/>
                <a:gd name="T66" fmla="*/ 1109 w 2448"/>
                <a:gd name="T67" fmla="*/ 165 h 2053"/>
                <a:gd name="T68" fmla="*/ 1226 w 2448"/>
                <a:gd name="T69" fmla="*/ 242 h 2053"/>
                <a:gd name="T70" fmla="*/ 1324 w 2448"/>
                <a:gd name="T71" fmla="*/ 275 h 2053"/>
                <a:gd name="T72" fmla="*/ 1405 w 2448"/>
                <a:gd name="T73" fmla="*/ 257 h 2053"/>
                <a:gd name="T74" fmla="*/ 1460 w 2448"/>
                <a:gd name="T75" fmla="*/ 313 h 2053"/>
                <a:gd name="T76" fmla="*/ 1557 w 2448"/>
                <a:gd name="T77" fmla="*/ 328 h 2053"/>
                <a:gd name="T78" fmla="*/ 1546 w 2448"/>
                <a:gd name="T79" fmla="*/ 455 h 2053"/>
                <a:gd name="T80" fmla="*/ 1609 w 2448"/>
                <a:gd name="T81" fmla="*/ 565 h 2053"/>
                <a:gd name="T82" fmla="*/ 1690 w 2448"/>
                <a:gd name="T83" fmla="*/ 699 h 2053"/>
                <a:gd name="T84" fmla="*/ 1815 w 2448"/>
                <a:gd name="T85" fmla="*/ 734 h 2053"/>
                <a:gd name="T86" fmla="*/ 1909 w 2448"/>
                <a:gd name="T87" fmla="*/ 861 h 2053"/>
                <a:gd name="T88" fmla="*/ 2073 w 2448"/>
                <a:gd name="T89" fmla="*/ 861 h 2053"/>
                <a:gd name="T90" fmla="*/ 2105 w 2448"/>
                <a:gd name="T91" fmla="*/ 941 h 2053"/>
                <a:gd name="T92" fmla="*/ 2098 w 2448"/>
                <a:gd name="T93" fmla="*/ 1004 h 2053"/>
                <a:gd name="T94" fmla="*/ 2250 w 2448"/>
                <a:gd name="T95" fmla="*/ 1044 h 2053"/>
                <a:gd name="T96" fmla="*/ 2349 w 2448"/>
                <a:gd name="T97" fmla="*/ 1150 h 2053"/>
                <a:gd name="T98" fmla="*/ 2445 w 2448"/>
                <a:gd name="T99" fmla="*/ 1185 h 2053"/>
                <a:gd name="T100" fmla="*/ 2341 w 2448"/>
                <a:gd name="T101" fmla="*/ 1257 h 2053"/>
                <a:gd name="T102" fmla="*/ 2166 w 2448"/>
                <a:gd name="T103" fmla="*/ 1291 h 2053"/>
                <a:gd name="T104" fmla="*/ 2001 w 2448"/>
                <a:gd name="T105" fmla="*/ 1380 h 2053"/>
                <a:gd name="T106" fmla="*/ 1861 w 2448"/>
                <a:gd name="T107" fmla="*/ 1446 h 2053"/>
                <a:gd name="T108" fmla="*/ 1600 w 2448"/>
                <a:gd name="T109" fmla="*/ 1597 h 2053"/>
                <a:gd name="T110" fmla="*/ 1324 w 2448"/>
                <a:gd name="T111" fmla="*/ 1680 h 2053"/>
                <a:gd name="T112" fmla="*/ 1166 w 2448"/>
                <a:gd name="T113" fmla="*/ 1896 h 2053"/>
                <a:gd name="T114" fmla="*/ 1058 w 2448"/>
                <a:gd name="T115" fmla="*/ 1918 h 2053"/>
                <a:gd name="T116" fmla="*/ 957 w 2448"/>
                <a:gd name="T117" fmla="*/ 1852 h 2053"/>
                <a:gd name="T118" fmla="*/ 813 w 2448"/>
                <a:gd name="T119" fmla="*/ 1913 h 2053"/>
                <a:gd name="T120" fmla="*/ 713 w 2448"/>
                <a:gd name="T121" fmla="*/ 2005 h 2053"/>
                <a:gd name="T122" fmla="*/ 479 w 2448"/>
                <a:gd name="T123" fmla="*/ 2047 h 2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48" h="2053">
                  <a:moveTo>
                    <a:pt x="436" y="2037"/>
                  </a:moveTo>
                  <a:lnTo>
                    <a:pt x="435" y="2033"/>
                  </a:lnTo>
                  <a:lnTo>
                    <a:pt x="433" y="2029"/>
                  </a:lnTo>
                  <a:lnTo>
                    <a:pt x="431" y="2026"/>
                  </a:lnTo>
                  <a:lnTo>
                    <a:pt x="428" y="2022"/>
                  </a:lnTo>
                  <a:lnTo>
                    <a:pt x="425" y="2012"/>
                  </a:lnTo>
                  <a:lnTo>
                    <a:pt x="420" y="2001"/>
                  </a:lnTo>
                  <a:lnTo>
                    <a:pt x="415" y="1990"/>
                  </a:lnTo>
                  <a:lnTo>
                    <a:pt x="407" y="1981"/>
                  </a:lnTo>
                  <a:lnTo>
                    <a:pt x="393" y="1961"/>
                  </a:lnTo>
                  <a:lnTo>
                    <a:pt x="376" y="1942"/>
                  </a:lnTo>
                  <a:lnTo>
                    <a:pt x="358" y="1922"/>
                  </a:lnTo>
                  <a:lnTo>
                    <a:pt x="343" y="1902"/>
                  </a:lnTo>
                  <a:lnTo>
                    <a:pt x="336" y="1892"/>
                  </a:lnTo>
                  <a:lnTo>
                    <a:pt x="329" y="1882"/>
                  </a:lnTo>
                  <a:lnTo>
                    <a:pt x="324" y="1870"/>
                  </a:lnTo>
                  <a:lnTo>
                    <a:pt x="320" y="1859"/>
                  </a:lnTo>
                  <a:lnTo>
                    <a:pt x="312" y="1832"/>
                  </a:lnTo>
                  <a:lnTo>
                    <a:pt x="307" y="1804"/>
                  </a:lnTo>
                  <a:lnTo>
                    <a:pt x="301" y="1777"/>
                  </a:lnTo>
                  <a:lnTo>
                    <a:pt x="295" y="1750"/>
                  </a:lnTo>
                  <a:lnTo>
                    <a:pt x="292" y="1731"/>
                  </a:lnTo>
                  <a:lnTo>
                    <a:pt x="286" y="1712"/>
                  </a:lnTo>
                  <a:lnTo>
                    <a:pt x="281" y="1690"/>
                  </a:lnTo>
                  <a:lnTo>
                    <a:pt x="276" y="1667"/>
                  </a:lnTo>
                  <a:lnTo>
                    <a:pt x="272" y="1645"/>
                  </a:lnTo>
                  <a:lnTo>
                    <a:pt x="269" y="1623"/>
                  </a:lnTo>
                  <a:lnTo>
                    <a:pt x="268" y="1613"/>
                  </a:lnTo>
                  <a:lnTo>
                    <a:pt x="268" y="1603"/>
                  </a:lnTo>
                  <a:lnTo>
                    <a:pt x="268" y="1595"/>
                  </a:lnTo>
                  <a:lnTo>
                    <a:pt x="270" y="1586"/>
                  </a:lnTo>
                  <a:lnTo>
                    <a:pt x="281" y="1577"/>
                  </a:lnTo>
                  <a:lnTo>
                    <a:pt x="293" y="1565"/>
                  </a:lnTo>
                  <a:lnTo>
                    <a:pt x="305" y="1553"/>
                  </a:lnTo>
                  <a:lnTo>
                    <a:pt x="318" y="1543"/>
                  </a:lnTo>
                  <a:lnTo>
                    <a:pt x="318" y="1535"/>
                  </a:lnTo>
                  <a:lnTo>
                    <a:pt x="317" y="1527"/>
                  </a:lnTo>
                  <a:lnTo>
                    <a:pt x="316" y="1519"/>
                  </a:lnTo>
                  <a:lnTo>
                    <a:pt x="313" y="1510"/>
                  </a:lnTo>
                  <a:lnTo>
                    <a:pt x="309" y="1501"/>
                  </a:lnTo>
                  <a:lnTo>
                    <a:pt x="305" y="1492"/>
                  </a:lnTo>
                  <a:lnTo>
                    <a:pt x="301" y="1483"/>
                  </a:lnTo>
                  <a:lnTo>
                    <a:pt x="296" y="1474"/>
                  </a:lnTo>
                  <a:lnTo>
                    <a:pt x="284" y="1457"/>
                  </a:lnTo>
                  <a:lnTo>
                    <a:pt x="272" y="1441"/>
                  </a:lnTo>
                  <a:lnTo>
                    <a:pt x="259" y="1428"/>
                  </a:lnTo>
                  <a:lnTo>
                    <a:pt x="247" y="1416"/>
                  </a:lnTo>
                  <a:lnTo>
                    <a:pt x="243" y="1412"/>
                  </a:lnTo>
                  <a:lnTo>
                    <a:pt x="238" y="1408"/>
                  </a:lnTo>
                  <a:lnTo>
                    <a:pt x="234" y="1403"/>
                  </a:lnTo>
                  <a:lnTo>
                    <a:pt x="231" y="1398"/>
                  </a:lnTo>
                  <a:lnTo>
                    <a:pt x="226" y="1386"/>
                  </a:lnTo>
                  <a:lnTo>
                    <a:pt x="221" y="1374"/>
                  </a:lnTo>
                  <a:lnTo>
                    <a:pt x="216" y="1362"/>
                  </a:lnTo>
                  <a:lnTo>
                    <a:pt x="210" y="1352"/>
                  </a:lnTo>
                  <a:lnTo>
                    <a:pt x="207" y="1346"/>
                  </a:lnTo>
                  <a:lnTo>
                    <a:pt x="204" y="1342"/>
                  </a:lnTo>
                  <a:lnTo>
                    <a:pt x="200" y="1339"/>
                  </a:lnTo>
                  <a:lnTo>
                    <a:pt x="196" y="1335"/>
                  </a:lnTo>
                  <a:lnTo>
                    <a:pt x="186" y="1331"/>
                  </a:lnTo>
                  <a:lnTo>
                    <a:pt x="177" y="1327"/>
                  </a:lnTo>
                  <a:lnTo>
                    <a:pt x="167" y="1323"/>
                  </a:lnTo>
                  <a:lnTo>
                    <a:pt x="159" y="1320"/>
                  </a:lnTo>
                  <a:lnTo>
                    <a:pt x="142" y="1316"/>
                  </a:lnTo>
                  <a:lnTo>
                    <a:pt x="128" y="1311"/>
                  </a:lnTo>
                  <a:lnTo>
                    <a:pt x="122" y="1307"/>
                  </a:lnTo>
                  <a:lnTo>
                    <a:pt x="115" y="1303"/>
                  </a:lnTo>
                  <a:lnTo>
                    <a:pt x="110" y="1298"/>
                  </a:lnTo>
                  <a:lnTo>
                    <a:pt x="106" y="1291"/>
                  </a:lnTo>
                  <a:lnTo>
                    <a:pt x="102" y="1284"/>
                  </a:lnTo>
                  <a:lnTo>
                    <a:pt x="100" y="1274"/>
                  </a:lnTo>
                  <a:lnTo>
                    <a:pt x="98" y="1263"/>
                  </a:lnTo>
                  <a:lnTo>
                    <a:pt x="98" y="1250"/>
                  </a:lnTo>
                  <a:lnTo>
                    <a:pt x="98" y="1239"/>
                  </a:lnTo>
                  <a:lnTo>
                    <a:pt x="99" y="1230"/>
                  </a:lnTo>
                  <a:lnTo>
                    <a:pt x="102" y="1222"/>
                  </a:lnTo>
                  <a:lnTo>
                    <a:pt x="106" y="1216"/>
                  </a:lnTo>
                  <a:lnTo>
                    <a:pt x="111" y="1211"/>
                  </a:lnTo>
                  <a:lnTo>
                    <a:pt x="117" y="1207"/>
                  </a:lnTo>
                  <a:lnTo>
                    <a:pt x="126" y="1202"/>
                  </a:lnTo>
                  <a:lnTo>
                    <a:pt x="136" y="1199"/>
                  </a:lnTo>
                  <a:lnTo>
                    <a:pt x="149" y="1196"/>
                  </a:lnTo>
                  <a:lnTo>
                    <a:pt x="159" y="1193"/>
                  </a:lnTo>
                  <a:lnTo>
                    <a:pt x="167" y="1190"/>
                  </a:lnTo>
                  <a:lnTo>
                    <a:pt x="176" y="1186"/>
                  </a:lnTo>
                  <a:lnTo>
                    <a:pt x="191" y="1175"/>
                  </a:lnTo>
                  <a:lnTo>
                    <a:pt x="210" y="1161"/>
                  </a:lnTo>
                  <a:lnTo>
                    <a:pt x="216" y="1153"/>
                  </a:lnTo>
                  <a:lnTo>
                    <a:pt x="222" y="1146"/>
                  </a:lnTo>
                  <a:lnTo>
                    <a:pt x="226" y="1138"/>
                  </a:lnTo>
                  <a:lnTo>
                    <a:pt x="229" y="1128"/>
                  </a:lnTo>
                  <a:lnTo>
                    <a:pt x="234" y="1108"/>
                  </a:lnTo>
                  <a:lnTo>
                    <a:pt x="237" y="1086"/>
                  </a:lnTo>
                  <a:lnTo>
                    <a:pt x="240" y="1064"/>
                  </a:lnTo>
                  <a:lnTo>
                    <a:pt x="243" y="1042"/>
                  </a:lnTo>
                  <a:lnTo>
                    <a:pt x="245" y="1030"/>
                  </a:lnTo>
                  <a:lnTo>
                    <a:pt x="246" y="1021"/>
                  </a:lnTo>
                  <a:lnTo>
                    <a:pt x="249" y="1010"/>
                  </a:lnTo>
                  <a:lnTo>
                    <a:pt x="251" y="1001"/>
                  </a:lnTo>
                  <a:lnTo>
                    <a:pt x="261" y="995"/>
                  </a:lnTo>
                  <a:lnTo>
                    <a:pt x="274" y="985"/>
                  </a:lnTo>
                  <a:lnTo>
                    <a:pt x="288" y="972"/>
                  </a:lnTo>
                  <a:lnTo>
                    <a:pt x="302" y="957"/>
                  </a:lnTo>
                  <a:lnTo>
                    <a:pt x="308" y="949"/>
                  </a:lnTo>
                  <a:lnTo>
                    <a:pt x="313" y="942"/>
                  </a:lnTo>
                  <a:lnTo>
                    <a:pt x="319" y="934"/>
                  </a:lnTo>
                  <a:lnTo>
                    <a:pt x="322" y="926"/>
                  </a:lnTo>
                  <a:lnTo>
                    <a:pt x="324" y="919"/>
                  </a:lnTo>
                  <a:lnTo>
                    <a:pt x="324" y="912"/>
                  </a:lnTo>
                  <a:lnTo>
                    <a:pt x="323" y="909"/>
                  </a:lnTo>
                  <a:lnTo>
                    <a:pt x="322" y="906"/>
                  </a:lnTo>
                  <a:lnTo>
                    <a:pt x="320" y="903"/>
                  </a:lnTo>
                  <a:lnTo>
                    <a:pt x="318" y="901"/>
                  </a:lnTo>
                  <a:lnTo>
                    <a:pt x="306" y="892"/>
                  </a:lnTo>
                  <a:lnTo>
                    <a:pt x="295" y="882"/>
                  </a:lnTo>
                  <a:lnTo>
                    <a:pt x="289" y="878"/>
                  </a:lnTo>
                  <a:lnTo>
                    <a:pt x="285" y="873"/>
                  </a:lnTo>
                  <a:lnTo>
                    <a:pt x="282" y="867"/>
                  </a:lnTo>
                  <a:lnTo>
                    <a:pt x="279" y="858"/>
                  </a:lnTo>
                  <a:lnTo>
                    <a:pt x="278" y="845"/>
                  </a:lnTo>
                  <a:lnTo>
                    <a:pt x="278" y="827"/>
                  </a:lnTo>
                  <a:lnTo>
                    <a:pt x="278" y="819"/>
                  </a:lnTo>
                  <a:lnTo>
                    <a:pt x="278" y="810"/>
                  </a:lnTo>
                  <a:lnTo>
                    <a:pt x="276" y="804"/>
                  </a:lnTo>
                  <a:lnTo>
                    <a:pt x="274" y="799"/>
                  </a:lnTo>
                  <a:lnTo>
                    <a:pt x="274" y="793"/>
                  </a:lnTo>
                  <a:lnTo>
                    <a:pt x="273" y="788"/>
                  </a:lnTo>
                  <a:lnTo>
                    <a:pt x="272" y="783"/>
                  </a:lnTo>
                  <a:lnTo>
                    <a:pt x="270" y="778"/>
                  </a:lnTo>
                  <a:lnTo>
                    <a:pt x="264" y="768"/>
                  </a:lnTo>
                  <a:lnTo>
                    <a:pt x="259" y="759"/>
                  </a:lnTo>
                  <a:lnTo>
                    <a:pt x="255" y="749"/>
                  </a:lnTo>
                  <a:lnTo>
                    <a:pt x="252" y="737"/>
                  </a:lnTo>
                  <a:lnTo>
                    <a:pt x="251" y="731"/>
                  </a:lnTo>
                  <a:lnTo>
                    <a:pt x="251" y="725"/>
                  </a:lnTo>
                  <a:lnTo>
                    <a:pt x="251" y="717"/>
                  </a:lnTo>
                  <a:lnTo>
                    <a:pt x="253" y="710"/>
                  </a:lnTo>
                  <a:lnTo>
                    <a:pt x="264" y="701"/>
                  </a:lnTo>
                  <a:lnTo>
                    <a:pt x="276" y="689"/>
                  </a:lnTo>
                  <a:lnTo>
                    <a:pt x="287" y="677"/>
                  </a:lnTo>
                  <a:lnTo>
                    <a:pt x="299" y="664"/>
                  </a:lnTo>
                  <a:lnTo>
                    <a:pt x="311" y="652"/>
                  </a:lnTo>
                  <a:lnTo>
                    <a:pt x="323" y="640"/>
                  </a:lnTo>
                  <a:lnTo>
                    <a:pt x="330" y="636"/>
                  </a:lnTo>
                  <a:lnTo>
                    <a:pt x="336" y="632"/>
                  </a:lnTo>
                  <a:lnTo>
                    <a:pt x="343" y="628"/>
                  </a:lnTo>
                  <a:lnTo>
                    <a:pt x="350" y="626"/>
                  </a:lnTo>
                  <a:lnTo>
                    <a:pt x="356" y="623"/>
                  </a:lnTo>
                  <a:lnTo>
                    <a:pt x="361" y="624"/>
                  </a:lnTo>
                  <a:lnTo>
                    <a:pt x="366" y="627"/>
                  </a:lnTo>
                  <a:lnTo>
                    <a:pt x="370" y="630"/>
                  </a:lnTo>
                  <a:lnTo>
                    <a:pt x="372" y="635"/>
                  </a:lnTo>
                  <a:lnTo>
                    <a:pt x="375" y="640"/>
                  </a:lnTo>
                  <a:lnTo>
                    <a:pt x="376" y="646"/>
                  </a:lnTo>
                  <a:lnTo>
                    <a:pt x="378" y="654"/>
                  </a:lnTo>
                  <a:lnTo>
                    <a:pt x="380" y="683"/>
                  </a:lnTo>
                  <a:lnTo>
                    <a:pt x="381" y="704"/>
                  </a:lnTo>
                  <a:lnTo>
                    <a:pt x="383" y="713"/>
                  </a:lnTo>
                  <a:lnTo>
                    <a:pt x="388" y="723"/>
                  </a:lnTo>
                  <a:lnTo>
                    <a:pt x="395" y="732"/>
                  </a:lnTo>
                  <a:lnTo>
                    <a:pt x="402" y="742"/>
                  </a:lnTo>
                  <a:lnTo>
                    <a:pt x="411" y="753"/>
                  </a:lnTo>
                  <a:lnTo>
                    <a:pt x="421" y="764"/>
                  </a:lnTo>
                  <a:lnTo>
                    <a:pt x="432" y="775"/>
                  </a:lnTo>
                  <a:lnTo>
                    <a:pt x="444" y="785"/>
                  </a:lnTo>
                  <a:lnTo>
                    <a:pt x="455" y="795"/>
                  </a:lnTo>
                  <a:lnTo>
                    <a:pt x="468" y="804"/>
                  </a:lnTo>
                  <a:lnTo>
                    <a:pt x="480" y="813"/>
                  </a:lnTo>
                  <a:lnTo>
                    <a:pt x="492" y="821"/>
                  </a:lnTo>
                  <a:lnTo>
                    <a:pt x="503" y="828"/>
                  </a:lnTo>
                  <a:lnTo>
                    <a:pt x="515" y="833"/>
                  </a:lnTo>
                  <a:lnTo>
                    <a:pt x="524" y="837"/>
                  </a:lnTo>
                  <a:lnTo>
                    <a:pt x="533" y="840"/>
                  </a:lnTo>
                  <a:lnTo>
                    <a:pt x="542" y="843"/>
                  </a:lnTo>
                  <a:lnTo>
                    <a:pt x="552" y="844"/>
                  </a:lnTo>
                  <a:lnTo>
                    <a:pt x="564" y="843"/>
                  </a:lnTo>
                  <a:lnTo>
                    <a:pt x="576" y="841"/>
                  </a:lnTo>
                  <a:lnTo>
                    <a:pt x="581" y="840"/>
                  </a:lnTo>
                  <a:lnTo>
                    <a:pt x="587" y="838"/>
                  </a:lnTo>
                  <a:lnTo>
                    <a:pt x="592" y="836"/>
                  </a:lnTo>
                  <a:lnTo>
                    <a:pt x="596" y="833"/>
                  </a:lnTo>
                  <a:lnTo>
                    <a:pt x="599" y="830"/>
                  </a:lnTo>
                  <a:lnTo>
                    <a:pt x="602" y="826"/>
                  </a:lnTo>
                  <a:lnTo>
                    <a:pt x="604" y="821"/>
                  </a:lnTo>
                  <a:lnTo>
                    <a:pt x="605" y="815"/>
                  </a:lnTo>
                  <a:lnTo>
                    <a:pt x="605" y="811"/>
                  </a:lnTo>
                  <a:lnTo>
                    <a:pt x="604" y="808"/>
                  </a:lnTo>
                  <a:lnTo>
                    <a:pt x="603" y="805"/>
                  </a:lnTo>
                  <a:lnTo>
                    <a:pt x="601" y="803"/>
                  </a:lnTo>
                  <a:lnTo>
                    <a:pt x="596" y="800"/>
                  </a:lnTo>
                  <a:lnTo>
                    <a:pt x="590" y="798"/>
                  </a:lnTo>
                  <a:lnTo>
                    <a:pt x="574" y="798"/>
                  </a:lnTo>
                  <a:lnTo>
                    <a:pt x="561" y="798"/>
                  </a:lnTo>
                  <a:lnTo>
                    <a:pt x="555" y="797"/>
                  </a:lnTo>
                  <a:lnTo>
                    <a:pt x="550" y="795"/>
                  </a:lnTo>
                  <a:lnTo>
                    <a:pt x="545" y="791"/>
                  </a:lnTo>
                  <a:lnTo>
                    <a:pt x="540" y="787"/>
                  </a:lnTo>
                  <a:lnTo>
                    <a:pt x="536" y="783"/>
                  </a:lnTo>
                  <a:lnTo>
                    <a:pt x="530" y="778"/>
                  </a:lnTo>
                  <a:lnTo>
                    <a:pt x="526" y="773"/>
                  </a:lnTo>
                  <a:lnTo>
                    <a:pt x="523" y="767"/>
                  </a:lnTo>
                  <a:lnTo>
                    <a:pt x="520" y="761"/>
                  </a:lnTo>
                  <a:lnTo>
                    <a:pt x="517" y="755"/>
                  </a:lnTo>
                  <a:lnTo>
                    <a:pt x="515" y="749"/>
                  </a:lnTo>
                  <a:lnTo>
                    <a:pt x="514" y="742"/>
                  </a:lnTo>
                  <a:lnTo>
                    <a:pt x="514" y="737"/>
                  </a:lnTo>
                  <a:lnTo>
                    <a:pt x="515" y="731"/>
                  </a:lnTo>
                  <a:lnTo>
                    <a:pt x="516" y="726"/>
                  </a:lnTo>
                  <a:lnTo>
                    <a:pt x="519" y="722"/>
                  </a:lnTo>
                  <a:lnTo>
                    <a:pt x="526" y="712"/>
                  </a:lnTo>
                  <a:lnTo>
                    <a:pt x="536" y="705"/>
                  </a:lnTo>
                  <a:lnTo>
                    <a:pt x="545" y="700"/>
                  </a:lnTo>
                  <a:lnTo>
                    <a:pt x="554" y="696"/>
                  </a:lnTo>
                  <a:lnTo>
                    <a:pt x="575" y="691"/>
                  </a:lnTo>
                  <a:lnTo>
                    <a:pt x="596" y="688"/>
                  </a:lnTo>
                  <a:lnTo>
                    <a:pt x="606" y="686"/>
                  </a:lnTo>
                  <a:lnTo>
                    <a:pt x="617" y="684"/>
                  </a:lnTo>
                  <a:lnTo>
                    <a:pt x="626" y="681"/>
                  </a:lnTo>
                  <a:lnTo>
                    <a:pt x="636" y="677"/>
                  </a:lnTo>
                  <a:lnTo>
                    <a:pt x="645" y="671"/>
                  </a:lnTo>
                  <a:lnTo>
                    <a:pt x="653" y="664"/>
                  </a:lnTo>
                  <a:lnTo>
                    <a:pt x="656" y="659"/>
                  </a:lnTo>
                  <a:lnTo>
                    <a:pt x="661" y="655"/>
                  </a:lnTo>
                  <a:lnTo>
                    <a:pt x="664" y="648"/>
                  </a:lnTo>
                  <a:lnTo>
                    <a:pt x="667" y="642"/>
                  </a:lnTo>
                  <a:lnTo>
                    <a:pt x="671" y="631"/>
                  </a:lnTo>
                  <a:lnTo>
                    <a:pt x="673" y="619"/>
                  </a:lnTo>
                  <a:lnTo>
                    <a:pt x="673" y="610"/>
                  </a:lnTo>
                  <a:lnTo>
                    <a:pt x="671" y="600"/>
                  </a:lnTo>
                  <a:lnTo>
                    <a:pt x="667" y="593"/>
                  </a:lnTo>
                  <a:lnTo>
                    <a:pt x="662" y="586"/>
                  </a:lnTo>
                  <a:lnTo>
                    <a:pt x="655" y="581"/>
                  </a:lnTo>
                  <a:lnTo>
                    <a:pt x="648" y="574"/>
                  </a:lnTo>
                  <a:lnTo>
                    <a:pt x="639" y="570"/>
                  </a:lnTo>
                  <a:lnTo>
                    <a:pt x="630" y="566"/>
                  </a:lnTo>
                  <a:lnTo>
                    <a:pt x="621" y="563"/>
                  </a:lnTo>
                  <a:lnTo>
                    <a:pt x="611" y="560"/>
                  </a:lnTo>
                  <a:lnTo>
                    <a:pt x="592" y="555"/>
                  </a:lnTo>
                  <a:lnTo>
                    <a:pt x="574" y="549"/>
                  </a:lnTo>
                  <a:lnTo>
                    <a:pt x="568" y="547"/>
                  </a:lnTo>
                  <a:lnTo>
                    <a:pt x="562" y="544"/>
                  </a:lnTo>
                  <a:lnTo>
                    <a:pt x="555" y="541"/>
                  </a:lnTo>
                  <a:lnTo>
                    <a:pt x="548" y="537"/>
                  </a:lnTo>
                  <a:lnTo>
                    <a:pt x="536" y="527"/>
                  </a:lnTo>
                  <a:lnTo>
                    <a:pt x="522" y="521"/>
                  </a:lnTo>
                  <a:lnTo>
                    <a:pt x="513" y="518"/>
                  </a:lnTo>
                  <a:lnTo>
                    <a:pt x="502" y="516"/>
                  </a:lnTo>
                  <a:lnTo>
                    <a:pt x="492" y="516"/>
                  </a:lnTo>
                  <a:lnTo>
                    <a:pt x="482" y="516"/>
                  </a:lnTo>
                  <a:lnTo>
                    <a:pt x="461" y="518"/>
                  </a:lnTo>
                  <a:lnTo>
                    <a:pt x="441" y="519"/>
                  </a:lnTo>
                  <a:lnTo>
                    <a:pt x="431" y="519"/>
                  </a:lnTo>
                  <a:lnTo>
                    <a:pt x="422" y="518"/>
                  </a:lnTo>
                  <a:lnTo>
                    <a:pt x="412" y="517"/>
                  </a:lnTo>
                  <a:lnTo>
                    <a:pt x="403" y="514"/>
                  </a:lnTo>
                  <a:lnTo>
                    <a:pt x="384" y="509"/>
                  </a:lnTo>
                  <a:lnTo>
                    <a:pt x="366" y="500"/>
                  </a:lnTo>
                  <a:lnTo>
                    <a:pt x="347" y="491"/>
                  </a:lnTo>
                  <a:lnTo>
                    <a:pt x="329" y="479"/>
                  </a:lnTo>
                  <a:lnTo>
                    <a:pt x="310" y="467"/>
                  </a:lnTo>
                  <a:lnTo>
                    <a:pt x="293" y="453"/>
                  </a:lnTo>
                  <a:lnTo>
                    <a:pt x="275" y="439"/>
                  </a:lnTo>
                  <a:lnTo>
                    <a:pt x="258" y="424"/>
                  </a:lnTo>
                  <a:lnTo>
                    <a:pt x="241" y="410"/>
                  </a:lnTo>
                  <a:lnTo>
                    <a:pt x="226" y="395"/>
                  </a:lnTo>
                  <a:lnTo>
                    <a:pt x="197" y="366"/>
                  </a:lnTo>
                  <a:lnTo>
                    <a:pt x="170" y="340"/>
                  </a:lnTo>
                  <a:lnTo>
                    <a:pt x="170" y="340"/>
                  </a:lnTo>
                  <a:lnTo>
                    <a:pt x="171" y="331"/>
                  </a:lnTo>
                  <a:lnTo>
                    <a:pt x="172" y="323"/>
                  </a:lnTo>
                  <a:lnTo>
                    <a:pt x="173" y="315"/>
                  </a:lnTo>
                  <a:lnTo>
                    <a:pt x="172" y="307"/>
                  </a:lnTo>
                  <a:lnTo>
                    <a:pt x="171" y="300"/>
                  </a:lnTo>
                  <a:lnTo>
                    <a:pt x="167" y="294"/>
                  </a:lnTo>
                  <a:lnTo>
                    <a:pt x="163" y="286"/>
                  </a:lnTo>
                  <a:lnTo>
                    <a:pt x="157" y="281"/>
                  </a:lnTo>
                  <a:lnTo>
                    <a:pt x="152" y="278"/>
                  </a:lnTo>
                  <a:lnTo>
                    <a:pt x="148" y="277"/>
                  </a:lnTo>
                  <a:lnTo>
                    <a:pt x="143" y="277"/>
                  </a:lnTo>
                  <a:lnTo>
                    <a:pt x="139" y="278"/>
                  </a:lnTo>
                  <a:lnTo>
                    <a:pt x="135" y="277"/>
                  </a:lnTo>
                  <a:lnTo>
                    <a:pt x="131" y="276"/>
                  </a:lnTo>
                  <a:lnTo>
                    <a:pt x="127" y="272"/>
                  </a:lnTo>
                  <a:lnTo>
                    <a:pt x="123" y="264"/>
                  </a:lnTo>
                  <a:lnTo>
                    <a:pt x="121" y="260"/>
                  </a:lnTo>
                  <a:lnTo>
                    <a:pt x="118" y="258"/>
                  </a:lnTo>
                  <a:lnTo>
                    <a:pt x="116" y="256"/>
                  </a:lnTo>
                  <a:lnTo>
                    <a:pt x="113" y="256"/>
                  </a:lnTo>
                  <a:lnTo>
                    <a:pt x="106" y="257"/>
                  </a:lnTo>
                  <a:lnTo>
                    <a:pt x="99" y="260"/>
                  </a:lnTo>
                  <a:lnTo>
                    <a:pt x="90" y="265"/>
                  </a:lnTo>
                  <a:lnTo>
                    <a:pt x="82" y="268"/>
                  </a:lnTo>
                  <a:lnTo>
                    <a:pt x="75" y="272"/>
                  </a:lnTo>
                  <a:lnTo>
                    <a:pt x="67" y="273"/>
                  </a:lnTo>
                  <a:lnTo>
                    <a:pt x="52" y="273"/>
                  </a:lnTo>
                  <a:lnTo>
                    <a:pt x="32" y="270"/>
                  </a:lnTo>
                  <a:lnTo>
                    <a:pt x="23" y="268"/>
                  </a:lnTo>
                  <a:lnTo>
                    <a:pt x="13" y="266"/>
                  </a:lnTo>
                  <a:lnTo>
                    <a:pt x="6" y="262"/>
                  </a:lnTo>
                  <a:lnTo>
                    <a:pt x="0" y="259"/>
                  </a:lnTo>
                  <a:lnTo>
                    <a:pt x="3" y="255"/>
                  </a:lnTo>
                  <a:lnTo>
                    <a:pt x="9" y="248"/>
                  </a:lnTo>
                  <a:lnTo>
                    <a:pt x="19" y="240"/>
                  </a:lnTo>
                  <a:lnTo>
                    <a:pt x="32" y="230"/>
                  </a:lnTo>
                  <a:lnTo>
                    <a:pt x="43" y="222"/>
                  </a:lnTo>
                  <a:lnTo>
                    <a:pt x="56" y="213"/>
                  </a:lnTo>
                  <a:lnTo>
                    <a:pt x="65" y="208"/>
                  </a:lnTo>
                  <a:lnTo>
                    <a:pt x="72" y="205"/>
                  </a:lnTo>
                  <a:lnTo>
                    <a:pt x="82" y="202"/>
                  </a:lnTo>
                  <a:lnTo>
                    <a:pt x="92" y="201"/>
                  </a:lnTo>
                  <a:lnTo>
                    <a:pt x="103" y="201"/>
                  </a:lnTo>
                  <a:lnTo>
                    <a:pt x="112" y="202"/>
                  </a:lnTo>
                  <a:lnTo>
                    <a:pt x="123" y="203"/>
                  </a:lnTo>
                  <a:lnTo>
                    <a:pt x="133" y="203"/>
                  </a:lnTo>
                  <a:lnTo>
                    <a:pt x="143" y="202"/>
                  </a:lnTo>
                  <a:lnTo>
                    <a:pt x="155" y="201"/>
                  </a:lnTo>
                  <a:lnTo>
                    <a:pt x="180" y="195"/>
                  </a:lnTo>
                  <a:lnTo>
                    <a:pt x="203" y="190"/>
                  </a:lnTo>
                  <a:lnTo>
                    <a:pt x="226" y="187"/>
                  </a:lnTo>
                  <a:lnTo>
                    <a:pt x="249" y="185"/>
                  </a:lnTo>
                  <a:lnTo>
                    <a:pt x="271" y="184"/>
                  </a:lnTo>
                  <a:lnTo>
                    <a:pt x="294" y="185"/>
                  </a:lnTo>
                  <a:lnTo>
                    <a:pt x="317" y="189"/>
                  </a:lnTo>
                  <a:lnTo>
                    <a:pt x="342" y="195"/>
                  </a:lnTo>
                  <a:lnTo>
                    <a:pt x="349" y="197"/>
                  </a:lnTo>
                  <a:lnTo>
                    <a:pt x="354" y="199"/>
                  </a:lnTo>
                  <a:lnTo>
                    <a:pt x="359" y="202"/>
                  </a:lnTo>
                  <a:lnTo>
                    <a:pt x="363" y="204"/>
                  </a:lnTo>
                  <a:lnTo>
                    <a:pt x="367" y="207"/>
                  </a:lnTo>
                  <a:lnTo>
                    <a:pt x="369" y="210"/>
                  </a:lnTo>
                  <a:lnTo>
                    <a:pt x="371" y="213"/>
                  </a:lnTo>
                  <a:lnTo>
                    <a:pt x="372" y="218"/>
                  </a:lnTo>
                  <a:lnTo>
                    <a:pt x="375" y="235"/>
                  </a:lnTo>
                  <a:lnTo>
                    <a:pt x="378" y="259"/>
                  </a:lnTo>
                  <a:lnTo>
                    <a:pt x="380" y="269"/>
                  </a:lnTo>
                  <a:lnTo>
                    <a:pt x="384" y="278"/>
                  </a:lnTo>
                  <a:lnTo>
                    <a:pt x="388" y="288"/>
                  </a:lnTo>
                  <a:lnTo>
                    <a:pt x="394" y="297"/>
                  </a:lnTo>
                  <a:lnTo>
                    <a:pt x="400" y="306"/>
                  </a:lnTo>
                  <a:lnTo>
                    <a:pt x="407" y="315"/>
                  </a:lnTo>
                  <a:lnTo>
                    <a:pt x="415" y="323"/>
                  </a:lnTo>
                  <a:lnTo>
                    <a:pt x="423" y="329"/>
                  </a:lnTo>
                  <a:lnTo>
                    <a:pt x="431" y="336"/>
                  </a:lnTo>
                  <a:lnTo>
                    <a:pt x="440" y="341"/>
                  </a:lnTo>
                  <a:lnTo>
                    <a:pt x="449" y="344"/>
                  </a:lnTo>
                  <a:lnTo>
                    <a:pt x="459" y="345"/>
                  </a:lnTo>
                  <a:lnTo>
                    <a:pt x="469" y="345"/>
                  </a:lnTo>
                  <a:lnTo>
                    <a:pt x="479" y="343"/>
                  </a:lnTo>
                  <a:lnTo>
                    <a:pt x="483" y="341"/>
                  </a:lnTo>
                  <a:lnTo>
                    <a:pt x="489" y="339"/>
                  </a:lnTo>
                  <a:lnTo>
                    <a:pt x="494" y="336"/>
                  </a:lnTo>
                  <a:lnTo>
                    <a:pt x="499" y="332"/>
                  </a:lnTo>
                  <a:lnTo>
                    <a:pt x="505" y="325"/>
                  </a:lnTo>
                  <a:lnTo>
                    <a:pt x="510" y="317"/>
                  </a:lnTo>
                  <a:lnTo>
                    <a:pt x="516" y="306"/>
                  </a:lnTo>
                  <a:lnTo>
                    <a:pt x="519" y="296"/>
                  </a:lnTo>
                  <a:lnTo>
                    <a:pt x="521" y="283"/>
                  </a:lnTo>
                  <a:lnTo>
                    <a:pt x="523" y="271"/>
                  </a:lnTo>
                  <a:lnTo>
                    <a:pt x="524" y="257"/>
                  </a:lnTo>
                  <a:lnTo>
                    <a:pt x="525" y="244"/>
                  </a:lnTo>
                  <a:lnTo>
                    <a:pt x="524" y="216"/>
                  </a:lnTo>
                  <a:lnTo>
                    <a:pt x="523" y="188"/>
                  </a:lnTo>
                  <a:lnTo>
                    <a:pt x="521" y="163"/>
                  </a:lnTo>
                  <a:lnTo>
                    <a:pt x="521" y="142"/>
                  </a:lnTo>
                  <a:lnTo>
                    <a:pt x="521" y="110"/>
                  </a:lnTo>
                  <a:lnTo>
                    <a:pt x="521" y="77"/>
                  </a:lnTo>
                  <a:lnTo>
                    <a:pt x="521" y="61"/>
                  </a:lnTo>
                  <a:lnTo>
                    <a:pt x="522" y="44"/>
                  </a:lnTo>
                  <a:lnTo>
                    <a:pt x="524" y="29"/>
                  </a:lnTo>
                  <a:lnTo>
                    <a:pt x="526" y="13"/>
                  </a:lnTo>
                  <a:lnTo>
                    <a:pt x="541" y="11"/>
                  </a:lnTo>
                  <a:lnTo>
                    <a:pt x="566" y="8"/>
                  </a:lnTo>
                  <a:lnTo>
                    <a:pt x="598" y="5"/>
                  </a:lnTo>
                  <a:lnTo>
                    <a:pt x="635" y="2"/>
                  </a:lnTo>
                  <a:lnTo>
                    <a:pt x="669" y="0"/>
                  </a:lnTo>
                  <a:lnTo>
                    <a:pt x="700" y="0"/>
                  </a:lnTo>
                  <a:lnTo>
                    <a:pt x="712" y="1"/>
                  </a:lnTo>
                  <a:lnTo>
                    <a:pt x="721" y="3"/>
                  </a:lnTo>
                  <a:lnTo>
                    <a:pt x="725" y="4"/>
                  </a:lnTo>
                  <a:lnTo>
                    <a:pt x="728" y="5"/>
                  </a:lnTo>
                  <a:lnTo>
                    <a:pt x="729" y="6"/>
                  </a:lnTo>
                  <a:lnTo>
                    <a:pt x="730" y="7"/>
                  </a:lnTo>
                  <a:lnTo>
                    <a:pt x="735" y="10"/>
                  </a:lnTo>
                  <a:lnTo>
                    <a:pt x="738" y="13"/>
                  </a:lnTo>
                  <a:lnTo>
                    <a:pt x="741" y="16"/>
                  </a:lnTo>
                  <a:lnTo>
                    <a:pt x="743" y="19"/>
                  </a:lnTo>
                  <a:lnTo>
                    <a:pt x="746" y="28"/>
                  </a:lnTo>
                  <a:lnTo>
                    <a:pt x="747" y="36"/>
                  </a:lnTo>
                  <a:lnTo>
                    <a:pt x="747" y="44"/>
                  </a:lnTo>
                  <a:lnTo>
                    <a:pt x="746" y="55"/>
                  </a:lnTo>
                  <a:lnTo>
                    <a:pt x="744" y="64"/>
                  </a:lnTo>
                  <a:lnTo>
                    <a:pt x="741" y="75"/>
                  </a:lnTo>
                  <a:lnTo>
                    <a:pt x="725" y="114"/>
                  </a:lnTo>
                  <a:lnTo>
                    <a:pt x="713" y="145"/>
                  </a:lnTo>
                  <a:lnTo>
                    <a:pt x="709" y="163"/>
                  </a:lnTo>
                  <a:lnTo>
                    <a:pt x="708" y="180"/>
                  </a:lnTo>
                  <a:lnTo>
                    <a:pt x="708" y="188"/>
                  </a:lnTo>
                  <a:lnTo>
                    <a:pt x="709" y="197"/>
                  </a:lnTo>
                  <a:lnTo>
                    <a:pt x="710" y="204"/>
                  </a:lnTo>
                  <a:lnTo>
                    <a:pt x="712" y="211"/>
                  </a:lnTo>
                  <a:lnTo>
                    <a:pt x="715" y="218"/>
                  </a:lnTo>
                  <a:lnTo>
                    <a:pt x="719" y="224"/>
                  </a:lnTo>
                  <a:lnTo>
                    <a:pt x="723" y="230"/>
                  </a:lnTo>
                  <a:lnTo>
                    <a:pt x="729" y="236"/>
                  </a:lnTo>
                  <a:lnTo>
                    <a:pt x="736" y="242"/>
                  </a:lnTo>
                  <a:lnTo>
                    <a:pt x="743" y="246"/>
                  </a:lnTo>
                  <a:lnTo>
                    <a:pt x="751" y="250"/>
                  </a:lnTo>
                  <a:lnTo>
                    <a:pt x="760" y="254"/>
                  </a:lnTo>
                  <a:lnTo>
                    <a:pt x="790" y="266"/>
                  </a:lnTo>
                  <a:lnTo>
                    <a:pt x="818" y="275"/>
                  </a:lnTo>
                  <a:lnTo>
                    <a:pt x="831" y="278"/>
                  </a:lnTo>
                  <a:lnTo>
                    <a:pt x="843" y="280"/>
                  </a:lnTo>
                  <a:lnTo>
                    <a:pt x="855" y="281"/>
                  </a:lnTo>
                  <a:lnTo>
                    <a:pt x="866" y="281"/>
                  </a:lnTo>
                  <a:lnTo>
                    <a:pt x="877" y="280"/>
                  </a:lnTo>
                  <a:lnTo>
                    <a:pt x="888" y="277"/>
                  </a:lnTo>
                  <a:lnTo>
                    <a:pt x="898" y="272"/>
                  </a:lnTo>
                  <a:lnTo>
                    <a:pt x="909" y="266"/>
                  </a:lnTo>
                  <a:lnTo>
                    <a:pt x="918" y="257"/>
                  </a:lnTo>
                  <a:lnTo>
                    <a:pt x="929" y="247"/>
                  </a:lnTo>
                  <a:lnTo>
                    <a:pt x="938" y="233"/>
                  </a:lnTo>
                  <a:lnTo>
                    <a:pt x="948" y="219"/>
                  </a:lnTo>
                  <a:lnTo>
                    <a:pt x="953" y="211"/>
                  </a:lnTo>
                  <a:lnTo>
                    <a:pt x="960" y="204"/>
                  </a:lnTo>
                  <a:lnTo>
                    <a:pt x="969" y="196"/>
                  </a:lnTo>
                  <a:lnTo>
                    <a:pt x="981" y="187"/>
                  </a:lnTo>
                  <a:lnTo>
                    <a:pt x="992" y="179"/>
                  </a:lnTo>
                  <a:lnTo>
                    <a:pt x="1006" y="172"/>
                  </a:lnTo>
                  <a:lnTo>
                    <a:pt x="1019" y="163"/>
                  </a:lnTo>
                  <a:lnTo>
                    <a:pt x="1034" y="157"/>
                  </a:lnTo>
                  <a:lnTo>
                    <a:pt x="1047" y="152"/>
                  </a:lnTo>
                  <a:lnTo>
                    <a:pt x="1061" y="149"/>
                  </a:lnTo>
                  <a:lnTo>
                    <a:pt x="1067" y="148"/>
                  </a:lnTo>
                  <a:lnTo>
                    <a:pt x="1074" y="147"/>
                  </a:lnTo>
                  <a:lnTo>
                    <a:pt x="1080" y="147"/>
                  </a:lnTo>
                  <a:lnTo>
                    <a:pt x="1085" y="148"/>
                  </a:lnTo>
                  <a:lnTo>
                    <a:pt x="1090" y="149"/>
                  </a:lnTo>
                  <a:lnTo>
                    <a:pt x="1095" y="151"/>
                  </a:lnTo>
                  <a:lnTo>
                    <a:pt x="1100" y="153"/>
                  </a:lnTo>
                  <a:lnTo>
                    <a:pt x="1104" y="156"/>
                  </a:lnTo>
                  <a:lnTo>
                    <a:pt x="1107" y="160"/>
                  </a:lnTo>
                  <a:lnTo>
                    <a:pt x="1109" y="165"/>
                  </a:lnTo>
                  <a:lnTo>
                    <a:pt x="1111" y="171"/>
                  </a:lnTo>
                  <a:lnTo>
                    <a:pt x="1113" y="178"/>
                  </a:lnTo>
                  <a:lnTo>
                    <a:pt x="1138" y="201"/>
                  </a:lnTo>
                  <a:lnTo>
                    <a:pt x="1159" y="221"/>
                  </a:lnTo>
                  <a:lnTo>
                    <a:pt x="1164" y="225"/>
                  </a:lnTo>
                  <a:lnTo>
                    <a:pt x="1170" y="229"/>
                  </a:lnTo>
                  <a:lnTo>
                    <a:pt x="1178" y="233"/>
                  </a:lnTo>
                  <a:lnTo>
                    <a:pt x="1185" y="235"/>
                  </a:lnTo>
                  <a:lnTo>
                    <a:pt x="1193" y="238"/>
                  </a:lnTo>
                  <a:lnTo>
                    <a:pt x="1203" y="240"/>
                  </a:lnTo>
                  <a:lnTo>
                    <a:pt x="1213" y="241"/>
                  </a:lnTo>
                  <a:lnTo>
                    <a:pt x="1226" y="242"/>
                  </a:lnTo>
                  <a:lnTo>
                    <a:pt x="1226" y="242"/>
                  </a:lnTo>
                  <a:lnTo>
                    <a:pt x="1240" y="250"/>
                  </a:lnTo>
                  <a:lnTo>
                    <a:pt x="1255" y="256"/>
                  </a:lnTo>
                  <a:lnTo>
                    <a:pt x="1262" y="260"/>
                  </a:lnTo>
                  <a:lnTo>
                    <a:pt x="1268" y="265"/>
                  </a:lnTo>
                  <a:lnTo>
                    <a:pt x="1276" y="269"/>
                  </a:lnTo>
                  <a:lnTo>
                    <a:pt x="1282" y="275"/>
                  </a:lnTo>
                  <a:lnTo>
                    <a:pt x="1287" y="279"/>
                  </a:lnTo>
                  <a:lnTo>
                    <a:pt x="1292" y="282"/>
                  </a:lnTo>
                  <a:lnTo>
                    <a:pt x="1299" y="283"/>
                  </a:lnTo>
                  <a:lnTo>
                    <a:pt x="1305" y="283"/>
                  </a:lnTo>
                  <a:lnTo>
                    <a:pt x="1311" y="281"/>
                  </a:lnTo>
                  <a:lnTo>
                    <a:pt x="1317" y="278"/>
                  </a:lnTo>
                  <a:lnTo>
                    <a:pt x="1324" y="275"/>
                  </a:lnTo>
                  <a:lnTo>
                    <a:pt x="1331" y="271"/>
                  </a:lnTo>
                  <a:lnTo>
                    <a:pt x="1345" y="262"/>
                  </a:lnTo>
                  <a:lnTo>
                    <a:pt x="1358" y="253"/>
                  </a:lnTo>
                  <a:lnTo>
                    <a:pt x="1364" y="250"/>
                  </a:lnTo>
                  <a:lnTo>
                    <a:pt x="1372" y="247"/>
                  </a:lnTo>
                  <a:lnTo>
                    <a:pt x="1378" y="244"/>
                  </a:lnTo>
                  <a:lnTo>
                    <a:pt x="1384" y="243"/>
                  </a:lnTo>
                  <a:lnTo>
                    <a:pt x="1390" y="243"/>
                  </a:lnTo>
                  <a:lnTo>
                    <a:pt x="1396" y="244"/>
                  </a:lnTo>
                  <a:lnTo>
                    <a:pt x="1399" y="246"/>
                  </a:lnTo>
                  <a:lnTo>
                    <a:pt x="1402" y="249"/>
                  </a:lnTo>
                  <a:lnTo>
                    <a:pt x="1404" y="253"/>
                  </a:lnTo>
                  <a:lnTo>
                    <a:pt x="1405" y="257"/>
                  </a:lnTo>
                  <a:lnTo>
                    <a:pt x="1406" y="262"/>
                  </a:lnTo>
                  <a:lnTo>
                    <a:pt x="1406" y="268"/>
                  </a:lnTo>
                  <a:lnTo>
                    <a:pt x="1403" y="292"/>
                  </a:lnTo>
                  <a:lnTo>
                    <a:pt x="1400" y="314"/>
                  </a:lnTo>
                  <a:lnTo>
                    <a:pt x="1405" y="318"/>
                  </a:lnTo>
                  <a:lnTo>
                    <a:pt x="1409" y="322"/>
                  </a:lnTo>
                  <a:lnTo>
                    <a:pt x="1419" y="323"/>
                  </a:lnTo>
                  <a:lnTo>
                    <a:pt x="1426" y="323"/>
                  </a:lnTo>
                  <a:lnTo>
                    <a:pt x="1433" y="323"/>
                  </a:lnTo>
                  <a:lnTo>
                    <a:pt x="1441" y="322"/>
                  </a:lnTo>
                  <a:lnTo>
                    <a:pt x="1447" y="320"/>
                  </a:lnTo>
                  <a:lnTo>
                    <a:pt x="1453" y="317"/>
                  </a:lnTo>
                  <a:lnTo>
                    <a:pt x="1460" y="313"/>
                  </a:lnTo>
                  <a:lnTo>
                    <a:pt x="1469" y="307"/>
                  </a:lnTo>
                  <a:lnTo>
                    <a:pt x="1488" y="296"/>
                  </a:lnTo>
                  <a:lnTo>
                    <a:pt x="1502" y="289"/>
                  </a:lnTo>
                  <a:lnTo>
                    <a:pt x="1508" y="288"/>
                  </a:lnTo>
                  <a:lnTo>
                    <a:pt x="1512" y="286"/>
                  </a:lnTo>
                  <a:lnTo>
                    <a:pt x="1517" y="286"/>
                  </a:lnTo>
                  <a:lnTo>
                    <a:pt x="1521" y="288"/>
                  </a:lnTo>
                  <a:lnTo>
                    <a:pt x="1524" y="291"/>
                  </a:lnTo>
                  <a:lnTo>
                    <a:pt x="1528" y="294"/>
                  </a:lnTo>
                  <a:lnTo>
                    <a:pt x="1531" y="297"/>
                  </a:lnTo>
                  <a:lnTo>
                    <a:pt x="1535" y="302"/>
                  </a:lnTo>
                  <a:lnTo>
                    <a:pt x="1545" y="314"/>
                  </a:lnTo>
                  <a:lnTo>
                    <a:pt x="1557" y="328"/>
                  </a:lnTo>
                  <a:lnTo>
                    <a:pt x="1568" y="341"/>
                  </a:lnTo>
                  <a:lnTo>
                    <a:pt x="1575" y="351"/>
                  </a:lnTo>
                  <a:lnTo>
                    <a:pt x="1580" y="361"/>
                  </a:lnTo>
                  <a:lnTo>
                    <a:pt x="1582" y="369"/>
                  </a:lnTo>
                  <a:lnTo>
                    <a:pt x="1582" y="376"/>
                  </a:lnTo>
                  <a:lnTo>
                    <a:pt x="1581" y="383"/>
                  </a:lnTo>
                  <a:lnTo>
                    <a:pt x="1579" y="390"/>
                  </a:lnTo>
                  <a:lnTo>
                    <a:pt x="1575" y="396"/>
                  </a:lnTo>
                  <a:lnTo>
                    <a:pt x="1566" y="410"/>
                  </a:lnTo>
                  <a:lnTo>
                    <a:pt x="1556" y="424"/>
                  </a:lnTo>
                  <a:lnTo>
                    <a:pt x="1551" y="434"/>
                  </a:lnTo>
                  <a:lnTo>
                    <a:pt x="1548" y="443"/>
                  </a:lnTo>
                  <a:lnTo>
                    <a:pt x="1546" y="455"/>
                  </a:lnTo>
                  <a:lnTo>
                    <a:pt x="1545" y="468"/>
                  </a:lnTo>
                  <a:lnTo>
                    <a:pt x="1546" y="483"/>
                  </a:lnTo>
                  <a:lnTo>
                    <a:pt x="1549" y="494"/>
                  </a:lnTo>
                  <a:lnTo>
                    <a:pt x="1553" y="505"/>
                  </a:lnTo>
                  <a:lnTo>
                    <a:pt x="1558" y="514"/>
                  </a:lnTo>
                  <a:lnTo>
                    <a:pt x="1566" y="522"/>
                  </a:lnTo>
                  <a:lnTo>
                    <a:pt x="1574" y="531"/>
                  </a:lnTo>
                  <a:lnTo>
                    <a:pt x="1583" y="538"/>
                  </a:lnTo>
                  <a:lnTo>
                    <a:pt x="1595" y="545"/>
                  </a:lnTo>
                  <a:lnTo>
                    <a:pt x="1599" y="549"/>
                  </a:lnTo>
                  <a:lnTo>
                    <a:pt x="1603" y="555"/>
                  </a:lnTo>
                  <a:lnTo>
                    <a:pt x="1606" y="560"/>
                  </a:lnTo>
                  <a:lnTo>
                    <a:pt x="1609" y="565"/>
                  </a:lnTo>
                  <a:lnTo>
                    <a:pt x="1613" y="578"/>
                  </a:lnTo>
                  <a:lnTo>
                    <a:pt x="1614" y="590"/>
                  </a:lnTo>
                  <a:lnTo>
                    <a:pt x="1614" y="618"/>
                  </a:lnTo>
                  <a:lnTo>
                    <a:pt x="1615" y="643"/>
                  </a:lnTo>
                  <a:lnTo>
                    <a:pt x="1618" y="654"/>
                  </a:lnTo>
                  <a:lnTo>
                    <a:pt x="1621" y="663"/>
                  </a:lnTo>
                  <a:lnTo>
                    <a:pt x="1626" y="670"/>
                  </a:lnTo>
                  <a:lnTo>
                    <a:pt x="1633" y="678"/>
                  </a:lnTo>
                  <a:lnTo>
                    <a:pt x="1641" y="683"/>
                  </a:lnTo>
                  <a:lnTo>
                    <a:pt x="1649" y="687"/>
                  </a:lnTo>
                  <a:lnTo>
                    <a:pt x="1659" y="691"/>
                  </a:lnTo>
                  <a:lnTo>
                    <a:pt x="1669" y="694"/>
                  </a:lnTo>
                  <a:lnTo>
                    <a:pt x="1690" y="699"/>
                  </a:lnTo>
                  <a:lnTo>
                    <a:pt x="1712" y="701"/>
                  </a:lnTo>
                  <a:lnTo>
                    <a:pt x="1732" y="702"/>
                  </a:lnTo>
                  <a:lnTo>
                    <a:pt x="1751" y="704"/>
                  </a:lnTo>
                  <a:lnTo>
                    <a:pt x="1769" y="706"/>
                  </a:lnTo>
                  <a:lnTo>
                    <a:pt x="1783" y="708"/>
                  </a:lnTo>
                  <a:lnTo>
                    <a:pt x="1789" y="710"/>
                  </a:lnTo>
                  <a:lnTo>
                    <a:pt x="1794" y="712"/>
                  </a:lnTo>
                  <a:lnTo>
                    <a:pt x="1798" y="714"/>
                  </a:lnTo>
                  <a:lnTo>
                    <a:pt x="1802" y="716"/>
                  </a:lnTo>
                  <a:lnTo>
                    <a:pt x="1805" y="720"/>
                  </a:lnTo>
                  <a:lnTo>
                    <a:pt x="1809" y="724"/>
                  </a:lnTo>
                  <a:lnTo>
                    <a:pt x="1812" y="729"/>
                  </a:lnTo>
                  <a:lnTo>
                    <a:pt x="1815" y="734"/>
                  </a:lnTo>
                  <a:lnTo>
                    <a:pt x="1820" y="747"/>
                  </a:lnTo>
                  <a:lnTo>
                    <a:pt x="1826" y="762"/>
                  </a:lnTo>
                  <a:lnTo>
                    <a:pt x="1830" y="772"/>
                  </a:lnTo>
                  <a:lnTo>
                    <a:pt x="1836" y="782"/>
                  </a:lnTo>
                  <a:lnTo>
                    <a:pt x="1841" y="792"/>
                  </a:lnTo>
                  <a:lnTo>
                    <a:pt x="1847" y="802"/>
                  </a:lnTo>
                  <a:lnTo>
                    <a:pt x="1854" y="812"/>
                  </a:lnTo>
                  <a:lnTo>
                    <a:pt x="1863" y="822"/>
                  </a:lnTo>
                  <a:lnTo>
                    <a:pt x="1871" y="831"/>
                  </a:lnTo>
                  <a:lnTo>
                    <a:pt x="1879" y="839"/>
                  </a:lnTo>
                  <a:lnTo>
                    <a:pt x="1889" y="848"/>
                  </a:lnTo>
                  <a:lnTo>
                    <a:pt x="1899" y="855"/>
                  </a:lnTo>
                  <a:lnTo>
                    <a:pt x="1909" y="861"/>
                  </a:lnTo>
                  <a:lnTo>
                    <a:pt x="1920" y="867"/>
                  </a:lnTo>
                  <a:lnTo>
                    <a:pt x="1931" y="871"/>
                  </a:lnTo>
                  <a:lnTo>
                    <a:pt x="1941" y="873"/>
                  </a:lnTo>
                  <a:lnTo>
                    <a:pt x="1952" y="874"/>
                  </a:lnTo>
                  <a:lnTo>
                    <a:pt x="1964" y="874"/>
                  </a:lnTo>
                  <a:lnTo>
                    <a:pt x="1986" y="870"/>
                  </a:lnTo>
                  <a:lnTo>
                    <a:pt x="2010" y="865"/>
                  </a:lnTo>
                  <a:lnTo>
                    <a:pt x="2021" y="863"/>
                  </a:lnTo>
                  <a:lnTo>
                    <a:pt x="2033" y="861"/>
                  </a:lnTo>
                  <a:lnTo>
                    <a:pt x="2043" y="860"/>
                  </a:lnTo>
                  <a:lnTo>
                    <a:pt x="2055" y="860"/>
                  </a:lnTo>
                  <a:lnTo>
                    <a:pt x="2064" y="860"/>
                  </a:lnTo>
                  <a:lnTo>
                    <a:pt x="2073" y="861"/>
                  </a:lnTo>
                  <a:lnTo>
                    <a:pt x="2081" y="864"/>
                  </a:lnTo>
                  <a:lnTo>
                    <a:pt x="2088" y="867"/>
                  </a:lnTo>
                  <a:lnTo>
                    <a:pt x="2095" y="871"/>
                  </a:lnTo>
                  <a:lnTo>
                    <a:pt x="2101" y="875"/>
                  </a:lnTo>
                  <a:lnTo>
                    <a:pt x="2105" y="880"/>
                  </a:lnTo>
                  <a:lnTo>
                    <a:pt x="2109" y="886"/>
                  </a:lnTo>
                  <a:lnTo>
                    <a:pt x="2112" y="893"/>
                  </a:lnTo>
                  <a:lnTo>
                    <a:pt x="2113" y="900"/>
                  </a:lnTo>
                  <a:lnTo>
                    <a:pt x="2114" y="907"/>
                  </a:lnTo>
                  <a:lnTo>
                    <a:pt x="2113" y="915"/>
                  </a:lnTo>
                  <a:lnTo>
                    <a:pt x="2112" y="923"/>
                  </a:lnTo>
                  <a:lnTo>
                    <a:pt x="2109" y="931"/>
                  </a:lnTo>
                  <a:lnTo>
                    <a:pt x="2105" y="941"/>
                  </a:lnTo>
                  <a:lnTo>
                    <a:pt x="2099" y="950"/>
                  </a:lnTo>
                  <a:lnTo>
                    <a:pt x="2089" y="953"/>
                  </a:lnTo>
                  <a:lnTo>
                    <a:pt x="2080" y="956"/>
                  </a:lnTo>
                  <a:lnTo>
                    <a:pt x="2069" y="959"/>
                  </a:lnTo>
                  <a:lnTo>
                    <a:pt x="2060" y="962"/>
                  </a:lnTo>
                  <a:lnTo>
                    <a:pt x="2059" y="966"/>
                  </a:lnTo>
                  <a:lnTo>
                    <a:pt x="2059" y="969"/>
                  </a:lnTo>
                  <a:lnTo>
                    <a:pt x="2060" y="973"/>
                  </a:lnTo>
                  <a:lnTo>
                    <a:pt x="2061" y="976"/>
                  </a:lnTo>
                  <a:lnTo>
                    <a:pt x="2071" y="982"/>
                  </a:lnTo>
                  <a:lnTo>
                    <a:pt x="2081" y="989"/>
                  </a:lnTo>
                  <a:lnTo>
                    <a:pt x="2090" y="996"/>
                  </a:lnTo>
                  <a:lnTo>
                    <a:pt x="2098" y="1004"/>
                  </a:lnTo>
                  <a:lnTo>
                    <a:pt x="2114" y="1019"/>
                  </a:lnTo>
                  <a:lnTo>
                    <a:pt x="2130" y="1032"/>
                  </a:lnTo>
                  <a:lnTo>
                    <a:pt x="2137" y="1038"/>
                  </a:lnTo>
                  <a:lnTo>
                    <a:pt x="2146" y="1043"/>
                  </a:lnTo>
                  <a:lnTo>
                    <a:pt x="2156" y="1047"/>
                  </a:lnTo>
                  <a:lnTo>
                    <a:pt x="2165" y="1049"/>
                  </a:lnTo>
                  <a:lnTo>
                    <a:pt x="2176" y="1051"/>
                  </a:lnTo>
                  <a:lnTo>
                    <a:pt x="2188" y="1051"/>
                  </a:lnTo>
                  <a:lnTo>
                    <a:pt x="2202" y="1049"/>
                  </a:lnTo>
                  <a:lnTo>
                    <a:pt x="2216" y="1046"/>
                  </a:lnTo>
                  <a:lnTo>
                    <a:pt x="2229" y="1043"/>
                  </a:lnTo>
                  <a:lnTo>
                    <a:pt x="2239" y="1043"/>
                  </a:lnTo>
                  <a:lnTo>
                    <a:pt x="2250" y="1044"/>
                  </a:lnTo>
                  <a:lnTo>
                    <a:pt x="2257" y="1046"/>
                  </a:lnTo>
                  <a:lnTo>
                    <a:pt x="2264" y="1050"/>
                  </a:lnTo>
                  <a:lnTo>
                    <a:pt x="2270" y="1056"/>
                  </a:lnTo>
                  <a:lnTo>
                    <a:pt x="2276" y="1063"/>
                  </a:lnTo>
                  <a:lnTo>
                    <a:pt x="2281" y="1070"/>
                  </a:lnTo>
                  <a:lnTo>
                    <a:pt x="2289" y="1087"/>
                  </a:lnTo>
                  <a:lnTo>
                    <a:pt x="2299" y="1103"/>
                  </a:lnTo>
                  <a:lnTo>
                    <a:pt x="2304" y="1113"/>
                  </a:lnTo>
                  <a:lnTo>
                    <a:pt x="2310" y="1121"/>
                  </a:lnTo>
                  <a:lnTo>
                    <a:pt x="2317" y="1128"/>
                  </a:lnTo>
                  <a:lnTo>
                    <a:pt x="2326" y="1135"/>
                  </a:lnTo>
                  <a:lnTo>
                    <a:pt x="2338" y="1144"/>
                  </a:lnTo>
                  <a:lnTo>
                    <a:pt x="2349" y="1150"/>
                  </a:lnTo>
                  <a:lnTo>
                    <a:pt x="2358" y="1155"/>
                  </a:lnTo>
                  <a:lnTo>
                    <a:pt x="2367" y="1158"/>
                  </a:lnTo>
                  <a:lnTo>
                    <a:pt x="2376" y="1158"/>
                  </a:lnTo>
                  <a:lnTo>
                    <a:pt x="2386" y="1155"/>
                  </a:lnTo>
                  <a:lnTo>
                    <a:pt x="2399" y="1153"/>
                  </a:lnTo>
                  <a:lnTo>
                    <a:pt x="2413" y="1148"/>
                  </a:lnTo>
                  <a:lnTo>
                    <a:pt x="2413" y="1148"/>
                  </a:lnTo>
                  <a:lnTo>
                    <a:pt x="2419" y="1152"/>
                  </a:lnTo>
                  <a:lnTo>
                    <a:pt x="2425" y="1158"/>
                  </a:lnTo>
                  <a:lnTo>
                    <a:pt x="2427" y="1159"/>
                  </a:lnTo>
                  <a:lnTo>
                    <a:pt x="2436" y="1171"/>
                  </a:lnTo>
                  <a:lnTo>
                    <a:pt x="2443" y="1179"/>
                  </a:lnTo>
                  <a:lnTo>
                    <a:pt x="2445" y="1185"/>
                  </a:lnTo>
                  <a:lnTo>
                    <a:pt x="2446" y="1190"/>
                  </a:lnTo>
                  <a:lnTo>
                    <a:pt x="2447" y="1197"/>
                  </a:lnTo>
                  <a:lnTo>
                    <a:pt x="2448" y="1207"/>
                  </a:lnTo>
                  <a:lnTo>
                    <a:pt x="2439" y="1215"/>
                  </a:lnTo>
                  <a:lnTo>
                    <a:pt x="2432" y="1222"/>
                  </a:lnTo>
                  <a:lnTo>
                    <a:pt x="2424" y="1229"/>
                  </a:lnTo>
                  <a:lnTo>
                    <a:pt x="2415" y="1234"/>
                  </a:lnTo>
                  <a:lnTo>
                    <a:pt x="2407" y="1239"/>
                  </a:lnTo>
                  <a:lnTo>
                    <a:pt x="2398" y="1243"/>
                  </a:lnTo>
                  <a:lnTo>
                    <a:pt x="2388" y="1246"/>
                  </a:lnTo>
                  <a:lnTo>
                    <a:pt x="2380" y="1249"/>
                  </a:lnTo>
                  <a:lnTo>
                    <a:pt x="2361" y="1254"/>
                  </a:lnTo>
                  <a:lnTo>
                    <a:pt x="2341" y="1257"/>
                  </a:lnTo>
                  <a:lnTo>
                    <a:pt x="2322" y="1258"/>
                  </a:lnTo>
                  <a:lnTo>
                    <a:pt x="2303" y="1259"/>
                  </a:lnTo>
                  <a:lnTo>
                    <a:pt x="2283" y="1260"/>
                  </a:lnTo>
                  <a:lnTo>
                    <a:pt x="2263" y="1261"/>
                  </a:lnTo>
                  <a:lnTo>
                    <a:pt x="2244" y="1262"/>
                  </a:lnTo>
                  <a:lnTo>
                    <a:pt x="2226" y="1265"/>
                  </a:lnTo>
                  <a:lnTo>
                    <a:pt x="2216" y="1267"/>
                  </a:lnTo>
                  <a:lnTo>
                    <a:pt x="2207" y="1269"/>
                  </a:lnTo>
                  <a:lnTo>
                    <a:pt x="2199" y="1272"/>
                  </a:lnTo>
                  <a:lnTo>
                    <a:pt x="2190" y="1277"/>
                  </a:lnTo>
                  <a:lnTo>
                    <a:pt x="2182" y="1281"/>
                  </a:lnTo>
                  <a:lnTo>
                    <a:pt x="2174" y="1285"/>
                  </a:lnTo>
                  <a:lnTo>
                    <a:pt x="2166" y="1291"/>
                  </a:lnTo>
                  <a:lnTo>
                    <a:pt x="2159" y="1297"/>
                  </a:lnTo>
                  <a:lnTo>
                    <a:pt x="2130" y="1328"/>
                  </a:lnTo>
                  <a:lnTo>
                    <a:pt x="2101" y="1358"/>
                  </a:lnTo>
                  <a:lnTo>
                    <a:pt x="2092" y="1364"/>
                  </a:lnTo>
                  <a:lnTo>
                    <a:pt x="2084" y="1369"/>
                  </a:lnTo>
                  <a:lnTo>
                    <a:pt x="2075" y="1375"/>
                  </a:lnTo>
                  <a:lnTo>
                    <a:pt x="2066" y="1379"/>
                  </a:lnTo>
                  <a:lnTo>
                    <a:pt x="2056" y="1381"/>
                  </a:lnTo>
                  <a:lnTo>
                    <a:pt x="2045" y="1383"/>
                  </a:lnTo>
                  <a:lnTo>
                    <a:pt x="2035" y="1383"/>
                  </a:lnTo>
                  <a:lnTo>
                    <a:pt x="2022" y="1382"/>
                  </a:lnTo>
                  <a:lnTo>
                    <a:pt x="2011" y="1380"/>
                  </a:lnTo>
                  <a:lnTo>
                    <a:pt x="2001" y="1380"/>
                  </a:lnTo>
                  <a:lnTo>
                    <a:pt x="1993" y="1380"/>
                  </a:lnTo>
                  <a:lnTo>
                    <a:pt x="1985" y="1382"/>
                  </a:lnTo>
                  <a:lnTo>
                    <a:pt x="1977" y="1385"/>
                  </a:lnTo>
                  <a:lnTo>
                    <a:pt x="1970" y="1389"/>
                  </a:lnTo>
                  <a:lnTo>
                    <a:pt x="1964" y="1395"/>
                  </a:lnTo>
                  <a:lnTo>
                    <a:pt x="1957" y="1404"/>
                  </a:lnTo>
                  <a:lnTo>
                    <a:pt x="1947" y="1413"/>
                  </a:lnTo>
                  <a:lnTo>
                    <a:pt x="1938" y="1420"/>
                  </a:lnTo>
                  <a:lnTo>
                    <a:pt x="1928" y="1426"/>
                  </a:lnTo>
                  <a:lnTo>
                    <a:pt x="1918" y="1430"/>
                  </a:lnTo>
                  <a:lnTo>
                    <a:pt x="1896" y="1436"/>
                  </a:lnTo>
                  <a:lnTo>
                    <a:pt x="1872" y="1441"/>
                  </a:lnTo>
                  <a:lnTo>
                    <a:pt x="1861" y="1446"/>
                  </a:lnTo>
                  <a:lnTo>
                    <a:pt x="1849" y="1451"/>
                  </a:lnTo>
                  <a:lnTo>
                    <a:pt x="1839" y="1457"/>
                  </a:lnTo>
                  <a:lnTo>
                    <a:pt x="1827" y="1464"/>
                  </a:lnTo>
                  <a:lnTo>
                    <a:pt x="1804" y="1480"/>
                  </a:lnTo>
                  <a:lnTo>
                    <a:pt x="1781" y="1497"/>
                  </a:lnTo>
                  <a:lnTo>
                    <a:pt x="1760" y="1514"/>
                  </a:lnTo>
                  <a:lnTo>
                    <a:pt x="1738" y="1531"/>
                  </a:lnTo>
                  <a:lnTo>
                    <a:pt x="1717" y="1546"/>
                  </a:lnTo>
                  <a:lnTo>
                    <a:pt x="1697" y="1559"/>
                  </a:lnTo>
                  <a:lnTo>
                    <a:pt x="1674" y="1571"/>
                  </a:lnTo>
                  <a:lnTo>
                    <a:pt x="1650" y="1581"/>
                  </a:lnTo>
                  <a:lnTo>
                    <a:pt x="1625" y="1589"/>
                  </a:lnTo>
                  <a:lnTo>
                    <a:pt x="1600" y="1597"/>
                  </a:lnTo>
                  <a:lnTo>
                    <a:pt x="1574" y="1604"/>
                  </a:lnTo>
                  <a:lnTo>
                    <a:pt x="1548" y="1609"/>
                  </a:lnTo>
                  <a:lnTo>
                    <a:pt x="1522" y="1615"/>
                  </a:lnTo>
                  <a:lnTo>
                    <a:pt x="1497" y="1619"/>
                  </a:lnTo>
                  <a:lnTo>
                    <a:pt x="1471" y="1623"/>
                  </a:lnTo>
                  <a:lnTo>
                    <a:pt x="1447" y="1628"/>
                  </a:lnTo>
                  <a:lnTo>
                    <a:pt x="1425" y="1633"/>
                  </a:lnTo>
                  <a:lnTo>
                    <a:pt x="1405" y="1639"/>
                  </a:lnTo>
                  <a:lnTo>
                    <a:pt x="1386" y="1645"/>
                  </a:lnTo>
                  <a:lnTo>
                    <a:pt x="1370" y="1652"/>
                  </a:lnTo>
                  <a:lnTo>
                    <a:pt x="1353" y="1660"/>
                  </a:lnTo>
                  <a:lnTo>
                    <a:pt x="1338" y="1670"/>
                  </a:lnTo>
                  <a:lnTo>
                    <a:pt x="1324" y="1680"/>
                  </a:lnTo>
                  <a:lnTo>
                    <a:pt x="1310" y="1692"/>
                  </a:lnTo>
                  <a:lnTo>
                    <a:pt x="1297" y="1705"/>
                  </a:lnTo>
                  <a:lnTo>
                    <a:pt x="1284" y="1720"/>
                  </a:lnTo>
                  <a:lnTo>
                    <a:pt x="1272" y="1737"/>
                  </a:lnTo>
                  <a:lnTo>
                    <a:pt x="1258" y="1755"/>
                  </a:lnTo>
                  <a:lnTo>
                    <a:pt x="1246" y="1776"/>
                  </a:lnTo>
                  <a:lnTo>
                    <a:pt x="1232" y="1799"/>
                  </a:lnTo>
                  <a:lnTo>
                    <a:pt x="1219" y="1820"/>
                  </a:lnTo>
                  <a:lnTo>
                    <a:pt x="1204" y="1845"/>
                  </a:lnTo>
                  <a:lnTo>
                    <a:pt x="1195" y="1859"/>
                  </a:lnTo>
                  <a:lnTo>
                    <a:pt x="1186" y="1871"/>
                  </a:lnTo>
                  <a:lnTo>
                    <a:pt x="1177" y="1885"/>
                  </a:lnTo>
                  <a:lnTo>
                    <a:pt x="1166" y="1896"/>
                  </a:lnTo>
                  <a:lnTo>
                    <a:pt x="1155" y="1908"/>
                  </a:lnTo>
                  <a:lnTo>
                    <a:pt x="1143" y="1917"/>
                  </a:lnTo>
                  <a:lnTo>
                    <a:pt x="1132" y="1925"/>
                  </a:lnTo>
                  <a:lnTo>
                    <a:pt x="1119" y="1933"/>
                  </a:lnTo>
                  <a:lnTo>
                    <a:pt x="1113" y="1935"/>
                  </a:lnTo>
                  <a:lnTo>
                    <a:pt x="1107" y="1937"/>
                  </a:lnTo>
                  <a:lnTo>
                    <a:pt x="1101" y="1938"/>
                  </a:lnTo>
                  <a:lnTo>
                    <a:pt x="1094" y="1939"/>
                  </a:lnTo>
                  <a:lnTo>
                    <a:pt x="1087" y="1938"/>
                  </a:lnTo>
                  <a:lnTo>
                    <a:pt x="1081" y="1938"/>
                  </a:lnTo>
                  <a:lnTo>
                    <a:pt x="1074" y="1936"/>
                  </a:lnTo>
                  <a:lnTo>
                    <a:pt x="1067" y="1934"/>
                  </a:lnTo>
                  <a:lnTo>
                    <a:pt x="1058" y="1918"/>
                  </a:lnTo>
                  <a:lnTo>
                    <a:pt x="1047" y="1899"/>
                  </a:lnTo>
                  <a:lnTo>
                    <a:pt x="1042" y="1890"/>
                  </a:lnTo>
                  <a:lnTo>
                    <a:pt x="1038" y="1881"/>
                  </a:lnTo>
                  <a:lnTo>
                    <a:pt x="1035" y="1871"/>
                  </a:lnTo>
                  <a:lnTo>
                    <a:pt x="1033" y="1863"/>
                  </a:lnTo>
                  <a:lnTo>
                    <a:pt x="1027" y="1858"/>
                  </a:lnTo>
                  <a:lnTo>
                    <a:pt x="1020" y="1853"/>
                  </a:lnTo>
                  <a:lnTo>
                    <a:pt x="1013" y="1850"/>
                  </a:lnTo>
                  <a:lnTo>
                    <a:pt x="1005" y="1847"/>
                  </a:lnTo>
                  <a:lnTo>
                    <a:pt x="992" y="1847"/>
                  </a:lnTo>
                  <a:lnTo>
                    <a:pt x="980" y="1848"/>
                  </a:lnTo>
                  <a:lnTo>
                    <a:pt x="968" y="1849"/>
                  </a:lnTo>
                  <a:lnTo>
                    <a:pt x="957" y="1852"/>
                  </a:lnTo>
                  <a:lnTo>
                    <a:pt x="945" y="1856"/>
                  </a:lnTo>
                  <a:lnTo>
                    <a:pt x="934" y="1860"/>
                  </a:lnTo>
                  <a:lnTo>
                    <a:pt x="923" y="1865"/>
                  </a:lnTo>
                  <a:lnTo>
                    <a:pt x="913" y="1871"/>
                  </a:lnTo>
                  <a:lnTo>
                    <a:pt x="907" y="1876"/>
                  </a:lnTo>
                  <a:lnTo>
                    <a:pt x="900" y="1882"/>
                  </a:lnTo>
                  <a:lnTo>
                    <a:pt x="895" y="1888"/>
                  </a:lnTo>
                  <a:lnTo>
                    <a:pt x="890" y="1894"/>
                  </a:lnTo>
                  <a:lnTo>
                    <a:pt x="885" y="1900"/>
                  </a:lnTo>
                  <a:lnTo>
                    <a:pt x="880" y="1906"/>
                  </a:lnTo>
                  <a:lnTo>
                    <a:pt x="872" y="1911"/>
                  </a:lnTo>
                  <a:lnTo>
                    <a:pt x="865" y="1916"/>
                  </a:lnTo>
                  <a:lnTo>
                    <a:pt x="813" y="1913"/>
                  </a:lnTo>
                  <a:lnTo>
                    <a:pt x="805" y="1914"/>
                  </a:lnTo>
                  <a:lnTo>
                    <a:pt x="798" y="1916"/>
                  </a:lnTo>
                  <a:lnTo>
                    <a:pt x="792" y="1920"/>
                  </a:lnTo>
                  <a:lnTo>
                    <a:pt x="786" y="1924"/>
                  </a:lnTo>
                  <a:lnTo>
                    <a:pt x="775" y="1936"/>
                  </a:lnTo>
                  <a:lnTo>
                    <a:pt x="764" y="1946"/>
                  </a:lnTo>
                  <a:lnTo>
                    <a:pt x="758" y="1956"/>
                  </a:lnTo>
                  <a:lnTo>
                    <a:pt x="751" y="1965"/>
                  </a:lnTo>
                  <a:lnTo>
                    <a:pt x="745" y="1974"/>
                  </a:lnTo>
                  <a:lnTo>
                    <a:pt x="738" y="1983"/>
                  </a:lnTo>
                  <a:lnTo>
                    <a:pt x="729" y="1990"/>
                  </a:lnTo>
                  <a:lnTo>
                    <a:pt x="721" y="1997"/>
                  </a:lnTo>
                  <a:lnTo>
                    <a:pt x="713" y="2005"/>
                  </a:lnTo>
                  <a:lnTo>
                    <a:pt x="703" y="2011"/>
                  </a:lnTo>
                  <a:lnTo>
                    <a:pt x="694" y="2016"/>
                  </a:lnTo>
                  <a:lnTo>
                    <a:pt x="684" y="2021"/>
                  </a:lnTo>
                  <a:lnTo>
                    <a:pt x="673" y="2027"/>
                  </a:lnTo>
                  <a:lnTo>
                    <a:pt x="663" y="2031"/>
                  </a:lnTo>
                  <a:lnTo>
                    <a:pt x="641" y="2039"/>
                  </a:lnTo>
                  <a:lnTo>
                    <a:pt x="619" y="2044"/>
                  </a:lnTo>
                  <a:lnTo>
                    <a:pt x="596" y="2049"/>
                  </a:lnTo>
                  <a:lnTo>
                    <a:pt x="572" y="2052"/>
                  </a:lnTo>
                  <a:lnTo>
                    <a:pt x="548" y="2053"/>
                  </a:lnTo>
                  <a:lnTo>
                    <a:pt x="525" y="2052"/>
                  </a:lnTo>
                  <a:lnTo>
                    <a:pt x="502" y="2050"/>
                  </a:lnTo>
                  <a:lnTo>
                    <a:pt x="479" y="2047"/>
                  </a:lnTo>
                  <a:lnTo>
                    <a:pt x="457" y="2042"/>
                  </a:lnTo>
                  <a:lnTo>
                    <a:pt x="436" y="2037"/>
                  </a:lnTo>
                  <a:lnTo>
                    <a:pt x="436" y="2037"/>
                  </a:lnTo>
                  <a:close/>
                </a:path>
              </a:pathLst>
            </a:custGeom>
            <a:noFill/>
            <a:ln w="1270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0" name="Freeform 127">
              <a:extLst>
                <a:ext uri="{FF2B5EF4-FFF2-40B4-BE49-F238E27FC236}">
                  <a16:creationId xmlns:a16="http://schemas.microsoft.com/office/drawing/2014/main" id="{11BF614B-7FFA-455A-8632-3909DED0B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7043" y="3993707"/>
              <a:ext cx="887799" cy="754795"/>
            </a:xfrm>
            <a:custGeom>
              <a:avLst/>
              <a:gdLst>
                <a:gd name="T0" fmla="*/ 2510 w 3536"/>
                <a:gd name="T1" fmla="*/ 1905 h 3105"/>
                <a:gd name="T2" fmla="*/ 2372 w 3536"/>
                <a:gd name="T3" fmla="*/ 1979 h 3105"/>
                <a:gd name="T4" fmla="*/ 2460 w 3536"/>
                <a:gd name="T5" fmla="*/ 2120 h 3105"/>
                <a:gd name="T6" fmla="*/ 2339 w 3536"/>
                <a:gd name="T7" fmla="*/ 2129 h 3105"/>
                <a:gd name="T8" fmla="*/ 2389 w 3536"/>
                <a:gd name="T9" fmla="*/ 2265 h 3105"/>
                <a:gd name="T10" fmla="*/ 2506 w 3536"/>
                <a:gd name="T11" fmla="*/ 2389 h 3105"/>
                <a:gd name="T12" fmla="*/ 2371 w 3536"/>
                <a:gd name="T13" fmla="*/ 2445 h 3105"/>
                <a:gd name="T14" fmla="*/ 2267 w 3536"/>
                <a:gd name="T15" fmla="*/ 2595 h 3105"/>
                <a:gd name="T16" fmla="*/ 2218 w 3536"/>
                <a:gd name="T17" fmla="*/ 2707 h 3105"/>
                <a:gd name="T18" fmla="*/ 2161 w 3536"/>
                <a:gd name="T19" fmla="*/ 2880 h 3105"/>
                <a:gd name="T20" fmla="*/ 1838 w 3536"/>
                <a:gd name="T21" fmla="*/ 2957 h 3105"/>
                <a:gd name="T22" fmla="*/ 1620 w 3536"/>
                <a:gd name="T23" fmla="*/ 2742 h 3105"/>
                <a:gd name="T24" fmla="*/ 1454 w 3536"/>
                <a:gd name="T25" fmla="*/ 2717 h 3105"/>
                <a:gd name="T26" fmla="*/ 1304 w 3536"/>
                <a:gd name="T27" fmla="*/ 2767 h 3105"/>
                <a:gd name="T28" fmla="*/ 1165 w 3536"/>
                <a:gd name="T29" fmla="*/ 2649 h 3105"/>
                <a:gd name="T30" fmla="*/ 974 w 3536"/>
                <a:gd name="T31" fmla="*/ 2726 h 3105"/>
                <a:gd name="T32" fmla="*/ 1024 w 3536"/>
                <a:gd name="T33" fmla="*/ 2914 h 3105"/>
                <a:gd name="T34" fmla="*/ 953 w 3536"/>
                <a:gd name="T35" fmla="*/ 3080 h 3105"/>
                <a:gd name="T36" fmla="*/ 775 w 3536"/>
                <a:gd name="T37" fmla="*/ 3079 h 3105"/>
                <a:gd name="T38" fmla="*/ 575 w 3536"/>
                <a:gd name="T39" fmla="*/ 2941 h 3105"/>
                <a:gd name="T40" fmla="*/ 309 w 3536"/>
                <a:gd name="T41" fmla="*/ 2724 h 3105"/>
                <a:gd name="T42" fmla="*/ 214 w 3536"/>
                <a:gd name="T43" fmla="*/ 2604 h 3105"/>
                <a:gd name="T44" fmla="*/ 88 w 3536"/>
                <a:gd name="T45" fmla="*/ 2615 h 3105"/>
                <a:gd name="T46" fmla="*/ 46 w 3536"/>
                <a:gd name="T47" fmla="*/ 2457 h 3105"/>
                <a:gd name="T48" fmla="*/ 61 w 3536"/>
                <a:gd name="T49" fmla="*/ 2343 h 3105"/>
                <a:gd name="T50" fmla="*/ 108 w 3536"/>
                <a:gd name="T51" fmla="*/ 2263 h 3105"/>
                <a:gd name="T52" fmla="*/ 147 w 3536"/>
                <a:gd name="T53" fmla="*/ 2206 h 3105"/>
                <a:gd name="T54" fmla="*/ 12 w 3536"/>
                <a:gd name="T55" fmla="*/ 2121 h 3105"/>
                <a:gd name="T56" fmla="*/ 109 w 3536"/>
                <a:gd name="T57" fmla="*/ 2092 h 3105"/>
                <a:gd name="T58" fmla="*/ 218 w 3536"/>
                <a:gd name="T59" fmla="*/ 2084 h 3105"/>
                <a:gd name="T60" fmla="*/ 319 w 3536"/>
                <a:gd name="T61" fmla="*/ 1918 h 3105"/>
                <a:gd name="T62" fmla="*/ 551 w 3536"/>
                <a:gd name="T63" fmla="*/ 1805 h 3105"/>
                <a:gd name="T64" fmla="*/ 616 w 3536"/>
                <a:gd name="T65" fmla="*/ 1650 h 3105"/>
                <a:gd name="T66" fmla="*/ 980 w 3536"/>
                <a:gd name="T67" fmla="*/ 1573 h 3105"/>
                <a:gd name="T68" fmla="*/ 1162 w 3536"/>
                <a:gd name="T69" fmla="*/ 1462 h 3105"/>
                <a:gd name="T70" fmla="*/ 1312 w 3536"/>
                <a:gd name="T71" fmla="*/ 1433 h 3105"/>
                <a:gd name="T72" fmla="*/ 1454 w 3536"/>
                <a:gd name="T73" fmla="*/ 1447 h 3105"/>
                <a:gd name="T74" fmla="*/ 1702 w 3536"/>
                <a:gd name="T75" fmla="*/ 1195 h 3105"/>
                <a:gd name="T76" fmla="*/ 2116 w 3536"/>
                <a:gd name="T77" fmla="*/ 1019 h 3105"/>
                <a:gd name="T78" fmla="*/ 2312 w 3536"/>
                <a:gd name="T79" fmla="*/ 945 h 3105"/>
                <a:gd name="T80" fmla="*/ 2521 w 3536"/>
                <a:gd name="T81" fmla="*/ 824 h 3105"/>
                <a:gd name="T82" fmla="*/ 2722 w 3536"/>
                <a:gd name="T83" fmla="*/ 747 h 3105"/>
                <a:gd name="T84" fmla="*/ 2742 w 3536"/>
                <a:gd name="T85" fmla="*/ 572 h 3105"/>
                <a:gd name="T86" fmla="*/ 2916 w 3536"/>
                <a:gd name="T87" fmla="*/ 322 h 3105"/>
                <a:gd name="T88" fmla="*/ 3277 w 3536"/>
                <a:gd name="T89" fmla="*/ 22 h 3105"/>
                <a:gd name="T90" fmla="*/ 3341 w 3536"/>
                <a:gd name="T91" fmla="*/ 247 h 3105"/>
                <a:gd name="T92" fmla="*/ 3426 w 3536"/>
                <a:gd name="T93" fmla="*/ 454 h 3105"/>
                <a:gd name="T94" fmla="*/ 3297 w 3536"/>
                <a:gd name="T95" fmla="*/ 426 h 3105"/>
                <a:gd name="T96" fmla="*/ 3200 w 3536"/>
                <a:gd name="T97" fmla="*/ 706 h 3105"/>
                <a:gd name="T98" fmla="*/ 3020 w 3536"/>
                <a:gd name="T99" fmla="*/ 760 h 3105"/>
                <a:gd name="T100" fmla="*/ 3169 w 3536"/>
                <a:gd name="T101" fmla="*/ 971 h 3105"/>
                <a:gd name="T102" fmla="*/ 3241 w 3536"/>
                <a:gd name="T103" fmla="*/ 1193 h 3105"/>
                <a:gd name="T104" fmla="*/ 3382 w 3536"/>
                <a:gd name="T105" fmla="*/ 1256 h 3105"/>
                <a:gd name="T106" fmla="*/ 3462 w 3536"/>
                <a:gd name="T107" fmla="*/ 1354 h 3105"/>
                <a:gd name="T108" fmla="*/ 3461 w 3536"/>
                <a:gd name="T109" fmla="*/ 1399 h 3105"/>
                <a:gd name="T110" fmla="*/ 3511 w 3536"/>
                <a:gd name="T111" fmla="*/ 1537 h 3105"/>
                <a:gd name="T112" fmla="*/ 3444 w 3536"/>
                <a:gd name="T113" fmla="*/ 1715 h 3105"/>
                <a:gd name="T114" fmla="*/ 3259 w 3536"/>
                <a:gd name="T115" fmla="*/ 1968 h 3105"/>
                <a:gd name="T116" fmla="*/ 3148 w 3536"/>
                <a:gd name="T117" fmla="*/ 1906 h 3105"/>
                <a:gd name="T118" fmla="*/ 2970 w 3536"/>
                <a:gd name="T119" fmla="*/ 1870 h 3105"/>
                <a:gd name="T120" fmla="*/ 2748 w 3536"/>
                <a:gd name="T121" fmla="*/ 1800 h 3105"/>
                <a:gd name="T122" fmla="*/ 2594 w 3536"/>
                <a:gd name="T123" fmla="*/ 1762 h 3105"/>
                <a:gd name="T124" fmla="*/ 2546 w 3536"/>
                <a:gd name="T125" fmla="*/ 1970 h 3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36" h="3105">
                  <a:moveTo>
                    <a:pt x="2507" y="2011"/>
                  </a:moveTo>
                  <a:lnTo>
                    <a:pt x="2502" y="2009"/>
                  </a:lnTo>
                  <a:lnTo>
                    <a:pt x="2497" y="2007"/>
                  </a:lnTo>
                  <a:lnTo>
                    <a:pt x="2494" y="2005"/>
                  </a:lnTo>
                  <a:lnTo>
                    <a:pt x="2491" y="2003"/>
                  </a:lnTo>
                  <a:lnTo>
                    <a:pt x="2489" y="2000"/>
                  </a:lnTo>
                  <a:lnTo>
                    <a:pt x="2488" y="1997"/>
                  </a:lnTo>
                  <a:lnTo>
                    <a:pt x="2487" y="1993"/>
                  </a:lnTo>
                  <a:lnTo>
                    <a:pt x="2486" y="1990"/>
                  </a:lnTo>
                  <a:lnTo>
                    <a:pt x="2487" y="1984"/>
                  </a:lnTo>
                  <a:lnTo>
                    <a:pt x="2488" y="1977"/>
                  </a:lnTo>
                  <a:lnTo>
                    <a:pt x="2491" y="1968"/>
                  </a:lnTo>
                  <a:lnTo>
                    <a:pt x="2495" y="1960"/>
                  </a:lnTo>
                  <a:lnTo>
                    <a:pt x="2503" y="1943"/>
                  </a:lnTo>
                  <a:lnTo>
                    <a:pt x="2509" y="1926"/>
                  </a:lnTo>
                  <a:lnTo>
                    <a:pt x="2510" y="1917"/>
                  </a:lnTo>
                  <a:lnTo>
                    <a:pt x="2510" y="1909"/>
                  </a:lnTo>
                  <a:lnTo>
                    <a:pt x="2510" y="1905"/>
                  </a:lnTo>
                  <a:lnTo>
                    <a:pt x="2508" y="1901"/>
                  </a:lnTo>
                  <a:lnTo>
                    <a:pt x="2507" y="1896"/>
                  </a:lnTo>
                  <a:lnTo>
                    <a:pt x="2505" y="1893"/>
                  </a:lnTo>
                  <a:lnTo>
                    <a:pt x="2503" y="1892"/>
                  </a:lnTo>
                  <a:lnTo>
                    <a:pt x="2502" y="1891"/>
                  </a:lnTo>
                  <a:lnTo>
                    <a:pt x="2500" y="1891"/>
                  </a:lnTo>
                  <a:lnTo>
                    <a:pt x="2496" y="1892"/>
                  </a:lnTo>
                  <a:lnTo>
                    <a:pt x="2490" y="1894"/>
                  </a:lnTo>
                  <a:lnTo>
                    <a:pt x="2483" y="1897"/>
                  </a:lnTo>
                  <a:lnTo>
                    <a:pt x="2464" y="1907"/>
                  </a:lnTo>
                  <a:lnTo>
                    <a:pt x="2443" y="1920"/>
                  </a:lnTo>
                  <a:lnTo>
                    <a:pt x="2422" y="1935"/>
                  </a:lnTo>
                  <a:lnTo>
                    <a:pt x="2404" y="1949"/>
                  </a:lnTo>
                  <a:lnTo>
                    <a:pt x="2388" y="1960"/>
                  </a:lnTo>
                  <a:lnTo>
                    <a:pt x="2380" y="1967"/>
                  </a:lnTo>
                  <a:lnTo>
                    <a:pt x="2376" y="1971"/>
                  </a:lnTo>
                  <a:lnTo>
                    <a:pt x="2374" y="1975"/>
                  </a:lnTo>
                  <a:lnTo>
                    <a:pt x="2372" y="1979"/>
                  </a:lnTo>
                  <a:lnTo>
                    <a:pt x="2371" y="1982"/>
                  </a:lnTo>
                  <a:lnTo>
                    <a:pt x="2371" y="1986"/>
                  </a:lnTo>
                  <a:lnTo>
                    <a:pt x="2371" y="1989"/>
                  </a:lnTo>
                  <a:lnTo>
                    <a:pt x="2372" y="1993"/>
                  </a:lnTo>
                  <a:lnTo>
                    <a:pt x="2374" y="1997"/>
                  </a:lnTo>
                  <a:lnTo>
                    <a:pt x="2379" y="2004"/>
                  </a:lnTo>
                  <a:lnTo>
                    <a:pt x="2385" y="2011"/>
                  </a:lnTo>
                  <a:lnTo>
                    <a:pt x="2393" y="2017"/>
                  </a:lnTo>
                  <a:lnTo>
                    <a:pt x="2401" y="2025"/>
                  </a:lnTo>
                  <a:lnTo>
                    <a:pt x="2421" y="2036"/>
                  </a:lnTo>
                  <a:lnTo>
                    <a:pt x="2441" y="2047"/>
                  </a:lnTo>
                  <a:lnTo>
                    <a:pt x="2458" y="2055"/>
                  </a:lnTo>
                  <a:lnTo>
                    <a:pt x="2470" y="2061"/>
                  </a:lnTo>
                  <a:lnTo>
                    <a:pt x="2470" y="2074"/>
                  </a:lnTo>
                  <a:lnTo>
                    <a:pt x="2470" y="2087"/>
                  </a:lnTo>
                  <a:lnTo>
                    <a:pt x="2467" y="2101"/>
                  </a:lnTo>
                  <a:lnTo>
                    <a:pt x="2463" y="2113"/>
                  </a:lnTo>
                  <a:lnTo>
                    <a:pt x="2460" y="2120"/>
                  </a:lnTo>
                  <a:lnTo>
                    <a:pt x="2457" y="2125"/>
                  </a:lnTo>
                  <a:lnTo>
                    <a:pt x="2453" y="2130"/>
                  </a:lnTo>
                  <a:lnTo>
                    <a:pt x="2447" y="2134"/>
                  </a:lnTo>
                  <a:lnTo>
                    <a:pt x="2442" y="2138"/>
                  </a:lnTo>
                  <a:lnTo>
                    <a:pt x="2436" y="2142"/>
                  </a:lnTo>
                  <a:lnTo>
                    <a:pt x="2430" y="2145"/>
                  </a:lnTo>
                  <a:lnTo>
                    <a:pt x="2422" y="2146"/>
                  </a:lnTo>
                  <a:lnTo>
                    <a:pt x="2418" y="2146"/>
                  </a:lnTo>
                  <a:lnTo>
                    <a:pt x="2412" y="2145"/>
                  </a:lnTo>
                  <a:lnTo>
                    <a:pt x="2406" y="2144"/>
                  </a:lnTo>
                  <a:lnTo>
                    <a:pt x="2398" y="2142"/>
                  </a:lnTo>
                  <a:lnTo>
                    <a:pt x="2384" y="2137"/>
                  </a:lnTo>
                  <a:lnTo>
                    <a:pt x="2369" y="2132"/>
                  </a:lnTo>
                  <a:lnTo>
                    <a:pt x="2362" y="2130"/>
                  </a:lnTo>
                  <a:lnTo>
                    <a:pt x="2356" y="2129"/>
                  </a:lnTo>
                  <a:lnTo>
                    <a:pt x="2349" y="2128"/>
                  </a:lnTo>
                  <a:lnTo>
                    <a:pt x="2344" y="2128"/>
                  </a:lnTo>
                  <a:lnTo>
                    <a:pt x="2339" y="2129"/>
                  </a:lnTo>
                  <a:lnTo>
                    <a:pt x="2336" y="2130"/>
                  </a:lnTo>
                  <a:lnTo>
                    <a:pt x="2334" y="2134"/>
                  </a:lnTo>
                  <a:lnTo>
                    <a:pt x="2333" y="2138"/>
                  </a:lnTo>
                  <a:lnTo>
                    <a:pt x="2342" y="2149"/>
                  </a:lnTo>
                  <a:lnTo>
                    <a:pt x="2356" y="2168"/>
                  </a:lnTo>
                  <a:lnTo>
                    <a:pt x="2369" y="2187"/>
                  </a:lnTo>
                  <a:lnTo>
                    <a:pt x="2378" y="2201"/>
                  </a:lnTo>
                  <a:lnTo>
                    <a:pt x="2381" y="2208"/>
                  </a:lnTo>
                  <a:lnTo>
                    <a:pt x="2382" y="2216"/>
                  </a:lnTo>
                  <a:lnTo>
                    <a:pt x="2382" y="2222"/>
                  </a:lnTo>
                  <a:lnTo>
                    <a:pt x="2382" y="2227"/>
                  </a:lnTo>
                  <a:lnTo>
                    <a:pt x="2381" y="2233"/>
                  </a:lnTo>
                  <a:lnTo>
                    <a:pt x="2381" y="2239"/>
                  </a:lnTo>
                  <a:lnTo>
                    <a:pt x="2380" y="2245"/>
                  </a:lnTo>
                  <a:lnTo>
                    <a:pt x="2381" y="2252"/>
                  </a:lnTo>
                  <a:lnTo>
                    <a:pt x="2383" y="2256"/>
                  </a:lnTo>
                  <a:lnTo>
                    <a:pt x="2385" y="2260"/>
                  </a:lnTo>
                  <a:lnTo>
                    <a:pt x="2389" y="2265"/>
                  </a:lnTo>
                  <a:lnTo>
                    <a:pt x="2393" y="2270"/>
                  </a:lnTo>
                  <a:lnTo>
                    <a:pt x="2405" y="2278"/>
                  </a:lnTo>
                  <a:lnTo>
                    <a:pt x="2418" y="2288"/>
                  </a:lnTo>
                  <a:lnTo>
                    <a:pt x="2433" y="2296"/>
                  </a:lnTo>
                  <a:lnTo>
                    <a:pt x="2446" y="2304"/>
                  </a:lnTo>
                  <a:lnTo>
                    <a:pt x="2458" y="2313"/>
                  </a:lnTo>
                  <a:lnTo>
                    <a:pt x="2466" y="2320"/>
                  </a:lnTo>
                  <a:lnTo>
                    <a:pt x="2471" y="2327"/>
                  </a:lnTo>
                  <a:lnTo>
                    <a:pt x="2476" y="2335"/>
                  </a:lnTo>
                  <a:lnTo>
                    <a:pt x="2480" y="2344"/>
                  </a:lnTo>
                  <a:lnTo>
                    <a:pt x="2483" y="2352"/>
                  </a:lnTo>
                  <a:lnTo>
                    <a:pt x="2486" y="2361"/>
                  </a:lnTo>
                  <a:lnTo>
                    <a:pt x="2489" y="2368"/>
                  </a:lnTo>
                  <a:lnTo>
                    <a:pt x="2494" y="2375"/>
                  </a:lnTo>
                  <a:lnTo>
                    <a:pt x="2500" y="2380"/>
                  </a:lnTo>
                  <a:lnTo>
                    <a:pt x="2503" y="2384"/>
                  </a:lnTo>
                  <a:lnTo>
                    <a:pt x="2505" y="2386"/>
                  </a:lnTo>
                  <a:lnTo>
                    <a:pt x="2506" y="2389"/>
                  </a:lnTo>
                  <a:lnTo>
                    <a:pt x="2507" y="2391"/>
                  </a:lnTo>
                  <a:lnTo>
                    <a:pt x="2507" y="2393"/>
                  </a:lnTo>
                  <a:lnTo>
                    <a:pt x="2506" y="2395"/>
                  </a:lnTo>
                  <a:lnTo>
                    <a:pt x="2505" y="2397"/>
                  </a:lnTo>
                  <a:lnTo>
                    <a:pt x="2503" y="2399"/>
                  </a:lnTo>
                  <a:lnTo>
                    <a:pt x="2498" y="2402"/>
                  </a:lnTo>
                  <a:lnTo>
                    <a:pt x="2491" y="2405"/>
                  </a:lnTo>
                  <a:lnTo>
                    <a:pt x="2484" y="2408"/>
                  </a:lnTo>
                  <a:lnTo>
                    <a:pt x="2474" y="2411"/>
                  </a:lnTo>
                  <a:lnTo>
                    <a:pt x="2456" y="2414"/>
                  </a:lnTo>
                  <a:lnTo>
                    <a:pt x="2437" y="2417"/>
                  </a:lnTo>
                  <a:lnTo>
                    <a:pt x="2421" y="2419"/>
                  </a:lnTo>
                  <a:lnTo>
                    <a:pt x="2411" y="2421"/>
                  </a:lnTo>
                  <a:lnTo>
                    <a:pt x="2403" y="2425"/>
                  </a:lnTo>
                  <a:lnTo>
                    <a:pt x="2394" y="2428"/>
                  </a:lnTo>
                  <a:lnTo>
                    <a:pt x="2386" y="2434"/>
                  </a:lnTo>
                  <a:lnTo>
                    <a:pt x="2379" y="2439"/>
                  </a:lnTo>
                  <a:lnTo>
                    <a:pt x="2371" y="2445"/>
                  </a:lnTo>
                  <a:lnTo>
                    <a:pt x="2364" y="2451"/>
                  </a:lnTo>
                  <a:lnTo>
                    <a:pt x="2358" y="2459"/>
                  </a:lnTo>
                  <a:lnTo>
                    <a:pt x="2351" y="2466"/>
                  </a:lnTo>
                  <a:lnTo>
                    <a:pt x="2339" y="2482"/>
                  </a:lnTo>
                  <a:lnTo>
                    <a:pt x="2329" y="2497"/>
                  </a:lnTo>
                  <a:lnTo>
                    <a:pt x="2319" y="2514"/>
                  </a:lnTo>
                  <a:lnTo>
                    <a:pt x="2311" y="2530"/>
                  </a:lnTo>
                  <a:lnTo>
                    <a:pt x="2310" y="2534"/>
                  </a:lnTo>
                  <a:lnTo>
                    <a:pt x="2309" y="2539"/>
                  </a:lnTo>
                  <a:lnTo>
                    <a:pt x="2307" y="2543"/>
                  </a:lnTo>
                  <a:lnTo>
                    <a:pt x="2305" y="2546"/>
                  </a:lnTo>
                  <a:lnTo>
                    <a:pt x="2299" y="2554"/>
                  </a:lnTo>
                  <a:lnTo>
                    <a:pt x="2292" y="2560"/>
                  </a:lnTo>
                  <a:lnTo>
                    <a:pt x="2286" y="2566"/>
                  </a:lnTo>
                  <a:lnTo>
                    <a:pt x="2280" y="2571"/>
                  </a:lnTo>
                  <a:lnTo>
                    <a:pt x="2274" y="2579"/>
                  </a:lnTo>
                  <a:lnTo>
                    <a:pt x="2270" y="2587"/>
                  </a:lnTo>
                  <a:lnTo>
                    <a:pt x="2267" y="2595"/>
                  </a:lnTo>
                  <a:lnTo>
                    <a:pt x="2265" y="2603"/>
                  </a:lnTo>
                  <a:lnTo>
                    <a:pt x="2264" y="2610"/>
                  </a:lnTo>
                  <a:lnTo>
                    <a:pt x="2264" y="2616"/>
                  </a:lnTo>
                  <a:lnTo>
                    <a:pt x="2264" y="2628"/>
                  </a:lnTo>
                  <a:lnTo>
                    <a:pt x="2264" y="2637"/>
                  </a:lnTo>
                  <a:lnTo>
                    <a:pt x="2263" y="2641"/>
                  </a:lnTo>
                  <a:lnTo>
                    <a:pt x="2262" y="2646"/>
                  </a:lnTo>
                  <a:lnTo>
                    <a:pt x="2260" y="2651"/>
                  </a:lnTo>
                  <a:lnTo>
                    <a:pt x="2258" y="2656"/>
                  </a:lnTo>
                  <a:lnTo>
                    <a:pt x="2253" y="2661"/>
                  </a:lnTo>
                  <a:lnTo>
                    <a:pt x="2247" y="2666"/>
                  </a:lnTo>
                  <a:lnTo>
                    <a:pt x="2240" y="2672"/>
                  </a:lnTo>
                  <a:lnTo>
                    <a:pt x="2232" y="2678"/>
                  </a:lnTo>
                  <a:lnTo>
                    <a:pt x="2226" y="2683"/>
                  </a:lnTo>
                  <a:lnTo>
                    <a:pt x="2223" y="2688"/>
                  </a:lnTo>
                  <a:lnTo>
                    <a:pt x="2221" y="2694"/>
                  </a:lnTo>
                  <a:lnTo>
                    <a:pt x="2219" y="2701"/>
                  </a:lnTo>
                  <a:lnTo>
                    <a:pt x="2218" y="2707"/>
                  </a:lnTo>
                  <a:lnTo>
                    <a:pt x="2216" y="2713"/>
                  </a:lnTo>
                  <a:lnTo>
                    <a:pt x="2213" y="2718"/>
                  </a:lnTo>
                  <a:lnTo>
                    <a:pt x="2209" y="2724"/>
                  </a:lnTo>
                  <a:lnTo>
                    <a:pt x="2199" y="2733"/>
                  </a:lnTo>
                  <a:lnTo>
                    <a:pt x="2191" y="2743"/>
                  </a:lnTo>
                  <a:lnTo>
                    <a:pt x="2181" y="2754"/>
                  </a:lnTo>
                  <a:lnTo>
                    <a:pt x="2174" y="2764"/>
                  </a:lnTo>
                  <a:lnTo>
                    <a:pt x="2176" y="2771"/>
                  </a:lnTo>
                  <a:lnTo>
                    <a:pt x="2179" y="2777"/>
                  </a:lnTo>
                  <a:lnTo>
                    <a:pt x="2185" y="2782"/>
                  </a:lnTo>
                  <a:lnTo>
                    <a:pt x="2189" y="2787"/>
                  </a:lnTo>
                  <a:lnTo>
                    <a:pt x="2189" y="2811"/>
                  </a:lnTo>
                  <a:lnTo>
                    <a:pt x="2188" y="2829"/>
                  </a:lnTo>
                  <a:lnTo>
                    <a:pt x="2186" y="2837"/>
                  </a:lnTo>
                  <a:lnTo>
                    <a:pt x="2181" y="2846"/>
                  </a:lnTo>
                  <a:lnTo>
                    <a:pt x="2176" y="2856"/>
                  </a:lnTo>
                  <a:lnTo>
                    <a:pt x="2169" y="2869"/>
                  </a:lnTo>
                  <a:lnTo>
                    <a:pt x="2161" y="2880"/>
                  </a:lnTo>
                  <a:lnTo>
                    <a:pt x="2152" y="2891"/>
                  </a:lnTo>
                  <a:lnTo>
                    <a:pt x="2143" y="2901"/>
                  </a:lnTo>
                  <a:lnTo>
                    <a:pt x="2134" y="2910"/>
                  </a:lnTo>
                  <a:lnTo>
                    <a:pt x="2114" y="2928"/>
                  </a:lnTo>
                  <a:lnTo>
                    <a:pt x="2093" y="2946"/>
                  </a:lnTo>
                  <a:lnTo>
                    <a:pt x="2073" y="2963"/>
                  </a:lnTo>
                  <a:lnTo>
                    <a:pt x="2053" y="2980"/>
                  </a:lnTo>
                  <a:lnTo>
                    <a:pt x="2044" y="2990"/>
                  </a:lnTo>
                  <a:lnTo>
                    <a:pt x="2036" y="2999"/>
                  </a:lnTo>
                  <a:lnTo>
                    <a:pt x="2027" y="3008"/>
                  </a:lnTo>
                  <a:lnTo>
                    <a:pt x="2019" y="3019"/>
                  </a:lnTo>
                  <a:lnTo>
                    <a:pt x="2019" y="3019"/>
                  </a:lnTo>
                  <a:lnTo>
                    <a:pt x="1992" y="3011"/>
                  </a:lnTo>
                  <a:lnTo>
                    <a:pt x="1957" y="2999"/>
                  </a:lnTo>
                  <a:lnTo>
                    <a:pt x="1918" y="2987"/>
                  </a:lnTo>
                  <a:lnTo>
                    <a:pt x="1877" y="2973"/>
                  </a:lnTo>
                  <a:lnTo>
                    <a:pt x="1857" y="2966"/>
                  </a:lnTo>
                  <a:lnTo>
                    <a:pt x="1838" y="2957"/>
                  </a:lnTo>
                  <a:lnTo>
                    <a:pt x="1821" y="2950"/>
                  </a:lnTo>
                  <a:lnTo>
                    <a:pt x="1805" y="2942"/>
                  </a:lnTo>
                  <a:lnTo>
                    <a:pt x="1791" y="2933"/>
                  </a:lnTo>
                  <a:lnTo>
                    <a:pt x="1779" y="2925"/>
                  </a:lnTo>
                  <a:lnTo>
                    <a:pt x="1774" y="2922"/>
                  </a:lnTo>
                  <a:lnTo>
                    <a:pt x="1771" y="2918"/>
                  </a:lnTo>
                  <a:lnTo>
                    <a:pt x="1767" y="2914"/>
                  </a:lnTo>
                  <a:lnTo>
                    <a:pt x="1764" y="2909"/>
                  </a:lnTo>
                  <a:lnTo>
                    <a:pt x="1752" y="2881"/>
                  </a:lnTo>
                  <a:lnTo>
                    <a:pt x="1743" y="2859"/>
                  </a:lnTo>
                  <a:lnTo>
                    <a:pt x="1736" y="2849"/>
                  </a:lnTo>
                  <a:lnTo>
                    <a:pt x="1729" y="2838"/>
                  </a:lnTo>
                  <a:lnTo>
                    <a:pt x="1720" y="2828"/>
                  </a:lnTo>
                  <a:lnTo>
                    <a:pt x="1707" y="2815"/>
                  </a:lnTo>
                  <a:lnTo>
                    <a:pt x="1690" y="2800"/>
                  </a:lnTo>
                  <a:lnTo>
                    <a:pt x="1670" y="2781"/>
                  </a:lnTo>
                  <a:lnTo>
                    <a:pt x="1646" y="2761"/>
                  </a:lnTo>
                  <a:lnTo>
                    <a:pt x="1620" y="2742"/>
                  </a:lnTo>
                  <a:lnTo>
                    <a:pt x="1606" y="2733"/>
                  </a:lnTo>
                  <a:lnTo>
                    <a:pt x="1593" y="2724"/>
                  </a:lnTo>
                  <a:lnTo>
                    <a:pt x="1580" y="2716"/>
                  </a:lnTo>
                  <a:lnTo>
                    <a:pt x="1567" y="2709"/>
                  </a:lnTo>
                  <a:lnTo>
                    <a:pt x="1555" y="2704"/>
                  </a:lnTo>
                  <a:lnTo>
                    <a:pt x="1543" y="2700"/>
                  </a:lnTo>
                  <a:lnTo>
                    <a:pt x="1532" y="2698"/>
                  </a:lnTo>
                  <a:lnTo>
                    <a:pt x="1523" y="2697"/>
                  </a:lnTo>
                  <a:lnTo>
                    <a:pt x="1514" y="2699"/>
                  </a:lnTo>
                  <a:lnTo>
                    <a:pt x="1506" y="2702"/>
                  </a:lnTo>
                  <a:lnTo>
                    <a:pt x="1496" y="2706"/>
                  </a:lnTo>
                  <a:lnTo>
                    <a:pt x="1488" y="2711"/>
                  </a:lnTo>
                  <a:lnTo>
                    <a:pt x="1479" y="2715"/>
                  </a:lnTo>
                  <a:lnTo>
                    <a:pt x="1470" y="2718"/>
                  </a:lnTo>
                  <a:lnTo>
                    <a:pt x="1466" y="2719"/>
                  </a:lnTo>
                  <a:lnTo>
                    <a:pt x="1462" y="2719"/>
                  </a:lnTo>
                  <a:lnTo>
                    <a:pt x="1458" y="2719"/>
                  </a:lnTo>
                  <a:lnTo>
                    <a:pt x="1454" y="2717"/>
                  </a:lnTo>
                  <a:lnTo>
                    <a:pt x="1430" y="2706"/>
                  </a:lnTo>
                  <a:lnTo>
                    <a:pt x="1408" y="2698"/>
                  </a:lnTo>
                  <a:lnTo>
                    <a:pt x="1397" y="2694"/>
                  </a:lnTo>
                  <a:lnTo>
                    <a:pt x="1388" y="2692"/>
                  </a:lnTo>
                  <a:lnTo>
                    <a:pt x="1379" y="2691"/>
                  </a:lnTo>
                  <a:lnTo>
                    <a:pt x="1370" y="2692"/>
                  </a:lnTo>
                  <a:lnTo>
                    <a:pt x="1362" y="2694"/>
                  </a:lnTo>
                  <a:lnTo>
                    <a:pt x="1355" y="2699"/>
                  </a:lnTo>
                  <a:lnTo>
                    <a:pt x="1348" y="2705"/>
                  </a:lnTo>
                  <a:lnTo>
                    <a:pt x="1342" y="2712"/>
                  </a:lnTo>
                  <a:lnTo>
                    <a:pt x="1337" y="2723"/>
                  </a:lnTo>
                  <a:lnTo>
                    <a:pt x="1333" y="2734"/>
                  </a:lnTo>
                  <a:lnTo>
                    <a:pt x="1329" y="2749"/>
                  </a:lnTo>
                  <a:lnTo>
                    <a:pt x="1325" y="2766"/>
                  </a:lnTo>
                  <a:lnTo>
                    <a:pt x="1320" y="2769"/>
                  </a:lnTo>
                  <a:lnTo>
                    <a:pt x="1315" y="2770"/>
                  </a:lnTo>
                  <a:lnTo>
                    <a:pt x="1309" y="2769"/>
                  </a:lnTo>
                  <a:lnTo>
                    <a:pt x="1304" y="2767"/>
                  </a:lnTo>
                  <a:lnTo>
                    <a:pt x="1297" y="2765"/>
                  </a:lnTo>
                  <a:lnTo>
                    <a:pt x="1292" y="2762"/>
                  </a:lnTo>
                  <a:lnTo>
                    <a:pt x="1287" y="2759"/>
                  </a:lnTo>
                  <a:lnTo>
                    <a:pt x="1281" y="2755"/>
                  </a:lnTo>
                  <a:lnTo>
                    <a:pt x="1271" y="2746"/>
                  </a:lnTo>
                  <a:lnTo>
                    <a:pt x="1262" y="2735"/>
                  </a:lnTo>
                  <a:lnTo>
                    <a:pt x="1255" y="2725"/>
                  </a:lnTo>
                  <a:lnTo>
                    <a:pt x="1248" y="2716"/>
                  </a:lnTo>
                  <a:lnTo>
                    <a:pt x="1244" y="2707"/>
                  </a:lnTo>
                  <a:lnTo>
                    <a:pt x="1241" y="2699"/>
                  </a:lnTo>
                  <a:lnTo>
                    <a:pt x="1234" y="2690"/>
                  </a:lnTo>
                  <a:lnTo>
                    <a:pt x="1225" y="2683"/>
                  </a:lnTo>
                  <a:lnTo>
                    <a:pt x="1216" y="2677"/>
                  </a:lnTo>
                  <a:lnTo>
                    <a:pt x="1207" y="2669"/>
                  </a:lnTo>
                  <a:lnTo>
                    <a:pt x="1197" y="2664"/>
                  </a:lnTo>
                  <a:lnTo>
                    <a:pt x="1187" y="2659"/>
                  </a:lnTo>
                  <a:lnTo>
                    <a:pt x="1175" y="2654"/>
                  </a:lnTo>
                  <a:lnTo>
                    <a:pt x="1165" y="2649"/>
                  </a:lnTo>
                  <a:lnTo>
                    <a:pt x="1142" y="2641"/>
                  </a:lnTo>
                  <a:lnTo>
                    <a:pt x="1119" y="2636"/>
                  </a:lnTo>
                  <a:lnTo>
                    <a:pt x="1096" y="2633"/>
                  </a:lnTo>
                  <a:lnTo>
                    <a:pt x="1074" y="2632"/>
                  </a:lnTo>
                  <a:lnTo>
                    <a:pt x="1060" y="2631"/>
                  </a:lnTo>
                  <a:lnTo>
                    <a:pt x="1045" y="2629"/>
                  </a:lnTo>
                  <a:lnTo>
                    <a:pt x="1029" y="2627"/>
                  </a:lnTo>
                  <a:lnTo>
                    <a:pt x="1014" y="2626"/>
                  </a:lnTo>
                  <a:lnTo>
                    <a:pt x="1011" y="2627"/>
                  </a:lnTo>
                  <a:lnTo>
                    <a:pt x="1007" y="2628"/>
                  </a:lnTo>
                  <a:lnTo>
                    <a:pt x="1004" y="2631"/>
                  </a:lnTo>
                  <a:lnTo>
                    <a:pt x="1001" y="2635"/>
                  </a:lnTo>
                  <a:lnTo>
                    <a:pt x="995" y="2645"/>
                  </a:lnTo>
                  <a:lnTo>
                    <a:pt x="990" y="2657"/>
                  </a:lnTo>
                  <a:lnTo>
                    <a:pt x="980" y="2682"/>
                  </a:lnTo>
                  <a:lnTo>
                    <a:pt x="975" y="2702"/>
                  </a:lnTo>
                  <a:lnTo>
                    <a:pt x="974" y="2714"/>
                  </a:lnTo>
                  <a:lnTo>
                    <a:pt x="974" y="2726"/>
                  </a:lnTo>
                  <a:lnTo>
                    <a:pt x="975" y="2737"/>
                  </a:lnTo>
                  <a:lnTo>
                    <a:pt x="977" y="2748"/>
                  </a:lnTo>
                  <a:lnTo>
                    <a:pt x="980" y="2759"/>
                  </a:lnTo>
                  <a:lnTo>
                    <a:pt x="985" y="2770"/>
                  </a:lnTo>
                  <a:lnTo>
                    <a:pt x="990" y="2779"/>
                  </a:lnTo>
                  <a:lnTo>
                    <a:pt x="995" y="2789"/>
                  </a:lnTo>
                  <a:lnTo>
                    <a:pt x="1006" y="2810"/>
                  </a:lnTo>
                  <a:lnTo>
                    <a:pt x="1017" y="2830"/>
                  </a:lnTo>
                  <a:lnTo>
                    <a:pt x="1022" y="2842"/>
                  </a:lnTo>
                  <a:lnTo>
                    <a:pt x="1026" y="2852"/>
                  </a:lnTo>
                  <a:lnTo>
                    <a:pt x="1029" y="2863"/>
                  </a:lnTo>
                  <a:lnTo>
                    <a:pt x="1031" y="2876"/>
                  </a:lnTo>
                  <a:lnTo>
                    <a:pt x="1033" y="2884"/>
                  </a:lnTo>
                  <a:lnTo>
                    <a:pt x="1031" y="2892"/>
                  </a:lnTo>
                  <a:lnTo>
                    <a:pt x="1031" y="2898"/>
                  </a:lnTo>
                  <a:lnTo>
                    <a:pt x="1029" y="2904"/>
                  </a:lnTo>
                  <a:lnTo>
                    <a:pt x="1027" y="2909"/>
                  </a:lnTo>
                  <a:lnTo>
                    <a:pt x="1024" y="2914"/>
                  </a:lnTo>
                  <a:lnTo>
                    <a:pt x="1020" y="2918"/>
                  </a:lnTo>
                  <a:lnTo>
                    <a:pt x="1017" y="2922"/>
                  </a:lnTo>
                  <a:lnTo>
                    <a:pt x="1007" y="2930"/>
                  </a:lnTo>
                  <a:lnTo>
                    <a:pt x="998" y="2939"/>
                  </a:lnTo>
                  <a:lnTo>
                    <a:pt x="988" y="2948"/>
                  </a:lnTo>
                  <a:lnTo>
                    <a:pt x="977" y="2959"/>
                  </a:lnTo>
                  <a:lnTo>
                    <a:pt x="972" y="2969"/>
                  </a:lnTo>
                  <a:lnTo>
                    <a:pt x="968" y="2978"/>
                  </a:lnTo>
                  <a:lnTo>
                    <a:pt x="966" y="2987"/>
                  </a:lnTo>
                  <a:lnTo>
                    <a:pt x="965" y="2995"/>
                  </a:lnTo>
                  <a:lnTo>
                    <a:pt x="965" y="3014"/>
                  </a:lnTo>
                  <a:lnTo>
                    <a:pt x="966" y="3034"/>
                  </a:lnTo>
                  <a:lnTo>
                    <a:pt x="968" y="3043"/>
                  </a:lnTo>
                  <a:lnTo>
                    <a:pt x="968" y="3052"/>
                  </a:lnTo>
                  <a:lnTo>
                    <a:pt x="967" y="3060"/>
                  </a:lnTo>
                  <a:lnTo>
                    <a:pt x="964" y="3068"/>
                  </a:lnTo>
                  <a:lnTo>
                    <a:pt x="960" y="3074"/>
                  </a:lnTo>
                  <a:lnTo>
                    <a:pt x="953" y="3080"/>
                  </a:lnTo>
                  <a:lnTo>
                    <a:pt x="947" y="3086"/>
                  </a:lnTo>
                  <a:lnTo>
                    <a:pt x="939" y="3090"/>
                  </a:lnTo>
                  <a:lnTo>
                    <a:pt x="930" y="3094"/>
                  </a:lnTo>
                  <a:lnTo>
                    <a:pt x="921" y="3098"/>
                  </a:lnTo>
                  <a:lnTo>
                    <a:pt x="912" y="3100"/>
                  </a:lnTo>
                  <a:lnTo>
                    <a:pt x="902" y="3102"/>
                  </a:lnTo>
                  <a:lnTo>
                    <a:pt x="892" y="3104"/>
                  </a:lnTo>
                  <a:lnTo>
                    <a:pt x="882" y="3104"/>
                  </a:lnTo>
                  <a:lnTo>
                    <a:pt x="874" y="3105"/>
                  </a:lnTo>
                  <a:lnTo>
                    <a:pt x="865" y="3104"/>
                  </a:lnTo>
                  <a:lnTo>
                    <a:pt x="857" y="3103"/>
                  </a:lnTo>
                  <a:lnTo>
                    <a:pt x="850" y="3101"/>
                  </a:lnTo>
                  <a:lnTo>
                    <a:pt x="843" y="3099"/>
                  </a:lnTo>
                  <a:lnTo>
                    <a:pt x="835" y="3096"/>
                  </a:lnTo>
                  <a:lnTo>
                    <a:pt x="822" y="3091"/>
                  </a:lnTo>
                  <a:lnTo>
                    <a:pt x="807" y="3086"/>
                  </a:lnTo>
                  <a:lnTo>
                    <a:pt x="792" y="3081"/>
                  </a:lnTo>
                  <a:lnTo>
                    <a:pt x="775" y="3079"/>
                  </a:lnTo>
                  <a:lnTo>
                    <a:pt x="759" y="3078"/>
                  </a:lnTo>
                  <a:lnTo>
                    <a:pt x="744" y="3077"/>
                  </a:lnTo>
                  <a:lnTo>
                    <a:pt x="727" y="3076"/>
                  </a:lnTo>
                  <a:lnTo>
                    <a:pt x="711" y="3074"/>
                  </a:lnTo>
                  <a:lnTo>
                    <a:pt x="703" y="3073"/>
                  </a:lnTo>
                  <a:lnTo>
                    <a:pt x="695" y="3071"/>
                  </a:lnTo>
                  <a:lnTo>
                    <a:pt x="686" y="3068"/>
                  </a:lnTo>
                  <a:lnTo>
                    <a:pt x="679" y="3065"/>
                  </a:lnTo>
                  <a:lnTo>
                    <a:pt x="669" y="3059"/>
                  </a:lnTo>
                  <a:lnTo>
                    <a:pt x="659" y="3052"/>
                  </a:lnTo>
                  <a:lnTo>
                    <a:pt x="650" y="3045"/>
                  </a:lnTo>
                  <a:lnTo>
                    <a:pt x="643" y="3037"/>
                  </a:lnTo>
                  <a:lnTo>
                    <a:pt x="627" y="3019"/>
                  </a:lnTo>
                  <a:lnTo>
                    <a:pt x="614" y="2999"/>
                  </a:lnTo>
                  <a:lnTo>
                    <a:pt x="602" y="2979"/>
                  </a:lnTo>
                  <a:lnTo>
                    <a:pt x="588" y="2959"/>
                  </a:lnTo>
                  <a:lnTo>
                    <a:pt x="582" y="2950"/>
                  </a:lnTo>
                  <a:lnTo>
                    <a:pt x="575" y="2941"/>
                  </a:lnTo>
                  <a:lnTo>
                    <a:pt x="567" y="2932"/>
                  </a:lnTo>
                  <a:lnTo>
                    <a:pt x="560" y="2924"/>
                  </a:lnTo>
                  <a:lnTo>
                    <a:pt x="543" y="2910"/>
                  </a:lnTo>
                  <a:lnTo>
                    <a:pt x="527" y="2898"/>
                  </a:lnTo>
                  <a:lnTo>
                    <a:pt x="510" y="2885"/>
                  </a:lnTo>
                  <a:lnTo>
                    <a:pt x="493" y="2872"/>
                  </a:lnTo>
                  <a:lnTo>
                    <a:pt x="488" y="2868"/>
                  </a:lnTo>
                  <a:lnTo>
                    <a:pt x="482" y="2863"/>
                  </a:lnTo>
                  <a:lnTo>
                    <a:pt x="475" y="2860"/>
                  </a:lnTo>
                  <a:lnTo>
                    <a:pt x="468" y="2857"/>
                  </a:lnTo>
                  <a:lnTo>
                    <a:pt x="456" y="2852"/>
                  </a:lnTo>
                  <a:lnTo>
                    <a:pt x="443" y="2845"/>
                  </a:lnTo>
                  <a:lnTo>
                    <a:pt x="305" y="2783"/>
                  </a:lnTo>
                  <a:lnTo>
                    <a:pt x="305" y="2783"/>
                  </a:lnTo>
                  <a:lnTo>
                    <a:pt x="308" y="2769"/>
                  </a:lnTo>
                  <a:lnTo>
                    <a:pt x="309" y="2754"/>
                  </a:lnTo>
                  <a:lnTo>
                    <a:pt x="310" y="2739"/>
                  </a:lnTo>
                  <a:lnTo>
                    <a:pt x="309" y="2724"/>
                  </a:lnTo>
                  <a:lnTo>
                    <a:pt x="295" y="2716"/>
                  </a:lnTo>
                  <a:lnTo>
                    <a:pt x="283" y="2712"/>
                  </a:lnTo>
                  <a:lnTo>
                    <a:pt x="269" y="2709"/>
                  </a:lnTo>
                  <a:lnTo>
                    <a:pt x="256" y="2707"/>
                  </a:lnTo>
                  <a:lnTo>
                    <a:pt x="228" y="2704"/>
                  </a:lnTo>
                  <a:lnTo>
                    <a:pt x="198" y="2702"/>
                  </a:lnTo>
                  <a:lnTo>
                    <a:pt x="194" y="2697"/>
                  </a:lnTo>
                  <a:lnTo>
                    <a:pt x="190" y="2691"/>
                  </a:lnTo>
                  <a:lnTo>
                    <a:pt x="190" y="2686"/>
                  </a:lnTo>
                  <a:lnTo>
                    <a:pt x="191" y="2681"/>
                  </a:lnTo>
                  <a:lnTo>
                    <a:pt x="192" y="2675"/>
                  </a:lnTo>
                  <a:lnTo>
                    <a:pt x="194" y="2668"/>
                  </a:lnTo>
                  <a:lnTo>
                    <a:pt x="198" y="2655"/>
                  </a:lnTo>
                  <a:lnTo>
                    <a:pt x="204" y="2642"/>
                  </a:lnTo>
                  <a:lnTo>
                    <a:pt x="209" y="2629"/>
                  </a:lnTo>
                  <a:lnTo>
                    <a:pt x="213" y="2615"/>
                  </a:lnTo>
                  <a:lnTo>
                    <a:pt x="214" y="2609"/>
                  </a:lnTo>
                  <a:lnTo>
                    <a:pt x="214" y="2604"/>
                  </a:lnTo>
                  <a:lnTo>
                    <a:pt x="214" y="2597"/>
                  </a:lnTo>
                  <a:lnTo>
                    <a:pt x="212" y="2592"/>
                  </a:lnTo>
                  <a:lnTo>
                    <a:pt x="213" y="2586"/>
                  </a:lnTo>
                  <a:lnTo>
                    <a:pt x="212" y="2579"/>
                  </a:lnTo>
                  <a:lnTo>
                    <a:pt x="184" y="2595"/>
                  </a:lnTo>
                  <a:lnTo>
                    <a:pt x="145" y="2618"/>
                  </a:lnTo>
                  <a:lnTo>
                    <a:pt x="136" y="2624"/>
                  </a:lnTo>
                  <a:lnTo>
                    <a:pt x="126" y="2628"/>
                  </a:lnTo>
                  <a:lnTo>
                    <a:pt x="118" y="2631"/>
                  </a:lnTo>
                  <a:lnTo>
                    <a:pt x="110" y="2632"/>
                  </a:lnTo>
                  <a:lnTo>
                    <a:pt x="106" y="2632"/>
                  </a:lnTo>
                  <a:lnTo>
                    <a:pt x="102" y="2631"/>
                  </a:lnTo>
                  <a:lnTo>
                    <a:pt x="99" y="2630"/>
                  </a:lnTo>
                  <a:lnTo>
                    <a:pt x="96" y="2629"/>
                  </a:lnTo>
                  <a:lnTo>
                    <a:pt x="93" y="2626"/>
                  </a:lnTo>
                  <a:lnTo>
                    <a:pt x="91" y="2624"/>
                  </a:lnTo>
                  <a:lnTo>
                    <a:pt x="89" y="2619"/>
                  </a:lnTo>
                  <a:lnTo>
                    <a:pt x="88" y="2615"/>
                  </a:lnTo>
                  <a:lnTo>
                    <a:pt x="86" y="2607"/>
                  </a:lnTo>
                  <a:lnTo>
                    <a:pt x="85" y="2600"/>
                  </a:lnTo>
                  <a:lnTo>
                    <a:pt x="85" y="2591"/>
                  </a:lnTo>
                  <a:lnTo>
                    <a:pt x="87" y="2583"/>
                  </a:lnTo>
                  <a:lnTo>
                    <a:pt x="91" y="2567"/>
                  </a:lnTo>
                  <a:lnTo>
                    <a:pt x="98" y="2553"/>
                  </a:lnTo>
                  <a:lnTo>
                    <a:pt x="107" y="2537"/>
                  </a:lnTo>
                  <a:lnTo>
                    <a:pt x="113" y="2521"/>
                  </a:lnTo>
                  <a:lnTo>
                    <a:pt x="116" y="2513"/>
                  </a:lnTo>
                  <a:lnTo>
                    <a:pt x="118" y="2506"/>
                  </a:lnTo>
                  <a:lnTo>
                    <a:pt x="120" y="2497"/>
                  </a:lnTo>
                  <a:lnTo>
                    <a:pt x="120" y="2488"/>
                  </a:lnTo>
                  <a:lnTo>
                    <a:pt x="112" y="2482"/>
                  </a:lnTo>
                  <a:lnTo>
                    <a:pt x="104" y="2476"/>
                  </a:lnTo>
                  <a:lnTo>
                    <a:pt x="95" y="2472"/>
                  </a:lnTo>
                  <a:lnTo>
                    <a:pt x="86" y="2469"/>
                  </a:lnTo>
                  <a:lnTo>
                    <a:pt x="68" y="2464"/>
                  </a:lnTo>
                  <a:lnTo>
                    <a:pt x="46" y="2457"/>
                  </a:lnTo>
                  <a:lnTo>
                    <a:pt x="38" y="2453"/>
                  </a:lnTo>
                  <a:lnTo>
                    <a:pt x="29" y="2449"/>
                  </a:lnTo>
                  <a:lnTo>
                    <a:pt x="22" y="2445"/>
                  </a:lnTo>
                  <a:lnTo>
                    <a:pt x="15" y="2440"/>
                  </a:lnTo>
                  <a:lnTo>
                    <a:pt x="9" y="2434"/>
                  </a:lnTo>
                  <a:lnTo>
                    <a:pt x="4" y="2426"/>
                  </a:lnTo>
                  <a:lnTo>
                    <a:pt x="2" y="2422"/>
                  </a:lnTo>
                  <a:lnTo>
                    <a:pt x="1" y="2418"/>
                  </a:lnTo>
                  <a:lnTo>
                    <a:pt x="0" y="2413"/>
                  </a:lnTo>
                  <a:lnTo>
                    <a:pt x="0" y="2408"/>
                  </a:lnTo>
                  <a:lnTo>
                    <a:pt x="1" y="2401"/>
                  </a:lnTo>
                  <a:lnTo>
                    <a:pt x="3" y="2394"/>
                  </a:lnTo>
                  <a:lnTo>
                    <a:pt x="7" y="2388"/>
                  </a:lnTo>
                  <a:lnTo>
                    <a:pt x="11" y="2383"/>
                  </a:lnTo>
                  <a:lnTo>
                    <a:pt x="22" y="2371"/>
                  </a:lnTo>
                  <a:lnTo>
                    <a:pt x="36" y="2361"/>
                  </a:lnTo>
                  <a:lnTo>
                    <a:pt x="49" y="2352"/>
                  </a:lnTo>
                  <a:lnTo>
                    <a:pt x="61" y="2343"/>
                  </a:lnTo>
                  <a:lnTo>
                    <a:pt x="65" y="2339"/>
                  </a:lnTo>
                  <a:lnTo>
                    <a:pt x="69" y="2336"/>
                  </a:lnTo>
                  <a:lnTo>
                    <a:pt x="71" y="2331"/>
                  </a:lnTo>
                  <a:lnTo>
                    <a:pt x="71" y="2327"/>
                  </a:lnTo>
                  <a:lnTo>
                    <a:pt x="64" y="2322"/>
                  </a:lnTo>
                  <a:lnTo>
                    <a:pt x="59" y="2317"/>
                  </a:lnTo>
                  <a:lnTo>
                    <a:pt x="56" y="2311"/>
                  </a:lnTo>
                  <a:lnTo>
                    <a:pt x="53" y="2305"/>
                  </a:lnTo>
                  <a:lnTo>
                    <a:pt x="53" y="2300"/>
                  </a:lnTo>
                  <a:lnTo>
                    <a:pt x="54" y="2295"/>
                  </a:lnTo>
                  <a:lnTo>
                    <a:pt x="57" y="2291"/>
                  </a:lnTo>
                  <a:lnTo>
                    <a:pt x="61" y="2285"/>
                  </a:lnTo>
                  <a:lnTo>
                    <a:pt x="65" y="2281"/>
                  </a:lnTo>
                  <a:lnTo>
                    <a:pt x="70" y="2277"/>
                  </a:lnTo>
                  <a:lnTo>
                    <a:pt x="75" y="2274"/>
                  </a:lnTo>
                  <a:lnTo>
                    <a:pt x="82" y="2271"/>
                  </a:lnTo>
                  <a:lnTo>
                    <a:pt x="94" y="2266"/>
                  </a:lnTo>
                  <a:lnTo>
                    <a:pt x="108" y="2263"/>
                  </a:lnTo>
                  <a:lnTo>
                    <a:pt x="131" y="2262"/>
                  </a:lnTo>
                  <a:lnTo>
                    <a:pt x="157" y="2260"/>
                  </a:lnTo>
                  <a:lnTo>
                    <a:pt x="163" y="2259"/>
                  </a:lnTo>
                  <a:lnTo>
                    <a:pt x="168" y="2258"/>
                  </a:lnTo>
                  <a:lnTo>
                    <a:pt x="172" y="2256"/>
                  </a:lnTo>
                  <a:lnTo>
                    <a:pt x="175" y="2254"/>
                  </a:lnTo>
                  <a:lnTo>
                    <a:pt x="178" y="2251"/>
                  </a:lnTo>
                  <a:lnTo>
                    <a:pt x="179" y="2247"/>
                  </a:lnTo>
                  <a:lnTo>
                    <a:pt x="179" y="2242"/>
                  </a:lnTo>
                  <a:lnTo>
                    <a:pt x="176" y="2235"/>
                  </a:lnTo>
                  <a:lnTo>
                    <a:pt x="176" y="2231"/>
                  </a:lnTo>
                  <a:lnTo>
                    <a:pt x="175" y="2227"/>
                  </a:lnTo>
                  <a:lnTo>
                    <a:pt x="174" y="2224"/>
                  </a:lnTo>
                  <a:lnTo>
                    <a:pt x="172" y="2221"/>
                  </a:lnTo>
                  <a:lnTo>
                    <a:pt x="168" y="2216"/>
                  </a:lnTo>
                  <a:lnTo>
                    <a:pt x="163" y="2211"/>
                  </a:lnTo>
                  <a:lnTo>
                    <a:pt x="156" y="2208"/>
                  </a:lnTo>
                  <a:lnTo>
                    <a:pt x="147" y="2206"/>
                  </a:lnTo>
                  <a:lnTo>
                    <a:pt x="139" y="2204"/>
                  </a:lnTo>
                  <a:lnTo>
                    <a:pt x="130" y="2204"/>
                  </a:lnTo>
                  <a:lnTo>
                    <a:pt x="93" y="2204"/>
                  </a:lnTo>
                  <a:lnTo>
                    <a:pt x="64" y="2202"/>
                  </a:lnTo>
                  <a:lnTo>
                    <a:pt x="57" y="2200"/>
                  </a:lnTo>
                  <a:lnTo>
                    <a:pt x="49" y="2197"/>
                  </a:lnTo>
                  <a:lnTo>
                    <a:pt x="43" y="2194"/>
                  </a:lnTo>
                  <a:lnTo>
                    <a:pt x="38" y="2188"/>
                  </a:lnTo>
                  <a:lnTo>
                    <a:pt x="33" y="2184"/>
                  </a:lnTo>
                  <a:lnTo>
                    <a:pt x="27" y="2178"/>
                  </a:lnTo>
                  <a:lnTo>
                    <a:pt x="23" y="2172"/>
                  </a:lnTo>
                  <a:lnTo>
                    <a:pt x="20" y="2166"/>
                  </a:lnTo>
                  <a:lnTo>
                    <a:pt x="17" y="2158"/>
                  </a:lnTo>
                  <a:lnTo>
                    <a:pt x="15" y="2151"/>
                  </a:lnTo>
                  <a:lnTo>
                    <a:pt x="13" y="2144"/>
                  </a:lnTo>
                  <a:lnTo>
                    <a:pt x="12" y="2136"/>
                  </a:lnTo>
                  <a:lnTo>
                    <a:pt x="12" y="2129"/>
                  </a:lnTo>
                  <a:lnTo>
                    <a:pt x="12" y="2121"/>
                  </a:lnTo>
                  <a:lnTo>
                    <a:pt x="13" y="2113"/>
                  </a:lnTo>
                  <a:lnTo>
                    <a:pt x="14" y="2106"/>
                  </a:lnTo>
                  <a:lnTo>
                    <a:pt x="19" y="2101"/>
                  </a:lnTo>
                  <a:lnTo>
                    <a:pt x="24" y="2097"/>
                  </a:lnTo>
                  <a:lnTo>
                    <a:pt x="31" y="2092"/>
                  </a:lnTo>
                  <a:lnTo>
                    <a:pt x="38" y="2089"/>
                  </a:lnTo>
                  <a:lnTo>
                    <a:pt x="45" y="2086"/>
                  </a:lnTo>
                  <a:lnTo>
                    <a:pt x="52" y="2084"/>
                  </a:lnTo>
                  <a:lnTo>
                    <a:pt x="61" y="2083"/>
                  </a:lnTo>
                  <a:lnTo>
                    <a:pt x="67" y="2082"/>
                  </a:lnTo>
                  <a:lnTo>
                    <a:pt x="73" y="2083"/>
                  </a:lnTo>
                  <a:lnTo>
                    <a:pt x="78" y="2084"/>
                  </a:lnTo>
                  <a:lnTo>
                    <a:pt x="84" y="2085"/>
                  </a:lnTo>
                  <a:lnTo>
                    <a:pt x="88" y="2087"/>
                  </a:lnTo>
                  <a:lnTo>
                    <a:pt x="93" y="2089"/>
                  </a:lnTo>
                  <a:lnTo>
                    <a:pt x="98" y="2091"/>
                  </a:lnTo>
                  <a:lnTo>
                    <a:pt x="104" y="2092"/>
                  </a:lnTo>
                  <a:lnTo>
                    <a:pt x="109" y="2092"/>
                  </a:lnTo>
                  <a:lnTo>
                    <a:pt x="112" y="2090"/>
                  </a:lnTo>
                  <a:lnTo>
                    <a:pt x="112" y="2090"/>
                  </a:lnTo>
                  <a:lnTo>
                    <a:pt x="120" y="2091"/>
                  </a:lnTo>
                  <a:lnTo>
                    <a:pt x="129" y="2095"/>
                  </a:lnTo>
                  <a:lnTo>
                    <a:pt x="136" y="2098"/>
                  </a:lnTo>
                  <a:lnTo>
                    <a:pt x="143" y="2101"/>
                  </a:lnTo>
                  <a:lnTo>
                    <a:pt x="151" y="2104"/>
                  </a:lnTo>
                  <a:lnTo>
                    <a:pt x="160" y="2107"/>
                  </a:lnTo>
                  <a:lnTo>
                    <a:pt x="168" y="2109"/>
                  </a:lnTo>
                  <a:lnTo>
                    <a:pt x="179" y="2109"/>
                  </a:lnTo>
                  <a:lnTo>
                    <a:pt x="185" y="2109"/>
                  </a:lnTo>
                  <a:lnTo>
                    <a:pt x="190" y="2107"/>
                  </a:lnTo>
                  <a:lnTo>
                    <a:pt x="196" y="2105"/>
                  </a:lnTo>
                  <a:lnTo>
                    <a:pt x="203" y="2102"/>
                  </a:lnTo>
                  <a:lnTo>
                    <a:pt x="208" y="2099"/>
                  </a:lnTo>
                  <a:lnTo>
                    <a:pt x="212" y="2095"/>
                  </a:lnTo>
                  <a:lnTo>
                    <a:pt x="216" y="2089"/>
                  </a:lnTo>
                  <a:lnTo>
                    <a:pt x="218" y="2084"/>
                  </a:lnTo>
                  <a:lnTo>
                    <a:pt x="219" y="2077"/>
                  </a:lnTo>
                  <a:lnTo>
                    <a:pt x="219" y="2070"/>
                  </a:lnTo>
                  <a:lnTo>
                    <a:pt x="218" y="2061"/>
                  </a:lnTo>
                  <a:lnTo>
                    <a:pt x="216" y="2052"/>
                  </a:lnTo>
                  <a:lnTo>
                    <a:pt x="214" y="2042"/>
                  </a:lnTo>
                  <a:lnTo>
                    <a:pt x="212" y="2034"/>
                  </a:lnTo>
                  <a:lnTo>
                    <a:pt x="211" y="2026"/>
                  </a:lnTo>
                  <a:lnTo>
                    <a:pt x="211" y="2017"/>
                  </a:lnTo>
                  <a:lnTo>
                    <a:pt x="213" y="2009"/>
                  </a:lnTo>
                  <a:lnTo>
                    <a:pt x="217" y="2003"/>
                  </a:lnTo>
                  <a:lnTo>
                    <a:pt x="221" y="1997"/>
                  </a:lnTo>
                  <a:lnTo>
                    <a:pt x="227" y="1991"/>
                  </a:lnTo>
                  <a:lnTo>
                    <a:pt x="234" y="1983"/>
                  </a:lnTo>
                  <a:lnTo>
                    <a:pt x="240" y="1974"/>
                  </a:lnTo>
                  <a:lnTo>
                    <a:pt x="247" y="1965"/>
                  </a:lnTo>
                  <a:lnTo>
                    <a:pt x="254" y="1958"/>
                  </a:lnTo>
                  <a:lnTo>
                    <a:pt x="281" y="1941"/>
                  </a:lnTo>
                  <a:lnTo>
                    <a:pt x="319" y="1918"/>
                  </a:lnTo>
                  <a:lnTo>
                    <a:pt x="340" y="1908"/>
                  </a:lnTo>
                  <a:lnTo>
                    <a:pt x="360" y="1897"/>
                  </a:lnTo>
                  <a:lnTo>
                    <a:pt x="378" y="1890"/>
                  </a:lnTo>
                  <a:lnTo>
                    <a:pt x="392" y="1885"/>
                  </a:lnTo>
                  <a:lnTo>
                    <a:pt x="419" y="1879"/>
                  </a:lnTo>
                  <a:lnTo>
                    <a:pt x="449" y="1872"/>
                  </a:lnTo>
                  <a:lnTo>
                    <a:pt x="464" y="1868"/>
                  </a:lnTo>
                  <a:lnTo>
                    <a:pt x="479" y="1864"/>
                  </a:lnTo>
                  <a:lnTo>
                    <a:pt x="493" y="1859"/>
                  </a:lnTo>
                  <a:lnTo>
                    <a:pt x="507" y="1853"/>
                  </a:lnTo>
                  <a:lnTo>
                    <a:pt x="520" y="1845"/>
                  </a:lnTo>
                  <a:lnTo>
                    <a:pt x="530" y="1837"/>
                  </a:lnTo>
                  <a:lnTo>
                    <a:pt x="535" y="1833"/>
                  </a:lnTo>
                  <a:lnTo>
                    <a:pt x="539" y="1828"/>
                  </a:lnTo>
                  <a:lnTo>
                    <a:pt x="543" y="1822"/>
                  </a:lnTo>
                  <a:lnTo>
                    <a:pt x="547" y="1817"/>
                  </a:lnTo>
                  <a:lnTo>
                    <a:pt x="549" y="1811"/>
                  </a:lnTo>
                  <a:lnTo>
                    <a:pt x="551" y="1805"/>
                  </a:lnTo>
                  <a:lnTo>
                    <a:pt x="552" y="1798"/>
                  </a:lnTo>
                  <a:lnTo>
                    <a:pt x="553" y="1791"/>
                  </a:lnTo>
                  <a:lnTo>
                    <a:pt x="552" y="1784"/>
                  </a:lnTo>
                  <a:lnTo>
                    <a:pt x="551" y="1775"/>
                  </a:lnTo>
                  <a:lnTo>
                    <a:pt x="549" y="1767"/>
                  </a:lnTo>
                  <a:lnTo>
                    <a:pt x="547" y="1759"/>
                  </a:lnTo>
                  <a:lnTo>
                    <a:pt x="535" y="1736"/>
                  </a:lnTo>
                  <a:lnTo>
                    <a:pt x="524" y="1712"/>
                  </a:lnTo>
                  <a:lnTo>
                    <a:pt x="523" y="1706"/>
                  </a:lnTo>
                  <a:lnTo>
                    <a:pt x="523" y="1700"/>
                  </a:lnTo>
                  <a:lnTo>
                    <a:pt x="524" y="1695"/>
                  </a:lnTo>
                  <a:lnTo>
                    <a:pt x="526" y="1690"/>
                  </a:lnTo>
                  <a:lnTo>
                    <a:pt x="529" y="1685"/>
                  </a:lnTo>
                  <a:lnTo>
                    <a:pt x="534" y="1680"/>
                  </a:lnTo>
                  <a:lnTo>
                    <a:pt x="540" y="1676"/>
                  </a:lnTo>
                  <a:lnTo>
                    <a:pt x="550" y="1673"/>
                  </a:lnTo>
                  <a:lnTo>
                    <a:pt x="583" y="1662"/>
                  </a:lnTo>
                  <a:lnTo>
                    <a:pt x="616" y="1650"/>
                  </a:lnTo>
                  <a:lnTo>
                    <a:pt x="649" y="1637"/>
                  </a:lnTo>
                  <a:lnTo>
                    <a:pt x="681" y="1623"/>
                  </a:lnTo>
                  <a:lnTo>
                    <a:pt x="713" y="1599"/>
                  </a:lnTo>
                  <a:lnTo>
                    <a:pt x="713" y="1599"/>
                  </a:lnTo>
                  <a:lnTo>
                    <a:pt x="734" y="1604"/>
                  </a:lnTo>
                  <a:lnTo>
                    <a:pt x="756" y="1609"/>
                  </a:lnTo>
                  <a:lnTo>
                    <a:pt x="779" y="1612"/>
                  </a:lnTo>
                  <a:lnTo>
                    <a:pt x="802" y="1614"/>
                  </a:lnTo>
                  <a:lnTo>
                    <a:pt x="825" y="1615"/>
                  </a:lnTo>
                  <a:lnTo>
                    <a:pt x="849" y="1614"/>
                  </a:lnTo>
                  <a:lnTo>
                    <a:pt x="873" y="1611"/>
                  </a:lnTo>
                  <a:lnTo>
                    <a:pt x="896" y="1606"/>
                  </a:lnTo>
                  <a:lnTo>
                    <a:pt x="918" y="1601"/>
                  </a:lnTo>
                  <a:lnTo>
                    <a:pt x="940" y="1593"/>
                  </a:lnTo>
                  <a:lnTo>
                    <a:pt x="950" y="1589"/>
                  </a:lnTo>
                  <a:lnTo>
                    <a:pt x="961" y="1583"/>
                  </a:lnTo>
                  <a:lnTo>
                    <a:pt x="971" y="1578"/>
                  </a:lnTo>
                  <a:lnTo>
                    <a:pt x="980" y="1573"/>
                  </a:lnTo>
                  <a:lnTo>
                    <a:pt x="990" y="1567"/>
                  </a:lnTo>
                  <a:lnTo>
                    <a:pt x="998" y="1559"/>
                  </a:lnTo>
                  <a:lnTo>
                    <a:pt x="1006" y="1552"/>
                  </a:lnTo>
                  <a:lnTo>
                    <a:pt x="1015" y="1545"/>
                  </a:lnTo>
                  <a:lnTo>
                    <a:pt x="1022" y="1536"/>
                  </a:lnTo>
                  <a:lnTo>
                    <a:pt x="1028" y="1527"/>
                  </a:lnTo>
                  <a:lnTo>
                    <a:pt x="1035" y="1518"/>
                  </a:lnTo>
                  <a:lnTo>
                    <a:pt x="1041" y="1508"/>
                  </a:lnTo>
                  <a:lnTo>
                    <a:pt x="1052" y="1498"/>
                  </a:lnTo>
                  <a:lnTo>
                    <a:pt x="1063" y="1486"/>
                  </a:lnTo>
                  <a:lnTo>
                    <a:pt x="1069" y="1482"/>
                  </a:lnTo>
                  <a:lnTo>
                    <a:pt x="1075" y="1478"/>
                  </a:lnTo>
                  <a:lnTo>
                    <a:pt x="1082" y="1476"/>
                  </a:lnTo>
                  <a:lnTo>
                    <a:pt x="1090" y="1475"/>
                  </a:lnTo>
                  <a:lnTo>
                    <a:pt x="1142" y="1478"/>
                  </a:lnTo>
                  <a:lnTo>
                    <a:pt x="1149" y="1473"/>
                  </a:lnTo>
                  <a:lnTo>
                    <a:pt x="1157" y="1468"/>
                  </a:lnTo>
                  <a:lnTo>
                    <a:pt x="1162" y="1462"/>
                  </a:lnTo>
                  <a:lnTo>
                    <a:pt x="1167" y="1456"/>
                  </a:lnTo>
                  <a:lnTo>
                    <a:pt x="1172" y="1450"/>
                  </a:lnTo>
                  <a:lnTo>
                    <a:pt x="1177" y="1444"/>
                  </a:lnTo>
                  <a:lnTo>
                    <a:pt x="1184" y="1438"/>
                  </a:lnTo>
                  <a:lnTo>
                    <a:pt x="1190" y="1433"/>
                  </a:lnTo>
                  <a:lnTo>
                    <a:pt x="1200" y="1427"/>
                  </a:lnTo>
                  <a:lnTo>
                    <a:pt x="1211" y="1422"/>
                  </a:lnTo>
                  <a:lnTo>
                    <a:pt x="1222" y="1418"/>
                  </a:lnTo>
                  <a:lnTo>
                    <a:pt x="1234" y="1414"/>
                  </a:lnTo>
                  <a:lnTo>
                    <a:pt x="1245" y="1411"/>
                  </a:lnTo>
                  <a:lnTo>
                    <a:pt x="1257" y="1410"/>
                  </a:lnTo>
                  <a:lnTo>
                    <a:pt x="1269" y="1409"/>
                  </a:lnTo>
                  <a:lnTo>
                    <a:pt x="1282" y="1409"/>
                  </a:lnTo>
                  <a:lnTo>
                    <a:pt x="1290" y="1412"/>
                  </a:lnTo>
                  <a:lnTo>
                    <a:pt x="1297" y="1415"/>
                  </a:lnTo>
                  <a:lnTo>
                    <a:pt x="1304" y="1420"/>
                  </a:lnTo>
                  <a:lnTo>
                    <a:pt x="1310" y="1425"/>
                  </a:lnTo>
                  <a:lnTo>
                    <a:pt x="1312" y="1433"/>
                  </a:lnTo>
                  <a:lnTo>
                    <a:pt x="1315" y="1443"/>
                  </a:lnTo>
                  <a:lnTo>
                    <a:pt x="1319" y="1452"/>
                  </a:lnTo>
                  <a:lnTo>
                    <a:pt x="1324" y="1461"/>
                  </a:lnTo>
                  <a:lnTo>
                    <a:pt x="1335" y="1480"/>
                  </a:lnTo>
                  <a:lnTo>
                    <a:pt x="1344" y="1496"/>
                  </a:lnTo>
                  <a:lnTo>
                    <a:pt x="1351" y="1498"/>
                  </a:lnTo>
                  <a:lnTo>
                    <a:pt x="1358" y="1500"/>
                  </a:lnTo>
                  <a:lnTo>
                    <a:pt x="1364" y="1500"/>
                  </a:lnTo>
                  <a:lnTo>
                    <a:pt x="1371" y="1501"/>
                  </a:lnTo>
                  <a:lnTo>
                    <a:pt x="1378" y="1500"/>
                  </a:lnTo>
                  <a:lnTo>
                    <a:pt x="1384" y="1499"/>
                  </a:lnTo>
                  <a:lnTo>
                    <a:pt x="1390" y="1497"/>
                  </a:lnTo>
                  <a:lnTo>
                    <a:pt x="1396" y="1495"/>
                  </a:lnTo>
                  <a:lnTo>
                    <a:pt x="1409" y="1487"/>
                  </a:lnTo>
                  <a:lnTo>
                    <a:pt x="1420" y="1479"/>
                  </a:lnTo>
                  <a:lnTo>
                    <a:pt x="1432" y="1470"/>
                  </a:lnTo>
                  <a:lnTo>
                    <a:pt x="1443" y="1458"/>
                  </a:lnTo>
                  <a:lnTo>
                    <a:pt x="1454" y="1447"/>
                  </a:lnTo>
                  <a:lnTo>
                    <a:pt x="1463" y="1433"/>
                  </a:lnTo>
                  <a:lnTo>
                    <a:pt x="1472" y="1421"/>
                  </a:lnTo>
                  <a:lnTo>
                    <a:pt x="1481" y="1407"/>
                  </a:lnTo>
                  <a:lnTo>
                    <a:pt x="1496" y="1382"/>
                  </a:lnTo>
                  <a:lnTo>
                    <a:pt x="1509" y="1361"/>
                  </a:lnTo>
                  <a:lnTo>
                    <a:pt x="1523" y="1338"/>
                  </a:lnTo>
                  <a:lnTo>
                    <a:pt x="1535" y="1317"/>
                  </a:lnTo>
                  <a:lnTo>
                    <a:pt x="1549" y="1299"/>
                  </a:lnTo>
                  <a:lnTo>
                    <a:pt x="1561" y="1282"/>
                  </a:lnTo>
                  <a:lnTo>
                    <a:pt x="1574" y="1267"/>
                  </a:lnTo>
                  <a:lnTo>
                    <a:pt x="1587" y="1254"/>
                  </a:lnTo>
                  <a:lnTo>
                    <a:pt x="1601" y="1242"/>
                  </a:lnTo>
                  <a:lnTo>
                    <a:pt x="1615" y="1232"/>
                  </a:lnTo>
                  <a:lnTo>
                    <a:pt x="1630" y="1222"/>
                  </a:lnTo>
                  <a:lnTo>
                    <a:pt x="1647" y="1214"/>
                  </a:lnTo>
                  <a:lnTo>
                    <a:pt x="1663" y="1207"/>
                  </a:lnTo>
                  <a:lnTo>
                    <a:pt x="1682" y="1201"/>
                  </a:lnTo>
                  <a:lnTo>
                    <a:pt x="1702" y="1195"/>
                  </a:lnTo>
                  <a:lnTo>
                    <a:pt x="1724" y="1190"/>
                  </a:lnTo>
                  <a:lnTo>
                    <a:pt x="1748" y="1185"/>
                  </a:lnTo>
                  <a:lnTo>
                    <a:pt x="1774" y="1181"/>
                  </a:lnTo>
                  <a:lnTo>
                    <a:pt x="1799" y="1177"/>
                  </a:lnTo>
                  <a:lnTo>
                    <a:pt x="1825" y="1171"/>
                  </a:lnTo>
                  <a:lnTo>
                    <a:pt x="1851" y="1166"/>
                  </a:lnTo>
                  <a:lnTo>
                    <a:pt x="1877" y="1159"/>
                  </a:lnTo>
                  <a:lnTo>
                    <a:pt x="1902" y="1151"/>
                  </a:lnTo>
                  <a:lnTo>
                    <a:pt x="1927" y="1143"/>
                  </a:lnTo>
                  <a:lnTo>
                    <a:pt x="1951" y="1133"/>
                  </a:lnTo>
                  <a:lnTo>
                    <a:pt x="1974" y="1121"/>
                  </a:lnTo>
                  <a:lnTo>
                    <a:pt x="1994" y="1108"/>
                  </a:lnTo>
                  <a:lnTo>
                    <a:pt x="2015" y="1093"/>
                  </a:lnTo>
                  <a:lnTo>
                    <a:pt x="2037" y="1076"/>
                  </a:lnTo>
                  <a:lnTo>
                    <a:pt x="2058" y="1059"/>
                  </a:lnTo>
                  <a:lnTo>
                    <a:pt x="2081" y="1042"/>
                  </a:lnTo>
                  <a:lnTo>
                    <a:pt x="2104" y="1026"/>
                  </a:lnTo>
                  <a:lnTo>
                    <a:pt x="2116" y="1019"/>
                  </a:lnTo>
                  <a:lnTo>
                    <a:pt x="2126" y="1013"/>
                  </a:lnTo>
                  <a:lnTo>
                    <a:pt x="2138" y="1008"/>
                  </a:lnTo>
                  <a:lnTo>
                    <a:pt x="2149" y="1003"/>
                  </a:lnTo>
                  <a:lnTo>
                    <a:pt x="2173" y="998"/>
                  </a:lnTo>
                  <a:lnTo>
                    <a:pt x="2195" y="992"/>
                  </a:lnTo>
                  <a:lnTo>
                    <a:pt x="2205" y="988"/>
                  </a:lnTo>
                  <a:lnTo>
                    <a:pt x="2215" y="982"/>
                  </a:lnTo>
                  <a:lnTo>
                    <a:pt x="2224" y="975"/>
                  </a:lnTo>
                  <a:lnTo>
                    <a:pt x="2234" y="966"/>
                  </a:lnTo>
                  <a:lnTo>
                    <a:pt x="2241" y="957"/>
                  </a:lnTo>
                  <a:lnTo>
                    <a:pt x="2247" y="951"/>
                  </a:lnTo>
                  <a:lnTo>
                    <a:pt x="2254" y="947"/>
                  </a:lnTo>
                  <a:lnTo>
                    <a:pt x="2262" y="944"/>
                  </a:lnTo>
                  <a:lnTo>
                    <a:pt x="2270" y="942"/>
                  </a:lnTo>
                  <a:lnTo>
                    <a:pt x="2278" y="942"/>
                  </a:lnTo>
                  <a:lnTo>
                    <a:pt x="2288" y="942"/>
                  </a:lnTo>
                  <a:lnTo>
                    <a:pt x="2299" y="944"/>
                  </a:lnTo>
                  <a:lnTo>
                    <a:pt x="2312" y="945"/>
                  </a:lnTo>
                  <a:lnTo>
                    <a:pt x="2322" y="945"/>
                  </a:lnTo>
                  <a:lnTo>
                    <a:pt x="2333" y="943"/>
                  </a:lnTo>
                  <a:lnTo>
                    <a:pt x="2343" y="941"/>
                  </a:lnTo>
                  <a:lnTo>
                    <a:pt x="2352" y="937"/>
                  </a:lnTo>
                  <a:lnTo>
                    <a:pt x="2361" y="931"/>
                  </a:lnTo>
                  <a:lnTo>
                    <a:pt x="2369" y="926"/>
                  </a:lnTo>
                  <a:lnTo>
                    <a:pt x="2378" y="920"/>
                  </a:lnTo>
                  <a:lnTo>
                    <a:pt x="2407" y="890"/>
                  </a:lnTo>
                  <a:lnTo>
                    <a:pt x="2436" y="859"/>
                  </a:lnTo>
                  <a:lnTo>
                    <a:pt x="2443" y="853"/>
                  </a:lnTo>
                  <a:lnTo>
                    <a:pt x="2451" y="847"/>
                  </a:lnTo>
                  <a:lnTo>
                    <a:pt x="2459" y="843"/>
                  </a:lnTo>
                  <a:lnTo>
                    <a:pt x="2467" y="839"/>
                  </a:lnTo>
                  <a:lnTo>
                    <a:pt x="2476" y="834"/>
                  </a:lnTo>
                  <a:lnTo>
                    <a:pt x="2484" y="831"/>
                  </a:lnTo>
                  <a:lnTo>
                    <a:pt x="2493" y="829"/>
                  </a:lnTo>
                  <a:lnTo>
                    <a:pt x="2503" y="827"/>
                  </a:lnTo>
                  <a:lnTo>
                    <a:pt x="2521" y="824"/>
                  </a:lnTo>
                  <a:lnTo>
                    <a:pt x="2540" y="823"/>
                  </a:lnTo>
                  <a:lnTo>
                    <a:pt x="2560" y="822"/>
                  </a:lnTo>
                  <a:lnTo>
                    <a:pt x="2580" y="821"/>
                  </a:lnTo>
                  <a:lnTo>
                    <a:pt x="2599" y="820"/>
                  </a:lnTo>
                  <a:lnTo>
                    <a:pt x="2618" y="819"/>
                  </a:lnTo>
                  <a:lnTo>
                    <a:pt x="2638" y="816"/>
                  </a:lnTo>
                  <a:lnTo>
                    <a:pt x="2657" y="811"/>
                  </a:lnTo>
                  <a:lnTo>
                    <a:pt x="2665" y="808"/>
                  </a:lnTo>
                  <a:lnTo>
                    <a:pt x="2675" y="805"/>
                  </a:lnTo>
                  <a:lnTo>
                    <a:pt x="2684" y="801"/>
                  </a:lnTo>
                  <a:lnTo>
                    <a:pt x="2692" y="796"/>
                  </a:lnTo>
                  <a:lnTo>
                    <a:pt x="2701" y="791"/>
                  </a:lnTo>
                  <a:lnTo>
                    <a:pt x="2709" y="784"/>
                  </a:lnTo>
                  <a:lnTo>
                    <a:pt x="2716" y="777"/>
                  </a:lnTo>
                  <a:lnTo>
                    <a:pt x="2725" y="769"/>
                  </a:lnTo>
                  <a:lnTo>
                    <a:pt x="2724" y="759"/>
                  </a:lnTo>
                  <a:lnTo>
                    <a:pt x="2723" y="752"/>
                  </a:lnTo>
                  <a:lnTo>
                    <a:pt x="2722" y="747"/>
                  </a:lnTo>
                  <a:lnTo>
                    <a:pt x="2720" y="741"/>
                  </a:lnTo>
                  <a:lnTo>
                    <a:pt x="2713" y="733"/>
                  </a:lnTo>
                  <a:lnTo>
                    <a:pt x="2704" y="721"/>
                  </a:lnTo>
                  <a:lnTo>
                    <a:pt x="2702" y="720"/>
                  </a:lnTo>
                  <a:lnTo>
                    <a:pt x="2696" y="714"/>
                  </a:lnTo>
                  <a:lnTo>
                    <a:pt x="2690" y="710"/>
                  </a:lnTo>
                  <a:lnTo>
                    <a:pt x="2690" y="710"/>
                  </a:lnTo>
                  <a:lnTo>
                    <a:pt x="2701" y="693"/>
                  </a:lnTo>
                  <a:lnTo>
                    <a:pt x="2711" y="676"/>
                  </a:lnTo>
                  <a:lnTo>
                    <a:pt x="2721" y="658"/>
                  </a:lnTo>
                  <a:lnTo>
                    <a:pt x="2729" y="639"/>
                  </a:lnTo>
                  <a:lnTo>
                    <a:pt x="2733" y="631"/>
                  </a:lnTo>
                  <a:lnTo>
                    <a:pt x="2736" y="620"/>
                  </a:lnTo>
                  <a:lnTo>
                    <a:pt x="2738" y="611"/>
                  </a:lnTo>
                  <a:lnTo>
                    <a:pt x="2740" y="602"/>
                  </a:lnTo>
                  <a:lnTo>
                    <a:pt x="2741" y="592"/>
                  </a:lnTo>
                  <a:lnTo>
                    <a:pt x="2742" y="582"/>
                  </a:lnTo>
                  <a:lnTo>
                    <a:pt x="2742" y="572"/>
                  </a:lnTo>
                  <a:lnTo>
                    <a:pt x="2741" y="562"/>
                  </a:lnTo>
                  <a:lnTo>
                    <a:pt x="2740" y="551"/>
                  </a:lnTo>
                  <a:lnTo>
                    <a:pt x="2740" y="540"/>
                  </a:lnTo>
                  <a:lnTo>
                    <a:pt x="2742" y="530"/>
                  </a:lnTo>
                  <a:lnTo>
                    <a:pt x="2745" y="520"/>
                  </a:lnTo>
                  <a:lnTo>
                    <a:pt x="2748" y="511"/>
                  </a:lnTo>
                  <a:lnTo>
                    <a:pt x="2752" y="502"/>
                  </a:lnTo>
                  <a:lnTo>
                    <a:pt x="2756" y="493"/>
                  </a:lnTo>
                  <a:lnTo>
                    <a:pt x="2762" y="485"/>
                  </a:lnTo>
                  <a:lnTo>
                    <a:pt x="2775" y="469"/>
                  </a:lnTo>
                  <a:lnTo>
                    <a:pt x="2788" y="455"/>
                  </a:lnTo>
                  <a:lnTo>
                    <a:pt x="2804" y="440"/>
                  </a:lnTo>
                  <a:lnTo>
                    <a:pt x="2819" y="425"/>
                  </a:lnTo>
                  <a:lnTo>
                    <a:pt x="2839" y="405"/>
                  </a:lnTo>
                  <a:lnTo>
                    <a:pt x="2858" y="383"/>
                  </a:lnTo>
                  <a:lnTo>
                    <a:pt x="2877" y="361"/>
                  </a:lnTo>
                  <a:lnTo>
                    <a:pt x="2897" y="341"/>
                  </a:lnTo>
                  <a:lnTo>
                    <a:pt x="2916" y="322"/>
                  </a:lnTo>
                  <a:lnTo>
                    <a:pt x="2935" y="303"/>
                  </a:lnTo>
                  <a:lnTo>
                    <a:pt x="2953" y="284"/>
                  </a:lnTo>
                  <a:lnTo>
                    <a:pt x="2972" y="263"/>
                  </a:lnTo>
                  <a:lnTo>
                    <a:pt x="3008" y="220"/>
                  </a:lnTo>
                  <a:lnTo>
                    <a:pt x="3045" y="175"/>
                  </a:lnTo>
                  <a:lnTo>
                    <a:pt x="3080" y="130"/>
                  </a:lnTo>
                  <a:lnTo>
                    <a:pt x="3116" y="85"/>
                  </a:lnTo>
                  <a:lnTo>
                    <a:pt x="3151" y="41"/>
                  </a:lnTo>
                  <a:lnTo>
                    <a:pt x="3187" y="0"/>
                  </a:lnTo>
                  <a:lnTo>
                    <a:pt x="3187" y="0"/>
                  </a:lnTo>
                  <a:lnTo>
                    <a:pt x="3201" y="1"/>
                  </a:lnTo>
                  <a:lnTo>
                    <a:pt x="3218" y="3"/>
                  </a:lnTo>
                  <a:lnTo>
                    <a:pt x="3234" y="5"/>
                  </a:lnTo>
                  <a:lnTo>
                    <a:pt x="3250" y="9"/>
                  </a:lnTo>
                  <a:lnTo>
                    <a:pt x="3258" y="11"/>
                  </a:lnTo>
                  <a:lnTo>
                    <a:pt x="3265" y="14"/>
                  </a:lnTo>
                  <a:lnTo>
                    <a:pt x="3271" y="17"/>
                  </a:lnTo>
                  <a:lnTo>
                    <a:pt x="3277" y="22"/>
                  </a:lnTo>
                  <a:lnTo>
                    <a:pt x="3283" y="26"/>
                  </a:lnTo>
                  <a:lnTo>
                    <a:pt x="3287" y="30"/>
                  </a:lnTo>
                  <a:lnTo>
                    <a:pt x="3290" y="36"/>
                  </a:lnTo>
                  <a:lnTo>
                    <a:pt x="3293" y="41"/>
                  </a:lnTo>
                  <a:lnTo>
                    <a:pt x="3297" y="63"/>
                  </a:lnTo>
                  <a:lnTo>
                    <a:pt x="3300" y="86"/>
                  </a:lnTo>
                  <a:lnTo>
                    <a:pt x="3303" y="110"/>
                  </a:lnTo>
                  <a:lnTo>
                    <a:pt x="3307" y="135"/>
                  </a:lnTo>
                  <a:lnTo>
                    <a:pt x="3310" y="159"/>
                  </a:lnTo>
                  <a:lnTo>
                    <a:pt x="3315" y="182"/>
                  </a:lnTo>
                  <a:lnTo>
                    <a:pt x="3318" y="193"/>
                  </a:lnTo>
                  <a:lnTo>
                    <a:pt x="3321" y="203"/>
                  </a:lnTo>
                  <a:lnTo>
                    <a:pt x="3326" y="214"/>
                  </a:lnTo>
                  <a:lnTo>
                    <a:pt x="3332" y="222"/>
                  </a:lnTo>
                  <a:lnTo>
                    <a:pt x="3336" y="229"/>
                  </a:lnTo>
                  <a:lnTo>
                    <a:pt x="3339" y="236"/>
                  </a:lnTo>
                  <a:lnTo>
                    <a:pt x="3340" y="241"/>
                  </a:lnTo>
                  <a:lnTo>
                    <a:pt x="3341" y="247"/>
                  </a:lnTo>
                  <a:lnTo>
                    <a:pt x="3342" y="251"/>
                  </a:lnTo>
                  <a:lnTo>
                    <a:pt x="3341" y="256"/>
                  </a:lnTo>
                  <a:lnTo>
                    <a:pt x="3340" y="261"/>
                  </a:lnTo>
                  <a:lnTo>
                    <a:pt x="3339" y="266"/>
                  </a:lnTo>
                  <a:lnTo>
                    <a:pt x="3336" y="274"/>
                  </a:lnTo>
                  <a:lnTo>
                    <a:pt x="3333" y="285"/>
                  </a:lnTo>
                  <a:lnTo>
                    <a:pt x="3330" y="290"/>
                  </a:lnTo>
                  <a:lnTo>
                    <a:pt x="3329" y="295"/>
                  </a:lnTo>
                  <a:lnTo>
                    <a:pt x="3329" y="301"/>
                  </a:lnTo>
                  <a:lnTo>
                    <a:pt x="3329" y="307"/>
                  </a:lnTo>
                  <a:lnTo>
                    <a:pt x="3336" y="318"/>
                  </a:lnTo>
                  <a:lnTo>
                    <a:pt x="3351" y="339"/>
                  </a:lnTo>
                  <a:lnTo>
                    <a:pt x="3372" y="367"/>
                  </a:lnTo>
                  <a:lnTo>
                    <a:pt x="3394" y="397"/>
                  </a:lnTo>
                  <a:lnTo>
                    <a:pt x="3405" y="413"/>
                  </a:lnTo>
                  <a:lnTo>
                    <a:pt x="3414" y="427"/>
                  </a:lnTo>
                  <a:lnTo>
                    <a:pt x="3421" y="441"/>
                  </a:lnTo>
                  <a:lnTo>
                    <a:pt x="3426" y="454"/>
                  </a:lnTo>
                  <a:lnTo>
                    <a:pt x="3429" y="459"/>
                  </a:lnTo>
                  <a:lnTo>
                    <a:pt x="3429" y="464"/>
                  </a:lnTo>
                  <a:lnTo>
                    <a:pt x="3429" y="468"/>
                  </a:lnTo>
                  <a:lnTo>
                    <a:pt x="3429" y="471"/>
                  </a:lnTo>
                  <a:lnTo>
                    <a:pt x="3426" y="474"/>
                  </a:lnTo>
                  <a:lnTo>
                    <a:pt x="3423" y="477"/>
                  </a:lnTo>
                  <a:lnTo>
                    <a:pt x="3419" y="479"/>
                  </a:lnTo>
                  <a:lnTo>
                    <a:pt x="3415" y="479"/>
                  </a:lnTo>
                  <a:lnTo>
                    <a:pt x="3405" y="465"/>
                  </a:lnTo>
                  <a:lnTo>
                    <a:pt x="3394" y="454"/>
                  </a:lnTo>
                  <a:lnTo>
                    <a:pt x="3384" y="444"/>
                  </a:lnTo>
                  <a:lnTo>
                    <a:pt x="3372" y="437"/>
                  </a:lnTo>
                  <a:lnTo>
                    <a:pt x="3361" y="432"/>
                  </a:lnTo>
                  <a:lnTo>
                    <a:pt x="3348" y="427"/>
                  </a:lnTo>
                  <a:lnTo>
                    <a:pt x="3336" y="425"/>
                  </a:lnTo>
                  <a:lnTo>
                    <a:pt x="3323" y="425"/>
                  </a:lnTo>
                  <a:lnTo>
                    <a:pt x="3311" y="425"/>
                  </a:lnTo>
                  <a:lnTo>
                    <a:pt x="3297" y="426"/>
                  </a:lnTo>
                  <a:lnTo>
                    <a:pt x="3284" y="429"/>
                  </a:lnTo>
                  <a:lnTo>
                    <a:pt x="3270" y="432"/>
                  </a:lnTo>
                  <a:lnTo>
                    <a:pt x="3243" y="438"/>
                  </a:lnTo>
                  <a:lnTo>
                    <a:pt x="3215" y="443"/>
                  </a:lnTo>
                  <a:lnTo>
                    <a:pt x="3212" y="450"/>
                  </a:lnTo>
                  <a:lnTo>
                    <a:pt x="3209" y="458"/>
                  </a:lnTo>
                  <a:lnTo>
                    <a:pt x="3205" y="467"/>
                  </a:lnTo>
                  <a:lnTo>
                    <a:pt x="3203" y="478"/>
                  </a:lnTo>
                  <a:lnTo>
                    <a:pt x="3200" y="500"/>
                  </a:lnTo>
                  <a:lnTo>
                    <a:pt x="3198" y="526"/>
                  </a:lnTo>
                  <a:lnTo>
                    <a:pt x="3198" y="551"/>
                  </a:lnTo>
                  <a:lnTo>
                    <a:pt x="3197" y="575"/>
                  </a:lnTo>
                  <a:lnTo>
                    <a:pt x="3197" y="596"/>
                  </a:lnTo>
                  <a:lnTo>
                    <a:pt x="3197" y="613"/>
                  </a:lnTo>
                  <a:lnTo>
                    <a:pt x="3197" y="633"/>
                  </a:lnTo>
                  <a:lnTo>
                    <a:pt x="3198" y="656"/>
                  </a:lnTo>
                  <a:lnTo>
                    <a:pt x="3200" y="681"/>
                  </a:lnTo>
                  <a:lnTo>
                    <a:pt x="3200" y="706"/>
                  </a:lnTo>
                  <a:lnTo>
                    <a:pt x="3200" y="719"/>
                  </a:lnTo>
                  <a:lnTo>
                    <a:pt x="3200" y="731"/>
                  </a:lnTo>
                  <a:lnTo>
                    <a:pt x="3199" y="743"/>
                  </a:lnTo>
                  <a:lnTo>
                    <a:pt x="3197" y="754"/>
                  </a:lnTo>
                  <a:lnTo>
                    <a:pt x="3195" y="765"/>
                  </a:lnTo>
                  <a:lnTo>
                    <a:pt x="3192" y="775"/>
                  </a:lnTo>
                  <a:lnTo>
                    <a:pt x="3188" y="783"/>
                  </a:lnTo>
                  <a:lnTo>
                    <a:pt x="3183" y="792"/>
                  </a:lnTo>
                  <a:lnTo>
                    <a:pt x="3168" y="787"/>
                  </a:lnTo>
                  <a:lnTo>
                    <a:pt x="3140" y="779"/>
                  </a:lnTo>
                  <a:lnTo>
                    <a:pt x="3106" y="769"/>
                  </a:lnTo>
                  <a:lnTo>
                    <a:pt x="3071" y="759"/>
                  </a:lnTo>
                  <a:lnTo>
                    <a:pt x="3055" y="757"/>
                  </a:lnTo>
                  <a:lnTo>
                    <a:pt x="3041" y="756"/>
                  </a:lnTo>
                  <a:lnTo>
                    <a:pt x="3034" y="756"/>
                  </a:lnTo>
                  <a:lnTo>
                    <a:pt x="3028" y="757"/>
                  </a:lnTo>
                  <a:lnTo>
                    <a:pt x="3024" y="758"/>
                  </a:lnTo>
                  <a:lnTo>
                    <a:pt x="3020" y="760"/>
                  </a:lnTo>
                  <a:lnTo>
                    <a:pt x="3017" y="763"/>
                  </a:lnTo>
                  <a:lnTo>
                    <a:pt x="3015" y="768"/>
                  </a:lnTo>
                  <a:lnTo>
                    <a:pt x="3014" y="772"/>
                  </a:lnTo>
                  <a:lnTo>
                    <a:pt x="3014" y="777"/>
                  </a:lnTo>
                  <a:lnTo>
                    <a:pt x="3016" y="783"/>
                  </a:lnTo>
                  <a:lnTo>
                    <a:pt x="3019" y="791"/>
                  </a:lnTo>
                  <a:lnTo>
                    <a:pt x="3023" y="800"/>
                  </a:lnTo>
                  <a:lnTo>
                    <a:pt x="3029" y="809"/>
                  </a:lnTo>
                  <a:lnTo>
                    <a:pt x="3050" y="841"/>
                  </a:lnTo>
                  <a:lnTo>
                    <a:pt x="3070" y="868"/>
                  </a:lnTo>
                  <a:lnTo>
                    <a:pt x="3080" y="880"/>
                  </a:lnTo>
                  <a:lnTo>
                    <a:pt x="3092" y="893"/>
                  </a:lnTo>
                  <a:lnTo>
                    <a:pt x="3105" y="905"/>
                  </a:lnTo>
                  <a:lnTo>
                    <a:pt x="3120" y="919"/>
                  </a:lnTo>
                  <a:lnTo>
                    <a:pt x="3131" y="929"/>
                  </a:lnTo>
                  <a:lnTo>
                    <a:pt x="3144" y="942"/>
                  </a:lnTo>
                  <a:lnTo>
                    <a:pt x="3156" y="955"/>
                  </a:lnTo>
                  <a:lnTo>
                    <a:pt x="3169" y="971"/>
                  </a:lnTo>
                  <a:lnTo>
                    <a:pt x="3179" y="987"/>
                  </a:lnTo>
                  <a:lnTo>
                    <a:pt x="3188" y="1002"/>
                  </a:lnTo>
                  <a:lnTo>
                    <a:pt x="3192" y="1011"/>
                  </a:lnTo>
                  <a:lnTo>
                    <a:pt x="3194" y="1018"/>
                  </a:lnTo>
                  <a:lnTo>
                    <a:pt x="3195" y="1025"/>
                  </a:lnTo>
                  <a:lnTo>
                    <a:pt x="3196" y="1034"/>
                  </a:lnTo>
                  <a:lnTo>
                    <a:pt x="3200" y="1049"/>
                  </a:lnTo>
                  <a:lnTo>
                    <a:pt x="3204" y="1071"/>
                  </a:lnTo>
                  <a:lnTo>
                    <a:pt x="3209" y="1097"/>
                  </a:lnTo>
                  <a:lnTo>
                    <a:pt x="3214" y="1124"/>
                  </a:lnTo>
                  <a:lnTo>
                    <a:pt x="3217" y="1137"/>
                  </a:lnTo>
                  <a:lnTo>
                    <a:pt x="3219" y="1149"/>
                  </a:lnTo>
                  <a:lnTo>
                    <a:pt x="3223" y="1161"/>
                  </a:lnTo>
                  <a:lnTo>
                    <a:pt x="3226" y="1171"/>
                  </a:lnTo>
                  <a:lnTo>
                    <a:pt x="3230" y="1181"/>
                  </a:lnTo>
                  <a:lnTo>
                    <a:pt x="3236" y="1188"/>
                  </a:lnTo>
                  <a:lnTo>
                    <a:pt x="3238" y="1190"/>
                  </a:lnTo>
                  <a:lnTo>
                    <a:pt x="3241" y="1193"/>
                  </a:lnTo>
                  <a:lnTo>
                    <a:pt x="3243" y="1194"/>
                  </a:lnTo>
                  <a:lnTo>
                    <a:pt x="3246" y="1195"/>
                  </a:lnTo>
                  <a:lnTo>
                    <a:pt x="3259" y="1196"/>
                  </a:lnTo>
                  <a:lnTo>
                    <a:pt x="3275" y="1194"/>
                  </a:lnTo>
                  <a:lnTo>
                    <a:pt x="3296" y="1192"/>
                  </a:lnTo>
                  <a:lnTo>
                    <a:pt x="3318" y="1190"/>
                  </a:lnTo>
                  <a:lnTo>
                    <a:pt x="3339" y="1188"/>
                  </a:lnTo>
                  <a:lnTo>
                    <a:pt x="3357" y="1189"/>
                  </a:lnTo>
                  <a:lnTo>
                    <a:pt x="3364" y="1190"/>
                  </a:lnTo>
                  <a:lnTo>
                    <a:pt x="3369" y="1192"/>
                  </a:lnTo>
                  <a:lnTo>
                    <a:pt x="3371" y="1194"/>
                  </a:lnTo>
                  <a:lnTo>
                    <a:pt x="3372" y="1196"/>
                  </a:lnTo>
                  <a:lnTo>
                    <a:pt x="3373" y="1198"/>
                  </a:lnTo>
                  <a:lnTo>
                    <a:pt x="3373" y="1201"/>
                  </a:lnTo>
                  <a:lnTo>
                    <a:pt x="3374" y="1217"/>
                  </a:lnTo>
                  <a:lnTo>
                    <a:pt x="3376" y="1237"/>
                  </a:lnTo>
                  <a:lnTo>
                    <a:pt x="3378" y="1247"/>
                  </a:lnTo>
                  <a:lnTo>
                    <a:pt x="3382" y="1256"/>
                  </a:lnTo>
                  <a:lnTo>
                    <a:pt x="3384" y="1259"/>
                  </a:lnTo>
                  <a:lnTo>
                    <a:pt x="3387" y="1262"/>
                  </a:lnTo>
                  <a:lnTo>
                    <a:pt x="3389" y="1264"/>
                  </a:lnTo>
                  <a:lnTo>
                    <a:pt x="3392" y="1266"/>
                  </a:lnTo>
                  <a:lnTo>
                    <a:pt x="3424" y="1273"/>
                  </a:lnTo>
                  <a:lnTo>
                    <a:pt x="3442" y="1278"/>
                  </a:lnTo>
                  <a:lnTo>
                    <a:pt x="3445" y="1280"/>
                  </a:lnTo>
                  <a:lnTo>
                    <a:pt x="3446" y="1282"/>
                  </a:lnTo>
                  <a:lnTo>
                    <a:pt x="3447" y="1286"/>
                  </a:lnTo>
                  <a:lnTo>
                    <a:pt x="3447" y="1291"/>
                  </a:lnTo>
                  <a:lnTo>
                    <a:pt x="3446" y="1305"/>
                  </a:lnTo>
                  <a:lnTo>
                    <a:pt x="3442" y="1325"/>
                  </a:lnTo>
                  <a:lnTo>
                    <a:pt x="3442" y="1333"/>
                  </a:lnTo>
                  <a:lnTo>
                    <a:pt x="3443" y="1339"/>
                  </a:lnTo>
                  <a:lnTo>
                    <a:pt x="3445" y="1344"/>
                  </a:lnTo>
                  <a:lnTo>
                    <a:pt x="3449" y="1349"/>
                  </a:lnTo>
                  <a:lnTo>
                    <a:pt x="3456" y="1352"/>
                  </a:lnTo>
                  <a:lnTo>
                    <a:pt x="3462" y="1354"/>
                  </a:lnTo>
                  <a:lnTo>
                    <a:pt x="3469" y="1355"/>
                  </a:lnTo>
                  <a:lnTo>
                    <a:pt x="3476" y="1356"/>
                  </a:lnTo>
                  <a:lnTo>
                    <a:pt x="3494" y="1357"/>
                  </a:lnTo>
                  <a:lnTo>
                    <a:pt x="3511" y="1358"/>
                  </a:lnTo>
                  <a:lnTo>
                    <a:pt x="3518" y="1359"/>
                  </a:lnTo>
                  <a:lnTo>
                    <a:pt x="3524" y="1361"/>
                  </a:lnTo>
                  <a:lnTo>
                    <a:pt x="3531" y="1363"/>
                  </a:lnTo>
                  <a:lnTo>
                    <a:pt x="3536" y="1367"/>
                  </a:lnTo>
                  <a:lnTo>
                    <a:pt x="3535" y="1372"/>
                  </a:lnTo>
                  <a:lnTo>
                    <a:pt x="3533" y="1376"/>
                  </a:lnTo>
                  <a:lnTo>
                    <a:pt x="3530" y="1379"/>
                  </a:lnTo>
                  <a:lnTo>
                    <a:pt x="3524" y="1382"/>
                  </a:lnTo>
                  <a:lnTo>
                    <a:pt x="3513" y="1386"/>
                  </a:lnTo>
                  <a:lnTo>
                    <a:pt x="3499" y="1389"/>
                  </a:lnTo>
                  <a:lnTo>
                    <a:pt x="3486" y="1392"/>
                  </a:lnTo>
                  <a:lnTo>
                    <a:pt x="3472" y="1395"/>
                  </a:lnTo>
                  <a:lnTo>
                    <a:pt x="3466" y="1397"/>
                  </a:lnTo>
                  <a:lnTo>
                    <a:pt x="3461" y="1399"/>
                  </a:lnTo>
                  <a:lnTo>
                    <a:pt x="3457" y="1401"/>
                  </a:lnTo>
                  <a:lnTo>
                    <a:pt x="3454" y="1403"/>
                  </a:lnTo>
                  <a:lnTo>
                    <a:pt x="3450" y="1407"/>
                  </a:lnTo>
                  <a:lnTo>
                    <a:pt x="3448" y="1411"/>
                  </a:lnTo>
                  <a:lnTo>
                    <a:pt x="3446" y="1415"/>
                  </a:lnTo>
                  <a:lnTo>
                    <a:pt x="3445" y="1420"/>
                  </a:lnTo>
                  <a:lnTo>
                    <a:pt x="3444" y="1428"/>
                  </a:lnTo>
                  <a:lnTo>
                    <a:pt x="3445" y="1437"/>
                  </a:lnTo>
                  <a:lnTo>
                    <a:pt x="3447" y="1446"/>
                  </a:lnTo>
                  <a:lnTo>
                    <a:pt x="3451" y="1455"/>
                  </a:lnTo>
                  <a:lnTo>
                    <a:pt x="3457" y="1464"/>
                  </a:lnTo>
                  <a:lnTo>
                    <a:pt x="3463" y="1474"/>
                  </a:lnTo>
                  <a:lnTo>
                    <a:pt x="3478" y="1492"/>
                  </a:lnTo>
                  <a:lnTo>
                    <a:pt x="3491" y="1508"/>
                  </a:lnTo>
                  <a:lnTo>
                    <a:pt x="3497" y="1517"/>
                  </a:lnTo>
                  <a:lnTo>
                    <a:pt x="3504" y="1524"/>
                  </a:lnTo>
                  <a:lnTo>
                    <a:pt x="3508" y="1531"/>
                  </a:lnTo>
                  <a:lnTo>
                    <a:pt x="3511" y="1537"/>
                  </a:lnTo>
                  <a:lnTo>
                    <a:pt x="3515" y="1549"/>
                  </a:lnTo>
                  <a:lnTo>
                    <a:pt x="3517" y="1559"/>
                  </a:lnTo>
                  <a:lnTo>
                    <a:pt x="3517" y="1569"/>
                  </a:lnTo>
                  <a:lnTo>
                    <a:pt x="3516" y="1577"/>
                  </a:lnTo>
                  <a:lnTo>
                    <a:pt x="3513" y="1585"/>
                  </a:lnTo>
                  <a:lnTo>
                    <a:pt x="3509" y="1593"/>
                  </a:lnTo>
                  <a:lnTo>
                    <a:pt x="3505" y="1600"/>
                  </a:lnTo>
                  <a:lnTo>
                    <a:pt x="3498" y="1607"/>
                  </a:lnTo>
                  <a:lnTo>
                    <a:pt x="3488" y="1621"/>
                  </a:lnTo>
                  <a:lnTo>
                    <a:pt x="3476" y="1636"/>
                  </a:lnTo>
                  <a:lnTo>
                    <a:pt x="3472" y="1643"/>
                  </a:lnTo>
                  <a:lnTo>
                    <a:pt x="3469" y="1652"/>
                  </a:lnTo>
                  <a:lnTo>
                    <a:pt x="3467" y="1662"/>
                  </a:lnTo>
                  <a:lnTo>
                    <a:pt x="3466" y="1672"/>
                  </a:lnTo>
                  <a:lnTo>
                    <a:pt x="3463" y="1685"/>
                  </a:lnTo>
                  <a:lnTo>
                    <a:pt x="3458" y="1695"/>
                  </a:lnTo>
                  <a:lnTo>
                    <a:pt x="3451" y="1705"/>
                  </a:lnTo>
                  <a:lnTo>
                    <a:pt x="3444" y="1715"/>
                  </a:lnTo>
                  <a:lnTo>
                    <a:pt x="3429" y="1733"/>
                  </a:lnTo>
                  <a:lnTo>
                    <a:pt x="3412" y="1750"/>
                  </a:lnTo>
                  <a:lnTo>
                    <a:pt x="3409" y="1756"/>
                  </a:lnTo>
                  <a:lnTo>
                    <a:pt x="3406" y="1765"/>
                  </a:lnTo>
                  <a:lnTo>
                    <a:pt x="3403" y="1776"/>
                  </a:lnTo>
                  <a:lnTo>
                    <a:pt x="3401" y="1789"/>
                  </a:lnTo>
                  <a:lnTo>
                    <a:pt x="3399" y="1815"/>
                  </a:lnTo>
                  <a:lnTo>
                    <a:pt x="3396" y="1834"/>
                  </a:lnTo>
                  <a:lnTo>
                    <a:pt x="3394" y="1839"/>
                  </a:lnTo>
                  <a:lnTo>
                    <a:pt x="3389" y="1845"/>
                  </a:lnTo>
                  <a:lnTo>
                    <a:pt x="3383" y="1854"/>
                  </a:lnTo>
                  <a:lnTo>
                    <a:pt x="3374" y="1864"/>
                  </a:lnTo>
                  <a:lnTo>
                    <a:pt x="3352" y="1886"/>
                  </a:lnTo>
                  <a:lnTo>
                    <a:pt x="3328" y="1911"/>
                  </a:lnTo>
                  <a:lnTo>
                    <a:pt x="3302" y="1934"/>
                  </a:lnTo>
                  <a:lnTo>
                    <a:pt x="3278" y="1954"/>
                  </a:lnTo>
                  <a:lnTo>
                    <a:pt x="3268" y="1962"/>
                  </a:lnTo>
                  <a:lnTo>
                    <a:pt x="3259" y="1968"/>
                  </a:lnTo>
                  <a:lnTo>
                    <a:pt x="3250" y="1973"/>
                  </a:lnTo>
                  <a:lnTo>
                    <a:pt x="3245" y="1974"/>
                  </a:lnTo>
                  <a:lnTo>
                    <a:pt x="3244" y="1958"/>
                  </a:lnTo>
                  <a:lnTo>
                    <a:pt x="3243" y="1945"/>
                  </a:lnTo>
                  <a:lnTo>
                    <a:pt x="3240" y="1934"/>
                  </a:lnTo>
                  <a:lnTo>
                    <a:pt x="3237" y="1925"/>
                  </a:lnTo>
                  <a:lnTo>
                    <a:pt x="3232" y="1916"/>
                  </a:lnTo>
                  <a:lnTo>
                    <a:pt x="3227" y="1910"/>
                  </a:lnTo>
                  <a:lnTo>
                    <a:pt x="3221" y="1905"/>
                  </a:lnTo>
                  <a:lnTo>
                    <a:pt x="3215" y="1901"/>
                  </a:lnTo>
                  <a:lnTo>
                    <a:pt x="3209" y="1898"/>
                  </a:lnTo>
                  <a:lnTo>
                    <a:pt x="3200" y="1897"/>
                  </a:lnTo>
                  <a:lnTo>
                    <a:pt x="3193" y="1896"/>
                  </a:lnTo>
                  <a:lnTo>
                    <a:pt x="3185" y="1897"/>
                  </a:lnTo>
                  <a:lnTo>
                    <a:pt x="3175" y="1898"/>
                  </a:lnTo>
                  <a:lnTo>
                    <a:pt x="3167" y="1901"/>
                  </a:lnTo>
                  <a:lnTo>
                    <a:pt x="3157" y="1903"/>
                  </a:lnTo>
                  <a:lnTo>
                    <a:pt x="3148" y="1906"/>
                  </a:lnTo>
                  <a:lnTo>
                    <a:pt x="3110" y="1922"/>
                  </a:lnTo>
                  <a:lnTo>
                    <a:pt x="3077" y="1939"/>
                  </a:lnTo>
                  <a:lnTo>
                    <a:pt x="3063" y="1945"/>
                  </a:lnTo>
                  <a:lnTo>
                    <a:pt x="3050" y="1950"/>
                  </a:lnTo>
                  <a:lnTo>
                    <a:pt x="3045" y="1951"/>
                  </a:lnTo>
                  <a:lnTo>
                    <a:pt x="3041" y="1952"/>
                  </a:lnTo>
                  <a:lnTo>
                    <a:pt x="3036" y="1951"/>
                  </a:lnTo>
                  <a:lnTo>
                    <a:pt x="3034" y="1949"/>
                  </a:lnTo>
                  <a:lnTo>
                    <a:pt x="3026" y="1939"/>
                  </a:lnTo>
                  <a:lnTo>
                    <a:pt x="3020" y="1929"/>
                  </a:lnTo>
                  <a:lnTo>
                    <a:pt x="3015" y="1917"/>
                  </a:lnTo>
                  <a:lnTo>
                    <a:pt x="3009" y="1906"/>
                  </a:lnTo>
                  <a:lnTo>
                    <a:pt x="3003" y="1895"/>
                  </a:lnTo>
                  <a:lnTo>
                    <a:pt x="2996" y="1886"/>
                  </a:lnTo>
                  <a:lnTo>
                    <a:pt x="2991" y="1881"/>
                  </a:lnTo>
                  <a:lnTo>
                    <a:pt x="2984" y="1878"/>
                  </a:lnTo>
                  <a:lnTo>
                    <a:pt x="2978" y="1873"/>
                  </a:lnTo>
                  <a:lnTo>
                    <a:pt x="2970" y="1870"/>
                  </a:lnTo>
                  <a:lnTo>
                    <a:pt x="2962" y="1868"/>
                  </a:lnTo>
                  <a:lnTo>
                    <a:pt x="2955" y="1867"/>
                  </a:lnTo>
                  <a:lnTo>
                    <a:pt x="2948" y="1867"/>
                  </a:lnTo>
                  <a:lnTo>
                    <a:pt x="2942" y="1868"/>
                  </a:lnTo>
                  <a:lnTo>
                    <a:pt x="2929" y="1871"/>
                  </a:lnTo>
                  <a:lnTo>
                    <a:pt x="2918" y="1876"/>
                  </a:lnTo>
                  <a:lnTo>
                    <a:pt x="2907" y="1882"/>
                  </a:lnTo>
                  <a:lnTo>
                    <a:pt x="2896" y="1888"/>
                  </a:lnTo>
                  <a:lnTo>
                    <a:pt x="2883" y="1893"/>
                  </a:lnTo>
                  <a:lnTo>
                    <a:pt x="2870" y="1896"/>
                  </a:lnTo>
                  <a:lnTo>
                    <a:pt x="2864" y="1896"/>
                  </a:lnTo>
                  <a:lnTo>
                    <a:pt x="2858" y="1895"/>
                  </a:lnTo>
                  <a:lnTo>
                    <a:pt x="2852" y="1893"/>
                  </a:lnTo>
                  <a:lnTo>
                    <a:pt x="2846" y="1890"/>
                  </a:lnTo>
                  <a:lnTo>
                    <a:pt x="2831" y="1881"/>
                  </a:lnTo>
                  <a:lnTo>
                    <a:pt x="2816" y="1868"/>
                  </a:lnTo>
                  <a:lnTo>
                    <a:pt x="2783" y="1836"/>
                  </a:lnTo>
                  <a:lnTo>
                    <a:pt x="2748" y="1800"/>
                  </a:lnTo>
                  <a:lnTo>
                    <a:pt x="2730" y="1784"/>
                  </a:lnTo>
                  <a:lnTo>
                    <a:pt x="2711" y="1768"/>
                  </a:lnTo>
                  <a:lnTo>
                    <a:pt x="2702" y="1761"/>
                  </a:lnTo>
                  <a:lnTo>
                    <a:pt x="2692" y="1754"/>
                  </a:lnTo>
                  <a:lnTo>
                    <a:pt x="2683" y="1748"/>
                  </a:lnTo>
                  <a:lnTo>
                    <a:pt x="2674" y="1744"/>
                  </a:lnTo>
                  <a:lnTo>
                    <a:pt x="2665" y="1740"/>
                  </a:lnTo>
                  <a:lnTo>
                    <a:pt x="2656" y="1738"/>
                  </a:lnTo>
                  <a:lnTo>
                    <a:pt x="2647" y="1736"/>
                  </a:lnTo>
                  <a:lnTo>
                    <a:pt x="2638" y="1736"/>
                  </a:lnTo>
                  <a:lnTo>
                    <a:pt x="2629" y="1737"/>
                  </a:lnTo>
                  <a:lnTo>
                    <a:pt x="2620" y="1739"/>
                  </a:lnTo>
                  <a:lnTo>
                    <a:pt x="2612" y="1743"/>
                  </a:lnTo>
                  <a:lnTo>
                    <a:pt x="2604" y="1748"/>
                  </a:lnTo>
                  <a:lnTo>
                    <a:pt x="2601" y="1751"/>
                  </a:lnTo>
                  <a:lnTo>
                    <a:pt x="2599" y="1754"/>
                  </a:lnTo>
                  <a:lnTo>
                    <a:pt x="2595" y="1759"/>
                  </a:lnTo>
                  <a:lnTo>
                    <a:pt x="2594" y="1762"/>
                  </a:lnTo>
                  <a:lnTo>
                    <a:pt x="2591" y="1771"/>
                  </a:lnTo>
                  <a:lnTo>
                    <a:pt x="2590" y="1781"/>
                  </a:lnTo>
                  <a:lnTo>
                    <a:pt x="2590" y="1792"/>
                  </a:lnTo>
                  <a:lnTo>
                    <a:pt x="2591" y="1804"/>
                  </a:lnTo>
                  <a:lnTo>
                    <a:pt x="2592" y="1815"/>
                  </a:lnTo>
                  <a:lnTo>
                    <a:pt x="2594" y="1828"/>
                  </a:lnTo>
                  <a:lnTo>
                    <a:pt x="2599" y="1853"/>
                  </a:lnTo>
                  <a:lnTo>
                    <a:pt x="2601" y="1878"/>
                  </a:lnTo>
                  <a:lnTo>
                    <a:pt x="2601" y="1889"/>
                  </a:lnTo>
                  <a:lnTo>
                    <a:pt x="2600" y="1901"/>
                  </a:lnTo>
                  <a:lnTo>
                    <a:pt x="2598" y="1910"/>
                  </a:lnTo>
                  <a:lnTo>
                    <a:pt x="2594" y="1919"/>
                  </a:lnTo>
                  <a:lnTo>
                    <a:pt x="2591" y="1926"/>
                  </a:lnTo>
                  <a:lnTo>
                    <a:pt x="2586" y="1932"/>
                  </a:lnTo>
                  <a:lnTo>
                    <a:pt x="2581" y="1938"/>
                  </a:lnTo>
                  <a:lnTo>
                    <a:pt x="2575" y="1944"/>
                  </a:lnTo>
                  <a:lnTo>
                    <a:pt x="2561" y="1958"/>
                  </a:lnTo>
                  <a:lnTo>
                    <a:pt x="2546" y="1970"/>
                  </a:lnTo>
                  <a:lnTo>
                    <a:pt x="2533" y="1982"/>
                  </a:lnTo>
                  <a:lnTo>
                    <a:pt x="2520" y="1993"/>
                  </a:lnTo>
                  <a:lnTo>
                    <a:pt x="2515" y="1999"/>
                  </a:lnTo>
                  <a:lnTo>
                    <a:pt x="2511" y="2003"/>
                  </a:lnTo>
                  <a:lnTo>
                    <a:pt x="2508" y="2007"/>
                  </a:lnTo>
                  <a:lnTo>
                    <a:pt x="2507" y="2011"/>
                  </a:lnTo>
                  <a:lnTo>
                    <a:pt x="2507" y="201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1" name="Freeform 128">
              <a:extLst>
                <a:ext uri="{FF2B5EF4-FFF2-40B4-BE49-F238E27FC236}">
                  <a16:creationId xmlns:a16="http://schemas.microsoft.com/office/drawing/2014/main" id="{D96EB1E7-B958-4088-BEE0-8822F59AC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7043" y="3993707"/>
              <a:ext cx="887799" cy="754795"/>
            </a:xfrm>
            <a:custGeom>
              <a:avLst/>
              <a:gdLst>
                <a:gd name="T0" fmla="*/ 2510 w 3536"/>
                <a:gd name="T1" fmla="*/ 1905 h 3105"/>
                <a:gd name="T2" fmla="*/ 2372 w 3536"/>
                <a:gd name="T3" fmla="*/ 1979 h 3105"/>
                <a:gd name="T4" fmla="*/ 2460 w 3536"/>
                <a:gd name="T5" fmla="*/ 2120 h 3105"/>
                <a:gd name="T6" fmla="*/ 2339 w 3536"/>
                <a:gd name="T7" fmla="*/ 2129 h 3105"/>
                <a:gd name="T8" fmla="*/ 2389 w 3536"/>
                <a:gd name="T9" fmla="*/ 2265 h 3105"/>
                <a:gd name="T10" fmla="*/ 2506 w 3536"/>
                <a:gd name="T11" fmla="*/ 2389 h 3105"/>
                <a:gd name="T12" fmla="*/ 2371 w 3536"/>
                <a:gd name="T13" fmla="*/ 2445 h 3105"/>
                <a:gd name="T14" fmla="*/ 2267 w 3536"/>
                <a:gd name="T15" fmla="*/ 2595 h 3105"/>
                <a:gd name="T16" fmla="*/ 2218 w 3536"/>
                <a:gd name="T17" fmla="*/ 2707 h 3105"/>
                <a:gd name="T18" fmla="*/ 2161 w 3536"/>
                <a:gd name="T19" fmla="*/ 2880 h 3105"/>
                <a:gd name="T20" fmla="*/ 1838 w 3536"/>
                <a:gd name="T21" fmla="*/ 2957 h 3105"/>
                <a:gd name="T22" fmla="*/ 1620 w 3536"/>
                <a:gd name="T23" fmla="*/ 2742 h 3105"/>
                <a:gd name="T24" fmla="*/ 1454 w 3536"/>
                <a:gd name="T25" fmla="*/ 2717 h 3105"/>
                <a:gd name="T26" fmla="*/ 1304 w 3536"/>
                <a:gd name="T27" fmla="*/ 2767 h 3105"/>
                <a:gd name="T28" fmla="*/ 1165 w 3536"/>
                <a:gd name="T29" fmla="*/ 2649 h 3105"/>
                <a:gd name="T30" fmla="*/ 974 w 3536"/>
                <a:gd name="T31" fmla="*/ 2726 h 3105"/>
                <a:gd name="T32" fmla="*/ 1024 w 3536"/>
                <a:gd name="T33" fmla="*/ 2914 h 3105"/>
                <a:gd name="T34" fmla="*/ 953 w 3536"/>
                <a:gd name="T35" fmla="*/ 3080 h 3105"/>
                <a:gd name="T36" fmla="*/ 775 w 3536"/>
                <a:gd name="T37" fmla="*/ 3079 h 3105"/>
                <a:gd name="T38" fmla="*/ 575 w 3536"/>
                <a:gd name="T39" fmla="*/ 2941 h 3105"/>
                <a:gd name="T40" fmla="*/ 309 w 3536"/>
                <a:gd name="T41" fmla="*/ 2724 h 3105"/>
                <a:gd name="T42" fmla="*/ 214 w 3536"/>
                <a:gd name="T43" fmla="*/ 2604 h 3105"/>
                <a:gd name="T44" fmla="*/ 88 w 3536"/>
                <a:gd name="T45" fmla="*/ 2615 h 3105"/>
                <a:gd name="T46" fmla="*/ 46 w 3536"/>
                <a:gd name="T47" fmla="*/ 2457 h 3105"/>
                <a:gd name="T48" fmla="*/ 61 w 3536"/>
                <a:gd name="T49" fmla="*/ 2343 h 3105"/>
                <a:gd name="T50" fmla="*/ 108 w 3536"/>
                <a:gd name="T51" fmla="*/ 2263 h 3105"/>
                <a:gd name="T52" fmla="*/ 147 w 3536"/>
                <a:gd name="T53" fmla="*/ 2206 h 3105"/>
                <a:gd name="T54" fmla="*/ 12 w 3536"/>
                <a:gd name="T55" fmla="*/ 2121 h 3105"/>
                <a:gd name="T56" fmla="*/ 109 w 3536"/>
                <a:gd name="T57" fmla="*/ 2092 h 3105"/>
                <a:gd name="T58" fmla="*/ 218 w 3536"/>
                <a:gd name="T59" fmla="*/ 2084 h 3105"/>
                <a:gd name="T60" fmla="*/ 319 w 3536"/>
                <a:gd name="T61" fmla="*/ 1918 h 3105"/>
                <a:gd name="T62" fmla="*/ 551 w 3536"/>
                <a:gd name="T63" fmla="*/ 1805 h 3105"/>
                <a:gd name="T64" fmla="*/ 616 w 3536"/>
                <a:gd name="T65" fmla="*/ 1650 h 3105"/>
                <a:gd name="T66" fmla="*/ 980 w 3536"/>
                <a:gd name="T67" fmla="*/ 1573 h 3105"/>
                <a:gd name="T68" fmla="*/ 1162 w 3536"/>
                <a:gd name="T69" fmla="*/ 1462 h 3105"/>
                <a:gd name="T70" fmla="*/ 1312 w 3536"/>
                <a:gd name="T71" fmla="*/ 1433 h 3105"/>
                <a:gd name="T72" fmla="*/ 1454 w 3536"/>
                <a:gd name="T73" fmla="*/ 1447 h 3105"/>
                <a:gd name="T74" fmla="*/ 1702 w 3536"/>
                <a:gd name="T75" fmla="*/ 1195 h 3105"/>
                <a:gd name="T76" fmla="*/ 2116 w 3536"/>
                <a:gd name="T77" fmla="*/ 1019 h 3105"/>
                <a:gd name="T78" fmla="*/ 2312 w 3536"/>
                <a:gd name="T79" fmla="*/ 945 h 3105"/>
                <a:gd name="T80" fmla="*/ 2521 w 3536"/>
                <a:gd name="T81" fmla="*/ 824 h 3105"/>
                <a:gd name="T82" fmla="*/ 2722 w 3536"/>
                <a:gd name="T83" fmla="*/ 747 h 3105"/>
                <a:gd name="T84" fmla="*/ 2742 w 3536"/>
                <a:gd name="T85" fmla="*/ 572 h 3105"/>
                <a:gd name="T86" fmla="*/ 2916 w 3536"/>
                <a:gd name="T87" fmla="*/ 322 h 3105"/>
                <a:gd name="T88" fmla="*/ 3277 w 3536"/>
                <a:gd name="T89" fmla="*/ 22 h 3105"/>
                <a:gd name="T90" fmla="*/ 3341 w 3536"/>
                <a:gd name="T91" fmla="*/ 247 h 3105"/>
                <a:gd name="T92" fmla="*/ 3426 w 3536"/>
                <a:gd name="T93" fmla="*/ 454 h 3105"/>
                <a:gd name="T94" fmla="*/ 3297 w 3536"/>
                <a:gd name="T95" fmla="*/ 426 h 3105"/>
                <a:gd name="T96" fmla="*/ 3200 w 3536"/>
                <a:gd name="T97" fmla="*/ 706 h 3105"/>
                <a:gd name="T98" fmla="*/ 3020 w 3536"/>
                <a:gd name="T99" fmla="*/ 760 h 3105"/>
                <a:gd name="T100" fmla="*/ 3169 w 3536"/>
                <a:gd name="T101" fmla="*/ 971 h 3105"/>
                <a:gd name="T102" fmla="*/ 3241 w 3536"/>
                <a:gd name="T103" fmla="*/ 1193 h 3105"/>
                <a:gd name="T104" fmla="*/ 3382 w 3536"/>
                <a:gd name="T105" fmla="*/ 1256 h 3105"/>
                <a:gd name="T106" fmla="*/ 3462 w 3536"/>
                <a:gd name="T107" fmla="*/ 1354 h 3105"/>
                <a:gd name="T108" fmla="*/ 3461 w 3536"/>
                <a:gd name="T109" fmla="*/ 1399 h 3105"/>
                <a:gd name="T110" fmla="*/ 3511 w 3536"/>
                <a:gd name="T111" fmla="*/ 1537 h 3105"/>
                <a:gd name="T112" fmla="*/ 3444 w 3536"/>
                <a:gd name="T113" fmla="*/ 1715 h 3105"/>
                <a:gd name="T114" fmla="*/ 3259 w 3536"/>
                <a:gd name="T115" fmla="*/ 1968 h 3105"/>
                <a:gd name="T116" fmla="*/ 3148 w 3536"/>
                <a:gd name="T117" fmla="*/ 1906 h 3105"/>
                <a:gd name="T118" fmla="*/ 2970 w 3536"/>
                <a:gd name="T119" fmla="*/ 1870 h 3105"/>
                <a:gd name="T120" fmla="*/ 2748 w 3536"/>
                <a:gd name="T121" fmla="*/ 1800 h 3105"/>
                <a:gd name="T122" fmla="*/ 2594 w 3536"/>
                <a:gd name="T123" fmla="*/ 1762 h 3105"/>
                <a:gd name="T124" fmla="*/ 2546 w 3536"/>
                <a:gd name="T125" fmla="*/ 1970 h 3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36" h="3105">
                  <a:moveTo>
                    <a:pt x="2507" y="2011"/>
                  </a:moveTo>
                  <a:lnTo>
                    <a:pt x="2502" y="2009"/>
                  </a:lnTo>
                  <a:lnTo>
                    <a:pt x="2497" y="2007"/>
                  </a:lnTo>
                  <a:lnTo>
                    <a:pt x="2494" y="2005"/>
                  </a:lnTo>
                  <a:lnTo>
                    <a:pt x="2491" y="2003"/>
                  </a:lnTo>
                  <a:lnTo>
                    <a:pt x="2489" y="2000"/>
                  </a:lnTo>
                  <a:lnTo>
                    <a:pt x="2488" y="1997"/>
                  </a:lnTo>
                  <a:lnTo>
                    <a:pt x="2487" y="1993"/>
                  </a:lnTo>
                  <a:lnTo>
                    <a:pt x="2486" y="1990"/>
                  </a:lnTo>
                  <a:lnTo>
                    <a:pt x="2487" y="1984"/>
                  </a:lnTo>
                  <a:lnTo>
                    <a:pt x="2488" y="1977"/>
                  </a:lnTo>
                  <a:lnTo>
                    <a:pt x="2491" y="1968"/>
                  </a:lnTo>
                  <a:lnTo>
                    <a:pt x="2495" y="1960"/>
                  </a:lnTo>
                  <a:lnTo>
                    <a:pt x="2503" y="1943"/>
                  </a:lnTo>
                  <a:lnTo>
                    <a:pt x="2509" y="1926"/>
                  </a:lnTo>
                  <a:lnTo>
                    <a:pt x="2510" y="1917"/>
                  </a:lnTo>
                  <a:lnTo>
                    <a:pt x="2510" y="1909"/>
                  </a:lnTo>
                  <a:lnTo>
                    <a:pt x="2510" y="1905"/>
                  </a:lnTo>
                  <a:lnTo>
                    <a:pt x="2508" y="1901"/>
                  </a:lnTo>
                  <a:lnTo>
                    <a:pt x="2507" y="1896"/>
                  </a:lnTo>
                  <a:lnTo>
                    <a:pt x="2505" y="1893"/>
                  </a:lnTo>
                  <a:lnTo>
                    <a:pt x="2503" y="1892"/>
                  </a:lnTo>
                  <a:lnTo>
                    <a:pt x="2502" y="1891"/>
                  </a:lnTo>
                  <a:lnTo>
                    <a:pt x="2500" y="1891"/>
                  </a:lnTo>
                  <a:lnTo>
                    <a:pt x="2496" y="1892"/>
                  </a:lnTo>
                  <a:lnTo>
                    <a:pt x="2490" y="1894"/>
                  </a:lnTo>
                  <a:lnTo>
                    <a:pt x="2483" y="1897"/>
                  </a:lnTo>
                  <a:lnTo>
                    <a:pt x="2464" y="1907"/>
                  </a:lnTo>
                  <a:lnTo>
                    <a:pt x="2443" y="1920"/>
                  </a:lnTo>
                  <a:lnTo>
                    <a:pt x="2422" y="1935"/>
                  </a:lnTo>
                  <a:lnTo>
                    <a:pt x="2404" y="1949"/>
                  </a:lnTo>
                  <a:lnTo>
                    <a:pt x="2388" y="1960"/>
                  </a:lnTo>
                  <a:lnTo>
                    <a:pt x="2380" y="1967"/>
                  </a:lnTo>
                  <a:lnTo>
                    <a:pt x="2376" y="1971"/>
                  </a:lnTo>
                  <a:lnTo>
                    <a:pt x="2374" y="1975"/>
                  </a:lnTo>
                  <a:lnTo>
                    <a:pt x="2372" y="1979"/>
                  </a:lnTo>
                  <a:lnTo>
                    <a:pt x="2371" y="1982"/>
                  </a:lnTo>
                  <a:lnTo>
                    <a:pt x="2371" y="1986"/>
                  </a:lnTo>
                  <a:lnTo>
                    <a:pt x="2371" y="1989"/>
                  </a:lnTo>
                  <a:lnTo>
                    <a:pt x="2372" y="1993"/>
                  </a:lnTo>
                  <a:lnTo>
                    <a:pt x="2374" y="1997"/>
                  </a:lnTo>
                  <a:lnTo>
                    <a:pt x="2379" y="2004"/>
                  </a:lnTo>
                  <a:lnTo>
                    <a:pt x="2385" y="2011"/>
                  </a:lnTo>
                  <a:lnTo>
                    <a:pt x="2393" y="2017"/>
                  </a:lnTo>
                  <a:lnTo>
                    <a:pt x="2401" y="2025"/>
                  </a:lnTo>
                  <a:lnTo>
                    <a:pt x="2421" y="2036"/>
                  </a:lnTo>
                  <a:lnTo>
                    <a:pt x="2441" y="2047"/>
                  </a:lnTo>
                  <a:lnTo>
                    <a:pt x="2458" y="2055"/>
                  </a:lnTo>
                  <a:lnTo>
                    <a:pt x="2470" y="2061"/>
                  </a:lnTo>
                  <a:lnTo>
                    <a:pt x="2470" y="2074"/>
                  </a:lnTo>
                  <a:lnTo>
                    <a:pt x="2470" y="2087"/>
                  </a:lnTo>
                  <a:lnTo>
                    <a:pt x="2467" y="2101"/>
                  </a:lnTo>
                  <a:lnTo>
                    <a:pt x="2463" y="2113"/>
                  </a:lnTo>
                  <a:lnTo>
                    <a:pt x="2460" y="2120"/>
                  </a:lnTo>
                  <a:lnTo>
                    <a:pt x="2457" y="2125"/>
                  </a:lnTo>
                  <a:lnTo>
                    <a:pt x="2453" y="2130"/>
                  </a:lnTo>
                  <a:lnTo>
                    <a:pt x="2447" y="2134"/>
                  </a:lnTo>
                  <a:lnTo>
                    <a:pt x="2442" y="2138"/>
                  </a:lnTo>
                  <a:lnTo>
                    <a:pt x="2436" y="2142"/>
                  </a:lnTo>
                  <a:lnTo>
                    <a:pt x="2430" y="2145"/>
                  </a:lnTo>
                  <a:lnTo>
                    <a:pt x="2422" y="2146"/>
                  </a:lnTo>
                  <a:lnTo>
                    <a:pt x="2418" y="2146"/>
                  </a:lnTo>
                  <a:lnTo>
                    <a:pt x="2412" y="2145"/>
                  </a:lnTo>
                  <a:lnTo>
                    <a:pt x="2406" y="2144"/>
                  </a:lnTo>
                  <a:lnTo>
                    <a:pt x="2398" y="2142"/>
                  </a:lnTo>
                  <a:lnTo>
                    <a:pt x="2384" y="2137"/>
                  </a:lnTo>
                  <a:lnTo>
                    <a:pt x="2369" y="2132"/>
                  </a:lnTo>
                  <a:lnTo>
                    <a:pt x="2362" y="2130"/>
                  </a:lnTo>
                  <a:lnTo>
                    <a:pt x="2356" y="2129"/>
                  </a:lnTo>
                  <a:lnTo>
                    <a:pt x="2349" y="2128"/>
                  </a:lnTo>
                  <a:lnTo>
                    <a:pt x="2344" y="2128"/>
                  </a:lnTo>
                  <a:lnTo>
                    <a:pt x="2339" y="2129"/>
                  </a:lnTo>
                  <a:lnTo>
                    <a:pt x="2336" y="2130"/>
                  </a:lnTo>
                  <a:lnTo>
                    <a:pt x="2334" y="2134"/>
                  </a:lnTo>
                  <a:lnTo>
                    <a:pt x="2333" y="2138"/>
                  </a:lnTo>
                  <a:lnTo>
                    <a:pt x="2342" y="2149"/>
                  </a:lnTo>
                  <a:lnTo>
                    <a:pt x="2356" y="2168"/>
                  </a:lnTo>
                  <a:lnTo>
                    <a:pt x="2369" y="2187"/>
                  </a:lnTo>
                  <a:lnTo>
                    <a:pt x="2378" y="2201"/>
                  </a:lnTo>
                  <a:lnTo>
                    <a:pt x="2381" y="2208"/>
                  </a:lnTo>
                  <a:lnTo>
                    <a:pt x="2382" y="2216"/>
                  </a:lnTo>
                  <a:lnTo>
                    <a:pt x="2382" y="2222"/>
                  </a:lnTo>
                  <a:lnTo>
                    <a:pt x="2382" y="2227"/>
                  </a:lnTo>
                  <a:lnTo>
                    <a:pt x="2381" y="2233"/>
                  </a:lnTo>
                  <a:lnTo>
                    <a:pt x="2381" y="2239"/>
                  </a:lnTo>
                  <a:lnTo>
                    <a:pt x="2380" y="2245"/>
                  </a:lnTo>
                  <a:lnTo>
                    <a:pt x="2381" y="2252"/>
                  </a:lnTo>
                  <a:lnTo>
                    <a:pt x="2383" y="2256"/>
                  </a:lnTo>
                  <a:lnTo>
                    <a:pt x="2385" y="2260"/>
                  </a:lnTo>
                  <a:lnTo>
                    <a:pt x="2389" y="2265"/>
                  </a:lnTo>
                  <a:lnTo>
                    <a:pt x="2393" y="2270"/>
                  </a:lnTo>
                  <a:lnTo>
                    <a:pt x="2405" y="2278"/>
                  </a:lnTo>
                  <a:lnTo>
                    <a:pt x="2418" y="2288"/>
                  </a:lnTo>
                  <a:lnTo>
                    <a:pt x="2433" y="2296"/>
                  </a:lnTo>
                  <a:lnTo>
                    <a:pt x="2446" y="2304"/>
                  </a:lnTo>
                  <a:lnTo>
                    <a:pt x="2458" y="2313"/>
                  </a:lnTo>
                  <a:lnTo>
                    <a:pt x="2466" y="2320"/>
                  </a:lnTo>
                  <a:lnTo>
                    <a:pt x="2471" y="2327"/>
                  </a:lnTo>
                  <a:lnTo>
                    <a:pt x="2476" y="2335"/>
                  </a:lnTo>
                  <a:lnTo>
                    <a:pt x="2480" y="2344"/>
                  </a:lnTo>
                  <a:lnTo>
                    <a:pt x="2483" y="2352"/>
                  </a:lnTo>
                  <a:lnTo>
                    <a:pt x="2486" y="2361"/>
                  </a:lnTo>
                  <a:lnTo>
                    <a:pt x="2489" y="2368"/>
                  </a:lnTo>
                  <a:lnTo>
                    <a:pt x="2494" y="2375"/>
                  </a:lnTo>
                  <a:lnTo>
                    <a:pt x="2500" y="2380"/>
                  </a:lnTo>
                  <a:lnTo>
                    <a:pt x="2503" y="2384"/>
                  </a:lnTo>
                  <a:lnTo>
                    <a:pt x="2505" y="2386"/>
                  </a:lnTo>
                  <a:lnTo>
                    <a:pt x="2506" y="2389"/>
                  </a:lnTo>
                  <a:lnTo>
                    <a:pt x="2507" y="2391"/>
                  </a:lnTo>
                  <a:lnTo>
                    <a:pt x="2507" y="2393"/>
                  </a:lnTo>
                  <a:lnTo>
                    <a:pt x="2506" y="2395"/>
                  </a:lnTo>
                  <a:lnTo>
                    <a:pt x="2505" y="2397"/>
                  </a:lnTo>
                  <a:lnTo>
                    <a:pt x="2503" y="2399"/>
                  </a:lnTo>
                  <a:lnTo>
                    <a:pt x="2498" y="2402"/>
                  </a:lnTo>
                  <a:lnTo>
                    <a:pt x="2491" y="2405"/>
                  </a:lnTo>
                  <a:lnTo>
                    <a:pt x="2484" y="2408"/>
                  </a:lnTo>
                  <a:lnTo>
                    <a:pt x="2474" y="2411"/>
                  </a:lnTo>
                  <a:lnTo>
                    <a:pt x="2456" y="2414"/>
                  </a:lnTo>
                  <a:lnTo>
                    <a:pt x="2437" y="2417"/>
                  </a:lnTo>
                  <a:lnTo>
                    <a:pt x="2421" y="2419"/>
                  </a:lnTo>
                  <a:lnTo>
                    <a:pt x="2411" y="2421"/>
                  </a:lnTo>
                  <a:lnTo>
                    <a:pt x="2403" y="2425"/>
                  </a:lnTo>
                  <a:lnTo>
                    <a:pt x="2394" y="2428"/>
                  </a:lnTo>
                  <a:lnTo>
                    <a:pt x="2386" y="2434"/>
                  </a:lnTo>
                  <a:lnTo>
                    <a:pt x="2379" y="2439"/>
                  </a:lnTo>
                  <a:lnTo>
                    <a:pt x="2371" y="2445"/>
                  </a:lnTo>
                  <a:lnTo>
                    <a:pt x="2364" y="2451"/>
                  </a:lnTo>
                  <a:lnTo>
                    <a:pt x="2358" y="2459"/>
                  </a:lnTo>
                  <a:lnTo>
                    <a:pt x="2351" y="2466"/>
                  </a:lnTo>
                  <a:lnTo>
                    <a:pt x="2339" y="2482"/>
                  </a:lnTo>
                  <a:lnTo>
                    <a:pt x="2329" y="2497"/>
                  </a:lnTo>
                  <a:lnTo>
                    <a:pt x="2319" y="2514"/>
                  </a:lnTo>
                  <a:lnTo>
                    <a:pt x="2311" y="2530"/>
                  </a:lnTo>
                  <a:lnTo>
                    <a:pt x="2310" y="2534"/>
                  </a:lnTo>
                  <a:lnTo>
                    <a:pt x="2309" y="2539"/>
                  </a:lnTo>
                  <a:lnTo>
                    <a:pt x="2307" y="2543"/>
                  </a:lnTo>
                  <a:lnTo>
                    <a:pt x="2305" y="2546"/>
                  </a:lnTo>
                  <a:lnTo>
                    <a:pt x="2299" y="2554"/>
                  </a:lnTo>
                  <a:lnTo>
                    <a:pt x="2292" y="2560"/>
                  </a:lnTo>
                  <a:lnTo>
                    <a:pt x="2286" y="2566"/>
                  </a:lnTo>
                  <a:lnTo>
                    <a:pt x="2280" y="2571"/>
                  </a:lnTo>
                  <a:lnTo>
                    <a:pt x="2274" y="2579"/>
                  </a:lnTo>
                  <a:lnTo>
                    <a:pt x="2270" y="2587"/>
                  </a:lnTo>
                  <a:lnTo>
                    <a:pt x="2267" y="2595"/>
                  </a:lnTo>
                  <a:lnTo>
                    <a:pt x="2265" y="2603"/>
                  </a:lnTo>
                  <a:lnTo>
                    <a:pt x="2264" y="2610"/>
                  </a:lnTo>
                  <a:lnTo>
                    <a:pt x="2264" y="2616"/>
                  </a:lnTo>
                  <a:lnTo>
                    <a:pt x="2264" y="2628"/>
                  </a:lnTo>
                  <a:lnTo>
                    <a:pt x="2264" y="2637"/>
                  </a:lnTo>
                  <a:lnTo>
                    <a:pt x="2263" y="2641"/>
                  </a:lnTo>
                  <a:lnTo>
                    <a:pt x="2262" y="2646"/>
                  </a:lnTo>
                  <a:lnTo>
                    <a:pt x="2260" y="2651"/>
                  </a:lnTo>
                  <a:lnTo>
                    <a:pt x="2258" y="2656"/>
                  </a:lnTo>
                  <a:lnTo>
                    <a:pt x="2253" y="2661"/>
                  </a:lnTo>
                  <a:lnTo>
                    <a:pt x="2247" y="2666"/>
                  </a:lnTo>
                  <a:lnTo>
                    <a:pt x="2240" y="2672"/>
                  </a:lnTo>
                  <a:lnTo>
                    <a:pt x="2232" y="2678"/>
                  </a:lnTo>
                  <a:lnTo>
                    <a:pt x="2226" y="2683"/>
                  </a:lnTo>
                  <a:lnTo>
                    <a:pt x="2223" y="2688"/>
                  </a:lnTo>
                  <a:lnTo>
                    <a:pt x="2221" y="2694"/>
                  </a:lnTo>
                  <a:lnTo>
                    <a:pt x="2219" y="2701"/>
                  </a:lnTo>
                  <a:lnTo>
                    <a:pt x="2218" y="2707"/>
                  </a:lnTo>
                  <a:lnTo>
                    <a:pt x="2216" y="2713"/>
                  </a:lnTo>
                  <a:lnTo>
                    <a:pt x="2213" y="2718"/>
                  </a:lnTo>
                  <a:lnTo>
                    <a:pt x="2209" y="2724"/>
                  </a:lnTo>
                  <a:lnTo>
                    <a:pt x="2199" y="2733"/>
                  </a:lnTo>
                  <a:lnTo>
                    <a:pt x="2191" y="2743"/>
                  </a:lnTo>
                  <a:lnTo>
                    <a:pt x="2181" y="2754"/>
                  </a:lnTo>
                  <a:lnTo>
                    <a:pt x="2174" y="2764"/>
                  </a:lnTo>
                  <a:lnTo>
                    <a:pt x="2176" y="2771"/>
                  </a:lnTo>
                  <a:lnTo>
                    <a:pt x="2179" y="2777"/>
                  </a:lnTo>
                  <a:lnTo>
                    <a:pt x="2185" y="2782"/>
                  </a:lnTo>
                  <a:lnTo>
                    <a:pt x="2189" y="2787"/>
                  </a:lnTo>
                  <a:lnTo>
                    <a:pt x="2189" y="2811"/>
                  </a:lnTo>
                  <a:lnTo>
                    <a:pt x="2188" y="2829"/>
                  </a:lnTo>
                  <a:lnTo>
                    <a:pt x="2186" y="2837"/>
                  </a:lnTo>
                  <a:lnTo>
                    <a:pt x="2181" y="2846"/>
                  </a:lnTo>
                  <a:lnTo>
                    <a:pt x="2176" y="2856"/>
                  </a:lnTo>
                  <a:lnTo>
                    <a:pt x="2169" y="2869"/>
                  </a:lnTo>
                  <a:lnTo>
                    <a:pt x="2161" y="2880"/>
                  </a:lnTo>
                  <a:lnTo>
                    <a:pt x="2152" y="2891"/>
                  </a:lnTo>
                  <a:lnTo>
                    <a:pt x="2143" y="2901"/>
                  </a:lnTo>
                  <a:lnTo>
                    <a:pt x="2134" y="2910"/>
                  </a:lnTo>
                  <a:lnTo>
                    <a:pt x="2114" y="2928"/>
                  </a:lnTo>
                  <a:lnTo>
                    <a:pt x="2093" y="2946"/>
                  </a:lnTo>
                  <a:lnTo>
                    <a:pt x="2073" y="2963"/>
                  </a:lnTo>
                  <a:lnTo>
                    <a:pt x="2053" y="2980"/>
                  </a:lnTo>
                  <a:lnTo>
                    <a:pt x="2044" y="2990"/>
                  </a:lnTo>
                  <a:lnTo>
                    <a:pt x="2036" y="2999"/>
                  </a:lnTo>
                  <a:lnTo>
                    <a:pt x="2027" y="3008"/>
                  </a:lnTo>
                  <a:lnTo>
                    <a:pt x="2019" y="3019"/>
                  </a:lnTo>
                  <a:lnTo>
                    <a:pt x="2019" y="3019"/>
                  </a:lnTo>
                  <a:lnTo>
                    <a:pt x="1992" y="3011"/>
                  </a:lnTo>
                  <a:lnTo>
                    <a:pt x="1957" y="2999"/>
                  </a:lnTo>
                  <a:lnTo>
                    <a:pt x="1918" y="2987"/>
                  </a:lnTo>
                  <a:lnTo>
                    <a:pt x="1877" y="2973"/>
                  </a:lnTo>
                  <a:lnTo>
                    <a:pt x="1857" y="2966"/>
                  </a:lnTo>
                  <a:lnTo>
                    <a:pt x="1838" y="2957"/>
                  </a:lnTo>
                  <a:lnTo>
                    <a:pt x="1821" y="2950"/>
                  </a:lnTo>
                  <a:lnTo>
                    <a:pt x="1805" y="2942"/>
                  </a:lnTo>
                  <a:lnTo>
                    <a:pt x="1791" y="2933"/>
                  </a:lnTo>
                  <a:lnTo>
                    <a:pt x="1779" y="2925"/>
                  </a:lnTo>
                  <a:lnTo>
                    <a:pt x="1774" y="2922"/>
                  </a:lnTo>
                  <a:lnTo>
                    <a:pt x="1771" y="2918"/>
                  </a:lnTo>
                  <a:lnTo>
                    <a:pt x="1767" y="2914"/>
                  </a:lnTo>
                  <a:lnTo>
                    <a:pt x="1764" y="2909"/>
                  </a:lnTo>
                  <a:lnTo>
                    <a:pt x="1752" y="2881"/>
                  </a:lnTo>
                  <a:lnTo>
                    <a:pt x="1743" y="2859"/>
                  </a:lnTo>
                  <a:lnTo>
                    <a:pt x="1736" y="2849"/>
                  </a:lnTo>
                  <a:lnTo>
                    <a:pt x="1729" y="2838"/>
                  </a:lnTo>
                  <a:lnTo>
                    <a:pt x="1720" y="2828"/>
                  </a:lnTo>
                  <a:lnTo>
                    <a:pt x="1707" y="2815"/>
                  </a:lnTo>
                  <a:lnTo>
                    <a:pt x="1690" y="2800"/>
                  </a:lnTo>
                  <a:lnTo>
                    <a:pt x="1670" y="2781"/>
                  </a:lnTo>
                  <a:lnTo>
                    <a:pt x="1646" y="2761"/>
                  </a:lnTo>
                  <a:lnTo>
                    <a:pt x="1620" y="2742"/>
                  </a:lnTo>
                  <a:lnTo>
                    <a:pt x="1606" y="2733"/>
                  </a:lnTo>
                  <a:lnTo>
                    <a:pt x="1593" y="2724"/>
                  </a:lnTo>
                  <a:lnTo>
                    <a:pt x="1580" y="2716"/>
                  </a:lnTo>
                  <a:lnTo>
                    <a:pt x="1567" y="2709"/>
                  </a:lnTo>
                  <a:lnTo>
                    <a:pt x="1555" y="2704"/>
                  </a:lnTo>
                  <a:lnTo>
                    <a:pt x="1543" y="2700"/>
                  </a:lnTo>
                  <a:lnTo>
                    <a:pt x="1532" y="2698"/>
                  </a:lnTo>
                  <a:lnTo>
                    <a:pt x="1523" y="2697"/>
                  </a:lnTo>
                  <a:lnTo>
                    <a:pt x="1514" y="2699"/>
                  </a:lnTo>
                  <a:lnTo>
                    <a:pt x="1506" y="2702"/>
                  </a:lnTo>
                  <a:lnTo>
                    <a:pt x="1496" y="2706"/>
                  </a:lnTo>
                  <a:lnTo>
                    <a:pt x="1488" y="2711"/>
                  </a:lnTo>
                  <a:lnTo>
                    <a:pt x="1479" y="2715"/>
                  </a:lnTo>
                  <a:lnTo>
                    <a:pt x="1470" y="2718"/>
                  </a:lnTo>
                  <a:lnTo>
                    <a:pt x="1466" y="2719"/>
                  </a:lnTo>
                  <a:lnTo>
                    <a:pt x="1462" y="2719"/>
                  </a:lnTo>
                  <a:lnTo>
                    <a:pt x="1458" y="2719"/>
                  </a:lnTo>
                  <a:lnTo>
                    <a:pt x="1454" y="2717"/>
                  </a:lnTo>
                  <a:lnTo>
                    <a:pt x="1430" y="2706"/>
                  </a:lnTo>
                  <a:lnTo>
                    <a:pt x="1408" y="2698"/>
                  </a:lnTo>
                  <a:lnTo>
                    <a:pt x="1397" y="2694"/>
                  </a:lnTo>
                  <a:lnTo>
                    <a:pt x="1388" y="2692"/>
                  </a:lnTo>
                  <a:lnTo>
                    <a:pt x="1379" y="2691"/>
                  </a:lnTo>
                  <a:lnTo>
                    <a:pt x="1370" y="2692"/>
                  </a:lnTo>
                  <a:lnTo>
                    <a:pt x="1362" y="2694"/>
                  </a:lnTo>
                  <a:lnTo>
                    <a:pt x="1355" y="2699"/>
                  </a:lnTo>
                  <a:lnTo>
                    <a:pt x="1348" y="2705"/>
                  </a:lnTo>
                  <a:lnTo>
                    <a:pt x="1342" y="2712"/>
                  </a:lnTo>
                  <a:lnTo>
                    <a:pt x="1337" y="2723"/>
                  </a:lnTo>
                  <a:lnTo>
                    <a:pt x="1333" y="2734"/>
                  </a:lnTo>
                  <a:lnTo>
                    <a:pt x="1329" y="2749"/>
                  </a:lnTo>
                  <a:lnTo>
                    <a:pt x="1325" y="2766"/>
                  </a:lnTo>
                  <a:lnTo>
                    <a:pt x="1320" y="2769"/>
                  </a:lnTo>
                  <a:lnTo>
                    <a:pt x="1315" y="2770"/>
                  </a:lnTo>
                  <a:lnTo>
                    <a:pt x="1309" y="2769"/>
                  </a:lnTo>
                  <a:lnTo>
                    <a:pt x="1304" y="2767"/>
                  </a:lnTo>
                  <a:lnTo>
                    <a:pt x="1297" y="2765"/>
                  </a:lnTo>
                  <a:lnTo>
                    <a:pt x="1292" y="2762"/>
                  </a:lnTo>
                  <a:lnTo>
                    <a:pt x="1287" y="2759"/>
                  </a:lnTo>
                  <a:lnTo>
                    <a:pt x="1281" y="2755"/>
                  </a:lnTo>
                  <a:lnTo>
                    <a:pt x="1271" y="2746"/>
                  </a:lnTo>
                  <a:lnTo>
                    <a:pt x="1262" y="2735"/>
                  </a:lnTo>
                  <a:lnTo>
                    <a:pt x="1255" y="2725"/>
                  </a:lnTo>
                  <a:lnTo>
                    <a:pt x="1248" y="2716"/>
                  </a:lnTo>
                  <a:lnTo>
                    <a:pt x="1244" y="2707"/>
                  </a:lnTo>
                  <a:lnTo>
                    <a:pt x="1241" y="2699"/>
                  </a:lnTo>
                  <a:lnTo>
                    <a:pt x="1234" y="2690"/>
                  </a:lnTo>
                  <a:lnTo>
                    <a:pt x="1225" y="2683"/>
                  </a:lnTo>
                  <a:lnTo>
                    <a:pt x="1216" y="2677"/>
                  </a:lnTo>
                  <a:lnTo>
                    <a:pt x="1207" y="2669"/>
                  </a:lnTo>
                  <a:lnTo>
                    <a:pt x="1197" y="2664"/>
                  </a:lnTo>
                  <a:lnTo>
                    <a:pt x="1187" y="2659"/>
                  </a:lnTo>
                  <a:lnTo>
                    <a:pt x="1175" y="2654"/>
                  </a:lnTo>
                  <a:lnTo>
                    <a:pt x="1165" y="2649"/>
                  </a:lnTo>
                  <a:lnTo>
                    <a:pt x="1142" y="2641"/>
                  </a:lnTo>
                  <a:lnTo>
                    <a:pt x="1119" y="2636"/>
                  </a:lnTo>
                  <a:lnTo>
                    <a:pt x="1096" y="2633"/>
                  </a:lnTo>
                  <a:lnTo>
                    <a:pt x="1074" y="2632"/>
                  </a:lnTo>
                  <a:lnTo>
                    <a:pt x="1060" y="2631"/>
                  </a:lnTo>
                  <a:lnTo>
                    <a:pt x="1045" y="2629"/>
                  </a:lnTo>
                  <a:lnTo>
                    <a:pt x="1029" y="2627"/>
                  </a:lnTo>
                  <a:lnTo>
                    <a:pt x="1014" y="2626"/>
                  </a:lnTo>
                  <a:lnTo>
                    <a:pt x="1011" y="2627"/>
                  </a:lnTo>
                  <a:lnTo>
                    <a:pt x="1007" y="2628"/>
                  </a:lnTo>
                  <a:lnTo>
                    <a:pt x="1004" y="2631"/>
                  </a:lnTo>
                  <a:lnTo>
                    <a:pt x="1001" y="2635"/>
                  </a:lnTo>
                  <a:lnTo>
                    <a:pt x="995" y="2645"/>
                  </a:lnTo>
                  <a:lnTo>
                    <a:pt x="990" y="2657"/>
                  </a:lnTo>
                  <a:lnTo>
                    <a:pt x="980" y="2682"/>
                  </a:lnTo>
                  <a:lnTo>
                    <a:pt x="975" y="2702"/>
                  </a:lnTo>
                  <a:lnTo>
                    <a:pt x="974" y="2714"/>
                  </a:lnTo>
                  <a:lnTo>
                    <a:pt x="974" y="2726"/>
                  </a:lnTo>
                  <a:lnTo>
                    <a:pt x="975" y="2737"/>
                  </a:lnTo>
                  <a:lnTo>
                    <a:pt x="977" y="2748"/>
                  </a:lnTo>
                  <a:lnTo>
                    <a:pt x="980" y="2759"/>
                  </a:lnTo>
                  <a:lnTo>
                    <a:pt x="985" y="2770"/>
                  </a:lnTo>
                  <a:lnTo>
                    <a:pt x="990" y="2779"/>
                  </a:lnTo>
                  <a:lnTo>
                    <a:pt x="995" y="2789"/>
                  </a:lnTo>
                  <a:lnTo>
                    <a:pt x="1006" y="2810"/>
                  </a:lnTo>
                  <a:lnTo>
                    <a:pt x="1017" y="2830"/>
                  </a:lnTo>
                  <a:lnTo>
                    <a:pt x="1022" y="2842"/>
                  </a:lnTo>
                  <a:lnTo>
                    <a:pt x="1026" y="2852"/>
                  </a:lnTo>
                  <a:lnTo>
                    <a:pt x="1029" y="2863"/>
                  </a:lnTo>
                  <a:lnTo>
                    <a:pt x="1031" y="2876"/>
                  </a:lnTo>
                  <a:lnTo>
                    <a:pt x="1033" y="2884"/>
                  </a:lnTo>
                  <a:lnTo>
                    <a:pt x="1031" y="2892"/>
                  </a:lnTo>
                  <a:lnTo>
                    <a:pt x="1031" y="2898"/>
                  </a:lnTo>
                  <a:lnTo>
                    <a:pt x="1029" y="2904"/>
                  </a:lnTo>
                  <a:lnTo>
                    <a:pt x="1027" y="2909"/>
                  </a:lnTo>
                  <a:lnTo>
                    <a:pt x="1024" y="2914"/>
                  </a:lnTo>
                  <a:lnTo>
                    <a:pt x="1020" y="2918"/>
                  </a:lnTo>
                  <a:lnTo>
                    <a:pt x="1017" y="2922"/>
                  </a:lnTo>
                  <a:lnTo>
                    <a:pt x="1007" y="2930"/>
                  </a:lnTo>
                  <a:lnTo>
                    <a:pt x="998" y="2939"/>
                  </a:lnTo>
                  <a:lnTo>
                    <a:pt x="988" y="2948"/>
                  </a:lnTo>
                  <a:lnTo>
                    <a:pt x="977" y="2959"/>
                  </a:lnTo>
                  <a:lnTo>
                    <a:pt x="972" y="2969"/>
                  </a:lnTo>
                  <a:lnTo>
                    <a:pt x="968" y="2978"/>
                  </a:lnTo>
                  <a:lnTo>
                    <a:pt x="966" y="2987"/>
                  </a:lnTo>
                  <a:lnTo>
                    <a:pt x="965" y="2995"/>
                  </a:lnTo>
                  <a:lnTo>
                    <a:pt x="965" y="3014"/>
                  </a:lnTo>
                  <a:lnTo>
                    <a:pt x="966" y="3034"/>
                  </a:lnTo>
                  <a:lnTo>
                    <a:pt x="968" y="3043"/>
                  </a:lnTo>
                  <a:lnTo>
                    <a:pt x="968" y="3052"/>
                  </a:lnTo>
                  <a:lnTo>
                    <a:pt x="967" y="3060"/>
                  </a:lnTo>
                  <a:lnTo>
                    <a:pt x="964" y="3068"/>
                  </a:lnTo>
                  <a:lnTo>
                    <a:pt x="960" y="3074"/>
                  </a:lnTo>
                  <a:lnTo>
                    <a:pt x="953" y="3080"/>
                  </a:lnTo>
                  <a:lnTo>
                    <a:pt x="947" y="3086"/>
                  </a:lnTo>
                  <a:lnTo>
                    <a:pt x="939" y="3090"/>
                  </a:lnTo>
                  <a:lnTo>
                    <a:pt x="930" y="3094"/>
                  </a:lnTo>
                  <a:lnTo>
                    <a:pt x="921" y="3098"/>
                  </a:lnTo>
                  <a:lnTo>
                    <a:pt x="912" y="3100"/>
                  </a:lnTo>
                  <a:lnTo>
                    <a:pt x="902" y="3102"/>
                  </a:lnTo>
                  <a:lnTo>
                    <a:pt x="892" y="3104"/>
                  </a:lnTo>
                  <a:lnTo>
                    <a:pt x="882" y="3104"/>
                  </a:lnTo>
                  <a:lnTo>
                    <a:pt x="874" y="3105"/>
                  </a:lnTo>
                  <a:lnTo>
                    <a:pt x="865" y="3104"/>
                  </a:lnTo>
                  <a:lnTo>
                    <a:pt x="857" y="3103"/>
                  </a:lnTo>
                  <a:lnTo>
                    <a:pt x="850" y="3101"/>
                  </a:lnTo>
                  <a:lnTo>
                    <a:pt x="843" y="3099"/>
                  </a:lnTo>
                  <a:lnTo>
                    <a:pt x="835" y="3096"/>
                  </a:lnTo>
                  <a:lnTo>
                    <a:pt x="822" y="3091"/>
                  </a:lnTo>
                  <a:lnTo>
                    <a:pt x="807" y="3086"/>
                  </a:lnTo>
                  <a:lnTo>
                    <a:pt x="792" y="3081"/>
                  </a:lnTo>
                  <a:lnTo>
                    <a:pt x="775" y="3079"/>
                  </a:lnTo>
                  <a:lnTo>
                    <a:pt x="759" y="3078"/>
                  </a:lnTo>
                  <a:lnTo>
                    <a:pt x="744" y="3077"/>
                  </a:lnTo>
                  <a:lnTo>
                    <a:pt x="727" y="3076"/>
                  </a:lnTo>
                  <a:lnTo>
                    <a:pt x="711" y="3074"/>
                  </a:lnTo>
                  <a:lnTo>
                    <a:pt x="703" y="3073"/>
                  </a:lnTo>
                  <a:lnTo>
                    <a:pt x="695" y="3071"/>
                  </a:lnTo>
                  <a:lnTo>
                    <a:pt x="686" y="3068"/>
                  </a:lnTo>
                  <a:lnTo>
                    <a:pt x="679" y="3065"/>
                  </a:lnTo>
                  <a:lnTo>
                    <a:pt x="669" y="3059"/>
                  </a:lnTo>
                  <a:lnTo>
                    <a:pt x="659" y="3052"/>
                  </a:lnTo>
                  <a:lnTo>
                    <a:pt x="650" y="3045"/>
                  </a:lnTo>
                  <a:lnTo>
                    <a:pt x="643" y="3037"/>
                  </a:lnTo>
                  <a:lnTo>
                    <a:pt x="627" y="3019"/>
                  </a:lnTo>
                  <a:lnTo>
                    <a:pt x="614" y="2999"/>
                  </a:lnTo>
                  <a:lnTo>
                    <a:pt x="602" y="2979"/>
                  </a:lnTo>
                  <a:lnTo>
                    <a:pt x="588" y="2959"/>
                  </a:lnTo>
                  <a:lnTo>
                    <a:pt x="582" y="2950"/>
                  </a:lnTo>
                  <a:lnTo>
                    <a:pt x="575" y="2941"/>
                  </a:lnTo>
                  <a:lnTo>
                    <a:pt x="567" y="2932"/>
                  </a:lnTo>
                  <a:lnTo>
                    <a:pt x="560" y="2924"/>
                  </a:lnTo>
                  <a:lnTo>
                    <a:pt x="543" y="2910"/>
                  </a:lnTo>
                  <a:lnTo>
                    <a:pt x="527" y="2898"/>
                  </a:lnTo>
                  <a:lnTo>
                    <a:pt x="510" y="2885"/>
                  </a:lnTo>
                  <a:lnTo>
                    <a:pt x="493" y="2872"/>
                  </a:lnTo>
                  <a:lnTo>
                    <a:pt x="488" y="2868"/>
                  </a:lnTo>
                  <a:lnTo>
                    <a:pt x="482" y="2863"/>
                  </a:lnTo>
                  <a:lnTo>
                    <a:pt x="475" y="2860"/>
                  </a:lnTo>
                  <a:lnTo>
                    <a:pt x="468" y="2857"/>
                  </a:lnTo>
                  <a:lnTo>
                    <a:pt x="456" y="2852"/>
                  </a:lnTo>
                  <a:lnTo>
                    <a:pt x="443" y="2845"/>
                  </a:lnTo>
                  <a:lnTo>
                    <a:pt x="305" y="2783"/>
                  </a:lnTo>
                  <a:lnTo>
                    <a:pt x="305" y="2783"/>
                  </a:lnTo>
                  <a:lnTo>
                    <a:pt x="308" y="2769"/>
                  </a:lnTo>
                  <a:lnTo>
                    <a:pt x="309" y="2754"/>
                  </a:lnTo>
                  <a:lnTo>
                    <a:pt x="310" y="2739"/>
                  </a:lnTo>
                  <a:lnTo>
                    <a:pt x="309" y="2724"/>
                  </a:lnTo>
                  <a:lnTo>
                    <a:pt x="295" y="2716"/>
                  </a:lnTo>
                  <a:lnTo>
                    <a:pt x="283" y="2712"/>
                  </a:lnTo>
                  <a:lnTo>
                    <a:pt x="269" y="2709"/>
                  </a:lnTo>
                  <a:lnTo>
                    <a:pt x="256" y="2707"/>
                  </a:lnTo>
                  <a:lnTo>
                    <a:pt x="228" y="2704"/>
                  </a:lnTo>
                  <a:lnTo>
                    <a:pt x="198" y="2702"/>
                  </a:lnTo>
                  <a:lnTo>
                    <a:pt x="194" y="2697"/>
                  </a:lnTo>
                  <a:lnTo>
                    <a:pt x="190" y="2691"/>
                  </a:lnTo>
                  <a:lnTo>
                    <a:pt x="190" y="2686"/>
                  </a:lnTo>
                  <a:lnTo>
                    <a:pt x="191" y="2681"/>
                  </a:lnTo>
                  <a:lnTo>
                    <a:pt x="192" y="2675"/>
                  </a:lnTo>
                  <a:lnTo>
                    <a:pt x="194" y="2668"/>
                  </a:lnTo>
                  <a:lnTo>
                    <a:pt x="198" y="2655"/>
                  </a:lnTo>
                  <a:lnTo>
                    <a:pt x="204" y="2642"/>
                  </a:lnTo>
                  <a:lnTo>
                    <a:pt x="209" y="2629"/>
                  </a:lnTo>
                  <a:lnTo>
                    <a:pt x="213" y="2615"/>
                  </a:lnTo>
                  <a:lnTo>
                    <a:pt x="214" y="2609"/>
                  </a:lnTo>
                  <a:lnTo>
                    <a:pt x="214" y="2604"/>
                  </a:lnTo>
                  <a:lnTo>
                    <a:pt x="214" y="2597"/>
                  </a:lnTo>
                  <a:lnTo>
                    <a:pt x="212" y="2592"/>
                  </a:lnTo>
                  <a:lnTo>
                    <a:pt x="213" y="2586"/>
                  </a:lnTo>
                  <a:lnTo>
                    <a:pt x="212" y="2579"/>
                  </a:lnTo>
                  <a:lnTo>
                    <a:pt x="184" y="2595"/>
                  </a:lnTo>
                  <a:lnTo>
                    <a:pt x="145" y="2618"/>
                  </a:lnTo>
                  <a:lnTo>
                    <a:pt x="136" y="2624"/>
                  </a:lnTo>
                  <a:lnTo>
                    <a:pt x="126" y="2628"/>
                  </a:lnTo>
                  <a:lnTo>
                    <a:pt x="118" y="2631"/>
                  </a:lnTo>
                  <a:lnTo>
                    <a:pt x="110" y="2632"/>
                  </a:lnTo>
                  <a:lnTo>
                    <a:pt x="106" y="2632"/>
                  </a:lnTo>
                  <a:lnTo>
                    <a:pt x="102" y="2631"/>
                  </a:lnTo>
                  <a:lnTo>
                    <a:pt x="99" y="2630"/>
                  </a:lnTo>
                  <a:lnTo>
                    <a:pt x="96" y="2629"/>
                  </a:lnTo>
                  <a:lnTo>
                    <a:pt x="93" y="2626"/>
                  </a:lnTo>
                  <a:lnTo>
                    <a:pt x="91" y="2624"/>
                  </a:lnTo>
                  <a:lnTo>
                    <a:pt x="89" y="2619"/>
                  </a:lnTo>
                  <a:lnTo>
                    <a:pt x="88" y="2615"/>
                  </a:lnTo>
                  <a:lnTo>
                    <a:pt x="86" y="2607"/>
                  </a:lnTo>
                  <a:lnTo>
                    <a:pt x="85" y="2600"/>
                  </a:lnTo>
                  <a:lnTo>
                    <a:pt x="85" y="2591"/>
                  </a:lnTo>
                  <a:lnTo>
                    <a:pt x="87" y="2583"/>
                  </a:lnTo>
                  <a:lnTo>
                    <a:pt x="91" y="2567"/>
                  </a:lnTo>
                  <a:lnTo>
                    <a:pt x="98" y="2553"/>
                  </a:lnTo>
                  <a:lnTo>
                    <a:pt x="107" y="2537"/>
                  </a:lnTo>
                  <a:lnTo>
                    <a:pt x="113" y="2521"/>
                  </a:lnTo>
                  <a:lnTo>
                    <a:pt x="116" y="2513"/>
                  </a:lnTo>
                  <a:lnTo>
                    <a:pt x="118" y="2506"/>
                  </a:lnTo>
                  <a:lnTo>
                    <a:pt x="120" y="2497"/>
                  </a:lnTo>
                  <a:lnTo>
                    <a:pt x="120" y="2488"/>
                  </a:lnTo>
                  <a:lnTo>
                    <a:pt x="112" y="2482"/>
                  </a:lnTo>
                  <a:lnTo>
                    <a:pt x="104" y="2476"/>
                  </a:lnTo>
                  <a:lnTo>
                    <a:pt x="95" y="2472"/>
                  </a:lnTo>
                  <a:lnTo>
                    <a:pt x="86" y="2469"/>
                  </a:lnTo>
                  <a:lnTo>
                    <a:pt x="68" y="2464"/>
                  </a:lnTo>
                  <a:lnTo>
                    <a:pt x="46" y="2457"/>
                  </a:lnTo>
                  <a:lnTo>
                    <a:pt x="38" y="2453"/>
                  </a:lnTo>
                  <a:lnTo>
                    <a:pt x="29" y="2449"/>
                  </a:lnTo>
                  <a:lnTo>
                    <a:pt x="22" y="2445"/>
                  </a:lnTo>
                  <a:lnTo>
                    <a:pt x="15" y="2440"/>
                  </a:lnTo>
                  <a:lnTo>
                    <a:pt x="9" y="2434"/>
                  </a:lnTo>
                  <a:lnTo>
                    <a:pt x="4" y="2426"/>
                  </a:lnTo>
                  <a:lnTo>
                    <a:pt x="2" y="2422"/>
                  </a:lnTo>
                  <a:lnTo>
                    <a:pt x="1" y="2418"/>
                  </a:lnTo>
                  <a:lnTo>
                    <a:pt x="0" y="2413"/>
                  </a:lnTo>
                  <a:lnTo>
                    <a:pt x="0" y="2408"/>
                  </a:lnTo>
                  <a:lnTo>
                    <a:pt x="1" y="2401"/>
                  </a:lnTo>
                  <a:lnTo>
                    <a:pt x="3" y="2394"/>
                  </a:lnTo>
                  <a:lnTo>
                    <a:pt x="7" y="2388"/>
                  </a:lnTo>
                  <a:lnTo>
                    <a:pt x="11" y="2383"/>
                  </a:lnTo>
                  <a:lnTo>
                    <a:pt x="22" y="2371"/>
                  </a:lnTo>
                  <a:lnTo>
                    <a:pt x="36" y="2361"/>
                  </a:lnTo>
                  <a:lnTo>
                    <a:pt x="49" y="2352"/>
                  </a:lnTo>
                  <a:lnTo>
                    <a:pt x="61" y="2343"/>
                  </a:lnTo>
                  <a:lnTo>
                    <a:pt x="65" y="2339"/>
                  </a:lnTo>
                  <a:lnTo>
                    <a:pt x="69" y="2336"/>
                  </a:lnTo>
                  <a:lnTo>
                    <a:pt x="71" y="2331"/>
                  </a:lnTo>
                  <a:lnTo>
                    <a:pt x="71" y="2327"/>
                  </a:lnTo>
                  <a:lnTo>
                    <a:pt x="64" y="2322"/>
                  </a:lnTo>
                  <a:lnTo>
                    <a:pt x="59" y="2317"/>
                  </a:lnTo>
                  <a:lnTo>
                    <a:pt x="56" y="2311"/>
                  </a:lnTo>
                  <a:lnTo>
                    <a:pt x="53" y="2305"/>
                  </a:lnTo>
                  <a:lnTo>
                    <a:pt x="53" y="2300"/>
                  </a:lnTo>
                  <a:lnTo>
                    <a:pt x="54" y="2295"/>
                  </a:lnTo>
                  <a:lnTo>
                    <a:pt x="57" y="2291"/>
                  </a:lnTo>
                  <a:lnTo>
                    <a:pt x="61" y="2285"/>
                  </a:lnTo>
                  <a:lnTo>
                    <a:pt x="65" y="2281"/>
                  </a:lnTo>
                  <a:lnTo>
                    <a:pt x="70" y="2277"/>
                  </a:lnTo>
                  <a:lnTo>
                    <a:pt x="75" y="2274"/>
                  </a:lnTo>
                  <a:lnTo>
                    <a:pt x="82" y="2271"/>
                  </a:lnTo>
                  <a:lnTo>
                    <a:pt x="94" y="2266"/>
                  </a:lnTo>
                  <a:lnTo>
                    <a:pt x="108" y="2263"/>
                  </a:lnTo>
                  <a:lnTo>
                    <a:pt x="131" y="2262"/>
                  </a:lnTo>
                  <a:lnTo>
                    <a:pt x="157" y="2260"/>
                  </a:lnTo>
                  <a:lnTo>
                    <a:pt x="163" y="2259"/>
                  </a:lnTo>
                  <a:lnTo>
                    <a:pt x="168" y="2258"/>
                  </a:lnTo>
                  <a:lnTo>
                    <a:pt x="172" y="2256"/>
                  </a:lnTo>
                  <a:lnTo>
                    <a:pt x="175" y="2254"/>
                  </a:lnTo>
                  <a:lnTo>
                    <a:pt x="178" y="2251"/>
                  </a:lnTo>
                  <a:lnTo>
                    <a:pt x="179" y="2247"/>
                  </a:lnTo>
                  <a:lnTo>
                    <a:pt x="179" y="2242"/>
                  </a:lnTo>
                  <a:lnTo>
                    <a:pt x="176" y="2235"/>
                  </a:lnTo>
                  <a:lnTo>
                    <a:pt x="176" y="2231"/>
                  </a:lnTo>
                  <a:lnTo>
                    <a:pt x="175" y="2227"/>
                  </a:lnTo>
                  <a:lnTo>
                    <a:pt x="174" y="2224"/>
                  </a:lnTo>
                  <a:lnTo>
                    <a:pt x="172" y="2221"/>
                  </a:lnTo>
                  <a:lnTo>
                    <a:pt x="168" y="2216"/>
                  </a:lnTo>
                  <a:lnTo>
                    <a:pt x="163" y="2211"/>
                  </a:lnTo>
                  <a:lnTo>
                    <a:pt x="156" y="2208"/>
                  </a:lnTo>
                  <a:lnTo>
                    <a:pt x="147" y="2206"/>
                  </a:lnTo>
                  <a:lnTo>
                    <a:pt x="139" y="2204"/>
                  </a:lnTo>
                  <a:lnTo>
                    <a:pt x="130" y="2204"/>
                  </a:lnTo>
                  <a:lnTo>
                    <a:pt x="93" y="2204"/>
                  </a:lnTo>
                  <a:lnTo>
                    <a:pt x="64" y="2202"/>
                  </a:lnTo>
                  <a:lnTo>
                    <a:pt x="57" y="2200"/>
                  </a:lnTo>
                  <a:lnTo>
                    <a:pt x="49" y="2197"/>
                  </a:lnTo>
                  <a:lnTo>
                    <a:pt x="43" y="2194"/>
                  </a:lnTo>
                  <a:lnTo>
                    <a:pt x="38" y="2188"/>
                  </a:lnTo>
                  <a:lnTo>
                    <a:pt x="33" y="2184"/>
                  </a:lnTo>
                  <a:lnTo>
                    <a:pt x="27" y="2178"/>
                  </a:lnTo>
                  <a:lnTo>
                    <a:pt x="23" y="2172"/>
                  </a:lnTo>
                  <a:lnTo>
                    <a:pt x="20" y="2166"/>
                  </a:lnTo>
                  <a:lnTo>
                    <a:pt x="17" y="2158"/>
                  </a:lnTo>
                  <a:lnTo>
                    <a:pt x="15" y="2151"/>
                  </a:lnTo>
                  <a:lnTo>
                    <a:pt x="13" y="2144"/>
                  </a:lnTo>
                  <a:lnTo>
                    <a:pt x="12" y="2136"/>
                  </a:lnTo>
                  <a:lnTo>
                    <a:pt x="12" y="2129"/>
                  </a:lnTo>
                  <a:lnTo>
                    <a:pt x="12" y="2121"/>
                  </a:lnTo>
                  <a:lnTo>
                    <a:pt x="13" y="2113"/>
                  </a:lnTo>
                  <a:lnTo>
                    <a:pt x="14" y="2106"/>
                  </a:lnTo>
                  <a:lnTo>
                    <a:pt x="19" y="2101"/>
                  </a:lnTo>
                  <a:lnTo>
                    <a:pt x="24" y="2097"/>
                  </a:lnTo>
                  <a:lnTo>
                    <a:pt x="31" y="2092"/>
                  </a:lnTo>
                  <a:lnTo>
                    <a:pt x="38" y="2089"/>
                  </a:lnTo>
                  <a:lnTo>
                    <a:pt x="45" y="2086"/>
                  </a:lnTo>
                  <a:lnTo>
                    <a:pt x="52" y="2084"/>
                  </a:lnTo>
                  <a:lnTo>
                    <a:pt x="61" y="2083"/>
                  </a:lnTo>
                  <a:lnTo>
                    <a:pt x="67" y="2082"/>
                  </a:lnTo>
                  <a:lnTo>
                    <a:pt x="73" y="2083"/>
                  </a:lnTo>
                  <a:lnTo>
                    <a:pt x="78" y="2084"/>
                  </a:lnTo>
                  <a:lnTo>
                    <a:pt x="84" y="2085"/>
                  </a:lnTo>
                  <a:lnTo>
                    <a:pt x="88" y="2087"/>
                  </a:lnTo>
                  <a:lnTo>
                    <a:pt x="93" y="2089"/>
                  </a:lnTo>
                  <a:lnTo>
                    <a:pt x="98" y="2091"/>
                  </a:lnTo>
                  <a:lnTo>
                    <a:pt x="104" y="2092"/>
                  </a:lnTo>
                  <a:lnTo>
                    <a:pt x="109" y="2092"/>
                  </a:lnTo>
                  <a:lnTo>
                    <a:pt x="112" y="2090"/>
                  </a:lnTo>
                  <a:lnTo>
                    <a:pt x="112" y="2090"/>
                  </a:lnTo>
                  <a:lnTo>
                    <a:pt x="120" y="2091"/>
                  </a:lnTo>
                  <a:lnTo>
                    <a:pt x="129" y="2095"/>
                  </a:lnTo>
                  <a:lnTo>
                    <a:pt x="136" y="2098"/>
                  </a:lnTo>
                  <a:lnTo>
                    <a:pt x="143" y="2101"/>
                  </a:lnTo>
                  <a:lnTo>
                    <a:pt x="151" y="2104"/>
                  </a:lnTo>
                  <a:lnTo>
                    <a:pt x="160" y="2107"/>
                  </a:lnTo>
                  <a:lnTo>
                    <a:pt x="168" y="2109"/>
                  </a:lnTo>
                  <a:lnTo>
                    <a:pt x="179" y="2109"/>
                  </a:lnTo>
                  <a:lnTo>
                    <a:pt x="185" y="2109"/>
                  </a:lnTo>
                  <a:lnTo>
                    <a:pt x="190" y="2107"/>
                  </a:lnTo>
                  <a:lnTo>
                    <a:pt x="196" y="2105"/>
                  </a:lnTo>
                  <a:lnTo>
                    <a:pt x="203" y="2102"/>
                  </a:lnTo>
                  <a:lnTo>
                    <a:pt x="208" y="2099"/>
                  </a:lnTo>
                  <a:lnTo>
                    <a:pt x="212" y="2095"/>
                  </a:lnTo>
                  <a:lnTo>
                    <a:pt x="216" y="2089"/>
                  </a:lnTo>
                  <a:lnTo>
                    <a:pt x="218" y="2084"/>
                  </a:lnTo>
                  <a:lnTo>
                    <a:pt x="219" y="2077"/>
                  </a:lnTo>
                  <a:lnTo>
                    <a:pt x="219" y="2070"/>
                  </a:lnTo>
                  <a:lnTo>
                    <a:pt x="218" y="2061"/>
                  </a:lnTo>
                  <a:lnTo>
                    <a:pt x="216" y="2052"/>
                  </a:lnTo>
                  <a:lnTo>
                    <a:pt x="214" y="2042"/>
                  </a:lnTo>
                  <a:lnTo>
                    <a:pt x="212" y="2034"/>
                  </a:lnTo>
                  <a:lnTo>
                    <a:pt x="211" y="2026"/>
                  </a:lnTo>
                  <a:lnTo>
                    <a:pt x="211" y="2017"/>
                  </a:lnTo>
                  <a:lnTo>
                    <a:pt x="213" y="2009"/>
                  </a:lnTo>
                  <a:lnTo>
                    <a:pt x="217" y="2003"/>
                  </a:lnTo>
                  <a:lnTo>
                    <a:pt x="221" y="1997"/>
                  </a:lnTo>
                  <a:lnTo>
                    <a:pt x="227" y="1991"/>
                  </a:lnTo>
                  <a:lnTo>
                    <a:pt x="234" y="1983"/>
                  </a:lnTo>
                  <a:lnTo>
                    <a:pt x="240" y="1974"/>
                  </a:lnTo>
                  <a:lnTo>
                    <a:pt x="247" y="1965"/>
                  </a:lnTo>
                  <a:lnTo>
                    <a:pt x="254" y="1958"/>
                  </a:lnTo>
                  <a:lnTo>
                    <a:pt x="281" y="1941"/>
                  </a:lnTo>
                  <a:lnTo>
                    <a:pt x="319" y="1918"/>
                  </a:lnTo>
                  <a:lnTo>
                    <a:pt x="340" y="1908"/>
                  </a:lnTo>
                  <a:lnTo>
                    <a:pt x="360" y="1897"/>
                  </a:lnTo>
                  <a:lnTo>
                    <a:pt x="378" y="1890"/>
                  </a:lnTo>
                  <a:lnTo>
                    <a:pt x="392" y="1885"/>
                  </a:lnTo>
                  <a:lnTo>
                    <a:pt x="419" y="1879"/>
                  </a:lnTo>
                  <a:lnTo>
                    <a:pt x="449" y="1872"/>
                  </a:lnTo>
                  <a:lnTo>
                    <a:pt x="464" y="1868"/>
                  </a:lnTo>
                  <a:lnTo>
                    <a:pt x="479" y="1864"/>
                  </a:lnTo>
                  <a:lnTo>
                    <a:pt x="493" y="1859"/>
                  </a:lnTo>
                  <a:lnTo>
                    <a:pt x="507" y="1853"/>
                  </a:lnTo>
                  <a:lnTo>
                    <a:pt x="520" y="1845"/>
                  </a:lnTo>
                  <a:lnTo>
                    <a:pt x="530" y="1837"/>
                  </a:lnTo>
                  <a:lnTo>
                    <a:pt x="535" y="1833"/>
                  </a:lnTo>
                  <a:lnTo>
                    <a:pt x="539" y="1828"/>
                  </a:lnTo>
                  <a:lnTo>
                    <a:pt x="543" y="1822"/>
                  </a:lnTo>
                  <a:lnTo>
                    <a:pt x="547" y="1817"/>
                  </a:lnTo>
                  <a:lnTo>
                    <a:pt x="549" y="1811"/>
                  </a:lnTo>
                  <a:lnTo>
                    <a:pt x="551" y="1805"/>
                  </a:lnTo>
                  <a:lnTo>
                    <a:pt x="552" y="1798"/>
                  </a:lnTo>
                  <a:lnTo>
                    <a:pt x="553" y="1791"/>
                  </a:lnTo>
                  <a:lnTo>
                    <a:pt x="552" y="1784"/>
                  </a:lnTo>
                  <a:lnTo>
                    <a:pt x="551" y="1775"/>
                  </a:lnTo>
                  <a:lnTo>
                    <a:pt x="549" y="1767"/>
                  </a:lnTo>
                  <a:lnTo>
                    <a:pt x="547" y="1759"/>
                  </a:lnTo>
                  <a:lnTo>
                    <a:pt x="535" y="1736"/>
                  </a:lnTo>
                  <a:lnTo>
                    <a:pt x="524" y="1712"/>
                  </a:lnTo>
                  <a:lnTo>
                    <a:pt x="523" y="1706"/>
                  </a:lnTo>
                  <a:lnTo>
                    <a:pt x="523" y="1700"/>
                  </a:lnTo>
                  <a:lnTo>
                    <a:pt x="524" y="1695"/>
                  </a:lnTo>
                  <a:lnTo>
                    <a:pt x="526" y="1690"/>
                  </a:lnTo>
                  <a:lnTo>
                    <a:pt x="529" y="1685"/>
                  </a:lnTo>
                  <a:lnTo>
                    <a:pt x="534" y="1680"/>
                  </a:lnTo>
                  <a:lnTo>
                    <a:pt x="540" y="1676"/>
                  </a:lnTo>
                  <a:lnTo>
                    <a:pt x="550" y="1673"/>
                  </a:lnTo>
                  <a:lnTo>
                    <a:pt x="583" y="1662"/>
                  </a:lnTo>
                  <a:lnTo>
                    <a:pt x="616" y="1650"/>
                  </a:lnTo>
                  <a:lnTo>
                    <a:pt x="649" y="1637"/>
                  </a:lnTo>
                  <a:lnTo>
                    <a:pt x="681" y="1623"/>
                  </a:lnTo>
                  <a:lnTo>
                    <a:pt x="713" y="1599"/>
                  </a:lnTo>
                  <a:lnTo>
                    <a:pt x="713" y="1599"/>
                  </a:lnTo>
                  <a:lnTo>
                    <a:pt x="734" y="1604"/>
                  </a:lnTo>
                  <a:lnTo>
                    <a:pt x="756" y="1609"/>
                  </a:lnTo>
                  <a:lnTo>
                    <a:pt x="779" y="1612"/>
                  </a:lnTo>
                  <a:lnTo>
                    <a:pt x="802" y="1614"/>
                  </a:lnTo>
                  <a:lnTo>
                    <a:pt x="825" y="1615"/>
                  </a:lnTo>
                  <a:lnTo>
                    <a:pt x="849" y="1614"/>
                  </a:lnTo>
                  <a:lnTo>
                    <a:pt x="873" y="1611"/>
                  </a:lnTo>
                  <a:lnTo>
                    <a:pt x="896" y="1606"/>
                  </a:lnTo>
                  <a:lnTo>
                    <a:pt x="918" y="1601"/>
                  </a:lnTo>
                  <a:lnTo>
                    <a:pt x="940" y="1593"/>
                  </a:lnTo>
                  <a:lnTo>
                    <a:pt x="950" y="1589"/>
                  </a:lnTo>
                  <a:lnTo>
                    <a:pt x="961" y="1583"/>
                  </a:lnTo>
                  <a:lnTo>
                    <a:pt x="971" y="1578"/>
                  </a:lnTo>
                  <a:lnTo>
                    <a:pt x="980" y="1573"/>
                  </a:lnTo>
                  <a:lnTo>
                    <a:pt x="990" y="1567"/>
                  </a:lnTo>
                  <a:lnTo>
                    <a:pt x="998" y="1559"/>
                  </a:lnTo>
                  <a:lnTo>
                    <a:pt x="1006" y="1552"/>
                  </a:lnTo>
                  <a:lnTo>
                    <a:pt x="1015" y="1545"/>
                  </a:lnTo>
                  <a:lnTo>
                    <a:pt x="1022" y="1536"/>
                  </a:lnTo>
                  <a:lnTo>
                    <a:pt x="1028" y="1527"/>
                  </a:lnTo>
                  <a:lnTo>
                    <a:pt x="1035" y="1518"/>
                  </a:lnTo>
                  <a:lnTo>
                    <a:pt x="1041" y="1508"/>
                  </a:lnTo>
                  <a:lnTo>
                    <a:pt x="1052" y="1498"/>
                  </a:lnTo>
                  <a:lnTo>
                    <a:pt x="1063" y="1486"/>
                  </a:lnTo>
                  <a:lnTo>
                    <a:pt x="1069" y="1482"/>
                  </a:lnTo>
                  <a:lnTo>
                    <a:pt x="1075" y="1478"/>
                  </a:lnTo>
                  <a:lnTo>
                    <a:pt x="1082" y="1476"/>
                  </a:lnTo>
                  <a:lnTo>
                    <a:pt x="1090" y="1475"/>
                  </a:lnTo>
                  <a:lnTo>
                    <a:pt x="1142" y="1478"/>
                  </a:lnTo>
                  <a:lnTo>
                    <a:pt x="1149" y="1473"/>
                  </a:lnTo>
                  <a:lnTo>
                    <a:pt x="1157" y="1468"/>
                  </a:lnTo>
                  <a:lnTo>
                    <a:pt x="1162" y="1462"/>
                  </a:lnTo>
                  <a:lnTo>
                    <a:pt x="1167" y="1456"/>
                  </a:lnTo>
                  <a:lnTo>
                    <a:pt x="1172" y="1450"/>
                  </a:lnTo>
                  <a:lnTo>
                    <a:pt x="1177" y="1444"/>
                  </a:lnTo>
                  <a:lnTo>
                    <a:pt x="1184" y="1438"/>
                  </a:lnTo>
                  <a:lnTo>
                    <a:pt x="1190" y="1433"/>
                  </a:lnTo>
                  <a:lnTo>
                    <a:pt x="1200" y="1427"/>
                  </a:lnTo>
                  <a:lnTo>
                    <a:pt x="1211" y="1422"/>
                  </a:lnTo>
                  <a:lnTo>
                    <a:pt x="1222" y="1418"/>
                  </a:lnTo>
                  <a:lnTo>
                    <a:pt x="1234" y="1414"/>
                  </a:lnTo>
                  <a:lnTo>
                    <a:pt x="1245" y="1411"/>
                  </a:lnTo>
                  <a:lnTo>
                    <a:pt x="1257" y="1410"/>
                  </a:lnTo>
                  <a:lnTo>
                    <a:pt x="1269" y="1409"/>
                  </a:lnTo>
                  <a:lnTo>
                    <a:pt x="1282" y="1409"/>
                  </a:lnTo>
                  <a:lnTo>
                    <a:pt x="1290" y="1412"/>
                  </a:lnTo>
                  <a:lnTo>
                    <a:pt x="1297" y="1415"/>
                  </a:lnTo>
                  <a:lnTo>
                    <a:pt x="1304" y="1420"/>
                  </a:lnTo>
                  <a:lnTo>
                    <a:pt x="1310" y="1425"/>
                  </a:lnTo>
                  <a:lnTo>
                    <a:pt x="1312" y="1433"/>
                  </a:lnTo>
                  <a:lnTo>
                    <a:pt x="1315" y="1443"/>
                  </a:lnTo>
                  <a:lnTo>
                    <a:pt x="1319" y="1452"/>
                  </a:lnTo>
                  <a:lnTo>
                    <a:pt x="1324" y="1461"/>
                  </a:lnTo>
                  <a:lnTo>
                    <a:pt x="1335" y="1480"/>
                  </a:lnTo>
                  <a:lnTo>
                    <a:pt x="1344" y="1496"/>
                  </a:lnTo>
                  <a:lnTo>
                    <a:pt x="1351" y="1498"/>
                  </a:lnTo>
                  <a:lnTo>
                    <a:pt x="1358" y="1500"/>
                  </a:lnTo>
                  <a:lnTo>
                    <a:pt x="1364" y="1500"/>
                  </a:lnTo>
                  <a:lnTo>
                    <a:pt x="1371" y="1501"/>
                  </a:lnTo>
                  <a:lnTo>
                    <a:pt x="1378" y="1500"/>
                  </a:lnTo>
                  <a:lnTo>
                    <a:pt x="1384" y="1499"/>
                  </a:lnTo>
                  <a:lnTo>
                    <a:pt x="1390" y="1497"/>
                  </a:lnTo>
                  <a:lnTo>
                    <a:pt x="1396" y="1495"/>
                  </a:lnTo>
                  <a:lnTo>
                    <a:pt x="1409" y="1487"/>
                  </a:lnTo>
                  <a:lnTo>
                    <a:pt x="1420" y="1479"/>
                  </a:lnTo>
                  <a:lnTo>
                    <a:pt x="1432" y="1470"/>
                  </a:lnTo>
                  <a:lnTo>
                    <a:pt x="1443" y="1458"/>
                  </a:lnTo>
                  <a:lnTo>
                    <a:pt x="1454" y="1447"/>
                  </a:lnTo>
                  <a:lnTo>
                    <a:pt x="1463" y="1433"/>
                  </a:lnTo>
                  <a:lnTo>
                    <a:pt x="1472" y="1421"/>
                  </a:lnTo>
                  <a:lnTo>
                    <a:pt x="1481" y="1407"/>
                  </a:lnTo>
                  <a:lnTo>
                    <a:pt x="1496" y="1382"/>
                  </a:lnTo>
                  <a:lnTo>
                    <a:pt x="1509" y="1361"/>
                  </a:lnTo>
                  <a:lnTo>
                    <a:pt x="1523" y="1338"/>
                  </a:lnTo>
                  <a:lnTo>
                    <a:pt x="1535" y="1317"/>
                  </a:lnTo>
                  <a:lnTo>
                    <a:pt x="1549" y="1299"/>
                  </a:lnTo>
                  <a:lnTo>
                    <a:pt x="1561" y="1282"/>
                  </a:lnTo>
                  <a:lnTo>
                    <a:pt x="1574" y="1267"/>
                  </a:lnTo>
                  <a:lnTo>
                    <a:pt x="1587" y="1254"/>
                  </a:lnTo>
                  <a:lnTo>
                    <a:pt x="1601" y="1242"/>
                  </a:lnTo>
                  <a:lnTo>
                    <a:pt x="1615" y="1232"/>
                  </a:lnTo>
                  <a:lnTo>
                    <a:pt x="1630" y="1222"/>
                  </a:lnTo>
                  <a:lnTo>
                    <a:pt x="1647" y="1214"/>
                  </a:lnTo>
                  <a:lnTo>
                    <a:pt x="1663" y="1207"/>
                  </a:lnTo>
                  <a:lnTo>
                    <a:pt x="1682" y="1201"/>
                  </a:lnTo>
                  <a:lnTo>
                    <a:pt x="1702" y="1195"/>
                  </a:lnTo>
                  <a:lnTo>
                    <a:pt x="1724" y="1190"/>
                  </a:lnTo>
                  <a:lnTo>
                    <a:pt x="1748" y="1185"/>
                  </a:lnTo>
                  <a:lnTo>
                    <a:pt x="1774" y="1181"/>
                  </a:lnTo>
                  <a:lnTo>
                    <a:pt x="1799" y="1177"/>
                  </a:lnTo>
                  <a:lnTo>
                    <a:pt x="1825" y="1171"/>
                  </a:lnTo>
                  <a:lnTo>
                    <a:pt x="1851" y="1166"/>
                  </a:lnTo>
                  <a:lnTo>
                    <a:pt x="1877" y="1159"/>
                  </a:lnTo>
                  <a:lnTo>
                    <a:pt x="1902" y="1151"/>
                  </a:lnTo>
                  <a:lnTo>
                    <a:pt x="1927" y="1143"/>
                  </a:lnTo>
                  <a:lnTo>
                    <a:pt x="1951" y="1133"/>
                  </a:lnTo>
                  <a:lnTo>
                    <a:pt x="1974" y="1121"/>
                  </a:lnTo>
                  <a:lnTo>
                    <a:pt x="1994" y="1108"/>
                  </a:lnTo>
                  <a:lnTo>
                    <a:pt x="2015" y="1093"/>
                  </a:lnTo>
                  <a:lnTo>
                    <a:pt x="2037" y="1076"/>
                  </a:lnTo>
                  <a:lnTo>
                    <a:pt x="2058" y="1059"/>
                  </a:lnTo>
                  <a:lnTo>
                    <a:pt x="2081" y="1042"/>
                  </a:lnTo>
                  <a:lnTo>
                    <a:pt x="2104" y="1026"/>
                  </a:lnTo>
                  <a:lnTo>
                    <a:pt x="2116" y="1019"/>
                  </a:lnTo>
                  <a:lnTo>
                    <a:pt x="2126" y="1013"/>
                  </a:lnTo>
                  <a:lnTo>
                    <a:pt x="2138" y="1008"/>
                  </a:lnTo>
                  <a:lnTo>
                    <a:pt x="2149" y="1003"/>
                  </a:lnTo>
                  <a:lnTo>
                    <a:pt x="2173" y="998"/>
                  </a:lnTo>
                  <a:lnTo>
                    <a:pt x="2195" y="992"/>
                  </a:lnTo>
                  <a:lnTo>
                    <a:pt x="2205" y="988"/>
                  </a:lnTo>
                  <a:lnTo>
                    <a:pt x="2215" y="982"/>
                  </a:lnTo>
                  <a:lnTo>
                    <a:pt x="2224" y="975"/>
                  </a:lnTo>
                  <a:lnTo>
                    <a:pt x="2234" y="966"/>
                  </a:lnTo>
                  <a:lnTo>
                    <a:pt x="2241" y="957"/>
                  </a:lnTo>
                  <a:lnTo>
                    <a:pt x="2247" y="951"/>
                  </a:lnTo>
                  <a:lnTo>
                    <a:pt x="2254" y="947"/>
                  </a:lnTo>
                  <a:lnTo>
                    <a:pt x="2262" y="944"/>
                  </a:lnTo>
                  <a:lnTo>
                    <a:pt x="2270" y="942"/>
                  </a:lnTo>
                  <a:lnTo>
                    <a:pt x="2278" y="942"/>
                  </a:lnTo>
                  <a:lnTo>
                    <a:pt x="2288" y="942"/>
                  </a:lnTo>
                  <a:lnTo>
                    <a:pt x="2299" y="944"/>
                  </a:lnTo>
                  <a:lnTo>
                    <a:pt x="2312" y="945"/>
                  </a:lnTo>
                  <a:lnTo>
                    <a:pt x="2322" y="945"/>
                  </a:lnTo>
                  <a:lnTo>
                    <a:pt x="2333" y="943"/>
                  </a:lnTo>
                  <a:lnTo>
                    <a:pt x="2343" y="941"/>
                  </a:lnTo>
                  <a:lnTo>
                    <a:pt x="2352" y="937"/>
                  </a:lnTo>
                  <a:lnTo>
                    <a:pt x="2361" y="931"/>
                  </a:lnTo>
                  <a:lnTo>
                    <a:pt x="2369" y="926"/>
                  </a:lnTo>
                  <a:lnTo>
                    <a:pt x="2378" y="920"/>
                  </a:lnTo>
                  <a:lnTo>
                    <a:pt x="2407" y="890"/>
                  </a:lnTo>
                  <a:lnTo>
                    <a:pt x="2436" y="859"/>
                  </a:lnTo>
                  <a:lnTo>
                    <a:pt x="2443" y="853"/>
                  </a:lnTo>
                  <a:lnTo>
                    <a:pt x="2451" y="847"/>
                  </a:lnTo>
                  <a:lnTo>
                    <a:pt x="2459" y="843"/>
                  </a:lnTo>
                  <a:lnTo>
                    <a:pt x="2467" y="839"/>
                  </a:lnTo>
                  <a:lnTo>
                    <a:pt x="2476" y="834"/>
                  </a:lnTo>
                  <a:lnTo>
                    <a:pt x="2484" y="831"/>
                  </a:lnTo>
                  <a:lnTo>
                    <a:pt x="2493" y="829"/>
                  </a:lnTo>
                  <a:lnTo>
                    <a:pt x="2503" y="827"/>
                  </a:lnTo>
                  <a:lnTo>
                    <a:pt x="2521" y="824"/>
                  </a:lnTo>
                  <a:lnTo>
                    <a:pt x="2540" y="823"/>
                  </a:lnTo>
                  <a:lnTo>
                    <a:pt x="2560" y="822"/>
                  </a:lnTo>
                  <a:lnTo>
                    <a:pt x="2580" y="821"/>
                  </a:lnTo>
                  <a:lnTo>
                    <a:pt x="2599" y="820"/>
                  </a:lnTo>
                  <a:lnTo>
                    <a:pt x="2618" y="819"/>
                  </a:lnTo>
                  <a:lnTo>
                    <a:pt x="2638" y="816"/>
                  </a:lnTo>
                  <a:lnTo>
                    <a:pt x="2657" y="811"/>
                  </a:lnTo>
                  <a:lnTo>
                    <a:pt x="2665" y="808"/>
                  </a:lnTo>
                  <a:lnTo>
                    <a:pt x="2675" y="805"/>
                  </a:lnTo>
                  <a:lnTo>
                    <a:pt x="2684" y="801"/>
                  </a:lnTo>
                  <a:lnTo>
                    <a:pt x="2692" y="796"/>
                  </a:lnTo>
                  <a:lnTo>
                    <a:pt x="2701" y="791"/>
                  </a:lnTo>
                  <a:lnTo>
                    <a:pt x="2709" y="784"/>
                  </a:lnTo>
                  <a:lnTo>
                    <a:pt x="2716" y="777"/>
                  </a:lnTo>
                  <a:lnTo>
                    <a:pt x="2725" y="769"/>
                  </a:lnTo>
                  <a:lnTo>
                    <a:pt x="2724" y="759"/>
                  </a:lnTo>
                  <a:lnTo>
                    <a:pt x="2723" y="752"/>
                  </a:lnTo>
                  <a:lnTo>
                    <a:pt x="2722" y="747"/>
                  </a:lnTo>
                  <a:lnTo>
                    <a:pt x="2720" y="741"/>
                  </a:lnTo>
                  <a:lnTo>
                    <a:pt x="2713" y="733"/>
                  </a:lnTo>
                  <a:lnTo>
                    <a:pt x="2704" y="721"/>
                  </a:lnTo>
                  <a:lnTo>
                    <a:pt x="2702" y="720"/>
                  </a:lnTo>
                  <a:lnTo>
                    <a:pt x="2696" y="714"/>
                  </a:lnTo>
                  <a:lnTo>
                    <a:pt x="2690" y="710"/>
                  </a:lnTo>
                  <a:lnTo>
                    <a:pt x="2690" y="710"/>
                  </a:lnTo>
                  <a:lnTo>
                    <a:pt x="2701" y="693"/>
                  </a:lnTo>
                  <a:lnTo>
                    <a:pt x="2711" y="676"/>
                  </a:lnTo>
                  <a:lnTo>
                    <a:pt x="2721" y="658"/>
                  </a:lnTo>
                  <a:lnTo>
                    <a:pt x="2729" y="639"/>
                  </a:lnTo>
                  <a:lnTo>
                    <a:pt x="2733" y="631"/>
                  </a:lnTo>
                  <a:lnTo>
                    <a:pt x="2736" y="620"/>
                  </a:lnTo>
                  <a:lnTo>
                    <a:pt x="2738" y="611"/>
                  </a:lnTo>
                  <a:lnTo>
                    <a:pt x="2740" y="602"/>
                  </a:lnTo>
                  <a:lnTo>
                    <a:pt x="2741" y="592"/>
                  </a:lnTo>
                  <a:lnTo>
                    <a:pt x="2742" y="582"/>
                  </a:lnTo>
                  <a:lnTo>
                    <a:pt x="2742" y="572"/>
                  </a:lnTo>
                  <a:lnTo>
                    <a:pt x="2741" y="562"/>
                  </a:lnTo>
                  <a:lnTo>
                    <a:pt x="2740" y="551"/>
                  </a:lnTo>
                  <a:lnTo>
                    <a:pt x="2740" y="540"/>
                  </a:lnTo>
                  <a:lnTo>
                    <a:pt x="2742" y="530"/>
                  </a:lnTo>
                  <a:lnTo>
                    <a:pt x="2745" y="520"/>
                  </a:lnTo>
                  <a:lnTo>
                    <a:pt x="2748" y="511"/>
                  </a:lnTo>
                  <a:lnTo>
                    <a:pt x="2752" y="502"/>
                  </a:lnTo>
                  <a:lnTo>
                    <a:pt x="2756" y="493"/>
                  </a:lnTo>
                  <a:lnTo>
                    <a:pt x="2762" y="485"/>
                  </a:lnTo>
                  <a:lnTo>
                    <a:pt x="2775" y="469"/>
                  </a:lnTo>
                  <a:lnTo>
                    <a:pt x="2788" y="455"/>
                  </a:lnTo>
                  <a:lnTo>
                    <a:pt x="2804" y="440"/>
                  </a:lnTo>
                  <a:lnTo>
                    <a:pt x="2819" y="425"/>
                  </a:lnTo>
                  <a:lnTo>
                    <a:pt x="2839" y="405"/>
                  </a:lnTo>
                  <a:lnTo>
                    <a:pt x="2858" y="383"/>
                  </a:lnTo>
                  <a:lnTo>
                    <a:pt x="2877" y="361"/>
                  </a:lnTo>
                  <a:lnTo>
                    <a:pt x="2897" y="341"/>
                  </a:lnTo>
                  <a:lnTo>
                    <a:pt x="2916" y="322"/>
                  </a:lnTo>
                  <a:lnTo>
                    <a:pt x="2935" y="303"/>
                  </a:lnTo>
                  <a:lnTo>
                    <a:pt x="2953" y="284"/>
                  </a:lnTo>
                  <a:lnTo>
                    <a:pt x="2972" y="263"/>
                  </a:lnTo>
                  <a:lnTo>
                    <a:pt x="3008" y="220"/>
                  </a:lnTo>
                  <a:lnTo>
                    <a:pt x="3045" y="175"/>
                  </a:lnTo>
                  <a:lnTo>
                    <a:pt x="3080" y="130"/>
                  </a:lnTo>
                  <a:lnTo>
                    <a:pt x="3116" y="85"/>
                  </a:lnTo>
                  <a:lnTo>
                    <a:pt x="3151" y="41"/>
                  </a:lnTo>
                  <a:lnTo>
                    <a:pt x="3187" y="0"/>
                  </a:lnTo>
                  <a:lnTo>
                    <a:pt x="3187" y="0"/>
                  </a:lnTo>
                  <a:lnTo>
                    <a:pt x="3201" y="1"/>
                  </a:lnTo>
                  <a:lnTo>
                    <a:pt x="3218" y="3"/>
                  </a:lnTo>
                  <a:lnTo>
                    <a:pt x="3234" y="5"/>
                  </a:lnTo>
                  <a:lnTo>
                    <a:pt x="3250" y="9"/>
                  </a:lnTo>
                  <a:lnTo>
                    <a:pt x="3258" y="11"/>
                  </a:lnTo>
                  <a:lnTo>
                    <a:pt x="3265" y="14"/>
                  </a:lnTo>
                  <a:lnTo>
                    <a:pt x="3271" y="17"/>
                  </a:lnTo>
                  <a:lnTo>
                    <a:pt x="3277" y="22"/>
                  </a:lnTo>
                  <a:lnTo>
                    <a:pt x="3283" y="26"/>
                  </a:lnTo>
                  <a:lnTo>
                    <a:pt x="3287" y="30"/>
                  </a:lnTo>
                  <a:lnTo>
                    <a:pt x="3290" y="36"/>
                  </a:lnTo>
                  <a:lnTo>
                    <a:pt x="3293" y="41"/>
                  </a:lnTo>
                  <a:lnTo>
                    <a:pt x="3297" y="63"/>
                  </a:lnTo>
                  <a:lnTo>
                    <a:pt x="3300" y="86"/>
                  </a:lnTo>
                  <a:lnTo>
                    <a:pt x="3303" y="110"/>
                  </a:lnTo>
                  <a:lnTo>
                    <a:pt x="3307" y="135"/>
                  </a:lnTo>
                  <a:lnTo>
                    <a:pt x="3310" y="159"/>
                  </a:lnTo>
                  <a:lnTo>
                    <a:pt x="3315" y="182"/>
                  </a:lnTo>
                  <a:lnTo>
                    <a:pt x="3318" y="193"/>
                  </a:lnTo>
                  <a:lnTo>
                    <a:pt x="3321" y="203"/>
                  </a:lnTo>
                  <a:lnTo>
                    <a:pt x="3326" y="214"/>
                  </a:lnTo>
                  <a:lnTo>
                    <a:pt x="3332" y="222"/>
                  </a:lnTo>
                  <a:lnTo>
                    <a:pt x="3336" y="229"/>
                  </a:lnTo>
                  <a:lnTo>
                    <a:pt x="3339" y="236"/>
                  </a:lnTo>
                  <a:lnTo>
                    <a:pt x="3340" y="241"/>
                  </a:lnTo>
                  <a:lnTo>
                    <a:pt x="3341" y="247"/>
                  </a:lnTo>
                  <a:lnTo>
                    <a:pt x="3342" y="251"/>
                  </a:lnTo>
                  <a:lnTo>
                    <a:pt x="3341" y="256"/>
                  </a:lnTo>
                  <a:lnTo>
                    <a:pt x="3340" y="261"/>
                  </a:lnTo>
                  <a:lnTo>
                    <a:pt x="3339" y="266"/>
                  </a:lnTo>
                  <a:lnTo>
                    <a:pt x="3336" y="274"/>
                  </a:lnTo>
                  <a:lnTo>
                    <a:pt x="3333" y="285"/>
                  </a:lnTo>
                  <a:lnTo>
                    <a:pt x="3330" y="290"/>
                  </a:lnTo>
                  <a:lnTo>
                    <a:pt x="3329" y="295"/>
                  </a:lnTo>
                  <a:lnTo>
                    <a:pt x="3329" y="301"/>
                  </a:lnTo>
                  <a:lnTo>
                    <a:pt x="3329" y="307"/>
                  </a:lnTo>
                  <a:lnTo>
                    <a:pt x="3336" y="318"/>
                  </a:lnTo>
                  <a:lnTo>
                    <a:pt x="3351" y="339"/>
                  </a:lnTo>
                  <a:lnTo>
                    <a:pt x="3372" y="367"/>
                  </a:lnTo>
                  <a:lnTo>
                    <a:pt x="3394" y="397"/>
                  </a:lnTo>
                  <a:lnTo>
                    <a:pt x="3405" y="413"/>
                  </a:lnTo>
                  <a:lnTo>
                    <a:pt x="3414" y="427"/>
                  </a:lnTo>
                  <a:lnTo>
                    <a:pt x="3421" y="441"/>
                  </a:lnTo>
                  <a:lnTo>
                    <a:pt x="3426" y="454"/>
                  </a:lnTo>
                  <a:lnTo>
                    <a:pt x="3429" y="459"/>
                  </a:lnTo>
                  <a:lnTo>
                    <a:pt x="3429" y="464"/>
                  </a:lnTo>
                  <a:lnTo>
                    <a:pt x="3429" y="468"/>
                  </a:lnTo>
                  <a:lnTo>
                    <a:pt x="3429" y="471"/>
                  </a:lnTo>
                  <a:lnTo>
                    <a:pt x="3426" y="474"/>
                  </a:lnTo>
                  <a:lnTo>
                    <a:pt x="3423" y="477"/>
                  </a:lnTo>
                  <a:lnTo>
                    <a:pt x="3419" y="479"/>
                  </a:lnTo>
                  <a:lnTo>
                    <a:pt x="3415" y="479"/>
                  </a:lnTo>
                  <a:lnTo>
                    <a:pt x="3405" y="465"/>
                  </a:lnTo>
                  <a:lnTo>
                    <a:pt x="3394" y="454"/>
                  </a:lnTo>
                  <a:lnTo>
                    <a:pt x="3384" y="444"/>
                  </a:lnTo>
                  <a:lnTo>
                    <a:pt x="3372" y="437"/>
                  </a:lnTo>
                  <a:lnTo>
                    <a:pt x="3361" y="432"/>
                  </a:lnTo>
                  <a:lnTo>
                    <a:pt x="3348" y="427"/>
                  </a:lnTo>
                  <a:lnTo>
                    <a:pt x="3336" y="425"/>
                  </a:lnTo>
                  <a:lnTo>
                    <a:pt x="3323" y="425"/>
                  </a:lnTo>
                  <a:lnTo>
                    <a:pt x="3311" y="425"/>
                  </a:lnTo>
                  <a:lnTo>
                    <a:pt x="3297" y="426"/>
                  </a:lnTo>
                  <a:lnTo>
                    <a:pt x="3284" y="429"/>
                  </a:lnTo>
                  <a:lnTo>
                    <a:pt x="3270" y="432"/>
                  </a:lnTo>
                  <a:lnTo>
                    <a:pt x="3243" y="438"/>
                  </a:lnTo>
                  <a:lnTo>
                    <a:pt x="3215" y="443"/>
                  </a:lnTo>
                  <a:lnTo>
                    <a:pt x="3212" y="450"/>
                  </a:lnTo>
                  <a:lnTo>
                    <a:pt x="3209" y="458"/>
                  </a:lnTo>
                  <a:lnTo>
                    <a:pt x="3205" y="467"/>
                  </a:lnTo>
                  <a:lnTo>
                    <a:pt x="3203" y="478"/>
                  </a:lnTo>
                  <a:lnTo>
                    <a:pt x="3200" y="500"/>
                  </a:lnTo>
                  <a:lnTo>
                    <a:pt x="3198" y="526"/>
                  </a:lnTo>
                  <a:lnTo>
                    <a:pt x="3198" y="551"/>
                  </a:lnTo>
                  <a:lnTo>
                    <a:pt x="3197" y="575"/>
                  </a:lnTo>
                  <a:lnTo>
                    <a:pt x="3197" y="596"/>
                  </a:lnTo>
                  <a:lnTo>
                    <a:pt x="3197" y="613"/>
                  </a:lnTo>
                  <a:lnTo>
                    <a:pt x="3197" y="633"/>
                  </a:lnTo>
                  <a:lnTo>
                    <a:pt x="3198" y="656"/>
                  </a:lnTo>
                  <a:lnTo>
                    <a:pt x="3200" y="681"/>
                  </a:lnTo>
                  <a:lnTo>
                    <a:pt x="3200" y="706"/>
                  </a:lnTo>
                  <a:lnTo>
                    <a:pt x="3200" y="719"/>
                  </a:lnTo>
                  <a:lnTo>
                    <a:pt x="3200" y="731"/>
                  </a:lnTo>
                  <a:lnTo>
                    <a:pt x="3199" y="743"/>
                  </a:lnTo>
                  <a:lnTo>
                    <a:pt x="3197" y="754"/>
                  </a:lnTo>
                  <a:lnTo>
                    <a:pt x="3195" y="765"/>
                  </a:lnTo>
                  <a:lnTo>
                    <a:pt x="3192" y="775"/>
                  </a:lnTo>
                  <a:lnTo>
                    <a:pt x="3188" y="783"/>
                  </a:lnTo>
                  <a:lnTo>
                    <a:pt x="3183" y="792"/>
                  </a:lnTo>
                  <a:lnTo>
                    <a:pt x="3168" y="787"/>
                  </a:lnTo>
                  <a:lnTo>
                    <a:pt x="3140" y="779"/>
                  </a:lnTo>
                  <a:lnTo>
                    <a:pt x="3106" y="769"/>
                  </a:lnTo>
                  <a:lnTo>
                    <a:pt x="3071" y="759"/>
                  </a:lnTo>
                  <a:lnTo>
                    <a:pt x="3055" y="757"/>
                  </a:lnTo>
                  <a:lnTo>
                    <a:pt x="3041" y="756"/>
                  </a:lnTo>
                  <a:lnTo>
                    <a:pt x="3034" y="756"/>
                  </a:lnTo>
                  <a:lnTo>
                    <a:pt x="3028" y="757"/>
                  </a:lnTo>
                  <a:lnTo>
                    <a:pt x="3024" y="758"/>
                  </a:lnTo>
                  <a:lnTo>
                    <a:pt x="3020" y="760"/>
                  </a:lnTo>
                  <a:lnTo>
                    <a:pt x="3017" y="763"/>
                  </a:lnTo>
                  <a:lnTo>
                    <a:pt x="3015" y="768"/>
                  </a:lnTo>
                  <a:lnTo>
                    <a:pt x="3014" y="772"/>
                  </a:lnTo>
                  <a:lnTo>
                    <a:pt x="3014" y="777"/>
                  </a:lnTo>
                  <a:lnTo>
                    <a:pt x="3016" y="783"/>
                  </a:lnTo>
                  <a:lnTo>
                    <a:pt x="3019" y="791"/>
                  </a:lnTo>
                  <a:lnTo>
                    <a:pt x="3023" y="800"/>
                  </a:lnTo>
                  <a:lnTo>
                    <a:pt x="3029" y="809"/>
                  </a:lnTo>
                  <a:lnTo>
                    <a:pt x="3050" y="841"/>
                  </a:lnTo>
                  <a:lnTo>
                    <a:pt x="3070" y="868"/>
                  </a:lnTo>
                  <a:lnTo>
                    <a:pt x="3080" y="880"/>
                  </a:lnTo>
                  <a:lnTo>
                    <a:pt x="3092" y="893"/>
                  </a:lnTo>
                  <a:lnTo>
                    <a:pt x="3105" y="905"/>
                  </a:lnTo>
                  <a:lnTo>
                    <a:pt x="3120" y="919"/>
                  </a:lnTo>
                  <a:lnTo>
                    <a:pt x="3131" y="929"/>
                  </a:lnTo>
                  <a:lnTo>
                    <a:pt x="3144" y="942"/>
                  </a:lnTo>
                  <a:lnTo>
                    <a:pt x="3156" y="955"/>
                  </a:lnTo>
                  <a:lnTo>
                    <a:pt x="3169" y="971"/>
                  </a:lnTo>
                  <a:lnTo>
                    <a:pt x="3179" y="987"/>
                  </a:lnTo>
                  <a:lnTo>
                    <a:pt x="3188" y="1002"/>
                  </a:lnTo>
                  <a:lnTo>
                    <a:pt x="3192" y="1011"/>
                  </a:lnTo>
                  <a:lnTo>
                    <a:pt x="3194" y="1018"/>
                  </a:lnTo>
                  <a:lnTo>
                    <a:pt x="3195" y="1025"/>
                  </a:lnTo>
                  <a:lnTo>
                    <a:pt x="3196" y="1034"/>
                  </a:lnTo>
                  <a:lnTo>
                    <a:pt x="3200" y="1049"/>
                  </a:lnTo>
                  <a:lnTo>
                    <a:pt x="3204" y="1071"/>
                  </a:lnTo>
                  <a:lnTo>
                    <a:pt x="3209" y="1097"/>
                  </a:lnTo>
                  <a:lnTo>
                    <a:pt x="3214" y="1124"/>
                  </a:lnTo>
                  <a:lnTo>
                    <a:pt x="3217" y="1137"/>
                  </a:lnTo>
                  <a:lnTo>
                    <a:pt x="3219" y="1149"/>
                  </a:lnTo>
                  <a:lnTo>
                    <a:pt x="3223" y="1161"/>
                  </a:lnTo>
                  <a:lnTo>
                    <a:pt x="3226" y="1171"/>
                  </a:lnTo>
                  <a:lnTo>
                    <a:pt x="3230" y="1181"/>
                  </a:lnTo>
                  <a:lnTo>
                    <a:pt x="3236" y="1188"/>
                  </a:lnTo>
                  <a:lnTo>
                    <a:pt x="3238" y="1190"/>
                  </a:lnTo>
                  <a:lnTo>
                    <a:pt x="3241" y="1193"/>
                  </a:lnTo>
                  <a:lnTo>
                    <a:pt x="3243" y="1194"/>
                  </a:lnTo>
                  <a:lnTo>
                    <a:pt x="3246" y="1195"/>
                  </a:lnTo>
                  <a:lnTo>
                    <a:pt x="3259" y="1196"/>
                  </a:lnTo>
                  <a:lnTo>
                    <a:pt x="3275" y="1194"/>
                  </a:lnTo>
                  <a:lnTo>
                    <a:pt x="3296" y="1192"/>
                  </a:lnTo>
                  <a:lnTo>
                    <a:pt x="3318" y="1190"/>
                  </a:lnTo>
                  <a:lnTo>
                    <a:pt x="3339" y="1188"/>
                  </a:lnTo>
                  <a:lnTo>
                    <a:pt x="3357" y="1189"/>
                  </a:lnTo>
                  <a:lnTo>
                    <a:pt x="3364" y="1190"/>
                  </a:lnTo>
                  <a:lnTo>
                    <a:pt x="3369" y="1192"/>
                  </a:lnTo>
                  <a:lnTo>
                    <a:pt x="3371" y="1194"/>
                  </a:lnTo>
                  <a:lnTo>
                    <a:pt x="3372" y="1196"/>
                  </a:lnTo>
                  <a:lnTo>
                    <a:pt x="3373" y="1198"/>
                  </a:lnTo>
                  <a:lnTo>
                    <a:pt x="3373" y="1201"/>
                  </a:lnTo>
                  <a:lnTo>
                    <a:pt x="3374" y="1217"/>
                  </a:lnTo>
                  <a:lnTo>
                    <a:pt x="3376" y="1237"/>
                  </a:lnTo>
                  <a:lnTo>
                    <a:pt x="3378" y="1247"/>
                  </a:lnTo>
                  <a:lnTo>
                    <a:pt x="3382" y="1256"/>
                  </a:lnTo>
                  <a:lnTo>
                    <a:pt x="3384" y="1259"/>
                  </a:lnTo>
                  <a:lnTo>
                    <a:pt x="3387" y="1262"/>
                  </a:lnTo>
                  <a:lnTo>
                    <a:pt x="3389" y="1264"/>
                  </a:lnTo>
                  <a:lnTo>
                    <a:pt x="3392" y="1266"/>
                  </a:lnTo>
                  <a:lnTo>
                    <a:pt x="3424" y="1273"/>
                  </a:lnTo>
                  <a:lnTo>
                    <a:pt x="3442" y="1278"/>
                  </a:lnTo>
                  <a:lnTo>
                    <a:pt x="3445" y="1280"/>
                  </a:lnTo>
                  <a:lnTo>
                    <a:pt x="3446" y="1282"/>
                  </a:lnTo>
                  <a:lnTo>
                    <a:pt x="3447" y="1286"/>
                  </a:lnTo>
                  <a:lnTo>
                    <a:pt x="3447" y="1291"/>
                  </a:lnTo>
                  <a:lnTo>
                    <a:pt x="3446" y="1305"/>
                  </a:lnTo>
                  <a:lnTo>
                    <a:pt x="3442" y="1325"/>
                  </a:lnTo>
                  <a:lnTo>
                    <a:pt x="3442" y="1333"/>
                  </a:lnTo>
                  <a:lnTo>
                    <a:pt x="3443" y="1339"/>
                  </a:lnTo>
                  <a:lnTo>
                    <a:pt x="3445" y="1344"/>
                  </a:lnTo>
                  <a:lnTo>
                    <a:pt x="3449" y="1349"/>
                  </a:lnTo>
                  <a:lnTo>
                    <a:pt x="3456" y="1352"/>
                  </a:lnTo>
                  <a:lnTo>
                    <a:pt x="3462" y="1354"/>
                  </a:lnTo>
                  <a:lnTo>
                    <a:pt x="3469" y="1355"/>
                  </a:lnTo>
                  <a:lnTo>
                    <a:pt x="3476" y="1356"/>
                  </a:lnTo>
                  <a:lnTo>
                    <a:pt x="3494" y="1357"/>
                  </a:lnTo>
                  <a:lnTo>
                    <a:pt x="3511" y="1358"/>
                  </a:lnTo>
                  <a:lnTo>
                    <a:pt x="3518" y="1359"/>
                  </a:lnTo>
                  <a:lnTo>
                    <a:pt x="3524" y="1361"/>
                  </a:lnTo>
                  <a:lnTo>
                    <a:pt x="3531" y="1363"/>
                  </a:lnTo>
                  <a:lnTo>
                    <a:pt x="3536" y="1367"/>
                  </a:lnTo>
                  <a:lnTo>
                    <a:pt x="3535" y="1372"/>
                  </a:lnTo>
                  <a:lnTo>
                    <a:pt x="3533" y="1376"/>
                  </a:lnTo>
                  <a:lnTo>
                    <a:pt x="3530" y="1379"/>
                  </a:lnTo>
                  <a:lnTo>
                    <a:pt x="3524" y="1382"/>
                  </a:lnTo>
                  <a:lnTo>
                    <a:pt x="3513" y="1386"/>
                  </a:lnTo>
                  <a:lnTo>
                    <a:pt x="3499" y="1389"/>
                  </a:lnTo>
                  <a:lnTo>
                    <a:pt x="3486" y="1392"/>
                  </a:lnTo>
                  <a:lnTo>
                    <a:pt x="3472" y="1395"/>
                  </a:lnTo>
                  <a:lnTo>
                    <a:pt x="3466" y="1397"/>
                  </a:lnTo>
                  <a:lnTo>
                    <a:pt x="3461" y="1399"/>
                  </a:lnTo>
                  <a:lnTo>
                    <a:pt x="3457" y="1401"/>
                  </a:lnTo>
                  <a:lnTo>
                    <a:pt x="3454" y="1403"/>
                  </a:lnTo>
                  <a:lnTo>
                    <a:pt x="3450" y="1407"/>
                  </a:lnTo>
                  <a:lnTo>
                    <a:pt x="3448" y="1411"/>
                  </a:lnTo>
                  <a:lnTo>
                    <a:pt x="3446" y="1415"/>
                  </a:lnTo>
                  <a:lnTo>
                    <a:pt x="3445" y="1420"/>
                  </a:lnTo>
                  <a:lnTo>
                    <a:pt x="3444" y="1428"/>
                  </a:lnTo>
                  <a:lnTo>
                    <a:pt x="3445" y="1437"/>
                  </a:lnTo>
                  <a:lnTo>
                    <a:pt x="3447" y="1446"/>
                  </a:lnTo>
                  <a:lnTo>
                    <a:pt x="3451" y="1455"/>
                  </a:lnTo>
                  <a:lnTo>
                    <a:pt x="3457" y="1464"/>
                  </a:lnTo>
                  <a:lnTo>
                    <a:pt x="3463" y="1474"/>
                  </a:lnTo>
                  <a:lnTo>
                    <a:pt x="3478" y="1492"/>
                  </a:lnTo>
                  <a:lnTo>
                    <a:pt x="3491" y="1508"/>
                  </a:lnTo>
                  <a:lnTo>
                    <a:pt x="3497" y="1517"/>
                  </a:lnTo>
                  <a:lnTo>
                    <a:pt x="3504" y="1524"/>
                  </a:lnTo>
                  <a:lnTo>
                    <a:pt x="3508" y="1531"/>
                  </a:lnTo>
                  <a:lnTo>
                    <a:pt x="3511" y="1537"/>
                  </a:lnTo>
                  <a:lnTo>
                    <a:pt x="3515" y="1549"/>
                  </a:lnTo>
                  <a:lnTo>
                    <a:pt x="3517" y="1559"/>
                  </a:lnTo>
                  <a:lnTo>
                    <a:pt x="3517" y="1569"/>
                  </a:lnTo>
                  <a:lnTo>
                    <a:pt x="3516" y="1577"/>
                  </a:lnTo>
                  <a:lnTo>
                    <a:pt x="3513" y="1585"/>
                  </a:lnTo>
                  <a:lnTo>
                    <a:pt x="3509" y="1593"/>
                  </a:lnTo>
                  <a:lnTo>
                    <a:pt x="3505" y="1600"/>
                  </a:lnTo>
                  <a:lnTo>
                    <a:pt x="3498" y="1607"/>
                  </a:lnTo>
                  <a:lnTo>
                    <a:pt x="3488" y="1621"/>
                  </a:lnTo>
                  <a:lnTo>
                    <a:pt x="3476" y="1636"/>
                  </a:lnTo>
                  <a:lnTo>
                    <a:pt x="3472" y="1643"/>
                  </a:lnTo>
                  <a:lnTo>
                    <a:pt x="3469" y="1652"/>
                  </a:lnTo>
                  <a:lnTo>
                    <a:pt x="3467" y="1662"/>
                  </a:lnTo>
                  <a:lnTo>
                    <a:pt x="3466" y="1672"/>
                  </a:lnTo>
                  <a:lnTo>
                    <a:pt x="3463" y="1685"/>
                  </a:lnTo>
                  <a:lnTo>
                    <a:pt x="3458" y="1695"/>
                  </a:lnTo>
                  <a:lnTo>
                    <a:pt x="3451" y="1705"/>
                  </a:lnTo>
                  <a:lnTo>
                    <a:pt x="3444" y="1715"/>
                  </a:lnTo>
                  <a:lnTo>
                    <a:pt x="3429" y="1733"/>
                  </a:lnTo>
                  <a:lnTo>
                    <a:pt x="3412" y="1750"/>
                  </a:lnTo>
                  <a:lnTo>
                    <a:pt x="3409" y="1756"/>
                  </a:lnTo>
                  <a:lnTo>
                    <a:pt x="3406" y="1765"/>
                  </a:lnTo>
                  <a:lnTo>
                    <a:pt x="3403" y="1776"/>
                  </a:lnTo>
                  <a:lnTo>
                    <a:pt x="3401" y="1789"/>
                  </a:lnTo>
                  <a:lnTo>
                    <a:pt x="3399" y="1815"/>
                  </a:lnTo>
                  <a:lnTo>
                    <a:pt x="3396" y="1834"/>
                  </a:lnTo>
                  <a:lnTo>
                    <a:pt x="3394" y="1839"/>
                  </a:lnTo>
                  <a:lnTo>
                    <a:pt x="3389" y="1845"/>
                  </a:lnTo>
                  <a:lnTo>
                    <a:pt x="3383" y="1854"/>
                  </a:lnTo>
                  <a:lnTo>
                    <a:pt x="3374" y="1864"/>
                  </a:lnTo>
                  <a:lnTo>
                    <a:pt x="3352" y="1886"/>
                  </a:lnTo>
                  <a:lnTo>
                    <a:pt x="3328" y="1911"/>
                  </a:lnTo>
                  <a:lnTo>
                    <a:pt x="3302" y="1934"/>
                  </a:lnTo>
                  <a:lnTo>
                    <a:pt x="3278" y="1954"/>
                  </a:lnTo>
                  <a:lnTo>
                    <a:pt x="3268" y="1962"/>
                  </a:lnTo>
                  <a:lnTo>
                    <a:pt x="3259" y="1968"/>
                  </a:lnTo>
                  <a:lnTo>
                    <a:pt x="3250" y="1973"/>
                  </a:lnTo>
                  <a:lnTo>
                    <a:pt x="3245" y="1974"/>
                  </a:lnTo>
                  <a:lnTo>
                    <a:pt x="3244" y="1958"/>
                  </a:lnTo>
                  <a:lnTo>
                    <a:pt x="3243" y="1945"/>
                  </a:lnTo>
                  <a:lnTo>
                    <a:pt x="3240" y="1934"/>
                  </a:lnTo>
                  <a:lnTo>
                    <a:pt x="3237" y="1925"/>
                  </a:lnTo>
                  <a:lnTo>
                    <a:pt x="3232" y="1916"/>
                  </a:lnTo>
                  <a:lnTo>
                    <a:pt x="3227" y="1910"/>
                  </a:lnTo>
                  <a:lnTo>
                    <a:pt x="3221" y="1905"/>
                  </a:lnTo>
                  <a:lnTo>
                    <a:pt x="3215" y="1901"/>
                  </a:lnTo>
                  <a:lnTo>
                    <a:pt x="3209" y="1898"/>
                  </a:lnTo>
                  <a:lnTo>
                    <a:pt x="3200" y="1897"/>
                  </a:lnTo>
                  <a:lnTo>
                    <a:pt x="3193" y="1896"/>
                  </a:lnTo>
                  <a:lnTo>
                    <a:pt x="3185" y="1897"/>
                  </a:lnTo>
                  <a:lnTo>
                    <a:pt x="3175" y="1898"/>
                  </a:lnTo>
                  <a:lnTo>
                    <a:pt x="3167" y="1901"/>
                  </a:lnTo>
                  <a:lnTo>
                    <a:pt x="3157" y="1903"/>
                  </a:lnTo>
                  <a:lnTo>
                    <a:pt x="3148" y="1906"/>
                  </a:lnTo>
                  <a:lnTo>
                    <a:pt x="3110" y="1922"/>
                  </a:lnTo>
                  <a:lnTo>
                    <a:pt x="3077" y="1939"/>
                  </a:lnTo>
                  <a:lnTo>
                    <a:pt x="3063" y="1945"/>
                  </a:lnTo>
                  <a:lnTo>
                    <a:pt x="3050" y="1950"/>
                  </a:lnTo>
                  <a:lnTo>
                    <a:pt x="3045" y="1951"/>
                  </a:lnTo>
                  <a:lnTo>
                    <a:pt x="3041" y="1952"/>
                  </a:lnTo>
                  <a:lnTo>
                    <a:pt x="3036" y="1951"/>
                  </a:lnTo>
                  <a:lnTo>
                    <a:pt x="3034" y="1949"/>
                  </a:lnTo>
                  <a:lnTo>
                    <a:pt x="3026" y="1939"/>
                  </a:lnTo>
                  <a:lnTo>
                    <a:pt x="3020" y="1929"/>
                  </a:lnTo>
                  <a:lnTo>
                    <a:pt x="3015" y="1917"/>
                  </a:lnTo>
                  <a:lnTo>
                    <a:pt x="3009" y="1906"/>
                  </a:lnTo>
                  <a:lnTo>
                    <a:pt x="3003" y="1895"/>
                  </a:lnTo>
                  <a:lnTo>
                    <a:pt x="2996" y="1886"/>
                  </a:lnTo>
                  <a:lnTo>
                    <a:pt x="2991" y="1881"/>
                  </a:lnTo>
                  <a:lnTo>
                    <a:pt x="2984" y="1878"/>
                  </a:lnTo>
                  <a:lnTo>
                    <a:pt x="2978" y="1873"/>
                  </a:lnTo>
                  <a:lnTo>
                    <a:pt x="2970" y="1870"/>
                  </a:lnTo>
                  <a:lnTo>
                    <a:pt x="2962" y="1868"/>
                  </a:lnTo>
                  <a:lnTo>
                    <a:pt x="2955" y="1867"/>
                  </a:lnTo>
                  <a:lnTo>
                    <a:pt x="2948" y="1867"/>
                  </a:lnTo>
                  <a:lnTo>
                    <a:pt x="2942" y="1868"/>
                  </a:lnTo>
                  <a:lnTo>
                    <a:pt x="2929" y="1871"/>
                  </a:lnTo>
                  <a:lnTo>
                    <a:pt x="2918" y="1876"/>
                  </a:lnTo>
                  <a:lnTo>
                    <a:pt x="2907" y="1882"/>
                  </a:lnTo>
                  <a:lnTo>
                    <a:pt x="2896" y="1888"/>
                  </a:lnTo>
                  <a:lnTo>
                    <a:pt x="2883" y="1893"/>
                  </a:lnTo>
                  <a:lnTo>
                    <a:pt x="2870" y="1896"/>
                  </a:lnTo>
                  <a:lnTo>
                    <a:pt x="2864" y="1896"/>
                  </a:lnTo>
                  <a:lnTo>
                    <a:pt x="2858" y="1895"/>
                  </a:lnTo>
                  <a:lnTo>
                    <a:pt x="2852" y="1893"/>
                  </a:lnTo>
                  <a:lnTo>
                    <a:pt x="2846" y="1890"/>
                  </a:lnTo>
                  <a:lnTo>
                    <a:pt x="2831" y="1881"/>
                  </a:lnTo>
                  <a:lnTo>
                    <a:pt x="2816" y="1868"/>
                  </a:lnTo>
                  <a:lnTo>
                    <a:pt x="2783" y="1836"/>
                  </a:lnTo>
                  <a:lnTo>
                    <a:pt x="2748" y="1800"/>
                  </a:lnTo>
                  <a:lnTo>
                    <a:pt x="2730" y="1784"/>
                  </a:lnTo>
                  <a:lnTo>
                    <a:pt x="2711" y="1768"/>
                  </a:lnTo>
                  <a:lnTo>
                    <a:pt x="2702" y="1761"/>
                  </a:lnTo>
                  <a:lnTo>
                    <a:pt x="2692" y="1754"/>
                  </a:lnTo>
                  <a:lnTo>
                    <a:pt x="2683" y="1748"/>
                  </a:lnTo>
                  <a:lnTo>
                    <a:pt x="2674" y="1744"/>
                  </a:lnTo>
                  <a:lnTo>
                    <a:pt x="2665" y="1740"/>
                  </a:lnTo>
                  <a:lnTo>
                    <a:pt x="2656" y="1738"/>
                  </a:lnTo>
                  <a:lnTo>
                    <a:pt x="2647" y="1736"/>
                  </a:lnTo>
                  <a:lnTo>
                    <a:pt x="2638" y="1736"/>
                  </a:lnTo>
                  <a:lnTo>
                    <a:pt x="2629" y="1737"/>
                  </a:lnTo>
                  <a:lnTo>
                    <a:pt x="2620" y="1739"/>
                  </a:lnTo>
                  <a:lnTo>
                    <a:pt x="2612" y="1743"/>
                  </a:lnTo>
                  <a:lnTo>
                    <a:pt x="2604" y="1748"/>
                  </a:lnTo>
                  <a:lnTo>
                    <a:pt x="2601" y="1751"/>
                  </a:lnTo>
                  <a:lnTo>
                    <a:pt x="2599" y="1754"/>
                  </a:lnTo>
                  <a:lnTo>
                    <a:pt x="2595" y="1759"/>
                  </a:lnTo>
                  <a:lnTo>
                    <a:pt x="2594" y="1762"/>
                  </a:lnTo>
                  <a:lnTo>
                    <a:pt x="2591" y="1771"/>
                  </a:lnTo>
                  <a:lnTo>
                    <a:pt x="2590" y="1781"/>
                  </a:lnTo>
                  <a:lnTo>
                    <a:pt x="2590" y="1792"/>
                  </a:lnTo>
                  <a:lnTo>
                    <a:pt x="2591" y="1804"/>
                  </a:lnTo>
                  <a:lnTo>
                    <a:pt x="2592" y="1815"/>
                  </a:lnTo>
                  <a:lnTo>
                    <a:pt x="2594" y="1828"/>
                  </a:lnTo>
                  <a:lnTo>
                    <a:pt x="2599" y="1853"/>
                  </a:lnTo>
                  <a:lnTo>
                    <a:pt x="2601" y="1878"/>
                  </a:lnTo>
                  <a:lnTo>
                    <a:pt x="2601" y="1889"/>
                  </a:lnTo>
                  <a:lnTo>
                    <a:pt x="2600" y="1901"/>
                  </a:lnTo>
                  <a:lnTo>
                    <a:pt x="2598" y="1910"/>
                  </a:lnTo>
                  <a:lnTo>
                    <a:pt x="2594" y="1919"/>
                  </a:lnTo>
                  <a:lnTo>
                    <a:pt x="2591" y="1926"/>
                  </a:lnTo>
                  <a:lnTo>
                    <a:pt x="2586" y="1932"/>
                  </a:lnTo>
                  <a:lnTo>
                    <a:pt x="2581" y="1938"/>
                  </a:lnTo>
                  <a:lnTo>
                    <a:pt x="2575" y="1944"/>
                  </a:lnTo>
                  <a:lnTo>
                    <a:pt x="2561" y="1958"/>
                  </a:lnTo>
                  <a:lnTo>
                    <a:pt x="2546" y="1970"/>
                  </a:lnTo>
                  <a:lnTo>
                    <a:pt x="2533" y="1982"/>
                  </a:lnTo>
                  <a:lnTo>
                    <a:pt x="2520" y="1993"/>
                  </a:lnTo>
                  <a:lnTo>
                    <a:pt x="2515" y="1999"/>
                  </a:lnTo>
                  <a:lnTo>
                    <a:pt x="2511" y="2003"/>
                  </a:lnTo>
                  <a:lnTo>
                    <a:pt x="2508" y="2007"/>
                  </a:lnTo>
                  <a:lnTo>
                    <a:pt x="2507" y="2011"/>
                  </a:lnTo>
                  <a:lnTo>
                    <a:pt x="2507" y="2011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2" name="Freeform 129">
              <a:extLst>
                <a:ext uri="{FF2B5EF4-FFF2-40B4-BE49-F238E27FC236}">
                  <a16:creationId xmlns:a16="http://schemas.microsoft.com/office/drawing/2014/main" id="{A146ED8D-064B-4B25-A21C-8ECCD7887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0200" y="3329254"/>
              <a:ext cx="791332" cy="912166"/>
            </a:xfrm>
            <a:custGeom>
              <a:avLst/>
              <a:gdLst>
                <a:gd name="T0" fmla="*/ 842 w 3148"/>
                <a:gd name="T1" fmla="*/ 3685 h 3757"/>
                <a:gd name="T2" fmla="*/ 1213 w 3148"/>
                <a:gd name="T3" fmla="*/ 3756 h 3757"/>
                <a:gd name="T4" fmla="*/ 1452 w 3148"/>
                <a:gd name="T5" fmla="*/ 3637 h 3757"/>
                <a:gd name="T6" fmla="*/ 1587 w 3148"/>
                <a:gd name="T7" fmla="*/ 3508 h 3757"/>
                <a:gd name="T8" fmla="*/ 1707 w 3148"/>
                <a:gd name="T9" fmla="*/ 3275 h 3757"/>
                <a:gd name="T10" fmla="*/ 1930 w 3148"/>
                <a:gd name="T11" fmla="*/ 3170 h 3757"/>
                <a:gd name="T12" fmla="*/ 2154 w 3148"/>
                <a:gd name="T13" fmla="*/ 3072 h 3757"/>
                <a:gd name="T14" fmla="*/ 2287 w 3148"/>
                <a:gd name="T15" fmla="*/ 3186 h 3757"/>
                <a:gd name="T16" fmla="*/ 2500 w 3148"/>
                <a:gd name="T17" fmla="*/ 3126 h 3757"/>
                <a:gd name="T18" fmla="*/ 2682 w 3148"/>
                <a:gd name="T19" fmla="*/ 3127 h 3757"/>
                <a:gd name="T20" fmla="*/ 2733 w 3148"/>
                <a:gd name="T21" fmla="*/ 2912 h 3757"/>
                <a:gd name="T22" fmla="*/ 2814 w 3148"/>
                <a:gd name="T23" fmla="*/ 2770 h 3757"/>
                <a:gd name="T24" fmla="*/ 2948 w 3148"/>
                <a:gd name="T25" fmla="*/ 2708 h 3757"/>
                <a:gd name="T26" fmla="*/ 3081 w 3148"/>
                <a:gd name="T27" fmla="*/ 2697 h 3757"/>
                <a:gd name="T28" fmla="*/ 3136 w 3148"/>
                <a:gd name="T29" fmla="*/ 2675 h 3757"/>
                <a:gd name="T30" fmla="*/ 3145 w 3148"/>
                <a:gd name="T31" fmla="*/ 2283 h 3757"/>
                <a:gd name="T32" fmla="*/ 3143 w 3148"/>
                <a:gd name="T33" fmla="*/ 2111 h 3757"/>
                <a:gd name="T34" fmla="*/ 2902 w 3148"/>
                <a:gd name="T35" fmla="*/ 1973 h 3757"/>
                <a:gd name="T36" fmla="*/ 2773 w 3148"/>
                <a:gd name="T37" fmla="*/ 1817 h 3757"/>
                <a:gd name="T38" fmla="*/ 2630 w 3148"/>
                <a:gd name="T39" fmla="*/ 1644 h 3757"/>
                <a:gd name="T40" fmla="*/ 2357 w 3148"/>
                <a:gd name="T41" fmla="*/ 1510 h 3757"/>
                <a:gd name="T42" fmla="*/ 2224 w 3148"/>
                <a:gd name="T43" fmla="*/ 1369 h 3757"/>
                <a:gd name="T44" fmla="*/ 2150 w 3148"/>
                <a:gd name="T45" fmla="*/ 1200 h 3757"/>
                <a:gd name="T46" fmla="*/ 2186 w 3148"/>
                <a:gd name="T47" fmla="*/ 1017 h 3757"/>
                <a:gd name="T48" fmla="*/ 2466 w 3148"/>
                <a:gd name="T49" fmla="*/ 876 h 3757"/>
                <a:gd name="T50" fmla="*/ 2731 w 3148"/>
                <a:gd name="T51" fmla="*/ 796 h 3757"/>
                <a:gd name="T52" fmla="*/ 2942 w 3148"/>
                <a:gd name="T53" fmla="*/ 595 h 3757"/>
                <a:gd name="T54" fmla="*/ 3048 w 3148"/>
                <a:gd name="T55" fmla="*/ 323 h 3757"/>
                <a:gd name="T56" fmla="*/ 2781 w 3148"/>
                <a:gd name="T57" fmla="*/ 26 h 3757"/>
                <a:gd name="T58" fmla="*/ 2768 w 3148"/>
                <a:gd name="T59" fmla="*/ 206 h 3757"/>
                <a:gd name="T60" fmla="*/ 2559 w 3148"/>
                <a:gd name="T61" fmla="*/ 287 h 3757"/>
                <a:gd name="T62" fmla="*/ 2438 w 3148"/>
                <a:gd name="T63" fmla="*/ 158 h 3757"/>
                <a:gd name="T64" fmla="*/ 2277 w 3148"/>
                <a:gd name="T65" fmla="*/ 68 h 3757"/>
                <a:gd name="T66" fmla="*/ 2055 w 3148"/>
                <a:gd name="T67" fmla="*/ 49 h 3757"/>
                <a:gd name="T68" fmla="*/ 2069 w 3148"/>
                <a:gd name="T69" fmla="*/ 163 h 3757"/>
                <a:gd name="T70" fmla="*/ 1949 w 3148"/>
                <a:gd name="T71" fmla="*/ 430 h 3757"/>
                <a:gd name="T72" fmla="*/ 1566 w 3148"/>
                <a:gd name="T73" fmla="*/ 520 h 3757"/>
                <a:gd name="T74" fmla="*/ 1359 w 3148"/>
                <a:gd name="T75" fmla="*/ 806 h 3757"/>
                <a:gd name="T76" fmla="*/ 1114 w 3148"/>
                <a:gd name="T77" fmla="*/ 863 h 3757"/>
                <a:gd name="T78" fmla="*/ 941 w 3148"/>
                <a:gd name="T79" fmla="*/ 748 h 3757"/>
                <a:gd name="T80" fmla="*/ 732 w 3148"/>
                <a:gd name="T81" fmla="*/ 902 h 3757"/>
                <a:gd name="T82" fmla="*/ 633 w 3148"/>
                <a:gd name="T83" fmla="*/ 895 h 3757"/>
                <a:gd name="T84" fmla="*/ 507 w 3148"/>
                <a:gd name="T85" fmla="*/ 1011 h 3757"/>
                <a:gd name="T86" fmla="*/ 442 w 3148"/>
                <a:gd name="T87" fmla="*/ 1021 h 3757"/>
                <a:gd name="T88" fmla="*/ 502 w 3148"/>
                <a:gd name="T89" fmla="*/ 1130 h 3757"/>
                <a:gd name="T90" fmla="*/ 605 w 3148"/>
                <a:gd name="T91" fmla="*/ 1261 h 3757"/>
                <a:gd name="T92" fmla="*/ 585 w 3148"/>
                <a:gd name="T93" fmla="*/ 1472 h 3757"/>
                <a:gd name="T94" fmla="*/ 685 w 3148"/>
                <a:gd name="T95" fmla="*/ 1547 h 3757"/>
                <a:gd name="T96" fmla="*/ 950 w 3148"/>
                <a:gd name="T97" fmla="*/ 1680 h 3757"/>
                <a:gd name="T98" fmla="*/ 944 w 3148"/>
                <a:gd name="T99" fmla="*/ 1960 h 3757"/>
                <a:gd name="T100" fmla="*/ 752 w 3148"/>
                <a:gd name="T101" fmla="*/ 2029 h 3757"/>
                <a:gd name="T102" fmla="*/ 815 w 3148"/>
                <a:gd name="T103" fmla="*/ 2119 h 3757"/>
                <a:gd name="T104" fmla="*/ 750 w 3148"/>
                <a:gd name="T105" fmla="*/ 2403 h 3757"/>
                <a:gd name="T106" fmla="*/ 706 w 3148"/>
                <a:gd name="T107" fmla="*/ 2579 h 3757"/>
                <a:gd name="T108" fmla="*/ 610 w 3148"/>
                <a:gd name="T109" fmla="*/ 2591 h 3757"/>
                <a:gd name="T110" fmla="*/ 644 w 3148"/>
                <a:gd name="T111" fmla="*/ 2728 h 3757"/>
                <a:gd name="T112" fmla="*/ 481 w 3148"/>
                <a:gd name="T113" fmla="*/ 2829 h 3757"/>
                <a:gd name="T114" fmla="*/ 332 w 3148"/>
                <a:gd name="T115" fmla="*/ 2859 h 3757"/>
                <a:gd name="T116" fmla="*/ 195 w 3148"/>
                <a:gd name="T117" fmla="*/ 2857 h 3757"/>
                <a:gd name="T118" fmla="*/ 16 w 3148"/>
                <a:gd name="T119" fmla="*/ 2991 h 3757"/>
                <a:gd name="T120" fmla="*/ 136 w 3148"/>
                <a:gd name="T121" fmla="*/ 3057 h 3757"/>
                <a:gd name="T122" fmla="*/ 308 w 3148"/>
                <a:gd name="T123" fmla="*/ 3040 h 3757"/>
                <a:gd name="T124" fmla="*/ 346 w 3148"/>
                <a:gd name="T125" fmla="*/ 3287 h 3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48" h="3757">
                  <a:moveTo>
                    <a:pt x="395" y="3368"/>
                  </a:moveTo>
                  <a:lnTo>
                    <a:pt x="491" y="3368"/>
                  </a:lnTo>
                  <a:lnTo>
                    <a:pt x="507" y="3372"/>
                  </a:lnTo>
                  <a:lnTo>
                    <a:pt x="523" y="3377"/>
                  </a:lnTo>
                  <a:lnTo>
                    <a:pt x="537" y="3384"/>
                  </a:lnTo>
                  <a:lnTo>
                    <a:pt x="551" y="3391"/>
                  </a:lnTo>
                  <a:lnTo>
                    <a:pt x="563" y="3399"/>
                  </a:lnTo>
                  <a:lnTo>
                    <a:pt x="576" y="3409"/>
                  </a:lnTo>
                  <a:lnTo>
                    <a:pt x="587" y="3419"/>
                  </a:lnTo>
                  <a:lnTo>
                    <a:pt x="599" y="3429"/>
                  </a:lnTo>
                  <a:lnTo>
                    <a:pt x="609" y="3441"/>
                  </a:lnTo>
                  <a:lnTo>
                    <a:pt x="620" y="3453"/>
                  </a:lnTo>
                  <a:lnTo>
                    <a:pt x="629" y="3466"/>
                  </a:lnTo>
                  <a:lnTo>
                    <a:pt x="639" y="3478"/>
                  </a:lnTo>
                  <a:lnTo>
                    <a:pt x="657" y="3506"/>
                  </a:lnTo>
                  <a:lnTo>
                    <a:pt x="675" y="3533"/>
                  </a:lnTo>
                  <a:lnTo>
                    <a:pt x="691" y="3560"/>
                  </a:lnTo>
                  <a:lnTo>
                    <a:pt x="708" y="3586"/>
                  </a:lnTo>
                  <a:lnTo>
                    <a:pt x="726" y="3610"/>
                  </a:lnTo>
                  <a:lnTo>
                    <a:pt x="744" y="3633"/>
                  </a:lnTo>
                  <a:lnTo>
                    <a:pt x="753" y="3642"/>
                  </a:lnTo>
                  <a:lnTo>
                    <a:pt x="762" y="3652"/>
                  </a:lnTo>
                  <a:lnTo>
                    <a:pt x="773" y="3660"/>
                  </a:lnTo>
                  <a:lnTo>
                    <a:pt x="783" y="3667"/>
                  </a:lnTo>
                  <a:lnTo>
                    <a:pt x="794" y="3674"/>
                  </a:lnTo>
                  <a:lnTo>
                    <a:pt x="805" y="3678"/>
                  </a:lnTo>
                  <a:lnTo>
                    <a:pt x="817" y="3682"/>
                  </a:lnTo>
                  <a:lnTo>
                    <a:pt x="829" y="3684"/>
                  </a:lnTo>
                  <a:lnTo>
                    <a:pt x="842" y="3685"/>
                  </a:lnTo>
                  <a:lnTo>
                    <a:pt x="853" y="3685"/>
                  </a:lnTo>
                  <a:lnTo>
                    <a:pt x="866" y="3683"/>
                  </a:lnTo>
                  <a:lnTo>
                    <a:pt x="877" y="3682"/>
                  </a:lnTo>
                  <a:lnTo>
                    <a:pt x="901" y="3676"/>
                  </a:lnTo>
                  <a:lnTo>
                    <a:pt x="926" y="3668"/>
                  </a:lnTo>
                  <a:lnTo>
                    <a:pt x="950" y="3662"/>
                  </a:lnTo>
                  <a:lnTo>
                    <a:pt x="974" y="3656"/>
                  </a:lnTo>
                  <a:lnTo>
                    <a:pt x="986" y="3654"/>
                  </a:lnTo>
                  <a:lnTo>
                    <a:pt x="997" y="3653"/>
                  </a:lnTo>
                  <a:lnTo>
                    <a:pt x="1008" y="3653"/>
                  </a:lnTo>
                  <a:lnTo>
                    <a:pt x="1020" y="3653"/>
                  </a:lnTo>
                  <a:lnTo>
                    <a:pt x="1026" y="3654"/>
                  </a:lnTo>
                  <a:lnTo>
                    <a:pt x="1033" y="3656"/>
                  </a:lnTo>
                  <a:lnTo>
                    <a:pt x="1040" y="3659"/>
                  </a:lnTo>
                  <a:lnTo>
                    <a:pt x="1046" y="3661"/>
                  </a:lnTo>
                  <a:lnTo>
                    <a:pt x="1058" y="3669"/>
                  </a:lnTo>
                  <a:lnTo>
                    <a:pt x="1071" y="3679"/>
                  </a:lnTo>
                  <a:lnTo>
                    <a:pt x="1097" y="3701"/>
                  </a:lnTo>
                  <a:lnTo>
                    <a:pt x="1123" y="3723"/>
                  </a:lnTo>
                  <a:lnTo>
                    <a:pt x="1138" y="3733"/>
                  </a:lnTo>
                  <a:lnTo>
                    <a:pt x="1151" y="3742"/>
                  </a:lnTo>
                  <a:lnTo>
                    <a:pt x="1159" y="3746"/>
                  </a:lnTo>
                  <a:lnTo>
                    <a:pt x="1166" y="3750"/>
                  </a:lnTo>
                  <a:lnTo>
                    <a:pt x="1173" y="3753"/>
                  </a:lnTo>
                  <a:lnTo>
                    <a:pt x="1180" y="3755"/>
                  </a:lnTo>
                  <a:lnTo>
                    <a:pt x="1189" y="3756"/>
                  </a:lnTo>
                  <a:lnTo>
                    <a:pt x="1196" y="3757"/>
                  </a:lnTo>
                  <a:lnTo>
                    <a:pt x="1204" y="3757"/>
                  </a:lnTo>
                  <a:lnTo>
                    <a:pt x="1213" y="3756"/>
                  </a:lnTo>
                  <a:lnTo>
                    <a:pt x="1221" y="3755"/>
                  </a:lnTo>
                  <a:lnTo>
                    <a:pt x="1229" y="3752"/>
                  </a:lnTo>
                  <a:lnTo>
                    <a:pt x="1238" y="3749"/>
                  </a:lnTo>
                  <a:lnTo>
                    <a:pt x="1246" y="3743"/>
                  </a:lnTo>
                  <a:lnTo>
                    <a:pt x="1263" y="3733"/>
                  </a:lnTo>
                  <a:lnTo>
                    <a:pt x="1275" y="3727"/>
                  </a:lnTo>
                  <a:lnTo>
                    <a:pt x="1285" y="3722"/>
                  </a:lnTo>
                  <a:lnTo>
                    <a:pt x="1292" y="3719"/>
                  </a:lnTo>
                  <a:lnTo>
                    <a:pt x="1300" y="3717"/>
                  </a:lnTo>
                  <a:lnTo>
                    <a:pt x="1311" y="3717"/>
                  </a:lnTo>
                  <a:lnTo>
                    <a:pt x="1324" y="3717"/>
                  </a:lnTo>
                  <a:lnTo>
                    <a:pt x="1343" y="3717"/>
                  </a:lnTo>
                  <a:lnTo>
                    <a:pt x="1350" y="3717"/>
                  </a:lnTo>
                  <a:lnTo>
                    <a:pt x="1359" y="3716"/>
                  </a:lnTo>
                  <a:lnTo>
                    <a:pt x="1366" y="3714"/>
                  </a:lnTo>
                  <a:lnTo>
                    <a:pt x="1373" y="3712"/>
                  </a:lnTo>
                  <a:lnTo>
                    <a:pt x="1386" y="3707"/>
                  </a:lnTo>
                  <a:lnTo>
                    <a:pt x="1398" y="3700"/>
                  </a:lnTo>
                  <a:lnTo>
                    <a:pt x="1411" y="3693"/>
                  </a:lnTo>
                  <a:lnTo>
                    <a:pt x="1422" y="3687"/>
                  </a:lnTo>
                  <a:lnTo>
                    <a:pt x="1429" y="3684"/>
                  </a:lnTo>
                  <a:lnTo>
                    <a:pt x="1435" y="3682"/>
                  </a:lnTo>
                  <a:lnTo>
                    <a:pt x="1441" y="3680"/>
                  </a:lnTo>
                  <a:lnTo>
                    <a:pt x="1448" y="3679"/>
                  </a:lnTo>
                  <a:lnTo>
                    <a:pt x="1448" y="3679"/>
                  </a:lnTo>
                  <a:lnTo>
                    <a:pt x="1451" y="3670"/>
                  </a:lnTo>
                  <a:lnTo>
                    <a:pt x="1452" y="3661"/>
                  </a:lnTo>
                  <a:lnTo>
                    <a:pt x="1453" y="3650"/>
                  </a:lnTo>
                  <a:lnTo>
                    <a:pt x="1452" y="3637"/>
                  </a:lnTo>
                  <a:lnTo>
                    <a:pt x="1448" y="3610"/>
                  </a:lnTo>
                  <a:lnTo>
                    <a:pt x="1444" y="3582"/>
                  </a:lnTo>
                  <a:lnTo>
                    <a:pt x="1442" y="3567"/>
                  </a:lnTo>
                  <a:lnTo>
                    <a:pt x="1441" y="3554"/>
                  </a:lnTo>
                  <a:lnTo>
                    <a:pt x="1440" y="3540"/>
                  </a:lnTo>
                  <a:lnTo>
                    <a:pt x="1440" y="3528"/>
                  </a:lnTo>
                  <a:lnTo>
                    <a:pt x="1441" y="3517"/>
                  </a:lnTo>
                  <a:lnTo>
                    <a:pt x="1444" y="3508"/>
                  </a:lnTo>
                  <a:lnTo>
                    <a:pt x="1445" y="3504"/>
                  </a:lnTo>
                  <a:lnTo>
                    <a:pt x="1447" y="3499"/>
                  </a:lnTo>
                  <a:lnTo>
                    <a:pt x="1451" y="3496"/>
                  </a:lnTo>
                  <a:lnTo>
                    <a:pt x="1453" y="3494"/>
                  </a:lnTo>
                  <a:lnTo>
                    <a:pt x="1459" y="3490"/>
                  </a:lnTo>
                  <a:lnTo>
                    <a:pt x="1464" y="3489"/>
                  </a:lnTo>
                  <a:lnTo>
                    <a:pt x="1469" y="3489"/>
                  </a:lnTo>
                  <a:lnTo>
                    <a:pt x="1473" y="3491"/>
                  </a:lnTo>
                  <a:lnTo>
                    <a:pt x="1483" y="3494"/>
                  </a:lnTo>
                  <a:lnTo>
                    <a:pt x="1493" y="3498"/>
                  </a:lnTo>
                  <a:lnTo>
                    <a:pt x="1498" y="3504"/>
                  </a:lnTo>
                  <a:lnTo>
                    <a:pt x="1505" y="3509"/>
                  </a:lnTo>
                  <a:lnTo>
                    <a:pt x="1513" y="3512"/>
                  </a:lnTo>
                  <a:lnTo>
                    <a:pt x="1521" y="3515"/>
                  </a:lnTo>
                  <a:lnTo>
                    <a:pt x="1530" y="3516"/>
                  </a:lnTo>
                  <a:lnTo>
                    <a:pt x="1539" y="3517"/>
                  </a:lnTo>
                  <a:lnTo>
                    <a:pt x="1550" y="3517"/>
                  </a:lnTo>
                  <a:lnTo>
                    <a:pt x="1559" y="3516"/>
                  </a:lnTo>
                  <a:lnTo>
                    <a:pt x="1569" y="3514"/>
                  </a:lnTo>
                  <a:lnTo>
                    <a:pt x="1579" y="3511"/>
                  </a:lnTo>
                  <a:lnTo>
                    <a:pt x="1587" y="3508"/>
                  </a:lnTo>
                  <a:lnTo>
                    <a:pt x="1595" y="3504"/>
                  </a:lnTo>
                  <a:lnTo>
                    <a:pt x="1603" y="3498"/>
                  </a:lnTo>
                  <a:lnTo>
                    <a:pt x="1610" y="3493"/>
                  </a:lnTo>
                  <a:lnTo>
                    <a:pt x="1615" y="3487"/>
                  </a:lnTo>
                  <a:lnTo>
                    <a:pt x="1618" y="3481"/>
                  </a:lnTo>
                  <a:lnTo>
                    <a:pt x="1620" y="3474"/>
                  </a:lnTo>
                  <a:lnTo>
                    <a:pt x="1622" y="3467"/>
                  </a:lnTo>
                  <a:lnTo>
                    <a:pt x="1622" y="3460"/>
                  </a:lnTo>
                  <a:lnTo>
                    <a:pt x="1620" y="3453"/>
                  </a:lnTo>
                  <a:lnTo>
                    <a:pt x="1617" y="3439"/>
                  </a:lnTo>
                  <a:lnTo>
                    <a:pt x="1613" y="3425"/>
                  </a:lnTo>
                  <a:lnTo>
                    <a:pt x="1609" y="3413"/>
                  </a:lnTo>
                  <a:lnTo>
                    <a:pt x="1607" y="3402"/>
                  </a:lnTo>
                  <a:lnTo>
                    <a:pt x="1605" y="3394"/>
                  </a:lnTo>
                  <a:lnTo>
                    <a:pt x="1605" y="3386"/>
                  </a:lnTo>
                  <a:lnTo>
                    <a:pt x="1606" y="3377"/>
                  </a:lnTo>
                  <a:lnTo>
                    <a:pt x="1608" y="3369"/>
                  </a:lnTo>
                  <a:lnTo>
                    <a:pt x="1612" y="3359"/>
                  </a:lnTo>
                  <a:lnTo>
                    <a:pt x="1616" y="3346"/>
                  </a:lnTo>
                  <a:lnTo>
                    <a:pt x="1640" y="3340"/>
                  </a:lnTo>
                  <a:lnTo>
                    <a:pt x="1669" y="3330"/>
                  </a:lnTo>
                  <a:lnTo>
                    <a:pt x="1683" y="3324"/>
                  </a:lnTo>
                  <a:lnTo>
                    <a:pt x="1695" y="3318"/>
                  </a:lnTo>
                  <a:lnTo>
                    <a:pt x="1700" y="3314"/>
                  </a:lnTo>
                  <a:lnTo>
                    <a:pt x="1704" y="3309"/>
                  </a:lnTo>
                  <a:lnTo>
                    <a:pt x="1706" y="3304"/>
                  </a:lnTo>
                  <a:lnTo>
                    <a:pt x="1708" y="3300"/>
                  </a:lnTo>
                  <a:lnTo>
                    <a:pt x="1709" y="3290"/>
                  </a:lnTo>
                  <a:lnTo>
                    <a:pt x="1707" y="3275"/>
                  </a:lnTo>
                  <a:lnTo>
                    <a:pt x="1704" y="3259"/>
                  </a:lnTo>
                  <a:lnTo>
                    <a:pt x="1700" y="3242"/>
                  </a:lnTo>
                  <a:lnTo>
                    <a:pt x="1697" y="3225"/>
                  </a:lnTo>
                  <a:lnTo>
                    <a:pt x="1693" y="3210"/>
                  </a:lnTo>
                  <a:lnTo>
                    <a:pt x="1692" y="3204"/>
                  </a:lnTo>
                  <a:lnTo>
                    <a:pt x="1692" y="3199"/>
                  </a:lnTo>
                  <a:lnTo>
                    <a:pt x="1692" y="3196"/>
                  </a:lnTo>
                  <a:lnTo>
                    <a:pt x="1693" y="3194"/>
                  </a:lnTo>
                  <a:lnTo>
                    <a:pt x="1731" y="3198"/>
                  </a:lnTo>
                  <a:lnTo>
                    <a:pt x="1765" y="3202"/>
                  </a:lnTo>
                  <a:lnTo>
                    <a:pt x="1774" y="3202"/>
                  </a:lnTo>
                  <a:lnTo>
                    <a:pt x="1782" y="3202"/>
                  </a:lnTo>
                  <a:lnTo>
                    <a:pt x="1790" y="3200"/>
                  </a:lnTo>
                  <a:lnTo>
                    <a:pt x="1798" y="3197"/>
                  </a:lnTo>
                  <a:lnTo>
                    <a:pt x="1806" y="3193"/>
                  </a:lnTo>
                  <a:lnTo>
                    <a:pt x="1814" y="3187"/>
                  </a:lnTo>
                  <a:lnTo>
                    <a:pt x="1822" y="3180"/>
                  </a:lnTo>
                  <a:lnTo>
                    <a:pt x="1830" y="3171"/>
                  </a:lnTo>
                  <a:lnTo>
                    <a:pt x="1835" y="3166"/>
                  </a:lnTo>
                  <a:lnTo>
                    <a:pt x="1839" y="3160"/>
                  </a:lnTo>
                  <a:lnTo>
                    <a:pt x="1845" y="3157"/>
                  </a:lnTo>
                  <a:lnTo>
                    <a:pt x="1849" y="3154"/>
                  </a:lnTo>
                  <a:lnTo>
                    <a:pt x="1853" y="3152"/>
                  </a:lnTo>
                  <a:lnTo>
                    <a:pt x="1856" y="3151"/>
                  </a:lnTo>
                  <a:lnTo>
                    <a:pt x="1860" y="3151"/>
                  </a:lnTo>
                  <a:lnTo>
                    <a:pt x="1864" y="3151"/>
                  </a:lnTo>
                  <a:lnTo>
                    <a:pt x="1883" y="3157"/>
                  </a:lnTo>
                  <a:lnTo>
                    <a:pt x="1907" y="3164"/>
                  </a:lnTo>
                  <a:lnTo>
                    <a:pt x="1930" y="3170"/>
                  </a:lnTo>
                  <a:lnTo>
                    <a:pt x="1951" y="3173"/>
                  </a:lnTo>
                  <a:lnTo>
                    <a:pt x="1961" y="3173"/>
                  </a:lnTo>
                  <a:lnTo>
                    <a:pt x="1972" y="3172"/>
                  </a:lnTo>
                  <a:lnTo>
                    <a:pt x="1983" y="3169"/>
                  </a:lnTo>
                  <a:lnTo>
                    <a:pt x="1994" y="3164"/>
                  </a:lnTo>
                  <a:lnTo>
                    <a:pt x="2000" y="3160"/>
                  </a:lnTo>
                  <a:lnTo>
                    <a:pt x="2005" y="3156"/>
                  </a:lnTo>
                  <a:lnTo>
                    <a:pt x="2009" y="3150"/>
                  </a:lnTo>
                  <a:lnTo>
                    <a:pt x="2013" y="3145"/>
                  </a:lnTo>
                  <a:lnTo>
                    <a:pt x="2016" y="3138"/>
                  </a:lnTo>
                  <a:lnTo>
                    <a:pt x="2019" y="3134"/>
                  </a:lnTo>
                  <a:lnTo>
                    <a:pt x="2023" y="3130"/>
                  </a:lnTo>
                  <a:lnTo>
                    <a:pt x="2027" y="3127"/>
                  </a:lnTo>
                  <a:lnTo>
                    <a:pt x="2036" y="3126"/>
                  </a:lnTo>
                  <a:lnTo>
                    <a:pt x="2047" y="3125"/>
                  </a:lnTo>
                  <a:lnTo>
                    <a:pt x="2056" y="3126"/>
                  </a:lnTo>
                  <a:lnTo>
                    <a:pt x="2067" y="3127"/>
                  </a:lnTo>
                  <a:lnTo>
                    <a:pt x="2077" y="3128"/>
                  </a:lnTo>
                  <a:lnTo>
                    <a:pt x="2088" y="3127"/>
                  </a:lnTo>
                  <a:lnTo>
                    <a:pt x="2093" y="3126"/>
                  </a:lnTo>
                  <a:lnTo>
                    <a:pt x="2098" y="3124"/>
                  </a:lnTo>
                  <a:lnTo>
                    <a:pt x="2104" y="3122"/>
                  </a:lnTo>
                  <a:lnTo>
                    <a:pt x="2109" y="3119"/>
                  </a:lnTo>
                  <a:lnTo>
                    <a:pt x="2117" y="3113"/>
                  </a:lnTo>
                  <a:lnTo>
                    <a:pt x="2124" y="3106"/>
                  </a:lnTo>
                  <a:lnTo>
                    <a:pt x="2131" y="3097"/>
                  </a:lnTo>
                  <a:lnTo>
                    <a:pt x="2140" y="3088"/>
                  </a:lnTo>
                  <a:lnTo>
                    <a:pt x="2147" y="3079"/>
                  </a:lnTo>
                  <a:lnTo>
                    <a:pt x="2154" y="3072"/>
                  </a:lnTo>
                  <a:lnTo>
                    <a:pt x="2162" y="3065"/>
                  </a:lnTo>
                  <a:lnTo>
                    <a:pt x="2168" y="3062"/>
                  </a:lnTo>
                  <a:lnTo>
                    <a:pt x="2176" y="3056"/>
                  </a:lnTo>
                  <a:lnTo>
                    <a:pt x="2187" y="3051"/>
                  </a:lnTo>
                  <a:lnTo>
                    <a:pt x="2196" y="3051"/>
                  </a:lnTo>
                  <a:lnTo>
                    <a:pt x="2205" y="3051"/>
                  </a:lnTo>
                  <a:lnTo>
                    <a:pt x="2210" y="3052"/>
                  </a:lnTo>
                  <a:lnTo>
                    <a:pt x="2213" y="3053"/>
                  </a:lnTo>
                  <a:lnTo>
                    <a:pt x="2217" y="3055"/>
                  </a:lnTo>
                  <a:lnTo>
                    <a:pt x="2221" y="3058"/>
                  </a:lnTo>
                  <a:lnTo>
                    <a:pt x="2224" y="3143"/>
                  </a:lnTo>
                  <a:lnTo>
                    <a:pt x="2224" y="3154"/>
                  </a:lnTo>
                  <a:lnTo>
                    <a:pt x="2225" y="3164"/>
                  </a:lnTo>
                  <a:lnTo>
                    <a:pt x="2226" y="3174"/>
                  </a:lnTo>
                  <a:lnTo>
                    <a:pt x="2228" y="3182"/>
                  </a:lnTo>
                  <a:lnTo>
                    <a:pt x="2229" y="3185"/>
                  </a:lnTo>
                  <a:lnTo>
                    <a:pt x="2233" y="3188"/>
                  </a:lnTo>
                  <a:lnTo>
                    <a:pt x="2235" y="3192"/>
                  </a:lnTo>
                  <a:lnTo>
                    <a:pt x="2238" y="3194"/>
                  </a:lnTo>
                  <a:lnTo>
                    <a:pt x="2242" y="3196"/>
                  </a:lnTo>
                  <a:lnTo>
                    <a:pt x="2247" y="3197"/>
                  </a:lnTo>
                  <a:lnTo>
                    <a:pt x="2252" y="3198"/>
                  </a:lnTo>
                  <a:lnTo>
                    <a:pt x="2260" y="3198"/>
                  </a:lnTo>
                  <a:lnTo>
                    <a:pt x="2265" y="3198"/>
                  </a:lnTo>
                  <a:lnTo>
                    <a:pt x="2270" y="3196"/>
                  </a:lnTo>
                  <a:lnTo>
                    <a:pt x="2275" y="3195"/>
                  </a:lnTo>
                  <a:lnTo>
                    <a:pt x="2279" y="3193"/>
                  </a:lnTo>
                  <a:lnTo>
                    <a:pt x="2283" y="3190"/>
                  </a:lnTo>
                  <a:lnTo>
                    <a:pt x="2287" y="3186"/>
                  </a:lnTo>
                  <a:lnTo>
                    <a:pt x="2289" y="3182"/>
                  </a:lnTo>
                  <a:lnTo>
                    <a:pt x="2292" y="3178"/>
                  </a:lnTo>
                  <a:lnTo>
                    <a:pt x="2295" y="3169"/>
                  </a:lnTo>
                  <a:lnTo>
                    <a:pt x="2298" y="3158"/>
                  </a:lnTo>
                  <a:lnTo>
                    <a:pt x="2301" y="3148"/>
                  </a:lnTo>
                  <a:lnTo>
                    <a:pt x="2303" y="3136"/>
                  </a:lnTo>
                  <a:lnTo>
                    <a:pt x="2306" y="3125"/>
                  </a:lnTo>
                  <a:lnTo>
                    <a:pt x="2309" y="3113"/>
                  </a:lnTo>
                  <a:lnTo>
                    <a:pt x="2312" y="3103"/>
                  </a:lnTo>
                  <a:lnTo>
                    <a:pt x="2316" y="3095"/>
                  </a:lnTo>
                  <a:lnTo>
                    <a:pt x="2319" y="3090"/>
                  </a:lnTo>
                  <a:lnTo>
                    <a:pt x="2322" y="3087"/>
                  </a:lnTo>
                  <a:lnTo>
                    <a:pt x="2325" y="3084"/>
                  </a:lnTo>
                  <a:lnTo>
                    <a:pt x="2329" y="3081"/>
                  </a:lnTo>
                  <a:lnTo>
                    <a:pt x="2335" y="3080"/>
                  </a:lnTo>
                  <a:lnTo>
                    <a:pt x="2340" y="3078"/>
                  </a:lnTo>
                  <a:lnTo>
                    <a:pt x="2345" y="3078"/>
                  </a:lnTo>
                  <a:lnTo>
                    <a:pt x="2351" y="3078"/>
                  </a:lnTo>
                  <a:lnTo>
                    <a:pt x="2367" y="3079"/>
                  </a:lnTo>
                  <a:lnTo>
                    <a:pt x="2383" y="3080"/>
                  </a:lnTo>
                  <a:lnTo>
                    <a:pt x="2397" y="3082"/>
                  </a:lnTo>
                  <a:lnTo>
                    <a:pt x="2412" y="3085"/>
                  </a:lnTo>
                  <a:lnTo>
                    <a:pt x="2425" y="3088"/>
                  </a:lnTo>
                  <a:lnTo>
                    <a:pt x="2440" y="3094"/>
                  </a:lnTo>
                  <a:lnTo>
                    <a:pt x="2454" y="3100"/>
                  </a:lnTo>
                  <a:lnTo>
                    <a:pt x="2466" y="3106"/>
                  </a:lnTo>
                  <a:lnTo>
                    <a:pt x="2480" y="3114"/>
                  </a:lnTo>
                  <a:lnTo>
                    <a:pt x="2493" y="3123"/>
                  </a:lnTo>
                  <a:lnTo>
                    <a:pt x="2500" y="3126"/>
                  </a:lnTo>
                  <a:lnTo>
                    <a:pt x="2508" y="3128"/>
                  </a:lnTo>
                  <a:lnTo>
                    <a:pt x="2516" y="3128"/>
                  </a:lnTo>
                  <a:lnTo>
                    <a:pt x="2523" y="3127"/>
                  </a:lnTo>
                  <a:lnTo>
                    <a:pt x="2533" y="3122"/>
                  </a:lnTo>
                  <a:lnTo>
                    <a:pt x="2541" y="3115"/>
                  </a:lnTo>
                  <a:lnTo>
                    <a:pt x="2549" y="3108"/>
                  </a:lnTo>
                  <a:lnTo>
                    <a:pt x="2556" y="3099"/>
                  </a:lnTo>
                  <a:lnTo>
                    <a:pt x="2562" y="3089"/>
                  </a:lnTo>
                  <a:lnTo>
                    <a:pt x="2566" y="3079"/>
                  </a:lnTo>
                  <a:lnTo>
                    <a:pt x="2569" y="3068"/>
                  </a:lnTo>
                  <a:lnTo>
                    <a:pt x="2571" y="3058"/>
                  </a:lnTo>
                  <a:lnTo>
                    <a:pt x="2572" y="3053"/>
                  </a:lnTo>
                  <a:lnTo>
                    <a:pt x="2573" y="3049"/>
                  </a:lnTo>
                  <a:lnTo>
                    <a:pt x="2576" y="3044"/>
                  </a:lnTo>
                  <a:lnTo>
                    <a:pt x="2579" y="3042"/>
                  </a:lnTo>
                  <a:lnTo>
                    <a:pt x="2581" y="3041"/>
                  </a:lnTo>
                  <a:lnTo>
                    <a:pt x="2585" y="3040"/>
                  </a:lnTo>
                  <a:lnTo>
                    <a:pt x="2588" y="3040"/>
                  </a:lnTo>
                  <a:lnTo>
                    <a:pt x="2592" y="3040"/>
                  </a:lnTo>
                  <a:lnTo>
                    <a:pt x="2609" y="3044"/>
                  </a:lnTo>
                  <a:lnTo>
                    <a:pt x="2625" y="3049"/>
                  </a:lnTo>
                  <a:lnTo>
                    <a:pt x="2636" y="3063"/>
                  </a:lnTo>
                  <a:lnTo>
                    <a:pt x="2644" y="3075"/>
                  </a:lnTo>
                  <a:lnTo>
                    <a:pt x="2652" y="3088"/>
                  </a:lnTo>
                  <a:lnTo>
                    <a:pt x="2661" y="3104"/>
                  </a:lnTo>
                  <a:lnTo>
                    <a:pt x="2665" y="3110"/>
                  </a:lnTo>
                  <a:lnTo>
                    <a:pt x="2669" y="3116"/>
                  </a:lnTo>
                  <a:lnTo>
                    <a:pt x="2676" y="3122"/>
                  </a:lnTo>
                  <a:lnTo>
                    <a:pt x="2682" y="3127"/>
                  </a:lnTo>
                  <a:lnTo>
                    <a:pt x="2689" y="3130"/>
                  </a:lnTo>
                  <a:lnTo>
                    <a:pt x="2696" y="3132"/>
                  </a:lnTo>
                  <a:lnTo>
                    <a:pt x="2704" y="3133"/>
                  </a:lnTo>
                  <a:lnTo>
                    <a:pt x="2711" y="3131"/>
                  </a:lnTo>
                  <a:lnTo>
                    <a:pt x="2715" y="3130"/>
                  </a:lnTo>
                  <a:lnTo>
                    <a:pt x="2719" y="3126"/>
                  </a:lnTo>
                  <a:lnTo>
                    <a:pt x="2724" y="3121"/>
                  </a:lnTo>
                  <a:lnTo>
                    <a:pt x="2728" y="3114"/>
                  </a:lnTo>
                  <a:lnTo>
                    <a:pt x="2737" y="3100"/>
                  </a:lnTo>
                  <a:lnTo>
                    <a:pt x="2746" y="3082"/>
                  </a:lnTo>
                  <a:lnTo>
                    <a:pt x="2754" y="3063"/>
                  </a:lnTo>
                  <a:lnTo>
                    <a:pt x="2761" y="3046"/>
                  </a:lnTo>
                  <a:lnTo>
                    <a:pt x="2766" y="3031"/>
                  </a:lnTo>
                  <a:lnTo>
                    <a:pt x="2769" y="3021"/>
                  </a:lnTo>
                  <a:lnTo>
                    <a:pt x="2769" y="3021"/>
                  </a:lnTo>
                  <a:lnTo>
                    <a:pt x="2768" y="3011"/>
                  </a:lnTo>
                  <a:lnTo>
                    <a:pt x="2766" y="3004"/>
                  </a:lnTo>
                  <a:lnTo>
                    <a:pt x="2763" y="2997"/>
                  </a:lnTo>
                  <a:lnTo>
                    <a:pt x="2760" y="2990"/>
                  </a:lnTo>
                  <a:lnTo>
                    <a:pt x="2756" y="2985"/>
                  </a:lnTo>
                  <a:lnTo>
                    <a:pt x="2753" y="2980"/>
                  </a:lnTo>
                  <a:lnTo>
                    <a:pt x="2751" y="2975"/>
                  </a:lnTo>
                  <a:lnTo>
                    <a:pt x="2749" y="2969"/>
                  </a:lnTo>
                  <a:lnTo>
                    <a:pt x="2746" y="2965"/>
                  </a:lnTo>
                  <a:lnTo>
                    <a:pt x="2741" y="2956"/>
                  </a:lnTo>
                  <a:lnTo>
                    <a:pt x="2738" y="2945"/>
                  </a:lnTo>
                  <a:lnTo>
                    <a:pt x="2735" y="2934"/>
                  </a:lnTo>
                  <a:lnTo>
                    <a:pt x="2733" y="2922"/>
                  </a:lnTo>
                  <a:lnTo>
                    <a:pt x="2733" y="2912"/>
                  </a:lnTo>
                  <a:lnTo>
                    <a:pt x="2734" y="2908"/>
                  </a:lnTo>
                  <a:lnTo>
                    <a:pt x="2736" y="2905"/>
                  </a:lnTo>
                  <a:lnTo>
                    <a:pt x="2738" y="2904"/>
                  </a:lnTo>
                  <a:lnTo>
                    <a:pt x="2741" y="2903"/>
                  </a:lnTo>
                  <a:lnTo>
                    <a:pt x="2746" y="2903"/>
                  </a:lnTo>
                  <a:lnTo>
                    <a:pt x="2751" y="2905"/>
                  </a:lnTo>
                  <a:lnTo>
                    <a:pt x="2756" y="2907"/>
                  </a:lnTo>
                  <a:lnTo>
                    <a:pt x="2761" y="2910"/>
                  </a:lnTo>
                  <a:lnTo>
                    <a:pt x="2773" y="2917"/>
                  </a:lnTo>
                  <a:lnTo>
                    <a:pt x="2784" y="2926"/>
                  </a:lnTo>
                  <a:lnTo>
                    <a:pt x="2795" y="2933"/>
                  </a:lnTo>
                  <a:lnTo>
                    <a:pt x="2804" y="2939"/>
                  </a:lnTo>
                  <a:lnTo>
                    <a:pt x="2808" y="2941"/>
                  </a:lnTo>
                  <a:lnTo>
                    <a:pt x="2812" y="2943"/>
                  </a:lnTo>
                  <a:lnTo>
                    <a:pt x="2815" y="2943"/>
                  </a:lnTo>
                  <a:lnTo>
                    <a:pt x="2817" y="2942"/>
                  </a:lnTo>
                  <a:lnTo>
                    <a:pt x="2822" y="2939"/>
                  </a:lnTo>
                  <a:lnTo>
                    <a:pt x="2826" y="2933"/>
                  </a:lnTo>
                  <a:lnTo>
                    <a:pt x="2828" y="2925"/>
                  </a:lnTo>
                  <a:lnTo>
                    <a:pt x="2829" y="2916"/>
                  </a:lnTo>
                  <a:lnTo>
                    <a:pt x="2830" y="2906"/>
                  </a:lnTo>
                  <a:lnTo>
                    <a:pt x="2830" y="2894"/>
                  </a:lnTo>
                  <a:lnTo>
                    <a:pt x="2829" y="2883"/>
                  </a:lnTo>
                  <a:lnTo>
                    <a:pt x="2828" y="2871"/>
                  </a:lnTo>
                  <a:lnTo>
                    <a:pt x="2821" y="2824"/>
                  </a:lnTo>
                  <a:lnTo>
                    <a:pt x="2815" y="2793"/>
                  </a:lnTo>
                  <a:lnTo>
                    <a:pt x="2814" y="2786"/>
                  </a:lnTo>
                  <a:lnTo>
                    <a:pt x="2813" y="2777"/>
                  </a:lnTo>
                  <a:lnTo>
                    <a:pt x="2814" y="2770"/>
                  </a:lnTo>
                  <a:lnTo>
                    <a:pt x="2815" y="2763"/>
                  </a:lnTo>
                  <a:lnTo>
                    <a:pt x="2816" y="2756"/>
                  </a:lnTo>
                  <a:lnTo>
                    <a:pt x="2818" y="2748"/>
                  </a:lnTo>
                  <a:lnTo>
                    <a:pt x="2822" y="2742"/>
                  </a:lnTo>
                  <a:lnTo>
                    <a:pt x="2825" y="2735"/>
                  </a:lnTo>
                  <a:lnTo>
                    <a:pt x="2832" y="2722"/>
                  </a:lnTo>
                  <a:lnTo>
                    <a:pt x="2841" y="2710"/>
                  </a:lnTo>
                  <a:lnTo>
                    <a:pt x="2852" y="2698"/>
                  </a:lnTo>
                  <a:lnTo>
                    <a:pt x="2862" y="2687"/>
                  </a:lnTo>
                  <a:lnTo>
                    <a:pt x="2866" y="2688"/>
                  </a:lnTo>
                  <a:lnTo>
                    <a:pt x="2871" y="2690"/>
                  </a:lnTo>
                  <a:lnTo>
                    <a:pt x="2874" y="2693"/>
                  </a:lnTo>
                  <a:lnTo>
                    <a:pt x="2877" y="2696"/>
                  </a:lnTo>
                  <a:lnTo>
                    <a:pt x="2882" y="2706"/>
                  </a:lnTo>
                  <a:lnTo>
                    <a:pt x="2887" y="2717"/>
                  </a:lnTo>
                  <a:lnTo>
                    <a:pt x="2891" y="2727"/>
                  </a:lnTo>
                  <a:lnTo>
                    <a:pt x="2898" y="2737"/>
                  </a:lnTo>
                  <a:lnTo>
                    <a:pt x="2901" y="2741"/>
                  </a:lnTo>
                  <a:lnTo>
                    <a:pt x="2905" y="2743"/>
                  </a:lnTo>
                  <a:lnTo>
                    <a:pt x="2910" y="2745"/>
                  </a:lnTo>
                  <a:lnTo>
                    <a:pt x="2915" y="2745"/>
                  </a:lnTo>
                  <a:lnTo>
                    <a:pt x="2922" y="2744"/>
                  </a:lnTo>
                  <a:lnTo>
                    <a:pt x="2927" y="2741"/>
                  </a:lnTo>
                  <a:lnTo>
                    <a:pt x="2932" y="2738"/>
                  </a:lnTo>
                  <a:lnTo>
                    <a:pt x="2936" y="2733"/>
                  </a:lnTo>
                  <a:lnTo>
                    <a:pt x="2939" y="2727"/>
                  </a:lnTo>
                  <a:lnTo>
                    <a:pt x="2943" y="2721"/>
                  </a:lnTo>
                  <a:lnTo>
                    <a:pt x="2946" y="2715"/>
                  </a:lnTo>
                  <a:lnTo>
                    <a:pt x="2948" y="2708"/>
                  </a:lnTo>
                  <a:lnTo>
                    <a:pt x="2952" y="2694"/>
                  </a:lnTo>
                  <a:lnTo>
                    <a:pt x="2955" y="2680"/>
                  </a:lnTo>
                  <a:lnTo>
                    <a:pt x="2957" y="2675"/>
                  </a:lnTo>
                  <a:lnTo>
                    <a:pt x="2959" y="2671"/>
                  </a:lnTo>
                  <a:lnTo>
                    <a:pt x="2962" y="2667"/>
                  </a:lnTo>
                  <a:lnTo>
                    <a:pt x="2964" y="2664"/>
                  </a:lnTo>
                  <a:lnTo>
                    <a:pt x="2965" y="2662"/>
                  </a:lnTo>
                  <a:lnTo>
                    <a:pt x="2968" y="2660"/>
                  </a:lnTo>
                  <a:lnTo>
                    <a:pt x="2971" y="2657"/>
                  </a:lnTo>
                  <a:lnTo>
                    <a:pt x="2975" y="2656"/>
                  </a:lnTo>
                  <a:lnTo>
                    <a:pt x="2985" y="2654"/>
                  </a:lnTo>
                  <a:lnTo>
                    <a:pt x="2998" y="2652"/>
                  </a:lnTo>
                  <a:lnTo>
                    <a:pt x="3010" y="2651"/>
                  </a:lnTo>
                  <a:lnTo>
                    <a:pt x="3023" y="2650"/>
                  </a:lnTo>
                  <a:lnTo>
                    <a:pt x="3033" y="2648"/>
                  </a:lnTo>
                  <a:lnTo>
                    <a:pt x="3040" y="2645"/>
                  </a:lnTo>
                  <a:lnTo>
                    <a:pt x="3050" y="2638"/>
                  </a:lnTo>
                  <a:lnTo>
                    <a:pt x="3058" y="2635"/>
                  </a:lnTo>
                  <a:lnTo>
                    <a:pt x="3061" y="2635"/>
                  </a:lnTo>
                  <a:lnTo>
                    <a:pt x="3065" y="2635"/>
                  </a:lnTo>
                  <a:lnTo>
                    <a:pt x="3067" y="2636"/>
                  </a:lnTo>
                  <a:lnTo>
                    <a:pt x="3069" y="2637"/>
                  </a:lnTo>
                  <a:lnTo>
                    <a:pt x="3072" y="2642"/>
                  </a:lnTo>
                  <a:lnTo>
                    <a:pt x="3075" y="2650"/>
                  </a:lnTo>
                  <a:lnTo>
                    <a:pt x="3077" y="2660"/>
                  </a:lnTo>
                  <a:lnTo>
                    <a:pt x="3080" y="2671"/>
                  </a:lnTo>
                  <a:lnTo>
                    <a:pt x="3081" y="2679"/>
                  </a:lnTo>
                  <a:lnTo>
                    <a:pt x="3081" y="2688"/>
                  </a:lnTo>
                  <a:lnTo>
                    <a:pt x="3081" y="2697"/>
                  </a:lnTo>
                  <a:lnTo>
                    <a:pt x="3079" y="2706"/>
                  </a:lnTo>
                  <a:lnTo>
                    <a:pt x="3076" y="2725"/>
                  </a:lnTo>
                  <a:lnTo>
                    <a:pt x="3071" y="2745"/>
                  </a:lnTo>
                  <a:lnTo>
                    <a:pt x="3070" y="2754"/>
                  </a:lnTo>
                  <a:lnTo>
                    <a:pt x="3068" y="2763"/>
                  </a:lnTo>
                  <a:lnTo>
                    <a:pt x="3068" y="2772"/>
                  </a:lnTo>
                  <a:lnTo>
                    <a:pt x="3068" y="2781"/>
                  </a:lnTo>
                  <a:lnTo>
                    <a:pt x="3069" y="2788"/>
                  </a:lnTo>
                  <a:lnTo>
                    <a:pt x="3072" y="2795"/>
                  </a:lnTo>
                  <a:lnTo>
                    <a:pt x="3076" y="2801"/>
                  </a:lnTo>
                  <a:lnTo>
                    <a:pt x="3081" y="2807"/>
                  </a:lnTo>
                  <a:lnTo>
                    <a:pt x="3086" y="2809"/>
                  </a:lnTo>
                  <a:lnTo>
                    <a:pt x="3092" y="2810"/>
                  </a:lnTo>
                  <a:lnTo>
                    <a:pt x="3097" y="2810"/>
                  </a:lnTo>
                  <a:lnTo>
                    <a:pt x="3102" y="2809"/>
                  </a:lnTo>
                  <a:lnTo>
                    <a:pt x="3106" y="2806"/>
                  </a:lnTo>
                  <a:lnTo>
                    <a:pt x="3111" y="2802"/>
                  </a:lnTo>
                  <a:lnTo>
                    <a:pt x="3116" y="2798"/>
                  </a:lnTo>
                  <a:lnTo>
                    <a:pt x="3120" y="2793"/>
                  </a:lnTo>
                  <a:lnTo>
                    <a:pt x="3128" y="2783"/>
                  </a:lnTo>
                  <a:lnTo>
                    <a:pt x="3134" y="2771"/>
                  </a:lnTo>
                  <a:lnTo>
                    <a:pt x="3139" y="2761"/>
                  </a:lnTo>
                  <a:lnTo>
                    <a:pt x="3142" y="2751"/>
                  </a:lnTo>
                  <a:lnTo>
                    <a:pt x="3143" y="2744"/>
                  </a:lnTo>
                  <a:lnTo>
                    <a:pt x="3144" y="2736"/>
                  </a:lnTo>
                  <a:lnTo>
                    <a:pt x="3143" y="2726"/>
                  </a:lnTo>
                  <a:lnTo>
                    <a:pt x="3143" y="2717"/>
                  </a:lnTo>
                  <a:lnTo>
                    <a:pt x="3140" y="2696"/>
                  </a:lnTo>
                  <a:lnTo>
                    <a:pt x="3136" y="2675"/>
                  </a:lnTo>
                  <a:lnTo>
                    <a:pt x="3134" y="2655"/>
                  </a:lnTo>
                  <a:lnTo>
                    <a:pt x="3132" y="2637"/>
                  </a:lnTo>
                  <a:lnTo>
                    <a:pt x="3132" y="2628"/>
                  </a:lnTo>
                  <a:lnTo>
                    <a:pt x="3133" y="2621"/>
                  </a:lnTo>
                  <a:lnTo>
                    <a:pt x="3135" y="2615"/>
                  </a:lnTo>
                  <a:lnTo>
                    <a:pt x="3139" y="2611"/>
                  </a:lnTo>
                  <a:lnTo>
                    <a:pt x="3139" y="2611"/>
                  </a:lnTo>
                  <a:lnTo>
                    <a:pt x="3098" y="2487"/>
                  </a:lnTo>
                  <a:lnTo>
                    <a:pt x="3098" y="2475"/>
                  </a:lnTo>
                  <a:lnTo>
                    <a:pt x="3099" y="2464"/>
                  </a:lnTo>
                  <a:lnTo>
                    <a:pt x="3102" y="2455"/>
                  </a:lnTo>
                  <a:lnTo>
                    <a:pt x="3105" y="2447"/>
                  </a:lnTo>
                  <a:lnTo>
                    <a:pt x="3114" y="2429"/>
                  </a:lnTo>
                  <a:lnTo>
                    <a:pt x="3120" y="2409"/>
                  </a:lnTo>
                  <a:lnTo>
                    <a:pt x="3122" y="2401"/>
                  </a:lnTo>
                  <a:lnTo>
                    <a:pt x="3122" y="2394"/>
                  </a:lnTo>
                  <a:lnTo>
                    <a:pt x="3121" y="2386"/>
                  </a:lnTo>
                  <a:lnTo>
                    <a:pt x="3119" y="2379"/>
                  </a:lnTo>
                  <a:lnTo>
                    <a:pt x="3115" y="2364"/>
                  </a:lnTo>
                  <a:lnTo>
                    <a:pt x="3110" y="2350"/>
                  </a:lnTo>
                  <a:lnTo>
                    <a:pt x="3110" y="2340"/>
                  </a:lnTo>
                  <a:lnTo>
                    <a:pt x="3111" y="2332"/>
                  </a:lnTo>
                  <a:lnTo>
                    <a:pt x="3115" y="2325"/>
                  </a:lnTo>
                  <a:lnTo>
                    <a:pt x="3119" y="2318"/>
                  </a:lnTo>
                  <a:lnTo>
                    <a:pt x="3128" y="2308"/>
                  </a:lnTo>
                  <a:lnTo>
                    <a:pt x="3139" y="2299"/>
                  </a:lnTo>
                  <a:lnTo>
                    <a:pt x="3142" y="2293"/>
                  </a:lnTo>
                  <a:lnTo>
                    <a:pt x="3145" y="2288"/>
                  </a:lnTo>
                  <a:lnTo>
                    <a:pt x="3145" y="2283"/>
                  </a:lnTo>
                  <a:lnTo>
                    <a:pt x="3144" y="2276"/>
                  </a:lnTo>
                  <a:lnTo>
                    <a:pt x="3141" y="2268"/>
                  </a:lnTo>
                  <a:lnTo>
                    <a:pt x="3133" y="2259"/>
                  </a:lnTo>
                  <a:lnTo>
                    <a:pt x="3124" y="2248"/>
                  </a:lnTo>
                  <a:lnTo>
                    <a:pt x="3110" y="2236"/>
                  </a:lnTo>
                  <a:lnTo>
                    <a:pt x="3105" y="2231"/>
                  </a:lnTo>
                  <a:lnTo>
                    <a:pt x="3101" y="2227"/>
                  </a:lnTo>
                  <a:lnTo>
                    <a:pt x="3098" y="2221"/>
                  </a:lnTo>
                  <a:lnTo>
                    <a:pt x="3095" y="2217"/>
                  </a:lnTo>
                  <a:lnTo>
                    <a:pt x="3094" y="2212"/>
                  </a:lnTo>
                  <a:lnTo>
                    <a:pt x="3093" y="2208"/>
                  </a:lnTo>
                  <a:lnTo>
                    <a:pt x="3093" y="2204"/>
                  </a:lnTo>
                  <a:lnTo>
                    <a:pt x="3094" y="2198"/>
                  </a:lnTo>
                  <a:lnTo>
                    <a:pt x="3095" y="2194"/>
                  </a:lnTo>
                  <a:lnTo>
                    <a:pt x="3097" y="2190"/>
                  </a:lnTo>
                  <a:lnTo>
                    <a:pt x="3100" y="2187"/>
                  </a:lnTo>
                  <a:lnTo>
                    <a:pt x="3103" y="2183"/>
                  </a:lnTo>
                  <a:lnTo>
                    <a:pt x="3111" y="2175"/>
                  </a:lnTo>
                  <a:lnTo>
                    <a:pt x="3122" y="2169"/>
                  </a:lnTo>
                  <a:lnTo>
                    <a:pt x="3130" y="2165"/>
                  </a:lnTo>
                  <a:lnTo>
                    <a:pt x="3136" y="2160"/>
                  </a:lnTo>
                  <a:lnTo>
                    <a:pt x="3142" y="2155"/>
                  </a:lnTo>
                  <a:lnTo>
                    <a:pt x="3145" y="2148"/>
                  </a:lnTo>
                  <a:lnTo>
                    <a:pt x="3147" y="2142"/>
                  </a:lnTo>
                  <a:lnTo>
                    <a:pt x="3148" y="2136"/>
                  </a:lnTo>
                  <a:lnTo>
                    <a:pt x="3148" y="2130"/>
                  </a:lnTo>
                  <a:lnTo>
                    <a:pt x="3147" y="2123"/>
                  </a:lnTo>
                  <a:lnTo>
                    <a:pt x="3145" y="2117"/>
                  </a:lnTo>
                  <a:lnTo>
                    <a:pt x="3143" y="2111"/>
                  </a:lnTo>
                  <a:lnTo>
                    <a:pt x="3139" y="2106"/>
                  </a:lnTo>
                  <a:lnTo>
                    <a:pt x="3134" y="2099"/>
                  </a:lnTo>
                  <a:lnTo>
                    <a:pt x="3130" y="2093"/>
                  </a:lnTo>
                  <a:lnTo>
                    <a:pt x="3125" y="2088"/>
                  </a:lnTo>
                  <a:lnTo>
                    <a:pt x="3119" y="2084"/>
                  </a:lnTo>
                  <a:lnTo>
                    <a:pt x="3113" y="2078"/>
                  </a:lnTo>
                  <a:lnTo>
                    <a:pt x="3114" y="2064"/>
                  </a:lnTo>
                  <a:lnTo>
                    <a:pt x="3114" y="2040"/>
                  </a:lnTo>
                  <a:lnTo>
                    <a:pt x="3114" y="2027"/>
                  </a:lnTo>
                  <a:lnTo>
                    <a:pt x="3113" y="2017"/>
                  </a:lnTo>
                  <a:lnTo>
                    <a:pt x="3113" y="2013"/>
                  </a:lnTo>
                  <a:lnTo>
                    <a:pt x="3111" y="2011"/>
                  </a:lnTo>
                  <a:lnTo>
                    <a:pt x="3109" y="2009"/>
                  </a:lnTo>
                  <a:lnTo>
                    <a:pt x="3108" y="2008"/>
                  </a:lnTo>
                  <a:lnTo>
                    <a:pt x="3102" y="2011"/>
                  </a:lnTo>
                  <a:lnTo>
                    <a:pt x="3090" y="2014"/>
                  </a:lnTo>
                  <a:lnTo>
                    <a:pt x="3072" y="2018"/>
                  </a:lnTo>
                  <a:lnTo>
                    <a:pt x="3051" y="2023"/>
                  </a:lnTo>
                  <a:lnTo>
                    <a:pt x="3011" y="2032"/>
                  </a:lnTo>
                  <a:lnTo>
                    <a:pt x="2988" y="2035"/>
                  </a:lnTo>
                  <a:lnTo>
                    <a:pt x="2981" y="2035"/>
                  </a:lnTo>
                  <a:lnTo>
                    <a:pt x="2975" y="2033"/>
                  </a:lnTo>
                  <a:lnTo>
                    <a:pt x="2969" y="2030"/>
                  </a:lnTo>
                  <a:lnTo>
                    <a:pt x="2963" y="2028"/>
                  </a:lnTo>
                  <a:lnTo>
                    <a:pt x="2953" y="2021"/>
                  </a:lnTo>
                  <a:lnTo>
                    <a:pt x="2944" y="2012"/>
                  </a:lnTo>
                  <a:lnTo>
                    <a:pt x="2927" y="1991"/>
                  </a:lnTo>
                  <a:lnTo>
                    <a:pt x="2911" y="1972"/>
                  </a:lnTo>
                  <a:lnTo>
                    <a:pt x="2902" y="1973"/>
                  </a:lnTo>
                  <a:lnTo>
                    <a:pt x="2894" y="1974"/>
                  </a:lnTo>
                  <a:lnTo>
                    <a:pt x="2885" y="1977"/>
                  </a:lnTo>
                  <a:lnTo>
                    <a:pt x="2877" y="1979"/>
                  </a:lnTo>
                  <a:lnTo>
                    <a:pt x="2860" y="1988"/>
                  </a:lnTo>
                  <a:lnTo>
                    <a:pt x="2844" y="1996"/>
                  </a:lnTo>
                  <a:lnTo>
                    <a:pt x="2827" y="2005"/>
                  </a:lnTo>
                  <a:lnTo>
                    <a:pt x="2810" y="2013"/>
                  </a:lnTo>
                  <a:lnTo>
                    <a:pt x="2803" y="2016"/>
                  </a:lnTo>
                  <a:lnTo>
                    <a:pt x="2795" y="2018"/>
                  </a:lnTo>
                  <a:lnTo>
                    <a:pt x="2787" y="2020"/>
                  </a:lnTo>
                  <a:lnTo>
                    <a:pt x="2779" y="2020"/>
                  </a:lnTo>
                  <a:lnTo>
                    <a:pt x="2776" y="2014"/>
                  </a:lnTo>
                  <a:lnTo>
                    <a:pt x="2774" y="2003"/>
                  </a:lnTo>
                  <a:lnTo>
                    <a:pt x="2772" y="1992"/>
                  </a:lnTo>
                  <a:lnTo>
                    <a:pt x="2771" y="1977"/>
                  </a:lnTo>
                  <a:lnTo>
                    <a:pt x="2769" y="1950"/>
                  </a:lnTo>
                  <a:lnTo>
                    <a:pt x="2769" y="1930"/>
                  </a:lnTo>
                  <a:lnTo>
                    <a:pt x="2771" y="1918"/>
                  </a:lnTo>
                  <a:lnTo>
                    <a:pt x="2772" y="1904"/>
                  </a:lnTo>
                  <a:lnTo>
                    <a:pt x="2774" y="1893"/>
                  </a:lnTo>
                  <a:lnTo>
                    <a:pt x="2776" y="1880"/>
                  </a:lnTo>
                  <a:lnTo>
                    <a:pt x="2778" y="1869"/>
                  </a:lnTo>
                  <a:lnTo>
                    <a:pt x="2780" y="1858"/>
                  </a:lnTo>
                  <a:lnTo>
                    <a:pt x="2781" y="1849"/>
                  </a:lnTo>
                  <a:lnTo>
                    <a:pt x="2781" y="1840"/>
                  </a:lnTo>
                  <a:lnTo>
                    <a:pt x="2780" y="1831"/>
                  </a:lnTo>
                  <a:lnTo>
                    <a:pt x="2777" y="1823"/>
                  </a:lnTo>
                  <a:lnTo>
                    <a:pt x="2775" y="1820"/>
                  </a:lnTo>
                  <a:lnTo>
                    <a:pt x="2773" y="1817"/>
                  </a:lnTo>
                  <a:lnTo>
                    <a:pt x="2769" y="1813"/>
                  </a:lnTo>
                  <a:lnTo>
                    <a:pt x="2765" y="1810"/>
                  </a:lnTo>
                  <a:lnTo>
                    <a:pt x="2756" y="1806"/>
                  </a:lnTo>
                  <a:lnTo>
                    <a:pt x="2744" y="1802"/>
                  </a:lnTo>
                  <a:lnTo>
                    <a:pt x="2729" y="1800"/>
                  </a:lnTo>
                  <a:lnTo>
                    <a:pt x="2710" y="1799"/>
                  </a:lnTo>
                  <a:lnTo>
                    <a:pt x="2691" y="1797"/>
                  </a:lnTo>
                  <a:lnTo>
                    <a:pt x="2677" y="1795"/>
                  </a:lnTo>
                  <a:lnTo>
                    <a:pt x="2665" y="1792"/>
                  </a:lnTo>
                  <a:lnTo>
                    <a:pt x="2656" y="1787"/>
                  </a:lnTo>
                  <a:lnTo>
                    <a:pt x="2653" y="1785"/>
                  </a:lnTo>
                  <a:lnTo>
                    <a:pt x="2651" y="1782"/>
                  </a:lnTo>
                  <a:lnTo>
                    <a:pt x="2647" y="1779"/>
                  </a:lnTo>
                  <a:lnTo>
                    <a:pt x="2646" y="1776"/>
                  </a:lnTo>
                  <a:lnTo>
                    <a:pt x="2644" y="1770"/>
                  </a:lnTo>
                  <a:lnTo>
                    <a:pt x="2644" y="1761"/>
                  </a:lnTo>
                  <a:lnTo>
                    <a:pt x="2646" y="1743"/>
                  </a:lnTo>
                  <a:lnTo>
                    <a:pt x="2652" y="1721"/>
                  </a:lnTo>
                  <a:lnTo>
                    <a:pt x="2654" y="1708"/>
                  </a:lnTo>
                  <a:lnTo>
                    <a:pt x="2656" y="1695"/>
                  </a:lnTo>
                  <a:lnTo>
                    <a:pt x="2657" y="1681"/>
                  </a:lnTo>
                  <a:lnTo>
                    <a:pt x="2657" y="1666"/>
                  </a:lnTo>
                  <a:lnTo>
                    <a:pt x="2657" y="1663"/>
                  </a:lnTo>
                  <a:lnTo>
                    <a:pt x="2656" y="1661"/>
                  </a:lnTo>
                  <a:lnTo>
                    <a:pt x="2654" y="1659"/>
                  </a:lnTo>
                  <a:lnTo>
                    <a:pt x="2652" y="1656"/>
                  </a:lnTo>
                  <a:lnTo>
                    <a:pt x="2646" y="1652"/>
                  </a:lnTo>
                  <a:lnTo>
                    <a:pt x="2638" y="1648"/>
                  </a:lnTo>
                  <a:lnTo>
                    <a:pt x="2630" y="1644"/>
                  </a:lnTo>
                  <a:lnTo>
                    <a:pt x="2619" y="1641"/>
                  </a:lnTo>
                  <a:lnTo>
                    <a:pt x="2608" y="1638"/>
                  </a:lnTo>
                  <a:lnTo>
                    <a:pt x="2596" y="1635"/>
                  </a:lnTo>
                  <a:lnTo>
                    <a:pt x="2551" y="1628"/>
                  </a:lnTo>
                  <a:lnTo>
                    <a:pt x="2519" y="1625"/>
                  </a:lnTo>
                  <a:lnTo>
                    <a:pt x="2503" y="1624"/>
                  </a:lnTo>
                  <a:lnTo>
                    <a:pt x="2475" y="1622"/>
                  </a:lnTo>
                  <a:lnTo>
                    <a:pt x="2461" y="1620"/>
                  </a:lnTo>
                  <a:lnTo>
                    <a:pt x="2449" y="1619"/>
                  </a:lnTo>
                  <a:lnTo>
                    <a:pt x="2441" y="1617"/>
                  </a:lnTo>
                  <a:lnTo>
                    <a:pt x="2437" y="1614"/>
                  </a:lnTo>
                  <a:lnTo>
                    <a:pt x="2435" y="1613"/>
                  </a:lnTo>
                  <a:lnTo>
                    <a:pt x="2434" y="1610"/>
                  </a:lnTo>
                  <a:lnTo>
                    <a:pt x="2433" y="1606"/>
                  </a:lnTo>
                  <a:lnTo>
                    <a:pt x="2434" y="1601"/>
                  </a:lnTo>
                  <a:lnTo>
                    <a:pt x="2436" y="1587"/>
                  </a:lnTo>
                  <a:lnTo>
                    <a:pt x="2440" y="1571"/>
                  </a:lnTo>
                  <a:lnTo>
                    <a:pt x="2443" y="1555"/>
                  </a:lnTo>
                  <a:lnTo>
                    <a:pt x="2446" y="1539"/>
                  </a:lnTo>
                  <a:lnTo>
                    <a:pt x="2447" y="1533"/>
                  </a:lnTo>
                  <a:lnTo>
                    <a:pt x="2448" y="1527"/>
                  </a:lnTo>
                  <a:lnTo>
                    <a:pt x="2447" y="1521"/>
                  </a:lnTo>
                  <a:lnTo>
                    <a:pt x="2446" y="1517"/>
                  </a:lnTo>
                  <a:lnTo>
                    <a:pt x="2433" y="1514"/>
                  </a:lnTo>
                  <a:lnTo>
                    <a:pt x="2418" y="1513"/>
                  </a:lnTo>
                  <a:lnTo>
                    <a:pt x="2402" y="1512"/>
                  </a:lnTo>
                  <a:lnTo>
                    <a:pt x="2387" y="1512"/>
                  </a:lnTo>
                  <a:lnTo>
                    <a:pt x="2371" y="1511"/>
                  </a:lnTo>
                  <a:lnTo>
                    <a:pt x="2357" y="1510"/>
                  </a:lnTo>
                  <a:lnTo>
                    <a:pt x="2342" y="1507"/>
                  </a:lnTo>
                  <a:lnTo>
                    <a:pt x="2328" y="1503"/>
                  </a:lnTo>
                  <a:lnTo>
                    <a:pt x="2319" y="1498"/>
                  </a:lnTo>
                  <a:lnTo>
                    <a:pt x="2310" y="1496"/>
                  </a:lnTo>
                  <a:lnTo>
                    <a:pt x="2301" y="1495"/>
                  </a:lnTo>
                  <a:lnTo>
                    <a:pt x="2293" y="1495"/>
                  </a:lnTo>
                  <a:lnTo>
                    <a:pt x="2286" y="1495"/>
                  </a:lnTo>
                  <a:lnTo>
                    <a:pt x="2278" y="1496"/>
                  </a:lnTo>
                  <a:lnTo>
                    <a:pt x="2272" y="1498"/>
                  </a:lnTo>
                  <a:lnTo>
                    <a:pt x="2266" y="1500"/>
                  </a:lnTo>
                  <a:lnTo>
                    <a:pt x="2253" y="1506"/>
                  </a:lnTo>
                  <a:lnTo>
                    <a:pt x="2240" y="1511"/>
                  </a:lnTo>
                  <a:lnTo>
                    <a:pt x="2234" y="1513"/>
                  </a:lnTo>
                  <a:lnTo>
                    <a:pt x="2226" y="1515"/>
                  </a:lnTo>
                  <a:lnTo>
                    <a:pt x="2219" y="1516"/>
                  </a:lnTo>
                  <a:lnTo>
                    <a:pt x="2211" y="1516"/>
                  </a:lnTo>
                  <a:lnTo>
                    <a:pt x="2206" y="1515"/>
                  </a:lnTo>
                  <a:lnTo>
                    <a:pt x="2203" y="1514"/>
                  </a:lnTo>
                  <a:lnTo>
                    <a:pt x="2200" y="1511"/>
                  </a:lnTo>
                  <a:lnTo>
                    <a:pt x="2198" y="1508"/>
                  </a:lnTo>
                  <a:lnTo>
                    <a:pt x="2196" y="1498"/>
                  </a:lnTo>
                  <a:lnTo>
                    <a:pt x="2196" y="1487"/>
                  </a:lnTo>
                  <a:lnTo>
                    <a:pt x="2198" y="1464"/>
                  </a:lnTo>
                  <a:lnTo>
                    <a:pt x="2200" y="1448"/>
                  </a:lnTo>
                  <a:lnTo>
                    <a:pt x="2201" y="1429"/>
                  </a:lnTo>
                  <a:lnTo>
                    <a:pt x="2203" y="1413"/>
                  </a:lnTo>
                  <a:lnTo>
                    <a:pt x="2206" y="1400"/>
                  </a:lnTo>
                  <a:lnTo>
                    <a:pt x="2211" y="1390"/>
                  </a:lnTo>
                  <a:lnTo>
                    <a:pt x="2224" y="1369"/>
                  </a:lnTo>
                  <a:lnTo>
                    <a:pt x="2242" y="1342"/>
                  </a:lnTo>
                  <a:lnTo>
                    <a:pt x="2252" y="1337"/>
                  </a:lnTo>
                  <a:lnTo>
                    <a:pt x="2266" y="1327"/>
                  </a:lnTo>
                  <a:lnTo>
                    <a:pt x="2282" y="1317"/>
                  </a:lnTo>
                  <a:lnTo>
                    <a:pt x="2296" y="1305"/>
                  </a:lnTo>
                  <a:lnTo>
                    <a:pt x="2302" y="1299"/>
                  </a:lnTo>
                  <a:lnTo>
                    <a:pt x="2308" y="1293"/>
                  </a:lnTo>
                  <a:lnTo>
                    <a:pt x="2312" y="1286"/>
                  </a:lnTo>
                  <a:lnTo>
                    <a:pt x="2314" y="1279"/>
                  </a:lnTo>
                  <a:lnTo>
                    <a:pt x="2315" y="1273"/>
                  </a:lnTo>
                  <a:lnTo>
                    <a:pt x="2314" y="1267"/>
                  </a:lnTo>
                  <a:lnTo>
                    <a:pt x="2313" y="1264"/>
                  </a:lnTo>
                  <a:lnTo>
                    <a:pt x="2311" y="1261"/>
                  </a:lnTo>
                  <a:lnTo>
                    <a:pt x="2308" y="1257"/>
                  </a:lnTo>
                  <a:lnTo>
                    <a:pt x="2304" y="1254"/>
                  </a:lnTo>
                  <a:lnTo>
                    <a:pt x="2273" y="1254"/>
                  </a:lnTo>
                  <a:lnTo>
                    <a:pt x="2234" y="1251"/>
                  </a:lnTo>
                  <a:lnTo>
                    <a:pt x="2223" y="1250"/>
                  </a:lnTo>
                  <a:lnTo>
                    <a:pt x="2214" y="1248"/>
                  </a:lnTo>
                  <a:lnTo>
                    <a:pt x="2204" y="1246"/>
                  </a:lnTo>
                  <a:lnTo>
                    <a:pt x="2196" y="1244"/>
                  </a:lnTo>
                  <a:lnTo>
                    <a:pt x="2188" y="1241"/>
                  </a:lnTo>
                  <a:lnTo>
                    <a:pt x="2181" y="1237"/>
                  </a:lnTo>
                  <a:lnTo>
                    <a:pt x="2177" y="1232"/>
                  </a:lnTo>
                  <a:lnTo>
                    <a:pt x="2173" y="1227"/>
                  </a:lnTo>
                  <a:lnTo>
                    <a:pt x="2169" y="1218"/>
                  </a:lnTo>
                  <a:lnTo>
                    <a:pt x="2163" y="1210"/>
                  </a:lnTo>
                  <a:lnTo>
                    <a:pt x="2156" y="1205"/>
                  </a:lnTo>
                  <a:lnTo>
                    <a:pt x="2150" y="1200"/>
                  </a:lnTo>
                  <a:lnTo>
                    <a:pt x="2136" y="1192"/>
                  </a:lnTo>
                  <a:lnTo>
                    <a:pt x="2121" y="1184"/>
                  </a:lnTo>
                  <a:lnTo>
                    <a:pt x="2114" y="1180"/>
                  </a:lnTo>
                  <a:lnTo>
                    <a:pt x="2107" y="1176"/>
                  </a:lnTo>
                  <a:lnTo>
                    <a:pt x="2101" y="1172"/>
                  </a:lnTo>
                  <a:lnTo>
                    <a:pt x="2095" y="1167"/>
                  </a:lnTo>
                  <a:lnTo>
                    <a:pt x="2091" y="1160"/>
                  </a:lnTo>
                  <a:lnTo>
                    <a:pt x="2087" y="1153"/>
                  </a:lnTo>
                  <a:lnTo>
                    <a:pt x="2083" y="1145"/>
                  </a:lnTo>
                  <a:lnTo>
                    <a:pt x="2082" y="1134"/>
                  </a:lnTo>
                  <a:lnTo>
                    <a:pt x="2077" y="1112"/>
                  </a:lnTo>
                  <a:lnTo>
                    <a:pt x="2070" y="1088"/>
                  </a:lnTo>
                  <a:lnTo>
                    <a:pt x="2069" y="1082"/>
                  </a:lnTo>
                  <a:lnTo>
                    <a:pt x="2068" y="1076"/>
                  </a:lnTo>
                  <a:lnTo>
                    <a:pt x="2068" y="1071"/>
                  </a:lnTo>
                  <a:lnTo>
                    <a:pt x="2069" y="1065"/>
                  </a:lnTo>
                  <a:lnTo>
                    <a:pt x="2070" y="1059"/>
                  </a:lnTo>
                  <a:lnTo>
                    <a:pt x="2073" y="1055"/>
                  </a:lnTo>
                  <a:lnTo>
                    <a:pt x="2076" y="1050"/>
                  </a:lnTo>
                  <a:lnTo>
                    <a:pt x="2081" y="1046"/>
                  </a:lnTo>
                  <a:lnTo>
                    <a:pt x="2089" y="1040"/>
                  </a:lnTo>
                  <a:lnTo>
                    <a:pt x="2098" y="1035"/>
                  </a:lnTo>
                  <a:lnTo>
                    <a:pt x="2107" y="1031"/>
                  </a:lnTo>
                  <a:lnTo>
                    <a:pt x="2118" y="1028"/>
                  </a:lnTo>
                  <a:lnTo>
                    <a:pt x="2128" y="1025"/>
                  </a:lnTo>
                  <a:lnTo>
                    <a:pt x="2139" y="1023"/>
                  </a:lnTo>
                  <a:lnTo>
                    <a:pt x="2150" y="1021"/>
                  </a:lnTo>
                  <a:lnTo>
                    <a:pt x="2163" y="1020"/>
                  </a:lnTo>
                  <a:lnTo>
                    <a:pt x="2186" y="1017"/>
                  </a:lnTo>
                  <a:lnTo>
                    <a:pt x="2209" y="1019"/>
                  </a:lnTo>
                  <a:lnTo>
                    <a:pt x="2230" y="1020"/>
                  </a:lnTo>
                  <a:lnTo>
                    <a:pt x="2249" y="1023"/>
                  </a:lnTo>
                  <a:lnTo>
                    <a:pt x="2275" y="1029"/>
                  </a:lnTo>
                  <a:lnTo>
                    <a:pt x="2303" y="1037"/>
                  </a:lnTo>
                  <a:lnTo>
                    <a:pt x="2317" y="1041"/>
                  </a:lnTo>
                  <a:lnTo>
                    <a:pt x="2332" y="1046"/>
                  </a:lnTo>
                  <a:lnTo>
                    <a:pt x="2345" y="1049"/>
                  </a:lnTo>
                  <a:lnTo>
                    <a:pt x="2360" y="1051"/>
                  </a:lnTo>
                  <a:lnTo>
                    <a:pt x="2372" y="1053"/>
                  </a:lnTo>
                  <a:lnTo>
                    <a:pt x="2386" y="1052"/>
                  </a:lnTo>
                  <a:lnTo>
                    <a:pt x="2397" y="1051"/>
                  </a:lnTo>
                  <a:lnTo>
                    <a:pt x="2409" y="1047"/>
                  </a:lnTo>
                  <a:lnTo>
                    <a:pt x="2414" y="1044"/>
                  </a:lnTo>
                  <a:lnTo>
                    <a:pt x="2419" y="1040"/>
                  </a:lnTo>
                  <a:lnTo>
                    <a:pt x="2424" y="1037"/>
                  </a:lnTo>
                  <a:lnTo>
                    <a:pt x="2429" y="1032"/>
                  </a:lnTo>
                  <a:lnTo>
                    <a:pt x="2433" y="1027"/>
                  </a:lnTo>
                  <a:lnTo>
                    <a:pt x="2437" y="1021"/>
                  </a:lnTo>
                  <a:lnTo>
                    <a:pt x="2440" y="1014"/>
                  </a:lnTo>
                  <a:lnTo>
                    <a:pt x="2443" y="1007"/>
                  </a:lnTo>
                  <a:lnTo>
                    <a:pt x="2449" y="989"/>
                  </a:lnTo>
                  <a:lnTo>
                    <a:pt x="2454" y="974"/>
                  </a:lnTo>
                  <a:lnTo>
                    <a:pt x="2456" y="958"/>
                  </a:lnTo>
                  <a:lnTo>
                    <a:pt x="2458" y="944"/>
                  </a:lnTo>
                  <a:lnTo>
                    <a:pt x="2459" y="918"/>
                  </a:lnTo>
                  <a:lnTo>
                    <a:pt x="2461" y="896"/>
                  </a:lnTo>
                  <a:lnTo>
                    <a:pt x="2463" y="885"/>
                  </a:lnTo>
                  <a:lnTo>
                    <a:pt x="2466" y="876"/>
                  </a:lnTo>
                  <a:lnTo>
                    <a:pt x="2471" y="865"/>
                  </a:lnTo>
                  <a:lnTo>
                    <a:pt x="2479" y="856"/>
                  </a:lnTo>
                  <a:lnTo>
                    <a:pt x="2489" y="845"/>
                  </a:lnTo>
                  <a:lnTo>
                    <a:pt x="2502" y="836"/>
                  </a:lnTo>
                  <a:lnTo>
                    <a:pt x="2517" y="827"/>
                  </a:lnTo>
                  <a:lnTo>
                    <a:pt x="2537" y="816"/>
                  </a:lnTo>
                  <a:lnTo>
                    <a:pt x="2547" y="812"/>
                  </a:lnTo>
                  <a:lnTo>
                    <a:pt x="2557" y="810"/>
                  </a:lnTo>
                  <a:lnTo>
                    <a:pt x="2566" y="809"/>
                  </a:lnTo>
                  <a:lnTo>
                    <a:pt x="2576" y="809"/>
                  </a:lnTo>
                  <a:lnTo>
                    <a:pt x="2585" y="810"/>
                  </a:lnTo>
                  <a:lnTo>
                    <a:pt x="2593" y="813"/>
                  </a:lnTo>
                  <a:lnTo>
                    <a:pt x="2602" y="816"/>
                  </a:lnTo>
                  <a:lnTo>
                    <a:pt x="2611" y="819"/>
                  </a:lnTo>
                  <a:lnTo>
                    <a:pt x="2628" y="828"/>
                  </a:lnTo>
                  <a:lnTo>
                    <a:pt x="2644" y="835"/>
                  </a:lnTo>
                  <a:lnTo>
                    <a:pt x="2653" y="838"/>
                  </a:lnTo>
                  <a:lnTo>
                    <a:pt x="2662" y="841"/>
                  </a:lnTo>
                  <a:lnTo>
                    <a:pt x="2670" y="842"/>
                  </a:lnTo>
                  <a:lnTo>
                    <a:pt x="2680" y="843"/>
                  </a:lnTo>
                  <a:lnTo>
                    <a:pt x="2687" y="842"/>
                  </a:lnTo>
                  <a:lnTo>
                    <a:pt x="2694" y="840"/>
                  </a:lnTo>
                  <a:lnTo>
                    <a:pt x="2701" y="837"/>
                  </a:lnTo>
                  <a:lnTo>
                    <a:pt x="2707" y="832"/>
                  </a:lnTo>
                  <a:lnTo>
                    <a:pt x="2713" y="827"/>
                  </a:lnTo>
                  <a:lnTo>
                    <a:pt x="2718" y="819"/>
                  </a:lnTo>
                  <a:lnTo>
                    <a:pt x="2724" y="813"/>
                  </a:lnTo>
                  <a:lnTo>
                    <a:pt x="2728" y="805"/>
                  </a:lnTo>
                  <a:lnTo>
                    <a:pt x="2731" y="796"/>
                  </a:lnTo>
                  <a:lnTo>
                    <a:pt x="2734" y="788"/>
                  </a:lnTo>
                  <a:lnTo>
                    <a:pt x="2737" y="780"/>
                  </a:lnTo>
                  <a:lnTo>
                    <a:pt x="2739" y="771"/>
                  </a:lnTo>
                  <a:lnTo>
                    <a:pt x="2740" y="763"/>
                  </a:lnTo>
                  <a:lnTo>
                    <a:pt x="2741" y="756"/>
                  </a:lnTo>
                  <a:lnTo>
                    <a:pt x="2741" y="748"/>
                  </a:lnTo>
                  <a:lnTo>
                    <a:pt x="2741" y="742"/>
                  </a:lnTo>
                  <a:lnTo>
                    <a:pt x="2737" y="701"/>
                  </a:lnTo>
                  <a:lnTo>
                    <a:pt x="2733" y="662"/>
                  </a:lnTo>
                  <a:lnTo>
                    <a:pt x="2733" y="652"/>
                  </a:lnTo>
                  <a:lnTo>
                    <a:pt x="2734" y="643"/>
                  </a:lnTo>
                  <a:lnTo>
                    <a:pt x="2736" y="635"/>
                  </a:lnTo>
                  <a:lnTo>
                    <a:pt x="2739" y="626"/>
                  </a:lnTo>
                  <a:lnTo>
                    <a:pt x="2744" y="619"/>
                  </a:lnTo>
                  <a:lnTo>
                    <a:pt x="2751" y="612"/>
                  </a:lnTo>
                  <a:lnTo>
                    <a:pt x="2758" y="606"/>
                  </a:lnTo>
                  <a:lnTo>
                    <a:pt x="2768" y="601"/>
                  </a:lnTo>
                  <a:lnTo>
                    <a:pt x="2779" y="598"/>
                  </a:lnTo>
                  <a:lnTo>
                    <a:pt x="2790" y="596"/>
                  </a:lnTo>
                  <a:lnTo>
                    <a:pt x="2803" y="595"/>
                  </a:lnTo>
                  <a:lnTo>
                    <a:pt x="2815" y="595"/>
                  </a:lnTo>
                  <a:lnTo>
                    <a:pt x="2842" y="597"/>
                  </a:lnTo>
                  <a:lnTo>
                    <a:pt x="2870" y="600"/>
                  </a:lnTo>
                  <a:lnTo>
                    <a:pt x="2883" y="602"/>
                  </a:lnTo>
                  <a:lnTo>
                    <a:pt x="2897" y="602"/>
                  </a:lnTo>
                  <a:lnTo>
                    <a:pt x="2909" y="602"/>
                  </a:lnTo>
                  <a:lnTo>
                    <a:pt x="2921" y="601"/>
                  </a:lnTo>
                  <a:lnTo>
                    <a:pt x="2932" y="599"/>
                  </a:lnTo>
                  <a:lnTo>
                    <a:pt x="2942" y="595"/>
                  </a:lnTo>
                  <a:lnTo>
                    <a:pt x="2947" y="593"/>
                  </a:lnTo>
                  <a:lnTo>
                    <a:pt x="2951" y="590"/>
                  </a:lnTo>
                  <a:lnTo>
                    <a:pt x="2955" y="587"/>
                  </a:lnTo>
                  <a:lnTo>
                    <a:pt x="2958" y="582"/>
                  </a:lnTo>
                  <a:lnTo>
                    <a:pt x="2962" y="577"/>
                  </a:lnTo>
                  <a:lnTo>
                    <a:pt x="2965" y="571"/>
                  </a:lnTo>
                  <a:lnTo>
                    <a:pt x="2968" y="566"/>
                  </a:lnTo>
                  <a:lnTo>
                    <a:pt x="2969" y="559"/>
                  </a:lnTo>
                  <a:lnTo>
                    <a:pt x="2971" y="547"/>
                  </a:lnTo>
                  <a:lnTo>
                    <a:pt x="2972" y="535"/>
                  </a:lnTo>
                  <a:lnTo>
                    <a:pt x="2972" y="523"/>
                  </a:lnTo>
                  <a:lnTo>
                    <a:pt x="2973" y="510"/>
                  </a:lnTo>
                  <a:lnTo>
                    <a:pt x="2974" y="505"/>
                  </a:lnTo>
                  <a:lnTo>
                    <a:pt x="2975" y="499"/>
                  </a:lnTo>
                  <a:lnTo>
                    <a:pt x="2977" y="494"/>
                  </a:lnTo>
                  <a:lnTo>
                    <a:pt x="2980" y="489"/>
                  </a:lnTo>
                  <a:lnTo>
                    <a:pt x="2989" y="486"/>
                  </a:lnTo>
                  <a:lnTo>
                    <a:pt x="3000" y="485"/>
                  </a:lnTo>
                  <a:lnTo>
                    <a:pt x="3011" y="483"/>
                  </a:lnTo>
                  <a:lnTo>
                    <a:pt x="3022" y="481"/>
                  </a:lnTo>
                  <a:lnTo>
                    <a:pt x="3022" y="481"/>
                  </a:lnTo>
                  <a:lnTo>
                    <a:pt x="3022" y="453"/>
                  </a:lnTo>
                  <a:lnTo>
                    <a:pt x="3025" y="426"/>
                  </a:lnTo>
                  <a:lnTo>
                    <a:pt x="3028" y="398"/>
                  </a:lnTo>
                  <a:lnTo>
                    <a:pt x="3032" y="371"/>
                  </a:lnTo>
                  <a:lnTo>
                    <a:pt x="3034" y="359"/>
                  </a:lnTo>
                  <a:lnTo>
                    <a:pt x="3038" y="348"/>
                  </a:lnTo>
                  <a:lnTo>
                    <a:pt x="3043" y="335"/>
                  </a:lnTo>
                  <a:lnTo>
                    <a:pt x="3048" y="323"/>
                  </a:lnTo>
                  <a:lnTo>
                    <a:pt x="3052" y="311"/>
                  </a:lnTo>
                  <a:lnTo>
                    <a:pt x="3055" y="299"/>
                  </a:lnTo>
                  <a:lnTo>
                    <a:pt x="3057" y="288"/>
                  </a:lnTo>
                  <a:lnTo>
                    <a:pt x="3057" y="277"/>
                  </a:lnTo>
                  <a:lnTo>
                    <a:pt x="3047" y="273"/>
                  </a:lnTo>
                  <a:lnTo>
                    <a:pt x="3036" y="267"/>
                  </a:lnTo>
                  <a:lnTo>
                    <a:pt x="3025" y="263"/>
                  </a:lnTo>
                  <a:lnTo>
                    <a:pt x="3013" y="260"/>
                  </a:lnTo>
                  <a:lnTo>
                    <a:pt x="2988" y="254"/>
                  </a:lnTo>
                  <a:lnTo>
                    <a:pt x="2962" y="248"/>
                  </a:lnTo>
                  <a:lnTo>
                    <a:pt x="2937" y="242"/>
                  </a:lnTo>
                  <a:lnTo>
                    <a:pt x="2914" y="236"/>
                  </a:lnTo>
                  <a:lnTo>
                    <a:pt x="2904" y="232"/>
                  </a:lnTo>
                  <a:lnTo>
                    <a:pt x="2895" y="228"/>
                  </a:lnTo>
                  <a:lnTo>
                    <a:pt x="2886" y="224"/>
                  </a:lnTo>
                  <a:lnTo>
                    <a:pt x="2879" y="218"/>
                  </a:lnTo>
                  <a:lnTo>
                    <a:pt x="2880" y="195"/>
                  </a:lnTo>
                  <a:lnTo>
                    <a:pt x="2881" y="172"/>
                  </a:lnTo>
                  <a:lnTo>
                    <a:pt x="2882" y="149"/>
                  </a:lnTo>
                  <a:lnTo>
                    <a:pt x="2880" y="125"/>
                  </a:lnTo>
                  <a:lnTo>
                    <a:pt x="2886" y="36"/>
                  </a:lnTo>
                  <a:lnTo>
                    <a:pt x="2886" y="36"/>
                  </a:lnTo>
                  <a:lnTo>
                    <a:pt x="2858" y="32"/>
                  </a:lnTo>
                  <a:lnTo>
                    <a:pt x="2829" y="25"/>
                  </a:lnTo>
                  <a:lnTo>
                    <a:pt x="2815" y="24"/>
                  </a:lnTo>
                  <a:lnTo>
                    <a:pt x="2801" y="23"/>
                  </a:lnTo>
                  <a:lnTo>
                    <a:pt x="2795" y="24"/>
                  </a:lnTo>
                  <a:lnTo>
                    <a:pt x="2787" y="25"/>
                  </a:lnTo>
                  <a:lnTo>
                    <a:pt x="2781" y="26"/>
                  </a:lnTo>
                  <a:lnTo>
                    <a:pt x="2775" y="30"/>
                  </a:lnTo>
                  <a:lnTo>
                    <a:pt x="2769" y="32"/>
                  </a:lnTo>
                  <a:lnTo>
                    <a:pt x="2766" y="35"/>
                  </a:lnTo>
                  <a:lnTo>
                    <a:pt x="2763" y="38"/>
                  </a:lnTo>
                  <a:lnTo>
                    <a:pt x="2760" y="42"/>
                  </a:lnTo>
                  <a:lnTo>
                    <a:pt x="2759" y="45"/>
                  </a:lnTo>
                  <a:lnTo>
                    <a:pt x="2758" y="49"/>
                  </a:lnTo>
                  <a:lnTo>
                    <a:pt x="2758" y="53"/>
                  </a:lnTo>
                  <a:lnTo>
                    <a:pt x="2758" y="58"/>
                  </a:lnTo>
                  <a:lnTo>
                    <a:pt x="2761" y="66"/>
                  </a:lnTo>
                  <a:lnTo>
                    <a:pt x="2765" y="75"/>
                  </a:lnTo>
                  <a:lnTo>
                    <a:pt x="2771" y="86"/>
                  </a:lnTo>
                  <a:lnTo>
                    <a:pt x="2777" y="96"/>
                  </a:lnTo>
                  <a:lnTo>
                    <a:pt x="2790" y="118"/>
                  </a:lnTo>
                  <a:lnTo>
                    <a:pt x="2802" y="140"/>
                  </a:lnTo>
                  <a:lnTo>
                    <a:pt x="2806" y="152"/>
                  </a:lnTo>
                  <a:lnTo>
                    <a:pt x="2808" y="163"/>
                  </a:lnTo>
                  <a:lnTo>
                    <a:pt x="2809" y="168"/>
                  </a:lnTo>
                  <a:lnTo>
                    <a:pt x="2809" y="173"/>
                  </a:lnTo>
                  <a:lnTo>
                    <a:pt x="2808" y="179"/>
                  </a:lnTo>
                  <a:lnTo>
                    <a:pt x="2806" y="184"/>
                  </a:lnTo>
                  <a:lnTo>
                    <a:pt x="2803" y="189"/>
                  </a:lnTo>
                  <a:lnTo>
                    <a:pt x="2800" y="194"/>
                  </a:lnTo>
                  <a:lnTo>
                    <a:pt x="2796" y="197"/>
                  </a:lnTo>
                  <a:lnTo>
                    <a:pt x="2790" y="201"/>
                  </a:lnTo>
                  <a:lnTo>
                    <a:pt x="2785" y="203"/>
                  </a:lnTo>
                  <a:lnTo>
                    <a:pt x="2780" y="205"/>
                  </a:lnTo>
                  <a:lnTo>
                    <a:pt x="2775" y="205"/>
                  </a:lnTo>
                  <a:lnTo>
                    <a:pt x="2768" y="206"/>
                  </a:lnTo>
                  <a:lnTo>
                    <a:pt x="2756" y="206"/>
                  </a:lnTo>
                  <a:lnTo>
                    <a:pt x="2743" y="207"/>
                  </a:lnTo>
                  <a:lnTo>
                    <a:pt x="2731" y="207"/>
                  </a:lnTo>
                  <a:lnTo>
                    <a:pt x="2720" y="210"/>
                  </a:lnTo>
                  <a:lnTo>
                    <a:pt x="2710" y="214"/>
                  </a:lnTo>
                  <a:lnTo>
                    <a:pt x="2701" y="220"/>
                  </a:lnTo>
                  <a:lnTo>
                    <a:pt x="2692" y="228"/>
                  </a:lnTo>
                  <a:lnTo>
                    <a:pt x="2685" y="236"/>
                  </a:lnTo>
                  <a:lnTo>
                    <a:pt x="2671" y="255"/>
                  </a:lnTo>
                  <a:lnTo>
                    <a:pt x="2659" y="274"/>
                  </a:lnTo>
                  <a:lnTo>
                    <a:pt x="2653" y="282"/>
                  </a:lnTo>
                  <a:lnTo>
                    <a:pt x="2645" y="290"/>
                  </a:lnTo>
                  <a:lnTo>
                    <a:pt x="2638" y="298"/>
                  </a:lnTo>
                  <a:lnTo>
                    <a:pt x="2630" y="303"/>
                  </a:lnTo>
                  <a:lnTo>
                    <a:pt x="2626" y="305"/>
                  </a:lnTo>
                  <a:lnTo>
                    <a:pt x="2621" y="307"/>
                  </a:lnTo>
                  <a:lnTo>
                    <a:pt x="2616" y="309"/>
                  </a:lnTo>
                  <a:lnTo>
                    <a:pt x="2611" y="309"/>
                  </a:lnTo>
                  <a:lnTo>
                    <a:pt x="2605" y="310"/>
                  </a:lnTo>
                  <a:lnTo>
                    <a:pt x="2598" y="310"/>
                  </a:lnTo>
                  <a:lnTo>
                    <a:pt x="2592" y="309"/>
                  </a:lnTo>
                  <a:lnTo>
                    <a:pt x="2586" y="307"/>
                  </a:lnTo>
                  <a:lnTo>
                    <a:pt x="2580" y="306"/>
                  </a:lnTo>
                  <a:lnTo>
                    <a:pt x="2575" y="303"/>
                  </a:lnTo>
                  <a:lnTo>
                    <a:pt x="2570" y="301"/>
                  </a:lnTo>
                  <a:lnTo>
                    <a:pt x="2566" y="298"/>
                  </a:lnTo>
                  <a:lnTo>
                    <a:pt x="2564" y="294"/>
                  </a:lnTo>
                  <a:lnTo>
                    <a:pt x="2561" y="291"/>
                  </a:lnTo>
                  <a:lnTo>
                    <a:pt x="2559" y="287"/>
                  </a:lnTo>
                  <a:lnTo>
                    <a:pt x="2558" y="283"/>
                  </a:lnTo>
                  <a:lnTo>
                    <a:pt x="2557" y="275"/>
                  </a:lnTo>
                  <a:lnTo>
                    <a:pt x="2557" y="266"/>
                  </a:lnTo>
                  <a:lnTo>
                    <a:pt x="2558" y="257"/>
                  </a:lnTo>
                  <a:lnTo>
                    <a:pt x="2559" y="249"/>
                  </a:lnTo>
                  <a:lnTo>
                    <a:pt x="2563" y="232"/>
                  </a:lnTo>
                  <a:lnTo>
                    <a:pt x="2564" y="219"/>
                  </a:lnTo>
                  <a:lnTo>
                    <a:pt x="2564" y="217"/>
                  </a:lnTo>
                  <a:lnTo>
                    <a:pt x="2563" y="215"/>
                  </a:lnTo>
                  <a:lnTo>
                    <a:pt x="2562" y="213"/>
                  </a:lnTo>
                  <a:lnTo>
                    <a:pt x="2561" y="212"/>
                  </a:lnTo>
                  <a:lnTo>
                    <a:pt x="2557" y="212"/>
                  </a:lnTo>
                  <a:lnTo>
                    <a:pt x="2549" y="214"/>
                  </a:lnTo>
                  <a:lnTo>
                    <a:pt x="2541" y="216"/>
                  </a:lnTo>
                  <a:lnTo>
                    <a:pt x="2533" y="218"/>
                  </a:lnTo>
                  <a:lnTo>
                    <a:pt x="2524" y="219"/>
                  </a:lnTo>
                  <a:lnTo>
                    <a:pt x="2515" y="218"/>
                  </a:lnTo>
                  <a:lnTo>
                    <a:pt x="2507" y="217"/>
                  </a:lnTo>
                  <a:lnTo>
                    <a:pt x="2498" y="216"/>
                  </a:lnTo>
                  <a:lnTo>
                    <a:pt x="2489" y="213"/>
                  </a:lnTo>
                  <a:lnTo>
                    <a:pt x="2482" y="210"/>
                  </a:lnTo>
                  <a:lnTo>
                    <a:pt x="2473" y="205"/>
                  </a:lnTo>
                  <a:lnTo>
                    <a:pt x="2466" y="201"/>
                  </a:lnTo>
                  <a:lnTo>
                    <a:pt x="2460" y="194"/>
                  </a:lnTo>
                  <a:lnTo>
                    <a:pt x="2454" y="188"/>
                  </a:lnTo>
                  <a:lnTo>
                    <a:pt x="2448" y="182"/>
                  </a:lnTo>
                  <a:lnTo>
                    <a:pt x="2444" y="175"/>
                  </a:lnTo>
                  <a:lnTo>
                    <a:pt x="2440" y="166"/>
                  </a:lnTo>
                  <a:lnTo>
                    <a:pt x="2438" y="158"/>
                  </a:lnTo>
                  <a:lnTo>
                    <a:pt x="2436" y="152"/>
                  </a:lnTo>
                  <a:lnTo>
                    <a:pt x="2432" y="146"/>
                  </a:lnTo>
                  <a:lnTo>
                    <a:pt x="2427" y="142"/>
                  </a:lnTo>
                  <a:lnTo>
                    <a:pt x="2422" y="139"/>
                  </a:lnTo>
                  <a:lnTo>
                    <a:pt x="2411" y="135"/>
                  </a:lnTo>
                  <a:lnTo>
                    <a:pt x="2398" y="133"/>
                  </a:lnTo>
                  <a:lnTo>
                    <a:pt x="2386" y="131"/>
                  </a:lnTo>
                  <a:lnTo>
                    <a:pt x="2375" y="129"/>
                  </a:lnTo>
                  <a:lnTo>
                    <a:pt x="2371" y="127"/>
                  </a:lnTo>
                  <a:lnTo>
                    <a:pt x="2368" y="123"/>
                  </a:lnTo>
                  <a:lnTo>
                    <a:pt x="2366" y="119"/>
                  </a:lnTo>
                  <a:lnTo>
                    <a:pt x="2366" y="114"/>
                  </a:lnTo>
                  <a:lnTo>
                    <a:pt x="2365" y="93"/>
                  </a:lnTo>
                  <a:lnTo>
                    <a:pt x="2364" y="68"/>
                  </a:lnTo>
                  <a:lnTo>
                    <a:pt x="2362" y="56"/>
                  </a:lnTo>
                  <a:lnTo>
                    <a:pt x="2360" y="43"/>
                  </a:lnTo>
                  <a:lnTo>
                    <a:pt x="2357" y="34"/>
                  </a:lnTo>
                  <a:lnTo>
                    <a:pt x="2352" y="25"/>
                  </a:lnTo>
                  <a:lnTo>
                    <a:pt x="2350" y="22"/>
                  </a:lnTo>
                  <a:lnTo>
                    <a:pt x="2347" y="21"/>
                  </a:lnTo>
                  <a:lnTo>
                    <a:pt x="2344" y="21"/>
                  </a:lnTo>
                  <a:lnTo>
                    <a:pt x="2341" y="22"/>
                  </a:lnTo>
                  <a:lnTo>
                    <a:pt x="2335" y="27"/>
                  </a:lnTo>
                  <a:lnTo>
                    <a:pt x="2326" y="35"/>
                  </a:lnTo>
                  <a:lnTo>
                    <a:pt x="2319" y="43"/>
                  </a:lnTo>
                  <a:lnTo>
                    <a:pt x="2311" y="51"/>
                  </a:lnTo>
                  <a:lnTo>
                    <a:pt x="2302" y="58"/>
                  </a:lnTo>
                  <a:lnTo>
                    <a:pt x="2294" y="63"/>
                  </a:lnTo>
                  <a:lnTo>
                    <a:pt x="2277" y="68"/>
                  </a:lnTo>
                  <a:lnTo>
                    <a:pt x="2262" y="71"/>
                  </a:lnTo>
                  <a:lnTo>
                    <a:pt x="2249" y="74"/>
                  </a:lnTo>
                  <a:lnTo>
                    <a:pt x="2239" y="74"/>
                  </a:lnTo>
                  <a:lnTo>
                    <a:pt x="2230" y="74"/>
                  </a:lnTo>
                  <a:lnTo>
                    <a:pt x="2223" y="72"/>
                  </a:lnTo>
                  <a:lnTo>
                    <a:pt x="2217" y="69"/>
                  </a:lnTo>
                  <a:lnTo>
                    <a:pt x="2212" y="65"/>
                  </a:lnTo>
                  <a:lnTo>
                    <a:pt x="2203" y="55"/>
                  </a:lnTo>
                  <a:lnTo>
                    <a:pt x="2195" y="40"/>
                  </a:lnTo>
                  <a:lnTo>
                    <a:pt x="2191" y="32"/>
                  </a:lnTo>
                  <a:lnTo>
                    <a:pt x="2186" y="23"/>
                  </a:lnTo>
                  <a:lnTo>
                    <a:pt x="2178" y="14"/>
                  </a:lnTo>
                  <a:lnTo>
                    <a:pt x="2171" y="4"/>
                  </a:lnTo>
                  <a:lnTo>
                    <a:pt x="2166" y="1"/>
                  </a:lnTo>
                  <a:lnTo>
                    <a:pt x="2162" y="0"/>
                  </a:lnTo>
                  <a:lnTo>
                    <a:pt x="2157" y="0"/>
                  </a:lnTo>
                  <a:lnTo>
                    <a:pt x="2153" y="3"/>
                  </a:lnTo>
                  <a:lnTo>
                    <a:pt x="2144" y="12"/>
                  </a:lnTo>
                  <a:lnTo>
                    <a:pt x="2135" y="24"/>
                  </a:lnTo>
                  <a:lnTo>
                    <a:pt x="2124" y="37"/>
                  </a:lnTo>
                  <a:lnTo>
                    <a:pt x="2115" y="49"/>
                  </a:lnTo>
                  <a:lnTo>
                    <a:pt x="2108" y="55"/>
                  </a:lnTo>
                  <a:lnTo>
                    <a:pt x="2103" y="59"/>
                  </a:lnTo>
                  <a:lnTo>
                    <a:pt x="2098" y="61"/>
                  </a:lnTo>
                  <a:lnTo>
                    <a:pt x="2092" y="62"/>
                  </a:lnTo>
                  <a:lnTo>
                    <a:pt x="2080" y="61"/>
                  </a:lnTo>
                  <a:lnTo>
                    <a:pt x="2071" y="58"/>
                  </a:lnTo>
                  <a:lnTo>
                    <a:pt x="2063" y="55"/>
                  </a:lnTo>
                  <a:lnTo>
                    <a:pt x="2055" y="49"/>
                  </a:lnTo>
                  <a:lnTo>
                    <a:pt x="2045" y="37"/>
                  </a:lnTo>
                  <a:lnTo>
                    <a:pt x="2035" y="25"/>
                  </a:lnTo>
                  <a:lnTo>
                    <a:pt x="2030" y="21"/>
                  </a:lnTo>
                  <a:lnTo>
                    <a:pt x="2026" y="17"/>
                  </a:lnTo>
                  <a:lnTo>
                    <a:pt x="2021" y="14"/>
                  </a:lnTo>
                  <a:lnTo>
                    <a:pt x="2015" y="14"/>
                  </a:lnTo>
                  <a:lnTo>
                    <a:pt x="2007" y="15"/>
                  </a:lnTo>
                  <a:lnTo>
                    <a:pt x="1999" y="18"/>
                  </a:lnTo>
                  <a:lnTo>
                    <a:pt x="1990" y="25"/>
                  </a:lnTo>
                  <a:lnTo>
                    <a:pt x="1978" y="35"/>
                  </a:lnTo>
                  <a:lnTo>
                    <a:pt x="1974" y="38"/>
                  </a:lnTo>
                  <a:lnTo>
                    <a:pt x="1972" y="42"/>
                  </a:lnTo>
                  <a:lnTo>
                    <a:pt x="1970" y="45"/>
                  </a:lnTo>
                  <a:lnTo>
                    <a:pt x="1969" y="49"/>
                  </a:lnTo>
                  <a:lnTo>
                    <a:pt x="1968" y="52"/>
                  </a:lnTo>
                  <a:lnTo>
                    <a:pt x="1969" y="57"/>
                  </a:lnTo>
                  <a:lnTo>
                    <a:pt x="1969" y="61"/>
                  </a:lnTo>
                  <a:lnTo>
                    <a:pt x="1971" y="65"/>
                  </a:lnTo>
                  <a:lnTo>
                    <a:pt x="1975" y="72"/>
                  </a:lnTo>
                  <a:lnTo>
                    <a:pt x="1981" y="81"/>
                  </a:lnTo>
                  <a:lnTo>
                    <a:pt x="1990" y="88"/>
                  </a:lnTo>
                  <a:lnTo>
                    <a:pt x="1998" y="96"/>
                  </a:lnTo>
                  <a:lnTo>
                    <a:pt x="2019" y="112"/>
                  </a:lnTo>
                  <a:lnTo>
                    <a:pt x="2040" y="125"/>
                  </a:lnTo>
                  <a:lnTo>
                    <a:pt x="2058" y="138"/>
                  </a:lnTo>
                  <a:lnTo>
                    <a:pt x="2072" y="148"/>
                  </a:lnTo>
                  <a:lnTo>
                    <a:pt x="2072" y="154"/>
                  </a:lnTo>
                  <a:lnTo>
                    <a:pt x="2071" y="159"/>
                  </a:lnTo>
                  <a:lnTo>
                    <a:pt x="2069" y="163"/>
                  </a:lnTo>
                  <a:lnTo>
                    <a:pt x="2067" y="166"/>
                  </a:lnTo>
                  <a:lnTo>
                    <a:pt x="2064" y="170"/>
                  </a:lnTo>
                  <a:lnTo>
                    <a:pt x="2060" y="173"/>
                  </a:lnTo>
                  <a:lnTo>
                    <a:pt x="2056" y="177"/>
                  </a:lnTo>
                  <a:lnTo>
                    <a:pt x="2052" y="179"/>
                  </a:lnTo>
                  <a:lnTo>
                    <a:pt x="2042" y="184"/>
                  </a:lnTo>
                  <a:lnTo>
                    <a:pt x="2030" y="187"/>
                  </a:lnTo>
                  <a:lnTo>
                    <a:pt x="2019" y="191"/>
                  </a:lnTo>
                  <a:lnTo>
                    <a:pt x="2005" y="194"/>
                  </a:lnTo>
                  <a:lnTo>
                    <a:pt x="1978" y="201"/>
                  </a:lnTo>
                  <a:lnTo>
                    <a:pt x="1953" y="209"/>
                  </a:lnTo>
                  <a:lnTo>
                    <a:pt x="1942" y="214"/>
                  </a:lnTo>
                  <a:lnTo>
                    <a:pt x="1931" y="221"/>
                  </a:lnTo>
                  <a:lnTo>
                    <a:pt x="1927" y="225"/>
                  </a:lnTo>
                  <a:lnTo>
                    <a:pt x="1923" y="229"/>
                  </a:lnTo>
                  <a:lnTo>
                    <a:pt x="1919" y="233"/>
                  </a:lnTo>
                  <a:lnTo>
                    <a:pt x="1917" y="238"/>
                  </a:lnTo>
                  <a:lnTo>
                    <a:pt x="1913" y="244"/>
                  </a:lnTo>
                  <a:lnTo>
                    <a:pt x="1911" y="251"/>
                  </a:lnTo>
                  <a:lnTo>
                    <a:pt x="1910" y="258"/>
                  </a:lnTo>
                  <a:lnTo>
                    <a:pt x="1909" y="265"/>
                  </a:lnTo>
                  <a:lnTo>
                    <a:pt x="1908" y="281"/>
                  </a:lnTo>
                  <a:lnTo>
                    <a:pt x="1910" y="298"/>
                  </a:lnTo>
                  <a:lnTo>
                    <a:pt x="1913" y="314"/>
                  </a:lnTo>
                  <a:lnTo>
                    <a:pt x="1918" y="332"/>
                  </a:lnTo>
                  <a:lnTo>
                    <a:pt x="1922" y="351"/>
                  </a:lnTo>
                  <a:lnTo>
                    <a:pt x="1928" y="369"/>
                  </a:lnTo>
                  <a:lnTo>
                    <a:pt x="1940" y="402"/>
                  </a:lnTo>
                  <a:lnTo>
                    <a:pt x="1949" y="430"/>
                  </a:lnTo>
                  <a:lnTo>
                    <a:pt x="1953" y="442"/>
                  </a:lnTo>
                  <a:lnTo>
                    <a:pt x="1955" y="451"/>
                  </a:lnTo>
                  <a:lnTo>
                    <a:pt x="1956" y="457"/>
                  </a:lnTo>
                  <a:lnTo>
                    <a:pt x="1955" y="461"/>
                  </a:lnTo>
                  <a:lnTo>
                    <a:pt x="1947" y="469"/>
                  </a:lnTo>
                  <a:lnTo>
                    <a:pt x="1938" y="474"/>
                  </a:lnTo>
                  <a:lnTo>
                    <a:pt x="1931" y="478"/>
                  </a:lnTo>
                  <a:lnTo>
                    <a:pt x="1924" y="480"/>
                  </a:lnTo>
                  <a:lnTo>
                    <a:pt x="1917" y="481"/>
                  </a:lnTo>
                  <a:lnTo>
                    <a:pt x="1910" y="480"/>
                  </a:lnTo>
                  <a:lnTo>
                    <a:pt x="1904" y="478"/>
                  </a:lnTo>
                  <a:lnTo>
                    <a:pt x="1897" y="476"/>
                  </a:lnTo>
                  <a:lnTo>
                    <a:pt x="1872" y="460"/>
                  </a:lnTo>
                  <a:lnTo>
                    <a:pt x="1843" y="446"/>
                  </a:lnTo>
                  <a:lnTo>
                    <a:pt x="1838" y="445"/>
                  </a:lnTo>
                  <a:lnTo>
                    <a:pt x="1831" y="445"/>
                  </a:lnTo>
                  <a:lnTo>
                    <a:pt x="1824" y="446"/>
                  </a:lnTo>
                  <a:lnTo>
                    <a:pt x="1815" y="447"/>
                  </a:lnTo>
                  <a:lnTo>
                    <a:pt x="1796" y="452"/>
                  </a:lnTo>
                  <a:lnTo>
                    <a:pt x="1774" y="458"/>
                  </a:lnTo>
                  <a:lnTo>
                    <a:pt x="1732" y="472"/>
                  </a:lnTo>
                  <a:lnTo>
                    <a:pt x="1703" y="482"/>
                  </a:lnTo>
                  <a:lnTo>
                    <a:pt x="1682" y="491"/>
                  </a:lnTo>
                  <a:lnTo>
                    <a:pt x="1661" y="496"/>
                  </a:lnTo>
                  <a:lnTo>
                    <a:pt x="1640" y="501"/>
                  </a:lnTo>
                  <a:lnTo>
                    <a:pt x="1619" y="505"/>
                  </a:lnTo>
                  <a:lnTo>
                    <a:pt x="1599" y="510"/>
                  </a:lnTo>
                  <a:lnTo>
                    <a:pt x="1577" y="517"/>
                  </a:lnTo>
                  <a:lnTo>
                    <a:pt x="1566" y="520"/>
                  </a:lnTo>
                  <a:lnTo>
                    <a:pt x="1556" y="524"/>
                  </a:lnTo>
                  <a:lnTo>
                    <a:pt x="1545" y="528"/>
                  </a:lnTo>
                  <a:lnTo>
                    <a:pt x="1536" y="533"/>
                  </a:lnTo>
                  <a:lnTo>
                    <a:pt x="1414" y="600"/>
                  </a:lnTo>
                  <a:lnTo>
                    <a:pt x="1411" y="622"/>
                  </a:lnTo>
                  <a:lnTo>
                    <a:pt x="1407" y="644"/>
                  </a:lnTo>
                  <a:lnTo>
                    <a:pt x="1404" y="654"/>
                  </a:lnTo>
                  <a:lnTo>
                    <a:pt x="1399" y="664"/>
                  </a:lnTo>
                  <a:lnTo>
                    <a:pt x="1394" y="674"/>
                  </a:lnTo>
                  <a:lnTo>
                    <a:pt x="1388" y="684"/>
                  </a:lnTo>
                  <a:lnTo>
                    <a:pt x="1374" y="697"/>
                  </a:lnTo>
                  <a:lnTo>
                    <a:pt x="1355" y="714"/>
                  </a:lnTo>
                  <a:lnTo>
                    <a:pt x="1344" y="722"/>
                  </a:lnTo>
                  <a:lnTo>
                    <a:pt x="1337" y="731"/>
                  </a:lnTo>
                  <a:lnTo>
                    <a:pt x="1333" y="734"/>
                  </a:lnTo>
                  <a:lnTo>
                    <a:pt x="1331" y="737"/>
                  </a:lnTo>
                  <a:lnTo>
                    <a:pt x="1330" y="740"/>
                  </a:lnTo>
                  <a:lnTo>
                    <a:pt x="1329" y="743"/>
                  </a:lnTo>
                  <a:lnTo>
                    <a:pt x="1338" y="751"/>
                  </a:lnTo>
                  <a:lnTo>
                    <a:pt x="1346" y="760"/>
                  </a:lnTo>
                  <a:lnTo>
                    <a:pt x="1353" y="767"/>
                  </a:lnTo>
                  <a:lnTo>
                    <a:pt x="1359" y="775"/>
                  </a:lnTo>
                  <a:lnTo>
                    <a:pt x="1362" y="782"/>
                  </a:lnTo>
                  <a:lnTo>
                    <a:pt x="1365" y="788"/>
                  </a:lnTo>
                  <a:lnTo>
                    <a:pt x="1365" y="791"/>
                  </a:lnTo>
                  <a:lnTo>
                    <a:pt x="1365" y="794"/>
                  </a:lnTo>
                  <a:lnTo>
                    <a:pt x="1365" y="796"/>
                  </a:lnTo>
                  <a:lnTo>
                    <a:pt x="1364" y="798"/>
                  </a:lnTo>
                  <a:lnTo>
                    <a:pt x="1359" y="806"/>
                  </a:lnTo>
                  <a:lnTo>
                    <a:pt x="1354" y="812"/>
                  </a:lnTo>
                  <a:lnTo>
                    <a:pt x="1348" y="817"/>
                  </a:lnTo>
                  <a:lnTo>
                    <a:pt x="1343" y="822"/>
                  </a:lnTo>
                  <a:lnTo>
                    <a:pt x="1333" y="830"/>
                  </a:lnTo>
                  <a:lnTo>
                    <a:pt x="1321" y="835"/>
                  </a:lnTo>
                  <a:lnTo>
                    <a:pt x="1296" y="841"/>
                  </a:lnTo>
                  <a:lnTo>
                    <a:pt x="1267" y="848"/>
                  </a:lnTo>
                  <a:lnTo>
                    <a:pt x="1260" y="852"/>
                  </a:lnTo>
                  <a:lnTo>
                    <a:pt x="1252" y="856"/>
                  </a:lnTo>
                  <a:lnTo>
                    <a:pt x="1245" y="861"/>
                  </a:lnTo>
                  <a:lnTo>
                    <a:pt x="1238" y="867"/>
                  </a:lnTo>
                  <a:lnTo>
                    <a:pt x="1224" y="881"/>
                  </a:lnTo>
                  <a:lnTo>
                    <a:pt x="1211" y="893"/>
                  </a:lnTo>
                  <a:lnTo>
                    <a:pt x="1203" y="900"/>
                  </a:lnTo>
                  <a:lnTo>
                    <a:pt x="1195" y="906"/>
                  </a:lnTo>
                  <a:lnTo>
                    <a:pt x="1188" y="910"/>
                  </a:lnTo>
                  <a:lnTo>
                    <a:pt x="1178" y="914"/>
                  </a:lnTo>
                  <a:lnTo>
                    <a:pt x="1169" y="916"/>
                  </a:lnTo>
                  <a:lnTo>
                    <a:pt x="1160" y="917"/>
                  </a:lnTo>
                  <a:lnTo>
                    <a:pt x="1149" y="916"/>
                  </a:lnTo>
                  <a:lnTo>
                    <a:pt x="1137" y="913"/>
                  </a:lnTo>
                  <a:lnTo>
                    <a:pt x="1127" y="910"/>
                  </a:lnTo>
                  <a:lnTo>
                    <a:pt x="1120" y="905"/>
                  </a:lnTo>
                  <a:lnTo>
                    <a:pt x="1116" y="899"/>
                  </a:lnTo>
                  <a:lnTo>
                    <a:pt x="1113" y="892"/>
                  </a:lnTo>
                  <a:lnTo>
                    <a:pt x="1112" y="886"/>
                  </a:lnTo>
                  <a:lnTo>
                    <a:pt x="1112" y="879"/>
                  </a:lnTo>
                  <a:lnTo>
                    <a:pt x="1112" y="871"/>
                  </a:lnTo>
                  <a:lnTo>
                    <a:pt x="1114" y="863"/>
                  </a:lnTo>
                  <a:lnTo>
                    <a:pt x="1117" y="849"/>
                  </a:lnTo>
                  <a:lnTo>
                    <a:pt x="1120" y="837"/>
                  </a:lnTo>
                  <a:lnTo>
                    <a:pt x="1120" y="833"/>
                  </a:lnTo>
                  <a:lnTo>
                    <a:pt x="1119" y="829"/>
                  </a:lnTo>
                  <a:lnTo>
                    <a:pt x="1117" y="826"/>
                  </a:lnTo>
                  <a:lnTo>
                    <a:pt x="1113" y="824"/>
                  </a:lnTo>
                  <a:lnTo>
                    <a:pt x="1106" y="824"/>
                  </a:lnTo>
                  <a:lnTo>
                    <a:pt x="1100" y="824"/>
                  </a:lnTo>
                  <a:lnTo>
                    <a:pt x="1095" y="826"/>
                  </a:lnTo>
                  <a:lnTo>
                    <a:pt x="1090" y="827"/>
                  </a:lnTo>
                  <a:lnTo>
                    <a:pt x="1087" y="804"/>
                  </a:lnTo>
                  <a:lnTo>
                    <a:pt x="1084" y="786"/>
                  </a:lnTo>
                  <a:lnTo>
                    <a:pt x="1082" y="779"/>
                  </a:lnTo>
                  <a:lnTo>
                    <a:pt x="1080" y="772"/>
                  </a:lnTo>
                  <a:lnTo>
                    <a:pt x="1079" y="767"/>
                  </a:lnTo>
                  <a:lnTo>
                    <a:pt x="1076" y="764"/>
                  </a:lnTo>
                  <a:lnTo>
                    <a:pt x="1073" y="760"/>
                  </a:lnTo>
                  <a:lnTo>
                    <a:pt x="1070" y="758"/>
                  </a:lnTo>
                  <a:lnTo>
                    <a:pt x="1065" y="757"/>
                  </a:lnTo>
                  <a:lnTo>
                    <a:pt x="1058" y="756"/>
                  </a:lnTo>
                  <a:lnTo>
                    <a:pt x="1044" y="756"/>
                  </a:lnTo>
                  <a:lnTo>
                    <a:pt x="1022" y="758"/>
                  </a:lnTo>
                  <a:lnTo>
                    <a:pt x="1009" y="759"/>
                  </a:lnTo>
                  <a:lnTo>
                    <a:pt x="995" y="760"/>
                  </a:lnTo>
                  <a:lnTo>
                    <a:pt x="978" y="759"/>
                  </a:lnTo>
                  <a:lnTo>
                    <a:pt x="963" y="756"/>
                  </a:lnTo>
                  <a:lnTo>
                    <a:pt x="954" y="754"/>
                  </a:lnTo>
                  <a:lnTo>
                    <a:pt x="947" y="751"/>
                  </a:lnTo>
                  <a:lnTo>
                    <a:pt x="941" y="748"/>
                  </a:lnTo>
                  <a:lnTo>
                    <a:pt x="933" y="744"/>
                  </a:lnTo>
                  <a:lnTo>
                    <a:pt x="928" y="740"/>
                  </a:lnTo>
                  <a:lnTo>
                    <a:pt x="924" y="735"/>
                  </a:lnTo>
                  <a:lnTo>
                    <a:pt x="920" y="728"/>
                  </a:lnTo>
                  <a:lnTo>
                    <a:pt x="917" y="722"/>
                  </a:lnTo>
                  <a:lnTo>
                    <a:pt x="907" y="719"/>
                  </a:lnTo>
                  <a:lnTo>
                    <a:pt x="900" y="718"/>
                  </a:lnTo>
                  <a:lnTo>
                    <a:pt x="894" y="718"/>
                  </a:lnTo>
                  <a:lnTo>
                    <a:pt x="889" y="720"/>
                  </a:lnTo>
                  <a:lnTo>
                    <a:pt x="885" y="724"/>
                  </a:lnTo>
                  <a:lnTo>
                    <a:pt x="882" y="728"/>
                  </a:lnTo>
                  <a:lnTo>
                    <a:pt x="880" y="735"/>
                  </a:lnTo>
                  <a:lnTo>
                    <a:pt x="878" y="741"/>
                  </a:lnTo>
                  <a:lnTo>
                    <a:pt x="874" y="757"/>
                  </a:lnTo>
                  <a:lnTo>
                    <a:pt x="868" y="773"/>
                  </a:lnTo>
                  <a:lnTo>
                    <a:pt x="864" y="783"/>
                  </a:lnTo>
                  <a:lnTo>
                    <a:pt x="858" y="791"/>
                  </a:lnTo>
                  <a:lnTo>
                    <a:pt x="851" y="799"/>
                  </a:lnTo>
                  <a:lnTo>
                    <a:pt x="843" y="808"/>
                  </a:lnTo>
                  <a:lnTo>
                    <a:pt x="831" y="816"/>
                  </a:lnTo>
                  <a:lnTo>
                    <a:pt x="819" y="824"/>
                  </a:lnTo>
                  <a:lnTo>
                    <a:pt x="805" y="833"/>
                  </a:lnTo>
                  <a:lnTo>
                    <a:pt x="792" y="840"/>
                  </a:lnTo>
                  <a:lnTo>
                    <a:pt x="778" y="848"/>
                  </a:lnTo>
                  <a:lnTo>
                    <a:pt x="766" y="857"/>
                  </a:lnTo>
                  <a:lnTo>
                    <a:pt x="755" y="864"/>
                  </a:lnTo>
                  <a:lnTo>
                    <a:pt x="747" y="872"/>
                  </a:lnTo>
                  <a:lnTo>
                    <a:pt x="740" y="883"/>
                  </a:lnTo>
                  <a:lnTo>
                    <a:pt x="732" y="902"/>
                  </a:lnTo>
                  <a:lnTo>
                    <a:pt x="723" y="924"/>
                  </a:lnTo>
                  <a:lnTo>
                    <a:pt x="711" y="948"/>
                  </a:lnTo>
                  <a:lnTo>
                    <a:pt x="705" y="959"/>
                  </a:lnTo>
                  <a:lnTo>
                    <a:pt x="700" y="971"/>
                  </a:lnTo>
                  <a:lnTo>
                    <a:pt x="694" y="980"/>
                  </a:lnTo>
                  <a:lnTo>
                    <a:pt x="686" y="988"/>
                  </a:lnTo>
                  <a:lnTo>
                    <a:pt x="680" y="995"/>
                  </a:lnTo>
                  <a:lnTo>
                    <a:pt x="673" y="999"/>
                  </a:lnTo>
                  <a:lnTo>
                    <a:pt x="670" y="1000"/>
                  </a:lnTo>
                  <a:lnTo>
                    <a:pt x="666" y="1001"/>
                  </a:lnTo>
                  <a:lnTo>
                    <a:pt x="663" y="1000"/>
                  </a:lnTo>
                  <a:lnTo>
                    <a:pt x="660" y="999"/>
                  </a:lnTo>
                  <a:lnTo>
                    <a:pt x="655" y="997"/>
                  </a:lnTo>
                  <a:lnTo>
                    <a:pt x="652" y="993"/>
                  </a:lnTo>
                  <a:lnTo>
                    <a:pt x="649" y="990"/>
                  </a:lnTo>
                  <a:lnTo>
                    <a:pt x="647" y="987"/>
                  </a:lnTo>
                  <a:lnTo>
                    <a:pt x="645" y="979"/>
                  </a:lnTo>
                  <a:lnTo>
                    <a:pt x="645" y="969"/>
                  </a:lnTo>
                  <a:lnTo>
                    <a:pt x="647" y="950"/>
                  </a:lnTo>
                  <a:lnTo>
                    <a:pt x="651" y="930"/>
                  </a:lnTo>
                  <a:lnTo>
                    <a:pt x="652" y="920"/>
                  </a:lnTo>
                  <a:lnTo>
                    <a:pt x="652" y="912"/>
                  </a:lnTo>
                  <a:lnTo>
                    <a:pt x="651" y="909"/>
                  </a:lnTo>
                  <a:lnTo>
                    <a:pt x="650" y="905"/>
                  </a:lnTo>
                  <a:lnTo>
                    <a:pt x="648" y="903"/>
                  </a:lnTo>
                  <a:lnTo>
                    <a:pt x="646" y="900"/>
                  </a:lnTo>
                  <a:lnTo>
                    <a:pt x="642" y="897"/>
                  </a:lnTo>
                  <a:lnTo>
                    <a:pt x="638" y="896"/>
                  </a:lnTo>
                  <a:lnTo>
                    <a:pt x="633" y="895"/>
                  </a:lnTo>
                  <a:lnTo>
                    <a:pt x="628" y="894"/>
                  </a:lnTo>
                  <a:lnTo>
                    <a:pt x="621" y="895"/>
                  </a:lnTo>
                  <a:lnTo>
                    <a:pt x="613" y="896"/>
                  </a:lnTo>
                  <a:lnTo>
                    <a:pt x="605" y="897"/>
                  </a:lnTo>
                  <a:lnTo>
                    <a:pt x="595" y="901"/>
                  </a:lnTo>
                  <a:lnTo>
                    <a:pt x="585" y="906"/>
                  </a:lnTo>
                  <a:lnTo>
                    <a:pt x="578" y="912"/>
                  </a:lnTo>
                  <a:lnTo>
                    <a:pt x="573" y="918"/>
                  </a:lnTo>
                  <a:lnTo>
                    <a:pt x="568" y="927"/>
                  </a:lnTo>
                  <a:lnTo>
                    <a:pt x="562" y="943"/>
                  </a:lnTo>
                  <a:lnTo>
                    <a:pt x="555" y="962"/>
                  </a:lnTo>
                  <a:lnTo>
                    <a:pt x="557" y="972"/>
                  </a:lnTo>
                  <a:lnTo>
                    <a:pt x="557" y="983"/>
                  </a:lnTo>
                  <a:lnTo>
                    <a:pt x="555" y="995"/>
                  </a:lnTo>
                  <a:lnTo>
                    <a:pt x="552" y="1007"/>
                  </a:lnTo>
                  <a:lnTo>
                    <a:pt x="550" y="1012"/>
                  </a:lnTo>
                  <a:lnTo>
                    <a:pt x="547" y="1017"/>
                  </a:lnTo>
                  <a:lnTo>
                    <a:pt x="542" y="1022"/>
                  </a:lnTo>
                  <a:lnTo>
                    <a:pt x="539" y="1026"/>
                  </a:lnTo>
                  <a:lnTo>
                    <a:pt x="535" y="1028"/>
                  </a:lnTo>
                  <a:lnTo>
                    <a:pt x="530" y="1030"/>
                  </a:lnTo>
                  <a:lnTo>
                    <a:pt x="525" y="1031"/>
                  </a:lnTo>
                  <a:lnTo>
                    <a:pt x="518" y="1030"/>
                  </a:lnTo>
                  <a:lnTo>
                    <a:pt x="516" y="1029"/>
                  </a:lnTo>
                  <a:lnTo>
                    <a:pt x="514" y="1028"/>
                  </a:lnTo>
                  <a:lnTo>
                    <a:pt x="512" y="1026"/>
                  </a:lnTo>
                  <a:lnTo>
                    <a:pt x="511" y="1024"/>
                  </a:lnTo>
                  <a:lnTo>
                    <a:pt x="509" y="1019"/>
                  </a:lnTo>
                  <a:lnTo>
                    <a:pt x="507" y="1011"/>
                  </a:lnTo>
                  <a:lnTo>
                    <a:pt x="506" y="999"/>
                  </a:lnTo>
                  <a:lnTo>
                    <a:pt x="506" y="987"/>
                  </a:lnTo>
                  <a:lnTo>
                    <a:pt x="506" y="976"/>
                  </a:lnTo>
                  <a:lnTo>
                    <a:pt x="503" y="967"/>
                  </a:lnTo>
                  <a:lnTo>
                    <a:pt x="500" y="958"/>
                  </a:lnTo>
                  <a:lnTo>
                    <a:pt x="497" y="949"/>
                  </a:lnTo>
                  <a:lnTo>
                    <a:pt x="486" y="938"/>
                  </a:lnTo>
                  <a:lnTo>
                    <a:pt x="475" y="927"/>
                  </a:lnTo>
                  <a:lnTo>
                    <a:pt x="465" y="918"/>
                  </a:lnTo>
                  <a:lnTo>
                    <a:pt x="450" y="907"/>
                  </a:lnTo>
                  <a:lnTo>
                    <a:pt x="441" y="902"/>
                  </a:lnTo>
                  <a:lnTo>
                    <a:pt x="434" y="899"/>
                  </a:lnTo>
                  <a:lnTo>
                    <a:pt x="431" y="899"/>
                  </a:lnTo>
                  <a:lnTo>
                    <a:pt x="428" y="899"/>
                  </a:lnTo>
                  <a:lnTo>
                    <a:pt x="425" y="900"/>
                  </a:lnTo>
                  <a:lnTo>
                    <a:pt x="422" y="902"/>
                  </a:lnTo>
                  <a:lnTo>
                    <a:pt x="421" y="905"/>
                  </a:lnTo>
                  <a:lnTo>
                    <a:pt x="420" y="908"/>
                  </a:lnTo>
                  <a:lnTo>
                    <a:pt x="420" y="911"/>
                  </a:lnTo>
                  <a:lnTo>
                    <a:pt x="420" y="914"/>
                  </a:lnTo>
                  <a:lnTo>
                    <a:pt x="422" y="923"/>
                  </a:lnTo>
                  <a:lnTo>
                    <a:pt x="425" y="931"/>
                  </a:lnTo>
                  <a:lnTo>
                    <a:pt x="432" y="948"/>
                  </a:lnTo>
                  <a:lnTo>
                    <a:pt x="438" y="959"/>
                  </a:lnTo>
                  <a:lnTo>
                    <a:pt x="441" y="968"/>
                  </a:lnTo>
                  <a:lnTo>
                    <a:pt x="443" y="978"/>
                  </a:lnTo>
                  <a:lnTo>
                    <a:pt x="444" y="988"/>
                  </a:lnTo>
                  <a:lnTo>
                    <a:pt x="444" y="1000"/>
                  </a:lnTo>
                  <a:lnTo>
                    <a:pt x="442" y="1021"/>
                  </a:lnTo>
                  <a:lnTo>
                    <a:pt x="438" y="1039"/>
                  </a:lnTo>
                  <a:lnTo>
                    <a:pt x="433" y="1057"/>
                  </a:lnTo>
                  <a:lnTo>
                    <a:pt x="427" y="1073"/>
                  </a:lnTo>
                  <a:lnTo>
                    <a:pt x="425" y="1080"/>
                  </a:lnTo>
                  <a:lnTo>
                    <a:pt x="422" y="1088"/>
                  </a:lnTo>
                  <a:lnTo>
                    <a:pt x="420" y="1098"/>
                  </a:lnTo>
                  <a:lnTo>
                    <a:pt x="420" y="1108"/>
                  </a:lnTo>
                  <a:lnTo>
                    <a:pt x="422" y="1110"/>
                  </a:lnTo>
                  <a:lnTo>
                    <a:pt x="425" y="1111"/>
                  </a:lnTo>
                  <a:lnTo>
                    <a:pt x="427" y="1111"/>
                  </a:lnTo>
                  <a:lnTo>
                    <a:pt x="429" y="1111"/>
                  </a:lnTo>
                  <a:lnTo>
                    <a:pt x="434" y="1110"/>
                  </a:lnTo>
                  <a:lnTo>
                    <a:pt x="438" y="1108"/>
                  </a:lnTo>
                  <a:lnTo>
                    <a:pt x="448" y="1101"/>
                  </a:lnTo>
                  <a:lnTo>
                    <a:pt x="454" y="1094"/>
                  </a:lnTo>
                  <a:lnTo>
                    <a:pt x="461" y="1083"/>
                  </a:lnTo>
                  <a:lnTo>
                    <a:pt x="468" y="1073"/>
                  </a:lnTo>
                  <a:lnTo>
                    <a:pt x="477" y="1063"/>
                  </a:lnTo>
                  <a:lnTo>
                    <a:pt x="486" y="1054"/>
                  </a:lnTo>
                  <a:lnTo>
                    <a:pt x="493" y="1055"/>
                  </a:lnTo>
                  <a:lnTo>
                    <a:pt x="502" y="1057"/>
                  </a:lnTo>
                  <a:lnTo>
                    <a:pt x="500" y="1073"/>
                  </a:lnTo>
                  <a:lnTo>
                    <a:pt x="498" y="1092"/>
                  </a:lnTo>
                  <a:lnTo>
                    <a:pt x="497" y="1101"/>
                  </a:lnTo>
                  <a:lnTo>
                    <a:pt x="497" y="1110"/>
                  </a:lnTo>
                  <a:lnTo>
                    <a:pt x="497" y="1118"/>
                  </a:lnTo>
                  <a:lnTo>
                    <a:pt x="498" y="1123"/>
                  </a:lnTo>
                  <a:lnTo>
                    <a:pt x="500" y="1127"/>
                  </a:lnTo>
                  <a:lnTo>
                    <a:pt x="502" y="1130"/>
                  </a:lnTo>
                  <a:lnTo>
                    <a:pt x="505" y="1132"/>
                  </a:lnTo>
                  <a:lnTo>
                    <a:pt x="508" y="1134"/>
                  </a:lnTo>
                  <a:lnTo>
                    <a:pt x="514" y="1137"/>
                  </a:lnTo>
                  <a:lnTo>
                    <a:pt x="522" y="1138"/>
                  </a:lnTo>
                  <a:lnTo>
                    <a:pt x="538" y="1136"/>
                  </a:lnTo>
                  <a:lnTo>
                    <a:pt x="555" y="1133"/>
                  </a:lnTo>
                  <a:lnTo>
                    <a:pt x="562" y="1132"/>
                  </a:lnTo>
                  <a:lnTo>
                    <a:pt x="569" y="1131"/>
                  </a:lnTo>
                  <a:lnTo>
                    <a:pt x="575" y="1132"/>
                  </a:lnTo>
                  <a:lnTo>
                    <a:pt x="580" y="1134"/>
                  </a:lnTo>
                  <a:lnTo>
                    <a:pt x="581" y="1136"/>
                  </a:lnTo>
                  <a:lnTo>
                    <a:pt x="582" y="1138"/>
                  </a:lnTo>
                  <a:lnTo>
                    <a:pt x="583" y="1142"/>
                  </a:lnTo>
                  <a:lnTo>
                    <a:pt x="583" y="1145"/>
                  </a:lnTo>
                  <a:lnTo>
                    <a:pt x="582" y="1154"/>
                  </a:lnTo>
                  <a:lnTo>
                    <a:pt x="579" y="1167"/>
                  </a:lnTo>
                  <a:lnTo>
                    <a:pt x="574" y="1180"/>
                  </a:lnTo>
                  <a:lnTo>
                    <a:pt x="568" y="1194"/>
                  </a:lnTo>
                  <a:lnTo>
                    <a:pt x="564" y="1207"/>
                  </a:lnTo>
                  <a:lnTo>
                    <a:pt x="562" y="1221"/>
                  </a:lnTo>
                  <a:lnTo>
                    <a:pt x="562" y="1227"/>
                  </a:lnTo>
                  <a:lnTo>
                    <a:pt x="563" y="1233"/>
                  </a:lnTo>
                  <a:lnTo>
                    <a:pt x="564" y="1239"/>
                  </a:lnTo>
                  <a:lnTo>
                    <a:pt x="566" y="1244"/>
                  </a:lnTo>
                  <a:lnTo>
                    <a:pt x="571" y="1248"/>
                  </a:lnTo>
                  <a:lnTo>
                    <a:pt x="576" y="1252"/>
                  </a:lnTo>
                  <a:lnTo>
                    <a:pt x="582" y="1255"/>
                  </a:lnTo>
                  <a:lnTo>
                    <a:pt x="589" y="1257"/>
                  </a:lnTo>
                  <a:lnTo>
                    <a:pt x="605" y="1261"/>
                  </a:lnTo>
                  <a:lnTo>
                    <a:pt x="617" y="1265"/>
                  </a:lnTo>
                  <a:lnTo>
                    <a:pt x="623" y="1269"/>
                  </a:lnTo>
                  <a:lnTo>
                    <a:pt x="626" y="1273"/>
                  </a:lnTo>
                  <a:lnTo>
                    <a:pt x="628" y="1280"/>
                  </a:lnTo>
                  <a:lnTo>
                    <a:pt x="629" y="1291"/>
                  </a:lnTo>
                  <a:lnTo>
                    <a:pt x="628" y="1297"/>
                  </a:lnTo>
                  <a:lnTo>
                    <a:pt x="627" y="1302"/>
                  </a:lnTo>
                  <a:lnTo>
                    <a:pt x="624" y="1309"/>
                  </a:lnTo>
                  <a:lnTo>
                    <a:pt x="621" y="1314"/>
                  </a:lnTo>
                  <a:lnTo>
                    <a:pt x="612" y="1323"/>
                  </a:lnTo>
                  <a:lnTo>
                    <a:pt x="602" y="1334"/>
                  </a:lnTo>
                  <a:lnTo>
                    <a:pt x="590" y="1343"/>
                  </a:lnTo>
                  <a:lnTo>
                    <a:pt x="580" y="1352"/>
                  </a:lnTo>
                  <a:lnTo>
                    <a:pt x="576" y="1358"/>
                  </a:lnTo>
                  <a:lnTo>
                    <a:pt x="571" y="1363"/>
                  </a:lnTo>
                  <a:lnTo>
                    <a:pt x="567" y="1368"/>
                  </a:lnTo>
                  <a:lnTo>
                    <a:pt x="564" y="1373"/>
                  </a:lnTo>
                  <a:lnTo>
                    <a:pt x="559" y="1386"/>
                  </a:lnTo>
                  <a:lnTo>
                    <a:pt x="555" y="1397"/>
                  </a:lnTo>
                  <a:lnTo>
                    <a:pt x="555" y="1403"/>
                  </a:lnTo>
                  <a:lnTo>
                    <a:pt x="555" y="1409"/>
                  </a:lnTo>
                  <a:lnTo>
                    <a:pt x="555" y="1415"/>
                  </a:lnTo>
                  <a:lnTo>
                    <a:pt x="557" y="1423"/>
                  </a:lnTo>
                  <a:lnTo>
                    <a:pt x="560" y="1432"/>
                  </a:lnTo>
                  <a:lnTo>
                    <a:pt x="565" y="1441"/>
                  </a:lnTo>
                  <a:lnTo>
                    <a:pt x="571" y="1449"/>
                  </a:lnTo>
                  <a:lnTo>
                    <a:pt x="576" y="1457"/>
                  </a:lnTo>
                  <a:lnTo>
                    <a:pt x="581" y="1465"/>
                  </a:lnTo>
                  <a:lnTo>
                    <a:pt x="585" y="1472"/>
                  </a:lnTo>
                  <a:lnTo>
                    <a:pt x="589" y="1481"/>
                  </a:lnTo>
                  <a:lnTo>
                    <a:pt x="592" y="1490"/>
                  </a:lnTo>
                  <a:lnTo>
                    <a:pt x="592" y="1499"/>
                  </a:lnTo>
                  <a:lnTo>
                    <a:pt x="591" y="1510"/>
                  </a:lnTo>
                  <a:lnTo>
                    <a:pt x="590" y="1519"/>
                  </a:lnTo>
                  <a:lnTo>
                    <a:pt x="588" y="1530"/>
                  </a:lnTo>
                  <a:lnTo>
                    <a:pt x="586" y="1539"/>
                  </a:lnTo>
                  <a:lnTo>
                    <a:pt x="585" y="1550"/>
                  </a:lnTo>
                  <a:lnTo>
                    <a:pt x="585" y="1559"/>
                  </a:lnTo>
                  <a:lnTo>
                    <a:pt x="586" y="1569"/>
                  </a:lnTo>
                  <a:lnTo>
                    <a:pt x="587" y="1577"/>
                  </a:lnTo>
                  <a:lnTo>
                    <a:pt x="589" y="1582"/>
                  </a:lnTo>
                  <a:lnTo>
                    <a:pt x="591" y="1586"/>
                  </a:lnTo>
                  <a:lnTo>
                    <a:pt x="593" y="1590"/>
                  </a:lnTo>
                  <a:lnTo>
                    <a:pt x="596" y="1592"/>
                  </a:lnTo>
                  <a:lnTo>
                    <a:pt x="598" y="1594"/>
                  </a:lnTo>
                  <a:lnTo>
                    <a:pt x="601" y="1594"/>
                  </a:lnTo>
                  <a:lnTo>
                    <a:pt x="603" y="1594"/>
                  </a:lnTo>
                  <a:lnTo>
                    <a:pt x="609" y="1593"/>
                  </a:lnTo>
                  <a:lnTo>
                    <a:pt x="616" y="1589"/>
                  </a:lnTo>
                  <a:lnTo>
                    <a:pt x="624" y="1583"/>
                  </a:lnTo>
                  <a:lnTo>
                    <a:pt x="632" y="1577"/>
                  </a:lnTo>
                  <a:lnTo>
                    <a:pt x="641" y="1569"/>
                  </a:lnTo>
                  <a:lnTo>
                    <a:pt x="650" y="1562"/>
                  </a:lnTo>
                  <a:lnTo>
                    <a:pt x="660" y="1556"/>
                  </a:lnTo>
                  <a:lnTo>
                    <a:pt x="670" y="1552"/>
                  </a:lnTo>
                  <a:lnTo>
                    <a:pt x="675" y="1550"/>
                  </a:lnTo>
                  <a:lnTo>
                    <a:pt x="680" y="1548"/>
                  </a:lnTo>
                  <a:lnTo>
                    <a:pt x="685" y="1547"/>
                  </a:lnTo>
                  <a:lnTo>
                    <a:pt x="690" y="1548"/>
                  </a:lnTo>
                  <a:lnTo>
                    <a:pt x="696" y="1548"/>
                  </a:lnTo>
                  <a:lnTo>
                    <a:pt x="702" y="1551"/>
                  </a:lnTo>
                  <a:lnTo>
                    <a:pt x="707" y="1554"/>
                  </a:lnTo>
                  <a:lnTo>
                    <a:pt x="712" y="1557"/>
                  </a:lnTo>
                  <a:lnTo>
                    <a:pt x="724" y="1566"/>
                  </a:lnTo>
                  <a:lnTo>
                    <a:pt x="735" y="1578"/>
                  </a:lnTo>
                  <a:lnTo>
                    <a:pt x="747" y="1590"/>
                  </a:lnTo>
                  <a:lnTo>
                    <a:pt x="758" y="1603"/>
                  </a:lnTo>
                  <a:lnTo>
                    <a:pt x="770" y="1615"/>
                  </a:lnTo>
                  <a:lnTo>
                    <a:pt x="780" y="1627"/>
                  </a:lnTo>
                  <a:lnTo>
                    <a:pt x="792" y="1636"/>
                  </a:lnTo>
                  <a:lnTo>
                    <a:pt x="803" y="1644"/>
                  </a:lnTo>
                  <a:lnTo>
                    <a:pt x="809" y="1647"/>
                  </a:lnTo>
                  <a:lnTo>
                    <a:pt x="815" y="1649"/>
                  </a:lnTo>
                  <a:lnTo>
                    <a:pt x="821" y="1650"/>
                  </a:lnTo>
                  <a:lnTo>
                    <a:pt x="827" y="1650"/>
                  </a:lnTo>
                  <a:lnTo>
                    <a:pt x="840" y="1650"/>
                  </a:lnTo>
                  <a:lnTo>
                    <a:pt x="852" y="1648"/>
                  </a:lnTo>
                  <a:lnTo>
                    <a:pt x="865" y="1644"/>
                  </a:lnTo>
                  <a:lnTo>
                    <a:pt x="876" y="1643"/>
                  </a:lnTo>
                  <a:lnTo>
                    <a:pt x="882" y="1642"/>
                  </a:lnTo>
                  <a:lnTo>
                    <a:pt x="888" y="1642"/>
                  </a:lnTo>
                  <a:lnTo>
                    <a:pt x="894" y="1643"/>
                  </a:lnTo>
                  <a:lnTo>
                    <a:pt x="899" y="1645"/>
                  </a:lnTo>
                  <a:lnTo>
                    <a:pt x="913" y="1652"/>
                  </a:lnTo>
                  <a:lnTo>
                    <a:pt x="926" y="1660"/>
                  </a:lnTo>
                  <a:lnTo>
                    <a:pt x="939" y="1668"/>
                  </a:lnTo>
                  <a:lnTo>
                    <a:pt x="950" y="1680"/>
                  </a:lnTo>
                  <a:lnTo>
                    <a:pt x="955" y="1685"/>
                  </a:lnTo>
                  <a:lnTo>
                    <a:pt x="959" y="1691"/>
                  </a:lnTo>
                  <a:lnTo>
                    <a:pt x="964" y="1698"/>
                  </a:lnTo>
                  <a:lnTo>
                    <a:pt x="968" y="1704"/>
                  </a:lnTo>
                  <a:lnTo>
                    <a:pt x="971" y="1711"/>
                  </a:lnTo>
                  <a:lnTo>
                    <a:pt x="973" y="1719"/>
                  </a:lnTo>
                  <a:lnTo>
                    <a:pt x="974" y="1726"/>
                  </a:lnTo>
                  <a:lnTo>
                    <a:pt x="975" y="1733"/>
                  </a:lnTo>
                  <a:lnTo>
                    <a:pt x="975" y="1743"/>
                  </a:lnTo>
                  <a:lnTo>
                    <a:pt x="974" y="1751"/>
                  </a:lnTo>
                  <a:lnTo>
                    <a:pt x="973" y="1759"/>
                  </a:lnTo>
                  <a:lnTo>
                    <a:pt x="971" y="1768"/>
                  </a:lnTo>
                  <a:lnTo>
                    <a:pt x="965" y="1781"/>
                  </a:lnTo>
                  <a:lnTo>
                    <a:pt x="957" y="1795"/>
                  </a:lnTo>
                  <a:lnTo>
                    <a:pt x="950" y="1807"/>
                  </a:lnTo>
                  <a:lnTo>
                    <a:pt x="943" y="1820"/>
                  </a:lnTo>
                  <a:lnTo>
                    <a:pt x="940" y="1826"/>
                  </a:lnTo>
                  <a:lnTo>
                    <a:pt x="937" y="1833"/>
                  </a:lnTo>
                  <a:lnTo>
                    <a:pt x="934" y="1840"/>
                  </a:lnTo>
                  <a:lnTo>
                    <a:pt x="932" y="1847"/>
                  </a:lnTo>
                  <a:lnTo>
                    <a:pt x="928" y="1851"/>
                  </a:lnTo>
                  <a:lnTo>
                    <a:pt x="926" y="1855"/>
                  </a:lnTo>
                  <a:lnTo>
                    <a:pt x="924" y="1860"/>
                  </a:lnTo>
                  <a:lnTo>
                    <a:pt x="922" y="1865"/>
                  </a:lnTo>
                  <a:lnTo>
                    <a:pt x="922" y="1876"/>
                  </a:lnTo>
                  <a:lnTo>
                    <a:pt x="923" y="1889"/>
                  </a:lnTo>
                  <a:lnTo>
                    <a:pt x="930" y="1916"/>
                  </a:lnTo>
                  <a:lnTo>
                    <a:pt x="940" y="1945"/>
                  </a:lnTo>
                  <a:lnTo>
                    <a:pt x="944" y="1960"/>
                  </a:lnTo>
                  <a:lnTo>
                    <a:pt x="946" y="1973"/>
                  </a:lnTo>
                  <a:lnTo>
                    <a:pt x="948" y="1987"/>
                  </a:lnTo>
                  <a:lnTo>
                    <a:pt x="948" y="1998"/>
                  </a:lnTo>
                  <a:lnTo>
                    <a:pt x="946" y="2004"/>
                  </a:lnTo>
                  <a:lnTo>
                    <a:pt x="945" y="2010"/>
                  </a:lnTo>
                  <a:lnTo>
                    <a:pt x="942" y="2015"/>
                  </a:lnTo>
                  <a:lnTo>
                    <a:pt x="939" y="2019"/>
                  </a:lnTo>
                  <a:lnTo>
                    <a:pt x="934" y="2023"/>
                  </a:lnTo>
                  <a:lnTo>
                    <a:pt x="928" y="2027"/>
                  </a:lnTo>
                  <a:lnTo>
                    <a:pt x="922" y="2030"/>
                  </a:lnTo>
                  <a:lnTo>
                    <a:pt x="915" y="2033"/>
                  </a:lnTo>
                  <a:lnTo>
                    <a:pt x="910" y="2034"/>
                  </a:lnTo>
                  <a:lnTo>
                    <a:pt x="905" y="2033"/>
                  </a:lnTo>
                  <a:lnTo>
                    <a:pt x="899" y="2032"/>
                  </a:lnTo>
                  <a:lnTo>
                    <a:pt x="893" y="2029"/>
                  </a:lnTo>
                  <a:lnTo>
                    <a:pt x="879" y="2024"/>
                  </a:lnTo>
                  <a:lnTo>
                    <a:pt x="865" y="2017"/>
                  </a:lnTo>
                  <a:lnTo>
                    <a:pt x="849" y="2011"/>
                  </a:lnTo>
                  <a:lnTo>
                    <a:pt x="833" y="2004"/>
                  </a:lnTo>
                  <a:lnTo>
                    <a:pt x="825" y="2003"/>
                  </a:lnTo>
                  <a:lnTo>
                    <a:pt x="817" y="2001"/>
                  </a:lnTo>
                  <a:lnTo>
                    <a:pt x="809" y="2001"/>
                  </a:lnTo>
                  <a:lnTo>
                    <a:pt x="802" y="2001"/>
                  </a:lnTo>
                  <a:lnTo>
                    <a:pt x="795" y="2003"/>
                  </a:lnTo>
                  <a:lnTo>
                    <a:pt x="787" y="2005"/>
                  </a:lnTo>
                  <a:lnTo>
                    <a:pt x="781" y="2009"/>
                  </a:lnTo>
                  <a:lnTo>
                    <a:pt x="775" y="2012"/>
                  </a:lnTo>
                  <a:lnTo>
                    <a:pt x="762" y="2020"/>
                  </a:lnTo>
                  <a:lnTo>
                    <a:pt x="752" y="2029"/>
                  </a:lnTo>
                  <a:lnTo>
                    <a:pt x="732" y="2051"/>
                  </a:lnTo>
                  <a:lnTo>
                    <a:pt x="712" y="2073"/>
                  </a:lnTo>
                  <a:lnTo>
                    <a:pt x="699" y="2084"/>
                  </a:lnTo>
                  <a:lnTo>
                    <a:pt x="680" y="2099"/>
                  </a:lnTo>
                  <a:lnTo>
                    <a:pt x="670" y="2109"/>
                  </a:lnTo>
                  <a:lnTo>
                    <a:pt x="660" y="2117"/>
                  </a:lnTo>
                  <a:lnTo>
                    <a:pt x="651" y="2126"/>
                  </a:lnTo>
                  <a:lnTo>
                    <a:pt x="644" y="2136"/>
                  </a:lnTo>
                  <a:lnTo>
                    <a:pt x="637" y="2144"/>
                  </a:lnTo>
                  <a:lnTo>
                    <a:pt x="634" y="2151"/>
                  </a:lnTo>
                  <a:lnTo>
                    <a:pt x="633" y="2155"/>
                  </a:lnTo>
                  <a:lnTo>
                    <a:pt x="633" y="2158"/>
                  </a:lnTo>
                  <a:lnTo>
                    <a:pt x="633" y="2161"/>
                  </a:lnTo>
                  <a:lnTo>
                    <a:pt x="634" y="2163"/>
                  </a:lnTo>
                  <a:lnTo>
                    <a:pt x="636" y="2165"/>
                  </a:lnTo>
                  <a:lnTo>
                    <a:pt x="639" y="2167"/>
                  </a:lnTo>
                  <a:lnTo>
                    <a:pt x="644" y="2168"/>
                  </a:lnTo>
                  <a:lnTo>
                    <a:pt x="649" y="2168"/>
                  </a:lnTo>
                  <a:lnTo>
                    <a:pt x="662" y="2168"/>
                  </a:lnTo>
                  <a:lnTo>
                    <a:pt x="681" y="2165"/>
                  </a:lnTo>
                  <a:lnTo>
                    <a:pt x="695" y="2162"/>
                  </a:lnTo>
                  <a:lnTo>
                    <a:pt x="707" y="2158"/>
                  </a:lnTo>
                  <a:lnTo>
                    <a:pt x="720" y="2154"/>
                  </a:lnTo>
                  <a:lnTo>
                    <a:pt x="732" y="2148"/>
                  </a:lnTo>
                  <a:lnTo>
                    <a:pt x="755" y="2137"/>
                  </a:lnTo>
                  <a:lnTo>
                    <a:pt x="779" y="2127"/>
                  </a:lnTo>
                  <a:lnTo>
                    <a:pt x="791" y="2123"/>
                  </a:lnTo>
                  <a:lnTo>
                    <a:pt x="802" y="2120"/>
                  </a:lnTo>
                  <a:lnTo>
                    <a:pt x="815" y="2119"/>
                  </a:lnTo>
                  <a:lnTo>
                    <a:pt x="826" y="2119"/>
                  </a:lnTo>
                  <a:lnTo>
                    <a:pt x="838" y="2120"/>
                  </a:lnTo>
                  <a:lnTo>
                    <a:pt x="852" y="2123"/>
                  </a:lnTo>
                  <a:lnTo>
                    <a:pt x="866" y="2130"/>
                  </a:lnTo>
                  <a:lnTo>
                    <a:pt x="879" y="2138"/>
                  </a:lnTo>
                  <a:lnTo>
                    <a:pt x="879" y="2146"/>
                  </a:lnTo>
                  <a:lnTo>
                    <a:pt x="877" y="2157"/>
                  </a:lnTo>
                  <a:lnTo>
                    <a:pt x="874" y="2166"/>
                  </a:lnTo>
                  <a:lnTo>
                    <a:pt x="870" y="2178"/>
                  </a:lnTo>
                  <a:lnTo>
                    <a:pt x="864" y="2187"/>
                  </a:lnTo>
                  <a:lnTo>
                    <a:pt x="857" y="2196"/>
                  </a:lnTo>
                  <a:lnTo>
                    <a:pt x="851" y="2205"/>
                  </a:lnTo>
                  <a:lnTo>
                    <a:pt x="845" y="2212"/>
                  </a:lnTo>
                  <a:lnTo>
                    <a:pt x="840" y="2219"/>
                  </a:lnTo>
                  <a:lnTo>
                    <a:pt x="834" y="2228"/>
                  </a:lnTo>
                  <a:lnTo>
                    <a:pt x="831" y="2237"/>
                  </a:lnTo>
                  <a:lnTo>
                    <a:pt x="828" y="2247"/>
                  </a:lnTo>
                  <a:lnTo>
                    <a:pt x="824" y="2269"/>
                  </a:lnTo>
                  <a:lnTo>
                    <a:pt x="822" y="2288"/>
                  </a:lnTo>
                  <a:lnTo>
                    <a:pt x="821" y="2298"/>
                  </a:lnTo>
                  <a:lnTo>
                    <a:pt x="818" y="2306"/>
                  </a:lnTo>
                  <a:lnTo>
                    <a:pt x="815" y="2316"/>
                  </a:lnTo>
                  <a:lnTo>
                    <a:pt x="809" y="2326"/>
                  </a:lnTo>
                  <a:lnTo>
                    <a:pt x="804" y="2336"/>
                  </a:lnTo>
                  <a:lnTo>
                    <a:pt x="798" y="2347"/>
                  </a:lnTo>
                  <a:lnTo>
                    <a:pt x="791" y="2357"/>
                  </a:lnTo>
                  <a:lnTo>
                    <a:pt x="783" y="2366"/>
                  </a:lnTo>
                  <a:lnTo>
                    <a:pt x="768" y="2385"/>
                  </a:lnTo>
                  <a:lnTo>
                    <a:pt x="750" y="2403"/>
                  </a:lnTo>
                  <a:lnTo>
                    <a:pt x="742" y="2410"/>
                  </a:lnTo>
                  <a:lnTo>
                    <a:pt x="733" y="2416"/>
                  </a:lnTo>
                  <a:lnTo>
                    <a:pt x="726" y="2422"/>
                  </a:lnTo>
                  <a:lnTo>
                    <a:pt x="718" y="2426"/>
                  </a:lnTo>
                  <a:lnTo>
                    <a:pt x="710" y="2430"/>
                  </a:lnTo>
                  <a:lnTo>
                    <a:pt x="705" y="2434"/>
                  </a:lnTo>
                  <a:lnTo>
                    <a:pt x="701" y="2438"/>
                  </a:lnTo>
                  <a:lnTo>
                    <a:pt x="697" y="2443"/>
                  </a:lnTo>
                  <a:lnTo>
                    <a:pt x="695" y="2447"/>
                  </a:lnTo>
                  <a:lnTo>
                    <a:pt x="694" y="2451"/>
                  </a:lnTo>
                  <a:lnTo>
                    <a:pt x="694" y="2455"/>
                  </a:lnTo>
                  <a:lnTo>
                    <a:pt x="694" y="2459"/>
                  </a:lnTo>
                  <a:lnTo>
                    <a:pt x="697" y="2469"/>
                  </a:lnTo>
                  <a:lnTo>
                    <a:pt x="701" y="2478"/>
                  </a:lnTo>
                  <a:lnTo>
                    <a:pt x="706" y="2488"/>
                  </a:lnTo>
                  <a:lnTo>
                    <a:pt x="711" y="2500"/>
                  </a:lnTo>
                  <a:lnTo>
                    <a:pt x="714" y="2508"/>
                  </a:lnTo>
                  <a:lnTo>
                    <a:pt x="718" y="2518"/>
                  </a:lnTo>
                  <a:lnTo>
                    <a:pt x="721" y="2530"/>
                  </a:lnTo>
                  <a:lnTo>
                    <a:pt x="723" y="2543"/>
                  </a:lnTo>
                  <a:lnTo>
                    <a:pt x="723" y="2549"/>
                  </a:lnTo>
                  <a:lnTo>
                    <a:pt x="723" y="2555"/>
                  </a:lnTo>
                  <a:lnTo>
                    <a:pt x="723" y="2561"/>
                  </a:lnTo>
                  <a:lnTo>
                    <a:pt x="722" y="2567"/>
                  </a:lnTo>
                  <a:lnTo>
                    <a:pt x="720" y="2571"/>
                  </a:lnTo>
                  <a:lnTo>
                    <a:pt x="717" y="2575"/>
                  </a:lnTo>
                  <a:lnTo>
                    <a:pt x="713" y="2577"/>
                  </a:lnTo>
                  <a:lnTo>
                    <a:pt x="709" y="2579"/>
                  </a:lnTo>
                  <a:lnTo>
                    <a:pt x="706" y="2579"/>
                  </a:lnTo>
                  <a:lnTo>
                    <a:pt x="703" y="2579"/>
                  </a:lnTo>
                  <a:lnTo>
                    <a:pt x="700" y="2577"/>
                  </a:lnTo>
                  <a:lnTo>
                    <a:pt x="698" y="2575"/>
                  </a:lnTo>
                  <a:lnTo>
                    <a:pt x="693" y="2568"/>
                  </a:lnTo>
                  <a:lnTo>
                    <a:pt x="688" y="2559"/>
                  </a:lnTo>
                  <a:lnTo>
                    <a:pt x="681" y="2542"/>
                  </a:lnTo>
                  <a:lnTo>
                    <a:pt x="676" y="2529"/>
                  </a:lnTo>
                  <a:lnTo>
                    <a:pt x="666" y="2517"/>
                  </a:lnTo>
                  <a:lnTo>
                    <a:pt x="659" y="2505"/>
                  </a:lnTo>
                  <a:lnTo>
                    <a:pt x="652" y="2497"/>
                  </a:lnTo>
                  <a:lnTo>
                    <a:pt x="646" y="2491"/>
                  </a:lnTo>
                  <a:lnTo>
                    <a:pt x="642" y="2488"/>
                  </a:lnTo>
                  <a:lnTo>
                    <a:pt x="639" y="2487"/>
                  </a:lnTo>
                  <a:lnTo>
                    <a:pt x="636" y="2488"/>
                  </a:lnTo>
                  <a:lnTo>
                    <a:pt x="633" y="2489"/>
                  </a:lnTo>
                  <a:lnTo>
                    <a:pt x="629" y="2493"/>
                  </a:lnTo>
                  <a:lnTo>
                    <a:pt x="626" y="2497"/>
                  </a:lnTo>
                  <a:lnTo>
                    <a:pt x="622" y="2503"/>
                  </a:lnTo>
                  <a:lnTo>
                    <a:pt x="617" y="2510"/>
                  </a:lnTo>
                  <a:lnTo>
                    <a:pt x="605" y="2527"/>
                  </a:lnTo>
                  <a:lnTo>
                    <a:pt x="588" y="2548"/>
                  </a:lnTo>
                  <a:lnTo>
                    <a:pt x="580" y="2559"/>
                  </a:lnTo>
                  <a:lnTo>
                    <a:pt x="574" y="2570"/>
                  </a:lnTo>
                  <a:lnTo>
                    <a:pt x="572" y="2574"/>
                  </a:lnTo>
                  <a:lnTo>
                    <a:pt x="571" y="2578"/>
                  </a:lnTo>
                  <a:lnTo>
                    <a:pt x="571" y="2582"/>
                  </a:lnTo>
                  <a:lnTo>
                    <a:pt x="571" y="2585"/>
                  </a:lnTo>
                  <a:lnTo>
                    <a:pt x="589" y="2589"/>
                  </a:lnTo>
                  <a:lnTo>
                    <a:pt x="610" y="2591"/>
                  </a:lnTo>
                  <a:lnTo>
                    <a:pt x="631" y="2593"/>
                  </a:lnTo>
                  <a:lnTo>
                    <a:pt x="651" y="2596"/>
                  </a:lnTo>
                  <a:lnTo>
                    <a:pt x="658" y="2598"/>
                  </a:lnTo>
                  <a:lnTo>
                    <a:pt x="664" y="2601"/>
                  </a:lnTo>
                  <a:lnTo>
                    <a:pt x="668" y="2603"/>
                  </a:lnTo>
                  <a:lnTo>
                    <a:pt x="670" y="2605"/>
                  </a:lnTo>
                  <a:lnTo>
                    <a:pt x="671" y="2608"/>
                  </a:lnTo>
                  <a:lnTo>
                    <a:pt x="672" y="2611"/>
                  </a:lnTo>
                  <a:lnTo>
                    <a:pt x="672" y="2615"/>
                  </a:lnTo>
                  <a:lnTo>
                    <a:pt x="672" y="2618"/>
                  </a:lnTo>
                  <a:lnTo>
                    <a:pt x="671" y="2622"/>
                  </a:lnTo>
                  <a:lnTo>
                    <a:pt x="669" y="2626"/>
                  </a:lnTo>
                  <a:lnTo>
                    <a:pt x="662" y="2636"/>
                  </a:lnTo>
                  <a:lnTo>
                    <a:pt x="653" y="2647"/>
                  </a:lnTo>
                  <a:lnTo>
                    <a:pt x="645" y="2648"/>
                  </a:lnTo>
                  <a:lnTo>
                    <a:pt x="635" y="2647"/>
                  </a:lnTo>
                  <a:lnTo>
                    <a:pt x="631" y="2647"/>
                  </a:lnTo>
                  <a:lnTo>
                    <a:pt x="627" y="2648"/>
                  </a:lnTo>
                  <a:lnTo>
                    <a:pt x="623" y="2648"/>
                  </a:lnTo>
                  <a:lnTo>
                    <a:pt x="620" y="2650"/>
                  </a:lnTo>
                  <a:lnTo>
                    <a:pt x="620" y="2656"/>
                  </a:lnTo>
                  <a:lnTo>
                    <a:pt x="621" y="2663"/>
                  </a:lnTo>
                  <a:lnTo>
                    <a:pt x="624" y="2670"/>
                  </a:lnTo>
                  <a:lnTo>
                    <a:pt x="628" y="2676"/>
                  </a:lnTo>
                  <a:lnTo>
                    <a:pt x="636" y="2692"/>
                  </a:lnTo>
                  <a:lnTo>
                    <a:pt x="641" y="2705"/>
                  </a:lnTo>
                  <a:lnTo>
                    <a:pt x="644" y="2713"/>
                  </a:lnTo>
                  <a:lnTo>
                    <a:pt x="644" y="2721"/>
                  </a:lnTo>
                  <a:lnTo>
                    <a:pt x="644" y="2728"/>
                  </a:lnTo>
                  <a:lnTo>
                    <a:pt x="644" y="2736"/>
                  </a:lnTo>
                  <a:lnTo>
                    <a:pt x="641" y="2742"/>
                  </a:lnTo>
                  <a:lnTo>
                    <a:pt x="639" y="2748"/>
                  </a:lnTo>
                  <a:lnTo>
                    <a:pt x="636" y="2753"/>
                  </a:lnTo>
                  <a:lnTo>
                    <a:pt x="633" y="2758"/>
                  </a:lnTo>
                  <a:lnTo>
                    <a:pt x="628" y="2762"/>
                  </a:lnTo>
                  <a:lnTo>
                    <a:pt x="624" y="2766"/>
                  </a:lnTo>
                  <a:lnTo>
                    <a:pt x="617" y="2769"/>
                  </a:lnTo>
                  <a:lnTo>
                    <a:pt x="612" y="2771"/>
                  </a:lnTo>
                  <a:lnTo>
                    <a:pt x="605" y="2772"/>
                  </a:lnTo>
                  <a:lnTo>
                    <a:pt x="598" y="2773"/>
                  </a:lnTo>
                  <a:lnTo>
                    <a:pt x="590" y="2774"/>
                  </a:lnTo>
                  <a:lnTo>
                    <a:pt x="582" y="2773"/>
                  </a:lnTo>
                  <a:lnTo>
                    <a:pt x="567" y="2772"/>
                  </a:lnTo>
                  <a:lnTo>
                    <a:pt x="555" y="2771"/>
                  </a:lnTo>
                  <a:lnTo>
                    <a:pt x="542" y="2772"/>
                  </a:lnTo>
                  <a:lnTo>
                    <a:pt x="531" y="2775"/>
                  </a:lnTo>
                  <a:lnTo>
                    <a:pt x="526" y="2777"/>
                  </a:lnTo>
                  <a:lnTo>
                    <a:pt x="522" y="2780"/>
                  </a:lnTo>
                  <a:lnTo>
                    <a:pt x="516" y="2784"/>
                  </a:lnTo>
                  <a:lnTo>
                    <a:pt x="513" y="2788"/>
                  </a:lnTo>
                  <a:lnTo>
                    <a:pt x="510" y="2793"/>
                  </a:lnTo>
                  <a:lnTo>
                    <a:pt x="507" y="2799"/>
                  </a:lnTo>
                  <a:lnTo>
                    <a:pt x="506" y="2806"/>
                  </a:lnTo>
                  <a:lnTo>
                    <a:pt x="504" y="2814"/>
                  </a:lnTo>
                  <a:lnTo>
                    <a:pt x="495" y="2822"/>
                  </a:lnTo>
                  <a:lnTo>
                    <a:pt x="488" y="2826"/>
                  </a:lnTo>
                  <a:lnTo>
                    <a:pt x="484" y="2828"/>
                  </a:lnTo>
                  <a:lnTo>
                    <a:pt x="481" y="2829"/>
                  </a:lnTo>
                  <a:lnTo>
                    <a:pt x="478" y="2829"/>
                  </a:lnTo>
                  <a:lnTo>
                    <a:pt x="475" y="2829"/>
                  </a:lnTo>
                  <a:lnTo>
                    <a:pt x="469" y="2826"/>
                  </a:lnTo>
                  <a:lnTo>
                    <a:pt x="464" y="2823"/>
                  </a:lnTo>
                  <a:lnTo>
                    <a:pt x="460" y="2818"/>
                  </a:lnTo>
                  <a:lnTo>
                    <a:pt x="456" y="2813"/>
                  </a:lnTo>
                  <a:lnTo>
                    <a:pt x="446" y="2802"/>
                  </a:lnTo>
                  <a:lnTo>
                    <a:pt x="436" y="2793"/>
                  </a:lnTo>
                  <a:lnTo>
                    <a:pt x="431" y="2790"/>
                  </a:lnTo>
                  <a:lnTo>
                    <a:pt x="425" y="2789"/>
                  </a:lnTo>
                  <a:lnTo>
                    <a:pt x="417" y="2789"/>
                  </a:lnTo>
                  <a:lnTo>
                    <a:pt x="409" y="2792"/>
                  </a:lnTo>
                  <a:lnTo>
                    <a:pt x="406" y="2794"/>
                  </a:lnTo>
                  <a:lnTo>
                    <a:pt x="403" y="2796"/>
                  </a:lnTo>
                  <a:lnTo>
                    <a:pt x="401" y="2799"/>
                  </a:lnTo>
                  <a:lnTo>
                    <a:pt x="398" y="2801"/>
                  </a:lnTo>
                  <a:lnTo>
                    <a:pt x="395" y="2809"/>
                  </a:lnTo>
                  <a:lnTo>
                    <a:pt x="392" y="2816"/>
                  </a:lnTo>
                  <a:lnTo>
                    <a:pt x="390" y="2822"/>
                  </a:lnTo>
                  <a:lnTo>
                    <a:pt x="388" y="2830"/>
                  </a:lnTo>
                  <a:lnTo>
                    <a:pt x="386" y="2833"/>
                  </a:lnTo>
                  <a:lnTo>
                    <a:pt x="384" y="2835"/>
                  </a:lnTo>
                  <a:lnTo>
                    <a:pt x="381" y="2838"/>
                  </a:lnTo>
                  <a:lnTo>
                    <a:pt x="378" y="2840"/>
                  </a:lnTo>
                  <a:lnTo>
                    <a:pt x="367" y="2846"/>
                  </a:lnTo>
                  <a:lnTo>
                    <a:pt x="351" y="2856"/>
                  </a:lnTo>
                  <a:lnTo>
                    <a:pt x="342" y="2859"/>
                  </a:lnTo>
                  <a:lnTo>
                    <a:pt x="335" y="2859"/>
                  </a:lnTo>
                  <a:lnTo>
                    <a:pt x="332" y="2859"/>
                  </a:lnTo>
                  <a:lnTo>
                    <a:pt x="329" y="2857"/>
                  </a:lnTo>
                  <a:lnTo>
                    <a:pt x="327" y="2855"/>
                  </a:lnTo>
                  <a:lnTo>
                    <a:pt x="324" y="2850"/>
                  </a:lnTo>
                  <a:lnTo>
                    <a:pt x="322" y="2846"/>
                  </a:lnTo>
                  <a:lnTo>
                    <a:pt x="320" y="2839"/>
                  </a:lnTo>
                  <a:lnTo>
                    <a:pt x="319" y="2830"/>
                  </a:lnTo>
                  <a:lnTo>
                    <a:pt x="319" y="2820"/>
                  </a:lnTo>
                  <a:lnTo>
                    <a:pt x="318" y="2810"/>
                  </a:lnTo>
                  <a:lnTo>
                    <a:pt x="318" y="2800"/>
                  </a:lnTo>
                  <a:lnTo>
                    <a:pt x="316" y="2792"/>
                  </a:lnTo>
                  <a:lnTo>
                    <a:pt x="314" y="2786"/>
                  </a:lnTo>
                  <a:lnTo>
                    <a:pt x="308" y="2782"/>
                  </a:lnTo>
                  <a:lnTo>
                    <a:pt x="303" y="2780"/>
                  </a:lnTo>
                  <a:lnTo>
                    <a:pt x="296" y="2777"/>
                  </a:lnTo>
                  <a:lnTo>
                    <a:pt x="292" y="2777"/>
                  </a:lnTo>
                  <a:lnTo>
                    <a:pt x="287" y="2777"/>
                  </a:lnTo>
                  <a:lnTo>
                    <a:pt x="283" y="2778"/>
                  </a:lnTo>
                  <a:lnTo>
                    <a:pt x="279" y="2781"/>
                  </a:lnTo>
                  <a:lnTo>
                    <a:pt x="274" y="2783"/>
                  </a:lnTo>
                  <a:lnTo>
                    <a:pt x="267" y="2790"/>
                  </a:lnTo>
                  <a:lnTo>
                    <a:pt x="261" y="2798"/>
                  </a:lnTo>
                  <a:lnTo>
                    <a:pt x="254" y="2809"/>
                  </a:lnTo>
                  <a:lnTo>
                    <a:pt x="247" y="2820"/>
                  </a:lnTo>
                  <a:lnTo>
                    <a:pt x="240" y="2833"/>
                  </a:lnTo>
                  <a:lnTo>
                    <a:pt x="233" y="2841"/>
                  </a:lnTo>
                  <a:lnTo>
                    <a:pt x="224" y="2847"/>
                  </a:lnTo>
                  <a:lnTo>
                    <a:pt x="216" y="2853"/>
                  </a:lnTo>
                  <a:lnTo>
                    <a:pt x="207" y="2855"/>
                  </a:lnTo>
                  <a:lnTo>
                    <a:pt x="195" y="2857"/>
                  </a:lnTo>
                  <a:lnTo>
                    <a:pt x="184" y="2858"/>
                  </a:lnTo>
                  <a:lnTo>
                    <a:pt x="171" y="2860"/>
                  </a:lnTo>
                  <a:lnTo>
                    <a:pt x="165" y="2860"/>
                  </a:lnTo>
                  <a:lnTo>
                    <a:pt x="159" y="2862"/>
                  </a:lnTo>
                  <a:lnTo>
                    <a:pt x="153" y="2863"/>
                  </a:lnTo>
                  <a:lnTo>
                    <a:pt x="149" y="2865"/>
                  </a:lnTo>
                  <a:lnTo>
                    <a:pt x="145" y="2868"/>
                  </a:lnTo>
                  <a:lnTo>
                    <a:pt x="141" y="2870"/>
                  </a:lnTo>
                  <a:lnTo>
                    <a:pt x="138" y="2873"/>
                  </a:lnTo>
                  <a:lnTo>
                    <a:pt x="136" y="2877"/>
                  </a:lnTo>
                  <a:lnTo>
                    <a:pt x="131" y="2885"/>
                  </a:lnTo>
                  <a:lnTo>
                    <a:pt x="127" y="2893"/>
                  </a:lnTo>
                  <a:lnTo>
                    <a:pt x="125" y="2903"/>
                  </a:lnTo>
                  <a:lnTo>
                    <a:pt x="123" y="2912"/>
                  </a:lnTo>
                  <a:lnTo>
                    <a:pt x="121" y="2933"/>
                  </a:lnTo>
                  <a:lnTo>
                    <a:pt x="119" y="2954"/>
                  </a:lnTo>
                  <a:lnTo>
                    <a:pt x="117" y="2963"/>
                  </a:lnTo>
                  <a:lnTo>
                    <a:pt x="115" y="2973"/>
                  </a:lnTo>
                  <a:lnTo>
                    <a:pt x="112" y="2981"/>
                  </a:lnTo>
                  <a:lnTo>
                    <a:pt x="108" y="2988"/>
                  </a:lnTo>
                  <a:lnTo>
                    <a:pt x="102" y="2992"/>
                  </a:lnTo>
                  <a:lnTo>
                    <a:pt x="97" y="2997"/>
                  </a:lnTo>
                  <a:lnTo>
                    <a:pt x="91" y="2998"/>
                  </a:lnTo>
                  <a:lnTo>
                    <a:pt x="84" y="2999"/>
                  </a:lnTo>
                  <a:lnTo>
                    <a:pt x="69" y="2999"/>
                  </a:lnTo>
                  <a:lnTo>
                    <a:pt x="52" y="2995"/>
                  </a:lnTo>
                  <a:lnTo>
                    <a:pt x="37" y="2993"/>
                  </a:lnTo>
                  <a:lnTo>
                    <a:pt x="22" y="2991"/>
                  </a:lnTo>
                  <a:lnTo>
                    <a:pt x="16" y="2991"/>
                  </a:lnTo>
                  <a:lnTo>
                    <a:pt x="10" y="2991"/>
                  </a:lnTo>
                  <a:lnTo>
                    <a:pt x="4" y="2993"/>
                  </a:lnTo>
                  <a:lnTo>
                    <a:pt x="0" y="2997"/>
                  </a:lnTo>
                  <a:lnTo>
                    <a:pt x="1" y="3005"/>
                  </a:lnTo>
                  <a:lnTo>
                    <a:pt x="2" y="3013"/>
                  </a:lnTo>
                  <a:lnTo>
                    <a:pt x="5" y="3019"/>
                  </a:lnTo>
                  <a:lnTo>
                    <a:pt x="10" y="3026"/>
                  </a:lnTo>
                  <a:lnTo>
                    <a:pt x="14" y="3030"/>
                  </a:lnTo>
                  <a:lnTo>
                    <a:pt x="19" y="3034"/>
                  </a:lnTo>
                  <a:lnTo>
                    <a:pt x="25" y="3038"/>
                  </a:lnTo>
                  <a:lnTo>
                    <a:pt x="31" y="3041"/>
                  </a:lnTo>
                  <a:lnTo>
                    <a:pt x="44" y="3048"/>
                  </a:lnTo>
                  <a:lnTo>
                    <a:pt x="58" y="3054"/>
                  </a:lnTo>
                  <a:lnTo>
                    <a:pt x="64" y="3057"/>
                  </a:lnTo>
                  <a:lnTo>
                    <a:pt x="70" y="3061"/>
                  </a:lnTo>
                  <a:lnTo>
                    <a:pt x="75" y="3065"/>
                  </a:lnTo>
                  <a:lnTo>
                    <a:pt x="79" y="3071"/>
                  </a:lnTo>
                  <a:lnTo>
                    <a:pt x="79" y="3071"/>
                  </a:lnTo>
                  <a:lnTo>
                    <a:pt x="88" y="3075"/>
                  </a:lnTo>
                  <a:lnTo>
                    <a:pt x="96" y="3078"/>
                  </a:lnTo>
                  <a:lnTo>
                    <a:pt x="104" y="3081"/>
                  </a:lnTo>
                  <a:lnTo>
                    <a:pt x="114" y="3081"/>
                  </a:lnTo>
                  <a:lnTo>
                    <a:pt x="118" y="3081"/>
                  </a:lnTo>
                  <a:lnTo>
                    <a:pt x="122" y="3080"/>
                  </a:lnTo>
                  <a:lnTo>
                    <a:pt x="124" y="3079"/>
                  </a:lnTo>
                  <a:lnTo>
                    <a:pt x="127" y="3077"/>
                  </a:lnTo>
                  <a:lnTo>
                    <a:pt x="131" y="3072"/>
                  </a:lnTo>
                  <a:lnTo>
                    <a:pt x="135" y="3065"/>
                  </a:lnTo>
                  <a:lnTo>
                    <a:pt x="136" y="3057"/>
                  </a:lnTo>
                  <a:lnTo>
                    <a:pt x="137" y="3049"/>
                  </a:lnTo>
                  <a:lnTo>
                    <a:pt x="139" y="3040"/>
                  </a:lnTo>
                  <a:lnTo>
                    <a:pt x="141" y="3032"/>
                  </a:lnTo>
                  <a:lnTo>
                    <a:pt x="146" y="3015"/>
                  </a:lnTo>
                  <a:lnTo>
                    <a:pt x="151" y="3000"/>
                  </a:lnTo>
                  <a:lnTo>
                    <a:pt x="155" y="2991"/>
                  </a:lnTo>
                  <a:lnTo>
                    <a:pt x="159" y="2985"/>
                  </a:lnTo>
                  <a:lnTo>
                    <a:pt x="163" y="2980"/>
                  </a:lnTo>
                  <a:lnTo>
                    <a:pt x="167" y="2976"/>
                  </a:lnTo>
                  <a:lnTo>
                    <a:pt x="172" y="2974"/>
                  </a:lnTo>
                  <a:lnTo>
                    <a:pt x="177" y="2971"/>
                  </a:lnTo>
                  <a:lnTo>
                    <a:pt x="183" y="2971"/>
                  </a:lnTo>
                  <a:lnTo>
                    <a:pt x="188" y="2971"/>
                  </a:lnTo>
                  <a:lnTo>
                    <a:pt x="193" y="2973"/>
                  </a:lnTo>
                  <a:lnTo>
                    <a:pt x="199" y="2975"/>
                  </a:lnTo>
                  <a:lnTo>
                    <a:pt x="205" y="2978"/>
                  </a:lnTo>
                  <a:lnTo>
                    <a:pt x="210" y="2981"/>
                  </a:lnTo>
                  <a:lnTo>
                    <a:pt x="221" y="2989"/>
                  </a:lnTo>
                  <a:lnTo>
                    <a:pt x="231" y="2999"/>
                  </a:lnTo>
                  <a:lnTo>
                    <a:pt x="236" y="3007"/>
                  </a:lnTo>
                  <a:lnTo>
                    <a:pt x="242" y="3016"/>
                  </a:lnTo>
                  <a:lnTo>
                    <a:pt x="248" y="3025"/>
                  </a:lnTo>
                  <a:lnTo>
                    <a:pt x="256" y="3032"/>
                  </a:lnTo>
                  <a:lnTo>
                    <a:pt x="261" y="3035"/>
                  </a:lnTo>
                  <a:lnTo>
                    <a:pt x="267" y="3037"/>
                  </a:lnTo>
                  <a:lnTo>
                    <a:pt x="273" y="3039"/>
                  </a:lnTo>
                  <a:lnTo>
                    <a:pt x="281" y="3040"/>
                  </a:lnTo>
                  <a:lnTo>
                    <a:pt x="294" y="3040"/>
                  </a:lnTo>
                  <a:lnTo>
                    <a:pt x="308" y="3040"/>
                  </a:lnTo>
                  <a:lnTo>
                    <a:pt x="319" y="3041"/>
                  </a:lnTo>
                  <a:lnTo>
                    <a:pt x="331" y="3043"/>
                  </a:lnTo>
                  <a:lnTo>
                    <a:pt x="337" y="3044"/>
                  </a:lnTo>
                  <a:lnTo>
                    <a:pt x="342" y="3047"/>
                  </a:lnTo>
                  <a:lnTo>
                    <a:pt x="347" y="3050"/>
                  </a:lnTo>
                  <a:lnTo>
                    <a:pt x="352" y="3053"/>
                  </a:lnTo>
                  <a:lnTo>
                    <a:pt x="355" y="3055"/>
                  </a:lnTo>
                  <a:lnTo>
                    <a:pt x="358" y="3057"/>
                  </a:lnTo>
                  <a:lnTo>
                    <a:pt x="361" y="3059"/>
                  </a:lnTo>
                  <a:lnTo>
                    <a:pt x="363" y="3062"/>
                  </a:lnTo>
                  <a:lnTo>
                    <a:pt x="367" y="3071"/>
                  </a:lnTo>
                  <a:lnTo>
                    <a:pt x="370" y="3079"/>
                  </a:lnTo>
                  <a:lnTo>
                    <a:pt x="372" y="3090"/>
                  </a:lnTo>
                  <a:lnTo>
                    <a:pt x="373" y="3102"/>
                  </a:lnTo>
                  <a:lnTo>
                    <a:pt x="375" y="3113"/>
                  </a:lnTo>
                  <a:lnTo>
                    <a:pt x="375" y="3127"/>
                  </a:lnTo>
                  <a:lnTo>
                    <a:pt x="372" y="3152"/>
                  </a:lnTo>
                  <a:lnTo>
                    <a:pt x="368" y="3176"/>
                  </a:lnTo>
                  <a:lnTo>
                    <a:pt x="364" y="3197"/>
                  </a:lnTo>
                  <a:lnTo>
                    <a:pt x="360" y="3210"/>
                  </a:lnTo>
                  <a:lnTo>
                    <a:pt x="355" y="3220"/>
                  </a:lnTo>
                  <a:lnTo>
                    <a:pt x="349" y="3230"/>
                  </a:lnTo>
                  <a:lnTo>
                    <a:pt x="345" y="3241"/>
                  </a:lnTo>
                  <a:lnTo>
                    <a:pt x="341" y="3251"/>
                  </a:lnTo>
                  <a:lnTo>
                    <a:pt x="339" y="3258"/>
                  </a:lnTo>
                  <a:lnTo>
                    <a:pt x="339" y="3266"/>
                  </a:lnTo>
                  <a:lnTo>
                    <a:pt x="340" y="3272"/>
                  </a:lnTo>
                  <a:lnTo>
                    <a:pt x="343" y="3279"/>
                  </a:lnTo>
                  <a:lnTo>
                    <a:pt x="346" y="3287"/>
                  </a:lnTo>
                  <a:lnTo>
                    <a:pt x="351" y="3294"/>
                  </a:lnTo>
                  <a:lnTo>
                    <a:pt x="356" y="3300"/>
                  </a:lnTo>
                  <a:lnTo>
                    <a:pt x="361" y="3307"/>
                  </a:lnTo>
                  <a:lnTo>
                    <a:pt x="372" y="3322"/>
                  </a:lnTo>
                  <a:lnTo>
                    <a:pt x="383" y="3337"/>
                  </a:lnTo>
                  <a:lnTo>
                    <a:pt x="387" y="3344"/>
                  </a:lnTo>
                  <a:lnTo>
                    <a:pt x="391" y="3352"/>
                  </a:lnTo>
                  <a:lnTo>
                    <a:pt x="393" y="3360"/>
                  </a:lnTo>
                  <a:lnTo>
                    <a:pt x="395" y="3368"/>
                  </a:lnTo>
                  <a:lnTo>
                    <a:pt x="395" y="33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3" name="Freeform 130">
              <a:extLst>
                <a:ext uri="{FF2B5EF4-FFF2-40B4-BE49-F238E27FC236}">
                  <a16:creationId xmlns:a16="http://schemas.microsoft.com/office/drawing/2014/main" id="{70B03449-0635-4780-98EF-DA1623D77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0200" y="3329254"/>
              <a:ext cx="791332" cy="912166"/>
            </a:xfrm>
            <a:custGeom>
              <a:avLst/>
              <a:gdLst>
                <a:gd name="T0" fmla="*/ 842 w 3148"/>
                <a:gd name="T1" fmla="*/ 3685 h 3757"/>
                <a:gd name="T2" fmla="*/ 1213 w 3148"/>
                <a:gd name="T3" fmla="*/ 3756 h 3757"/>
                <a:gd name="T4" fmla="*/ 1452 w 3148"/>
                <a:gd name="T5" fmla="*/ 3637 h 3757"/>
                <a:gd name="T6" fmla="*/ 1587 w 3148"/>
                <a:gd name="T7" fmla="*/ 3508 h 3757"/>
                <a:gd name="T8" fmla="*/ 1707 w 3148"/>
                <a:gd name="T9" fmla="*/ 3275 h 3757"/>
                <a:gd name="T10" fmla="*/ 1930 w 3148"/>
                <a:gd name="T11" fmla="*/ 3170 h 3757"/>
                <a:gd name="T12" fmla="*/ 2154 w 3148"/>
                <a:gd name="T13" fmla="*/ 3072 h 3757"/>
                <a:gd name="T14" fmla="*/ 2287 w 3148"/>
                <a:gd name="T15" fmla="*/ 3186 h 3757"/>
                <a:gd name="T16" fmla="*/ 2500 w 3148"/>
                <a:gd name="T17" fmla="*/ 3126 h 3757"/>
                <a:gd name="T18" fmla="*/ 2682 w 3148"/>
                <a:gd name="T19" fmla="*/ 3127 h 3757"/>
                <a:gd name="T20" fmla="*/ 2733 w 3148"/>
                <a:gd name="T21" fmla="*/ 2912 h 3757"/>
                <a:gd name="T22" fmla="*/ 2814 w 3148"/>
                <a:gd name="T23" fmla="*/ 2770 h 3757"/>
                <a:gd name="T24" fmla="*/ 2948 w 3148"/>
                <a:gd name="T25" fmla="*/ 2708 h 3757"/>
                <a:gd name="T26" fmla="*/ 3081 w 3148"/>
                <a:gd name="T27" fmla="*/ 2697 h 3757"/>
                <a:gd name="T28" fmla="*/ 3136 w 3148"/>
                <a:gd name="T29" fmla="*/ 2675 h 3757"/>
                <a:gd name="T30" fmla="*/ 3145 w 3148"/>
                <a:gd name="T31" fmla="*/ 2283 h 3757"/>
                <a:gd name="T32" fmla="*/ 3143 w 3148"/>
                <a:gd name="T33" fmla="*/ 2111 h 3757"/>
                <a:gd name="T34" fmla="*/ 2902 w 3148"/>
                <a:gd name="T35" fmla="*/ 1973 h 3757"/>
                <a:gd name="T36" fmla="*/ 2773 w 3148"/>
                <a:gd name="T37" fmla="*/ 1817 h 3757"/>
                <a:gd name="T38" fmla="*/ 2630 w 3148"/>
                <a:gd name="T39" fmla="*/ 1644 h 3757"/>
                <a:gd name="T40" fmla="*/ 2357 w 3148"/>
                <a:gd name="T41" fmla="*/ 1510 h 3757"/>
                <a:gd name="T42" fmla="*/ 2224 w 3148"/>
                <a:gd name="T43" fmla="*/ 1369 h 3757"/>
                <a:gd name="T44" fmla="*/ 2150 w 3148"/>
                <a:gd name="T45" fmla="*/ 1200 h 3757"/>
                <a:gd name="T46" fmla="*/ 2186 w 3148"/>
                <a:gd name="T47" fmla="*/ 1017 h 3757"/>
                <a:gd name="T48" fmla="*/ 2466 w 3148"/>
                <a:gd name="T49" fmla="*/ 876 h 3757"/>
                <a:gd name="T50" fmla="*/ 2731 w 3148"/>
                <a:gd name="T51" fmla="*/ 796 h 3757"/>
                <a:gd name="T52" fmla="*/ 2942 w 3148"/>
                <a:gd name="T53" fmla="*/ 595 h 3757"/>
                <a:gd name="T54" fmla="*/ 3048 w 3148"/>
                <a:gd name="T55" fmla="*/ 323 h 3757"/>
                <a:gd name="T56" fmla="*/ 2781 w 3148"/>
                <a:gd name="T57" fmla="*/ 26 h 3757"/>
                <a:gd name="T58" fmla="*/ 2768 w 3148"/>
                <a:gd name="T59" fmla="*/ 206 h 3757"/>
                <a:gd name="T60" fmla="*/ 2559 w 3148"/>
                <a:gd name="T61" fmla="*/ 287 h 3757"/>
                <a:gd name="T62" fmla="*/ 2438 w 3148"/>
                <a:gd name="T63" fmla="*/ 158 h 3757"/>
                <a:gd name="T64" fmla="*/ 2277 w 3148"/>
                <a:gd name="T65" fmla="*/ 68 h 3757"/>
                <a:gd name="T66" fmla="*/ 2055 w 3148"/>
                <a:gd name="T67" fmla="*/ 49 h 3757"/>
                <a:gd name="T68" fmla="*/ 2069 w 3148"/>
                <a:gd name="T69" fmla="*/ 163 h 3757"/>
                <a:gd name="T70" fmla="*/ 1949 w 3148"/>
                <a:gd name="T71" fmla="*/ 430 h 3757"/>
                <a:gd name="T72" fmla="*/ 1566 w 3148"/>
                <a:gd name="T73" fmla="*/ 520 h 3757"/>
                <a:gd name="T74" fmla="*/ 1359 w 3148"/>
                <a:gd name="T75" fmla="*/ 806 h 3757"/>
                <a:gd name="T76" fmla="*/ 1114 w 3148"/>
                <a:gd name="T77" fmla="*/ 863 h 3757"/>
                <a:gd name="T78" fmla="*/ 941 w 3148"/>
                <a:gd name="T79" fmla="*/ 748 h 3757"/>
                <a:gd name="T80" fmla="*/ 732 w 3148"/>
                <a:gd name="T81" fmla="*/ 902 h 3757"/>
                <a:gd name="T82" fmla="*/ 633 w 3148"/>
                <a:gd name="T83" fmla="*/ 895 h 3757"/>
                <a:gd name="T84" fmla="*/ 507 w 3148"/>
                <a:gd name="T85" fmla="*/ 1011 h 3757"/>
                <a:gd name="T86" fmla="*/ 442 w 3148"/>
                <a:gd name="T87" fmla="*/ 1021 h 3757"/>
                <a:gd name="T88" fmla="*/ 502 w 3148"/>
                <a:gd name="T89" fmla="*/ 1130 h 3757"/>
                <a:gd name="T90" fmla="*/ 605 w 3148"/>
                <a:gd name="T91" fmla="*/ 1261 h 3757"/>
                <a:gd name="T92" fmla="*/ 585 w 3148"/>
                <a:gd name="T93" fmla="*/ 1472 h 3757"/>
                <a:gd name="T94" fmla="*/ 685 w 3148"/>
                <a:gd name="T95" fmla="*/ 1547 h 3757"/>
                <a:gd name="T96" fmla="*/ 950 w 3148"/>
                <a:gd name="T97" fmla="*/ 1680 h 3757"/>
                <a:gd name="T98" fmla="*/ 944 w 3148"/>
                <a:gd name="T99" fmla="*/ 1960 h 3757"/>
                <a:gd name="T100" fmla="*/ 752 w 3148"/>
                <a:gd name="T101" fmla="*/ 2029 h 3757"/>
                <a:gd name="T102" fmla="*/ 815 w 3148"/>
                <a:gd name="T103" fmla="*/ 2119 h 3757"/>
                <a:gd name="T104" fmla="*/ 750 w 3148"/>
                <a:gd name="T105" fmla="*/ 2403 h 3757"/>
                <a:gd name="T106" fmla="*/ 706 w 3148"/>
                <a:gd name="T107" fmla="*/ 2579 h 3757"/>
                <a:gd name="T108" fmla="*/ 610 w 3148"/>
                <a:gd name="T109" fmla="*/ 2591 h 3757"/>
                <a:gd name="T110" fmla="*/ 644 w 3148"/>
                <a:gd name="T111" fmla="*/ 2728 h 3757"/>
                <a:gd name="T112" fmla="*/ 481 w 3148"/>
                <a:gd name="T113" fmla="*/ 2829 h 3757"/>
                <a:gd name="T114" fmla="*/ 332 w 3148"/>
                <a:gd name="T115" fmla="*/ 2859 h 3757"/>
                <a:gd name="T116" fmla="*/ 195 w 3148"/>
                <a:gd name="T117" fmla="*/ 2857 h 3757"/>
                <a:gd name="T118" fmla="*/ 16 w 3148"/>
                <a:gd name="T119" fmla="*/ 2991 h 3757"/>
                <a:gd name="T120" fmla="*/ 136 w 3148"/>
                <a:gd name="T121" fmla="*/ 3057 h 3757"/>
                <a:gd name="T122" fmla="*/ 308 w 3148"/>
                <a:gd name="T123" fmla="*/ 3040 h 3757"/>
                <a:gd name="T124" fmla="*/ 346 w 3148"/>
                <a:gd name="T125" fmla="*/ 3287 h 3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48" h="3757">
                  <a:moveTo>
                    <a:pt x="395" y="3368"/>
                  </a:moveTo>
                  <a:lnTo>
                    <a:pt x="491" y="3368"/>
                  </a:lnTo>
                  <a:lnTo>
                    <a:pt x="507" y="3372"/>
                  </a:lnTo>
                  <a:lnTo>
                    <a:pt x="523" y="3377"/>
                  </a:lnTo>
                  <a:lnTo>
                    <a:pt x="537" y="3384"/>
                  </a:lnTo>
                  <a:lnTo>
                    <a:pt x="551" y="3391"/>
                  </a:lnTo>
                  <a:lnTo>
                    <a:pt x="563" y="3399"/>
                  </a:lnTo>
                  <a:lnTo>
                    <a:pt x="576" y="3409"/>
                  </a:lnTo>
                  <a:lnTo>
                    <a:pt x="587" y="3419"/>
                  </a:lnTo>
                  <a:lnTo>
                    <a:pt x="599" y="3429"/>
                  </a:lnTo>
                  <a:lnTo>
                    <a:pt x="609" y="3441"/>
                  </a:lnTo>
                  <a:lnTo>
                    <a:pt x="620" y="3453"/>
                  </a:lnTo>
                  <a:lnTo>
                    <a:pt x="629" y="3466"/>
                  </a:lnTo>
                  <a:lnTo>
                    <a:pt x="639" y="3478"/>
                  </a:lnTo>
                  <a:lnTo>
                    <a:pt x="657" y="3506"/>
                  </a:lnTo>
                  <a:lnTo>
                    <a:pt x="675" y="3533"/>
                  </a:lnTo>
                  <a:lnTo>
                    <a:pt x="691" y="3560"/>
                  </a:lnTo>
                  <a:lnTo>
                    <a:pt x="708" y="3586"/>
                  </a:lnTo>
                  <a:lnTo>
                    <a:pt x="726" y="3610"/>
                  </a:lnTo>
                  <a:lnTo>
                    <a:pt x="744" y="3633"/>
                  </a:lnTo>
                  <a:lnTo>
                    <a:pt x="753" y="3642"/>
                  </a:lnTo>
                  <a:lnTo>
                    <a:pt x="762" y="3652"/>
                  </a:lnTo>
                  <a:lnTo>
                    <a:pt x="773" y="3660"/>
                  </a:lnTo>
                  <a:lnTo>
                    <a:pt x="783" y="3667"/>
                  </a:lnTo>
                  <a:lnTo>
                    <a:pt x="794" y="3674"/>
                  </a:lnTo>
                  <a:lnTo>
                    <a:pt x="805" y="3678"/>
                  </a:lnTo>
                  <a:lnTo>
                    <a:pt x="817" y="3682"/>
                  </a:lnTo>
                  <a:lnTo>
                    <a:pt x="829" y="3684"/>
                  </a:lnTo>
                  <a:lnTo>
                    <a:pt x="842" y="3685"/>
                  </a:lnTo>
                  <a:lnTo>
                    <a:pt x="853" y="3685"/>
                  </a:lnTo>
                  <a:lnTo>
                    <a:pt x="866" y="3683"/>
                  </a:lnTo>
                  <a:lnTo>
                    <a:pt x="877" y="3682"/>
                  </a:lnTo>
                  <a:lnTo>
                    <a:pt x="901" y="3676"/>
                  </a:lnTo>
                  <a:lnTo>
                    <a:pt x="926" y="3668"/>
                  </a:lnTo>
                  <a:lnTo>
                    <a:pt x="950" y="3662"/>
                  </a:lnTo>
                  <a:lnTo>
                    <a:pt x="974" y="3656"/>
                  </a:lnTo>
                  <a:lnTo>
                    <a:pt x="986" y="3654"/>
                  </a:lnTo>
                  <a:lnTo>
                    <a:pt x="997" y="3653"/>
                  </a:lnTo>
                  <a:lnTo>
                    <a:pt x="1008" y="3653"/>
                  </a:lnTo>
                  <a:lnTo>
                    <a:pt x="1020" y="3653"/>
                  </a:lnTo>
                  <a:lnTo>
                    <a:pt x="1026" y="3654"/>
                  </a:lnTo>
                  <a:lnTo>
                    <a:pt x="1033" y="3656"/>
                  </a:lnTo>
                  <a:lnTo>
                    <a:pt x="1040" y="3659"/>
                  </a:lnTo>
                  <a:lnTo>
                    <a:pt x="1046" y="3661"/>
                  </a:lnTo>
                  <a:lnTo>
                    <a:pt x="1058" y="3669"/>
                  </a:lnTo>
                  <a:lnTo>
                    <a:pt x="1071" y="3679"/>
                  </a:lnTo>
                  <a:lnTo>
                    <a:pt x="1097" y="3701"/>
                  </a:lnTo>
                  <a:lnTo>
                    <a:pt x="1123" y="3723"/>
                  </a:lnTo>
                  <a:lnTo>
                    <a:pt x="1138" y="3733"/>
                  </a:lnTo>
                  <a:lnTo>
                    <a:pt x="1151" y="3742"/>
                  </a:lnTo>
                  <a:lnTo>
                    <a:pt x="1159" y="3746"/>
                  </a:lnTo>
                  <a:lnTo>
                    <a:pt x="1166" y="3750"/>
                  </a:lnTo>
                  <a:lnTo>
                    <a:pt x="1173" y="3753"/>
                  </a:lnTo>
                  <a:lnTo>
                    <a:pt x="1180" y="3755"/>
                  </a:lnTo>
                  <a:lnTo>
                    <a:pt x="1189" y="3756"/>
                  </a:lnTo>
                  <a:lnTo>
                    <a:pt x="1196" y="3757"/>
                  </a:lnTo>
                  <a:lnTo>
                    <a:pt x="1204" y="3757"/>
                  </a:lnTo>
                  <a:lnTo>
                    <a:pt x="1213" y="3756"/>
                  </a:lnTo>
                  <a:lnTo>
                    <a:pt x="1221" y="3755"/>
                  </a:lnTo>
                  <a:lnTo>
                    <a:pt x="1229" y="3752"/>
                  </a:lnTo>
                  <a:lnTo>
                    <a:pt x="1238" y="3749"/>
                  </a:lnTo>
                  <a:lnTo>
                    <a:pt x="1246" y="3743"/>
                  </a:lnTo>
                  <a:lnTo>
                    <a:pt x="1263" y="3733"/>
                  </a:lnTo>
                  <a:lnTo>
                    <a:pt x="1275" y="3727"/>
                  </a:lnTo>
                  <a:lnTo>
                    <a:pt x="1285" y="3722"/>
                  </a:lnTo>
                  <a:lnTo>
                    <a:pt x="1292" y="3719"/>
                  </a:lnTo>
                  <a:lnTo>
                    <a:pt x="1300" y="3717"/>
                  </a:lnTo>
                  <a:lnTo>
                    <a:pt x="1311" y="3717"/>
                  </a:lnTo>
                  <a:lnTo>
                    <a:pt x="1324" y="3717"/>
                  </a:lnTo>
                  <a:lnTo>
                    <a:pt x="1343" y="3717"/>
                  </a:lnTo>
                  <a:lnTo>
                    <a:pt x="1350" y="3717"/>
                  </a:lnTo>
                  <a:lnTo>
                    <a:pt x="1359" y="3716"/>
                  </a:lnTo>
                  <a:lnTo>
                    <a:pt x="1366" y="3714"/>
                  </a:lnTo>
                  <a:lnTo>
                    <a:pt x="1373" y="3712"/>
                  </a:lnTo>
                  <a:lnTo>
                    <a:pt x="1386" y="3707"/>
                  </a:lnTo>
                  <a:lnTo>
                    <a:pt x="1398" y="3700"/>
                  </a:lnTo>
                  <a:lnTo>
                    <a:pt x="1411" y="3693"/>
                  </a:lnTo>
                  <a:lnTo>
                    <a:pt x="1422" y="3687"/>
                  </a:lnTo>
                  <a:lnTo>
                    <a:pt x="1429" y="3684"/>
                  </a:lnTo>
                  <a:lnTo>
                    <a:pt x="1435" y="3682"/>
                  </a:lnTo>
                  <a:lnTo>
                    <a:pt x="1441" y="3680"/>
                  </a:lnTo>
                  <a:lnTo>
                    <a:pt x="1448" y="3679"/>
                  </a:lnTo>
                  <a:lnTo>
                    <a:pt x="1448" y="3679"/>
                  </a:lnTo>
                  <a:lnTo>
                    <a:pt x="1451" y="3670"/>
                  </a:lnTo>
                  <a:lnTo>
                    <a:pt x="1452" y="3661"/>
                  </a:lnTo>
                  <a:lnTo>
                    <a:pt x="1453" y="3650"/>
                  </a:lnTo>
                  <a:lnTo>
                    <a:pt x="1452" y="3637"/>
                  </a:lnTo>
                  <a:lnTo>
                    <a:pt x="1448" y="3610"/>
                  </a:lnTo>
                  <a:lnTo>
                    <a:pt x="1444" y="3582"/>
                  </a:lnTo>
                  <a:lnTo>
                    <a:pt x="1442" y="3567"/>
                  </a:lnTo>
                  <a:lnTo>
                    <a:pt x="1441" y="3554"/>
                  </a:lnTo>
                  <a:lnTo>
                    <a:pt x="1440" y="3540"/>
                  </a:lnTo>
                  <a:lnTo>
                    <a:pt x="1440" y="3528"/>
                  </a:lnTo>
                  <a:lnTo>
                    <a:pt x="1441" y="3517"/>
                  </a:lnTo>
                  <a:lnTo>
                    <a:pt x="1444" y="3508"/>
                  </a:lnTo>
                  <a:lnTo>
                    <a:pt x="1445" y="3504"/>
                  </a:lnTo>
                  <a:lnTo>
                    <a:pt x="1447" y="3499"/>
                  </a:lnTo>
                  <a:lnTo>
                    <a:pt x="1451" y="3496"/>
                  </a:lnTo>
                  <a:lnTo>
                    <a:pt x="1453" y="3494"/>
                  </a:lnTo>
                  <a:lnTo>
                    <a:pt x="1459" y="3490"/>
                  </a:lnTo>
                  <a:lnTo>
                    <a:pt x="1464" y="3489"/>
                  </a:lnTo>
                  <a:lnTo>
                    <a:pt x="1469" y="3489"/>
                  </a:lnTo>
                  <a:lnTo>
                    <a:pt x="1473" y="3491"/>
                  </a:lnTo>
                  <a:lnTo>
                    <a:pt x="1483" y="3494"/>
                  </a:lnTo>
                  <a:lnTo>
                    <a:pt x="1493" y="3498"/>
                  </a:lnTo>
                  <a:lnTo>
                    <a:pt x="1498" y="3504"/>
                  </a:lnTo>
                  <a:lnTo>
                    <a:pt x="1505" y="3509"/>
                  </a:lnTo>
                  <a:lnTo>
                    <a:pt x="1513" y="3512"/>
                  </a:lnTo>
                  <a:lnTo>
                    <a:pt x="1521" y="3515"/>
                  </a:lnTo>
                  <a:lnTo>
                    <a:pt x="1530" y="3516"/>
                  </a:lnTo>
                  <a:lnTo>
                    <a:pt x="1539" y="3517"/>
                  </a:lnTo>
                  <a:lnTo>
                    <a:pt x="1550" y="3517"/>
                  </a:lnTo>
                  <a:lnTo>
                    <a:pt x="1559" y="3516"/>
                  </a:lnTo>
                  <a:lnTo>
                    <a:pt x="1569" y="3514"/>
                  </a:lnTo>
                  <a:lnTo>
                    <a:pt x="1579" y="3511"/>
                  </a:lnTo>
                  <a:lnTo>
                    <a:pt x="1587" y="3508"/>
                  </a:lnTo>
                  <a:lnTo>
                    <a:pt x="1595" y="3504"/>
                  </a:lnTo>
                  <a:lnTo>
                    <a:pt x="1603" y="3498"/>
                  </a:lnTo>
                  <a:lnTo>
                    <a:pt x="1610" y="3493"/>
                  </a:lnTo>
                  <a:lnTo>
                    <a:pt x="1615" y="3487"/>
                  </a:lnTo>
                  <a:lnTo>
                    <a:pt x="1618" y="3481"/>
                  </a:lnTo>
                  <a:lnTo>
                    <a:pt x="1620" y="3474"/>
                  </a:lnTo>
                  <a:lnTo>
                    <a:pt x="1622" y="3467"/>
                  </a:lnTo>
                  <a:lnTo>
                    <a:pt x="1622" y="3460"/>
                  </a:lnTo>
                  <a:lnTo>
                    <a:pt x="1620" y="3453"/>
                  </a:lnTo>
                  <a:lnTo>
                    <a:pt x="1617" y="3439"/>
                  </a:lnTo>
                  <a:lnTo>
                    <a:pt x="1613" y="3425"/>
                  </a:lnTo>
                  <a:lnTo>
                    <a:pt x="1609" y="3413"/>
                  </a:lnTo>
                  <a:lnTo>
                    <a:pt x="1607" y="3402"/>
                  </a:lnTo>
                  <a:lnTo>
                    <a:pt x="1605" y="3394"/>
                  </a:lnTo>
                  <a:lnTo>
                    <a:pt x="1605" y="3386"/>
                  </a:lnTo>
                  <a:lnTo>
                    <a:pt x="1606" y="3377"/>
                  </a:lnTo>
                  <a:lnTo>
                    <a:pt x="1608" y="3369"/>
                  </a:lnTo>
                  <a:lnTo>
                    <a:pt x="1612" y="3359"/>
                  </a:lnTo>
                  <a:lnTo>
                    <a:pt x="1616" y="3346"/>
                  </a:lnTo>
                  <a:lnTo>
                    <a:pt x="1640" y="3340"/>
                  </a:lnTo>
                  <a:lnTo>
                    <a:pt x="1669" y="3330"/>
                  </a:lnTo>
                  <a:lnTo>
                    <a:pt x="1683" y="3324"/>
                  </a:lnTo>
                  <a:lnTo>
                    <a:pt x="1695" y="3318"/>
                  </a:lnTo>
                  <a:lnTo>
                    <a:pt x="1700" y="3314"/>
                  </a:lnTo>
                  <a:lnTo>
                    <a:pt x="1704" y="3309"/>
                  </a:lnTo>
                  <a:lnTo>
                    <a:pt x="1706" y="3304"/>
                  </a:lnTo>
                  <a:lnTo>
                    <a:pt x="1708" y="3300"/>
                  </a:lnTo>
                  <a:lnTo>
                    <a:pt x="1709" y="3290"/>
                  </a:lnTo>
                  <a:lnTo>
                    <a:pt x="1707" y="3275"/>
                  </a:lnTo>
                  <a:lnTo>
                    <a:pt x="1704" y="3259"/>
                  </a:lnTo>
                  <a:lnTo>
                    <a:pt x="1700" y="3242"/>
                  </a:lnTo>
                  <a:lnTo>
                    <a:pt x="1697" y="3225"/>
                  </a:lnTo>
                  <a:lnTo>
                    <a:pt x="1693" y="3210"/>
                  </a:lnTo>
                  <a:lnTo>
                    <a:pt x="1692" y="3204"/>
                  </a:lnTo>
                  <a:lnTo>
                    <a:pt x="1692" y="3199"/>
                  </a:lnTo>
                  <a:lnTo>
                    <a:pt x="1692" y="3196"/>
                  </a:lnTo>
                  <a:lnTo>
                    <a:pt x="1693" y="3194"/>
                  </a:lnTo>
                  <a:lnTo>
                    <a:pt x="1731" y="3198"/>
                  </a:lnTo>
                  <a:lnTo>
                    <a:pt x="1765" y="3202"/>
                  </a:lnTo>
                  <a:lnTo>
                    <a:pt x="1774" y="3202"/>
                  </a:lnTo>
                  <a:lnTo>
                    <a:pt x="1782" y="3202"/>
                  </a:lnTo>
                  <a:lnTo>
                    <a:pt x="1790" y="3200"/>
                  </a:lnTo>
                  <a:lnTo>
                    <a:pt x="1798" y="3197"/>
                  </a:lnTo>
                  <a:lnTo>
                    <a:pt x="1806" y="3193"/>
                  </a:lnTo>
                  <a:lnTo>
                    <a:pt x="1814" y="3187"/>
                  </a:lnTo>
                  <a:lnTo>
                    <a:pt x="1822" y="3180"/>
                  </a:lnTo>
                  <a:lnTo>
                    <a:pt x="1830" y="3171"/>
                  </a:lnTo>
                  <a:lnTo>
                    <a:pt x="1835" y="3166"/>
                  </a:lnTo>
                  <a:lnTo>
                    <a:pt x="1839" y="3160"/>
                  </a:lnTo>
                  <a:lnTo>
                    <a:pt x="1845" y="3157"/>
                  </a:lnTo>
                  <a:lnTo>
                    <a:pt x="1849" y="3154"/>
                  </a:lnTo>
                  <a:lnTo>
                    <a:pt x="1853" y="3152"/>
                  </a:lnTo>
                  <a:lnTo>
                    <a:pt x="1856" y="3151"/>
                  </a:lnTo>
                  <a:lnTo>
                    <a:pt x="1860" y="3151"/>
                  </a:lnTo>
                  <a:lnTo>
                    <a:pt x="1864" y="3151"/>
                  </a:lnTo>
                  <a:lnTo>
                    <a:pt x="1883" y="3157"/>
                  </a:lnTo>
                  <a:lnTo>
                    <a:pt x="1907" y="3164"/>
                  </a:lnTo>
                  <a:lnTo>
                    <a:pt x="1930" y="3170"/>
                  </a:lnTo>
                  <a:lnTo>
                    <a:pt x="1951" y="3173"/>
                  </a:lnTo>
                  <a:lnTo>
                    <a:pt x="1961" y="3173"/>
                  </a:lnTo>
                  <a:lnTo>
                    <a:pt x="1972" y="3172"/>
                  </a:lnTo>
                  <a:lnTo>
                    <a:pt x="1983" y="3169"/>
                  </a:lnTo>
                  <a:lnTo>
                    <a:pt x="1994" y="3164"/>
                  </a:lnTo>
                  <a:lnTo>
                    <a:pt x="2000" y="3160"/>
                  </a:lnTo>
                  <a:lnTo>
                    <a:pt x="2005" y="3156"/>
                  </a:lnTo>
                  <a:lnTo>
                    <a:pt x="2009" y="3150"/>
                  </a:lnTo>
                  <a:lnTo>
                    <a:pt x="2013" y="3145"/>
                  </a:lnTo>
                  <a:lnTo>
                    <a:pt x="2016" y="3138"/>
                  </a:lnTo>
                  <a:lnTo>
                    <a:pt x="2019" y="3134"/>
                  </a:lnTo>
                  <a:lnTo>
                    <a:pt x="2023" y="3130"/>
                  </a:lnTo>
                  <a:lnTo>
                    <a:pt x="2027" y="3127"/>
                  </a:lnTo>
                  <a:lnTo>
                    <a:pt x="2036" y="3126"/>
                  </a:lnTo>
                  <a:lnTo>
                    <a:pt x="2047" y="3125"/>
                  </a:lnTo>
                  <a:lnTo>
                    <a:pt x="2056" y="3126"/>
                  </a:lnTo>
                  <a:lnTo>
                    <a:pt x="2067" y="3127"/>
                  </a:lnTo>
                  <a:lnTo>
                    <a:pt x="2077" y="3128"/>
                  </a:lnTo>
                  <a:lnTo>
                    <a:pt x="2088" y="3127"/>
                  </a:lnTo>
                  <a:lnTo>
                    <a:pt x="2093" y="3126"/>
                  </a:lnTo>
                  <a:lnTo>
                    <a:pt x="2098" y="3124"/>
                  </a:lnTo>
                  <a:lnTo>
                    <a:pt x="2104" y="3122"/>
                  </a:lnTo>
                  <a:lnTo>
                    <a:pt x="2109" y="3119"/>
                  </a:lnTo>
                  <a:lnTo>
                    <a:pt x="2117" y="3113"/>
                  </a:lnTo>
                  <a:lnTo>
                    <a:pt x="2124" y="3106"/>
                  </a:lnTo>
                  <a:lnTo>
                    <a:pt x="2131" y="3097"/>
                  </a:lnTo>
                  <a:lnTo>
                    <a:pt x="2140" y="3088"/>
                  </a:lnTo>
                  <a:lnTo>
                    <a:pt x="2147" y="3079"/>
                  </a:lnTo>
                  <a:lnTo>
                    <a:pt x="2154" y="3072"/>
                  </a:lnTo>
                  <a:lnTo>
                    <a:pt x="2162" y="3065"/>
                  </a:lnTo>
                  <a:lnTo>
                    <a:pt x="2168" y="3062"/>
                  </a:lnTo>
                  <a:lnTo>
                    <a:pt x="2176" y="3056"/>
                  </a:lnTo>
                  <a:lnTo>
                    <a:pt x="2187" y="3051"/>
                  </a:lnTo>
                  <a:lnTo>
                    <a:pt x="2196" y="3051"/>
                  </a:lnTo>
                  <a:lnTo>
                    <a:pt x="2205" y="3051"/>
                  </a:lnTo>
                  <a:lnTo>
                    <a:pt x="2210" y="3052"/>
                  </a:lnTo>
                  <a:lnTo>
                    <a:pt x="2213" y="3053"/>
                  </a:lnTo>
                  <a:lnTo>
                    <a:pt x="2217" y="3055"/>
                  </a:lnTo>
                  <a:lnTo>
                    <a:pt x="2221" y="3058"/>
                  </a:lnTo>
                  <a:lnTo>
                    <a:pt x="2224" y="3143"/>
                  </a:lnTo>
                  <a:lnTo>
                    <a:pt x="2224" y="3154"/>
                  </a:lnTo>
                  <a:lnTo>
                    <a:pt x="2225" y="3164"/>
                  </a:lnTo>
                  <a:lnTo>
                    <a:pt x="2226" y="3174"/>
                  </a:lnTo>
                  <a:lnTo>
                    <a:pt x="2228" y="3182"/>
                  </a:lnTo>
                  <a:lnTo>
                    <a:pt x="2229" y="3185"/>
                  </a:lnTo>
                  <a:lnTo>
                    <a:pt x="2233" y="3188"/>
                  </a:lnTo>
                  <a:lnTo>
                    <a:pt x="2235" y="3192"/>
                  </a:lnTo>
                  <a:lnTo>
                    <a:pt x="2238" y="3194"/>
                  </a:lnTo>
                  <a:lnTo>
                    <a:pt x="2242" y="3196"/>
                  </a:lnTo>
                  <a:lnTo>
                    <a:pt x="2247" y="3197"/>
                  </a:lnTo>
                  <a:lnTo>
                    <a:pt x="2252" y="3198"/>
                  </a:lnTo>
                  <a:lnTo>
                    <a:pt x="2260" y="3198"/>
                  </a:lnTo>
                  <a:lnTo>
                    <a:pt x="2265" y="3198"/>
                  </a:lnTo>
                  <a:lnTo>
                    <a:pt x="2270" y="3196"/>
                  </a:lnTo>
                  <a:lnTo>
                    <a:pt x="2275" y="3195"/>
                  </a:lnTo>
                  <a:lnTo>
                    <a:pt x="2279" y="3193"/>
                  </a:lnTo>
                  <a:lnTo>
                    <a:pt x="2283" y="3190"/>
                  </a:lnTo>
                  <a:lnTo>
                    <a:pt x="2287" y="3186"/>
                  </a:lnTo>
                  <a:lnTo>
                    <a:pt x="2289" y="3182"/>
                  </a:lnTo>
                  <a:lnTo>
                    <a:pt x="2292" y="3178"/>
                  </a:lnTo>
                  <a:lnTo>
                    <a:pt x="2295" y="3169"/>
                  </a:lnTo>
                  <a:lnTo>
                    <a:pt x="2298" y="3158"/>
                  </a:lnTo>
                  <a:lnTo>
                    <a:pt x="2301" y="3148"/>
                  </a:lnTo>
                  <a:lnTo>
                    <a:pt x="2303" y="3136"/>
                  </a:lnTo>
                  <a:lnTo>
                    <a:pt x="2306" y="3125"/>
                  </a:lnTo>
                  <a:lnTo>
                    <a:pt x="2309" y="3113"/>
                  </a:lnTo>
                  <a:lnTo>
                    <a:pt x="2312" y="3103"/>
                  </a:lnTo>
                  <a:lnTo>
                    <a:pt x="2316" y="3095"/>
                  </a:lnTo>
                  <a:lnTo>
                    <a:pt x="2319" y="3090"/>
                  </a:lnTo>
                  <a:lnTo>
                    <a:pt x="2322" y="3087"/>
                  </a:lnTo>
                  <a:lnTo>
                    <a:pt x="2325" y="3084"/>
                  </a:lnTo>
                  <a:lnTo>
                    <a:pt x="2329" y="3081"/>
                  </a:lnTo>
                  <a:lnTo>
                    <a:pt x="2335" y="3080"/>
                  </a:lnTo>
                  <a:lnTo>
                    <a:pt x="2340" y="3078"/>
                  </a:lnTo>
                  <a:lnTo>
                    <a:pt x="2345" y="3078"/>
                  </a:lnTo>
                  <a:lnTo>
                    <a:pt x="2351" y="3078"/>
                  </a:lnTo>
                  <a:lnTo>
                    <a:pt x="2367" y="3079"/>
                  </a:lnTo>
                  <a:lnTo>
                    <a:pt x="2383" y="3080"/>
                  </a:lnTo>
                  <a:lnTo>
                    <a:pt x="2397" y="3082"/>
                  </a:lnTo>
                  <a:lnTo>
                    <a:pt x="2412" y="3085"/>
                  </a:lnTo>
                  <a:lnTo>
                    <a:pt x="2425" y="3088"/>
                  </a:lnTo>
                  <a:lnTo>
                    <a:pt x="2440" y="3094"/>
                  </a:lnTo>
                  <a:lnTo>
                    <a:pt x="2454" y="3100"/>
                  </a:lnTo>
                  <a:lnTo>
                    <a:pt x="2466" y="3106"/>
                  </a:lnTo>
                  <a:lnTo>
                    <a:pt x="2480" y="3114"/>
                  </a:lnTo>
                  <a:lnTo>
                    <a:pt x="2493" y="3123"/>
                  </a:lnTo>
                  <a:lnTo>
                    <a:pt x="2500" y="3126"/>
                  </a:lnTo>
                  <a:lnTo>
                    <a:pt x="2508" y="3128"/>
                  </a:lnTo>
                  <a:lnTo>
                    <a:pt x="2516" y="3128"/>
                  </a:lnTo>
                  <a:lnTo>
                    <a:pt x="2523" y="3127"/>
                  </a:lnTo>
                  <a:lnTo>
                    <a:pt x="2533" y="3122"/>
                  </a:lnTo>
                  <a:lnTo>
                    <a:pt x="2541" y="3115"/>
                  </a:lnTo>
                  <a:lnTo>
                    <a:pt x="2549" y="3108"/>
                  </a:lnTo>
                  <a:lnTo>
                    <a:pt x="2556" y="3099"/>
                  </a:lnTo>
                  <a:lnTo>
                    <a:pt x="2562" y="3089"/>
                  </a:lnTo>
                  <a:lnTo>
                    <a:pt x="2566" y="3079"/>
                  </a:lnTo>
                  <a:lnTo>
                    <a:pt x="2569" y="3068"/>
                  </a:lnTo>
                  <a:lnTo>
                    <a:pt x="2571" y="3058"/>
                  </a:lnTo>
                  <a:lnTo>
                    <a:pt x="2572" y="3053"/>
                  </a:lnTo>
                  <a:lnTo>
                    <a:pt x="2573" y="3049"/>
                  </a:lnTo>
                  <a:lnTo>
                    <a:pt x="2576" y="3044"/>
                  </a:lnTo>
                  <a:lnTo>
                    <a:pt x="2579" y="3042"/>
                  </a:lnTo>
                  <a:lnTo>
                    <a:pt x="2581" y="3041"/>
                  </a:lnTo>
                  <a:lnTo>
                    <a:pt x="2585" y="3040"/>
                  </a:lnTo>
                  <a:lnTo>
                    <a:pt x="2588" y="3040"/>
                  </a:lnTo>
                  <a:lnTo>
                    <a:pt x="2592" y="3040"/>
                  </a:lnTo>
                  <a:lnTo>
                    <a:pt x="2609" y="3044"/>
                  </a:lnTo>
                  <a:lnTo>
                    <a:pt x="2625" y="3049"/>
                  </a:lnTo>
                  <a:lnTo>
                    <a:pt x="2636" y="3063"/>
                  </a:lnTo>
                  <a:lnTo>
                    <a:pt x="2644" y="3075"/>
                  </a:lnTo>
                  <a:lnTo>
                    <a:pt x="2652" y="3088"/>
                  </a:lnTo>
                  <a:lnTo>
                    <a:pt x="2661" y="3104"/>
                  </a:lnTo>
                  <a:lnTo>
                    <a:pt x="2665" y="3110"/>
                  </a:lnTo>
                  <a:lnTo>
                    <a:pt x="2669" y="3116"/>
                  </a:lnTo>
                  <a:lnTo>
                    <a:pt x="2676" y="3122"/>
                  </a:lnTo>
                  <a:lnTo>
                    <a:pt x="2682" y="3127"/>
                  </a:lnTo>
                  <a:lnTo>
                    <a:pt x="2689" y="3130"/>
                  </a:lnTo>
                  <a:lnTo>
                    <a:pt x="2696" y="3132"/>
                  </a:lnTo>
                  <a:lnTo>
                    <a:pt x="2704" y="3133"/>
                  </a:lnTo>
                  <a:lnTo>
                    <a:pt x="2711" y="3131"/>
                  </a:lnTo>
                  <a:lnTo>
                    <a:pt x="2715" y="3130"/>
                  </a:lnTo>
                  <a:lnTo>
                    <a:pt x="2719" y="3126"/>
                  </a:lnTo>
                  <a:lnTo>
                    <a:pt x="2724" y="3121"/>
                  </a:lnTo>
                  <a:lnTo>
                    <a:pt x="2728" y="3114"/>
                  </a:lnTo>
                  <a:lnTo>
                    <a:pt x="2737" y="3100"/>
                  </a:lnTo>
                  <a:lnTo>
                    <a:pt x="2746" y="3082"/>
                  </a:lnTo>
                  <a:lnTo>
                    <a:pt x="2754" y="3063"/>
                  </a:lnTo>
                  <a:lnTo>
                    <a:pt x="2761" y="3046"/>
                  </a:lnTo>
                  <a:lnTo>
                    <a:pt x="2766" y="3031"/>
                  </a:lnTo>
                  <a:lnTo>
                    <a:pt x="2769" y="3021"/>
                  </a:lnTo>
                  <a:lnTo>
                    <a:pt x="2769" y="3021"/>
                  </a:lnTo>
                  <a:lnTo>
                    <a:pt x="2768" y="3011"/>
                  </a:lnTo>
                  <a:lnTo>
                    <a:pt x="2766" y="3004"/>
                  </a:lnTo>
                  <a:lnTo>
                    <a:pt x="2763" y="2997"/>
                  </a:lnTo>
                  <a:lnTo>
                    <a:pt x="2760" y="2990"/>
                  </a:lnTo>
                  <a:lnTo>
                    <a:pt x="2756" y="2985"/>
                  </a:lnTo>
                  <a:lnTo>
                    <a:pt x="2753" y="2980"/>
                  </a:lnTo>
                  <a:lnTo>
                    <a:pt x="2751" y="2975"/>
                  </a:lnTo>
                  <a:lnTo>
                    <a:pt x="2749" y="2969"/>
                  </a:lnTo>
                  <a:lnTo>
                    <a:pt x="2746" y="2965"/>
                  </a:lnTo>
                  <a:lnTo>
                    <a:pt x="2741" y="2956"/>
                  </a:lnTo>
                  <a:lnTo>
                    <a:pt x="2738" y="2945"/>
                  </a:lnTo>
                  <a:lnTo>
                    <a:pt x="2735" y="2934"/>
                  </a:lnTo>
                  <a:lnTo>
                    <a:pt x="2733" y="2922"/>
                  </a:lnTo>
                  <a:lnTo>
                    <a:pt x="2733" y="2912"/>
                  </a:lnTo>
                  <a:lnTo>
                    <a:pt x="2734" y="2908"/>
                  </a:lnTo>
                  <a:lnTo>
                    <a:pt x="2736" y="2905"/>
                  </a:lnTo>
                  <a:lnTo>
                    <a:pt x="2738" y="2904"/>
                  </a:lnTo>
                  <a:lnTo>
                    <a:pt x="2741" y="2903"/>
                  </a:lnTo>
                  <a:lnTo>
                    <a:pt x="2746" y="2903"/>
                  </a:lnTo>
                  <a:lnTo>
                    <a:pt x="2751" y="2905"/>
                  </a:lnTo>
                  <a:lnTo>
                    <a:pt x="2756" y="2907"/>
                  </a:lnTo>
                  <a:lnTo>
                    <a:pt x="2761" y="2910"/>
                  </a:lnTo>
                  <a:lnTo>
                    <a:pt x="2773" y="2917"/>
                  </a:lnTo>
                  <a:lnTo>
                    <a:pt x="2784" y="2926"/>
                  </a:lnTo>
                  <a:lnTo>
                    <a:pt x="2795" y="2933"/>
                  </a:lnTo>
                  <a:lnTo>
                    <a:pt x="2804" y="2939"/>
                  </a:lnTo>
                  <a:lnTo>
                    <a:pt x="2808" y="2941"/>
                  </a:lnTo>
                  <a:lnTo>
                    <a:pt x="2812" y="2943"/>
                  </a:lnTo>
                  <a:lnTo>
                    <a:pt x="2815" y="2943"/>
                  </a:lnTo>
                  <a:lnTo>
                    <a:pt x="2817" y="2942"/>
                  </a:lnTo>
                  <a:lnTo>
                    <a:pt x="2822" y="2939"/>
                  </a:lnTo>
                  <a:lnTo>
                    <a:pt x="2826" y="2933"/>
                  </a:lnTo>
                  <a:lnTo>
                    <a:pt x="2828" y="2925"/>
                  </a:lnTo>
                  <a:lnTo>
                    <a:pt x="2829" y="2916"/>
                  </a:lnTo>
                  <a:lnTo>
                    <a:pt x="2830" y="2906"/>
                  </a:lnTo>
                  <a:lnTo>
                    <a:pt x="2830" y="2894"/>
                  </a:lnTo>
                  <a:lnTo>
                    <a:pt x="2829" y="2883"/>
                  </a:lnTo>
                  <a:lnTo>
                    <a:pt x="2828" y="2871"/>
                  </a:lnTo>
                  <a:lnTo>
                    <a:pt x="2821" y="2824"/>
                  </a:lnTo>
                  <a:lnTo>
                    <a:pt x="2815" y="2793"/>
                  </a:lnTo>
                  <a:lnTo>
                    <a:pt x="2814" y="2786"/>
                  </a:lnTo>
                  <a:lnTo>
                    <a:pt x="2813" y="2777"/>
                  </a:lnTo>
                  <a:lnTo>
                    <a:pt x="2814" y="2770"/>
                  </a:lnTo>
                  <a:lnTo>
                    <a:pt x="2815" y="2763"/>
                  </a:lnTo>
                  <a:lnTo>
                    <a:pt x="2816" y="2756"/>
                  </a:lnTo>
                  <a:lnTo>
                    <a:pt x="2818" y="2748"/>
                  </a:lnTo>
                  <a:lnTo>
                    <a:pt x="2822" y="2742"/>
                  </a:lnTo>
                  <a:lnTo>
                    <a:pt x="2825" y="2735"/>
                  </a:lnTo>
                  <a:lnTo>
                    <a:pt x="2832" y="2722"/>
                  </a:lnTo>
                  <a:lnTo>
                    <a:pt x="2841" y="2710"/>
                  </a:lnTo>
                  <a:lnTo>
                    <a:pt x="2852" y="2698"/>
                  </a:lnTo>
                  <a:lnTo>
                    <a:pt x="2862" y="2687"/>
                  </a:lnTo>
                  <a:lnTo>
                    <a:pt x="2866" y="2688"/>
                  </a:lnTo>
                  <a:lnTo>
                    <a:pt x="2871" y="2690"/>
                  </a:lnTo>
                  <a:lnTo>
                    <a:pt x="2874" y="2693"/>
                  </a:lnTo>
                  <a:lnTo>
                    <a:pt x="2877" y="2696"/>
                  </a:lnTo>
                  <a:lnTo>
                    <a:pt x="2882" y="2706"/>
                  </a:lnTo>
                  <a:lnTo>
                    <a:pt x="2887" y="2717"/>
                  </a:lnTo>
                  <a:lnTo>
                    <a:pt x="2891" y="2727"/>
                  </a:lnTo>
                  <a:lnTo>
                    <a:pt x="2898" y="2737"/>
                  </a:lnTo>
                  <a:lnTo>
                    <a:pt x="2901" y="2741"/>
                  </a:lnTo>
                  <a:lnTo>
                    <a:pt x="2905" y="2743"/>
                  </a:lnTo>
                  <a:lnTo>
                    <a:pt x="2910" y="2745"/>
                  </a:lnTo>
                  <a:lnTo>
                    <a:pt x="2915" y="2745"/>
                  </a:lnTo>
                  <a:lnTo>
                    <a:pt x="2922" y="2744"/>
                  </a:lnTo>
                  <a:lnTo>
                    <a:pt x="2927" y="2741"/>
                  </a:lnTo>
                  <a:lnTo>
                    <a:pt x="2932" y="2738"/>
                  </a:lnTo>
                  <a:lnTo>
                    <a:pt x="2936" y="2733"/>
                  </a:lnTo>
                  <a:lnTo>
                    <a:pt x="2939" y="2727"/>
                  </a:lnTo>
                  <a:lnTo>
                    <a:pt x="2943" y="2721"/>
                  </a:lnTo>
                  <a:lnTo>
                    <a:pt x="2946" y="2715"/>
                  </a:lnTo>
                  <a:lnTo>
                    <a:pt x="2948" y="2708"/>
                  </a:lnTo>
                  <a:lnTo>
                    <a:pt x="2952" y="2694"/>
                  </a:lnTo>
                  <a:lnTo>
                    <a:pt x="2955" y="2680"/>
                  </a:lnTo>
                  <a:lnTo>
                    <a:pt x="2957" y="2675"/>
                  </a:lnTo>
                  <a:lnTo>
                    <a:pt x="2959" y="2671"/>
                  </a:lnTo>
                  <a:lnTo>
                    <a:pt x="2962" y="2667"/>
                  </a:lnTo>
                  <a:lnTo>
                    <a:pt x="2964" y="2664"/>
                  </a:lnTo>
                  <a:lnTo>
                    <a:pt x="2965" y="2662"/>
                  </a:lnTo>
                  <a:lnTo>
                    <a:pt x="2968" y="2660"/>
                  </a:lnTo>
                  <a:lnTo>
                    <a:pt x="2971" y="2657"/>
                  </a:lnTo>
                  <a:lnTo>
                    <a:pt x="2975" y="2656"/>
                  </a:lnTo>
                  <a:lnTo>
                    <a:pt x="2985" y="2654"/>
                  </a:lnTo>
                  <a:lnTo>
                    <a:pt x="2998" y="2652"/>
                  </a:lnTo>
                  <a:lnTo>
                    <a:pt x="3010" y="2651"/>
                  </a:lnTo>
                  <a:lnTo>
                    <a:pt x="3023" y="2650"/>
                  </a:lnTo>
                  <a:lnTo>
                    <a:pt x="3033" y="2648"/>
                  </a:lnTo>
                  <a:lnTo>
                    <a:pt x="3040" y="2645"/>
                  </a:lnTo>
                  <a:lnTo>
                    <a:pt x="3050" y="2638"/>
                  </a:lnTo>
                  <a:lnTo>
                    <a:pt x="3058" y="2635"/>
                  </a:lnTo>
                  <a:lnTo>
                    <a:pt x="3061" y="2635"/>
                  </a:lnTo>
                  <a:lnTo>
                    <a:pt x="3065" y="2635"/>
                  </a:lnTo>
                  <a:lnTo>
                    <a:pt x="3067" y="2636"/>
                  </a:lnTo>
                  <a:lnTo>
                    <a:pt x="3069" y="2637"/>
                  </a:lnTo>
                  <a:lnTo>
                    <a:pt x="3072" y="2642"/>
                  </a:lnTo>
                  <a:lnTo>
                    <a:pt x="3075" y="2650"/>
                  </a:lnTo>
                  <a:lnTo>
                    <a:pt x="3077" y="2660"/>
                  </a:lnTo>
                  <a:lnTo>
                    <a:pt x="3080" y="2671"/>
                  </a:lnTo>
                  <a:lnTo>
                    <a:pt x="3081" y="2679"/>
                  </a:lnTo>
                  <a:lnTo>
                    <a:pt x="3081" y="2688"/>
                  </a:lnTo>
                  <a:lnTo>
                    <a:pt x="3081" y="2697"/>
                  </a:lnTo>
                  <a:lnTo>
                    <a:pt x="3079" y="2706"/>
                  </a:lnTo>
                  <a:lnTo>
                    <a:pt x="3076" y="2725"/>
                  </a:lnTo>
                  <a:lnTo>
                    <a:pt x="3071" y="2745"/>
                  </a:lnTo>
                  <a:lnTo>
                    <a:pt x="3070" y="2754"/>
                  </a:lnTo>
                  <a:lnTo>
                    <a:pt x="3068" y="2763"/>
                  </a:lnTo>
                  <a:lnTo>
                    <a:pt x="3068" y="2772"/>
                  </a:lnTo>
                  <a:lnTo>
                    <a:pt x="3068" y="2781"/>
                  </a:lnTo>
                  <a:lnTo>
                    <a:pt x="3069" y="2788"/>
                  </a:lnTo>
                  <a:lnTo>
                    <a:pt x="3072" y="2795"/>
                  </a:lnTo>
                  <a:lnTo>
                    <a:pt x="3076" y="2801"/>
                  </a:lnTo>
                  <a:lnTo>
                    <a:pt x="3081" y="2807"/>
                  </a:lnTo>
                  <a:lnTo>
                    <a:pt x="3086" y="2809"/>
                  </a:lnTo>
                  <a:lnTo>
                    <a:pt x="3092" y="2810"/>
                  </a:lnTo>
                  <a:lnTo>
                    <a:pt x="3097" y="2810"/>
                  </a:lnTo>
                  <a:lnTo>
                    <a:pt x="3102" y="2809"/>
                  </a:lnTo>
                  <a:lnTo>
                    <a:pt x="3106" y="2806"/>
                  </a:lnTo>
                  <a:lnTo>
                    <a:pt x="3111" y="2802"/>
                  </a:lnTo>
                  <a:lnTo>
                    <a:pt x="3116" y="2798"/>
                  </a:lnTo>
                  <a:lnTo>
                    <a:pt x="3120" y="2793"/>
                  </a:lnTo>
                  <a:lnTo>
                    <a:pt x="3128" y="2783"/>
                  </a:lnTo>
                  <a:lnTo>
                    <a:pt x="3134" y="2771"/>
                  </a:lnTo>
                  <a:lnTo>
                    <a:pt x="3139" y="2761"/>
                  </a:lnTo>
                  <a:lnTo>
                    <a:pt x="3142" y="2751"/>
                  </a:lnTo>
                  <a:lnTo>
                    <a:pt x="3143" y="2744"/>
                  </a:lnTo>
                  <a:lnTo>
                    <a:pt x="3144" y="2736"/>
                  </a:lnTo>
                  <a:lnTo>
                    <a:pt x="3143" y="2726"/>
                  </a:lnTo>
                  <a:lnTo>
                    <a:pt x="3143" y="2717"/>
                  </a:lnTo>
                  <a:lnTo>
                    <a:pt x="3140" y="2696"/>
                  </a:lnTo>
                  <a:lnTo>
                    <a:pt x="3136" y="2675"/>
                  </a:lnTo>
                  <a:lnTo>
                    <a:pt x="3134" y="2655"/>
                  </a:lnTo>
                  <a:lnTo>
                    <a:pt x="3132" y="2637"/>
                  </a:lnTo>
                  <a:lnTo>
                    <a:pt x="3132" y="2628"/>
                  </a:lnTo>
                  <a:lnTo>
                    <a:pt x="3133" y="2621"/>
                  </a:lnTo>
                  <a:lnTo>
                    <a:pt x="3135" y="2615"/>
                  </a:lnTo>
                  <a:lnTo>
                    <a:pt x="3139" y="2611"/>
                  </a:lnTo>
                  <a:lnTo>
                    <a:pt x="3139" y="2611"/>
                  </a:lnTo>
                  <a:lnTo>
                    <a:pt x="3098" y="2487"/>
                  </a:lnTo>
                  <a:lnTo>
                    <a:pt x="3098" y="2475"/>
                  </a:lnTo>
                  <a:lnTo>
                    <a:pt x="3099" y="2464"/>
                  </a:lnTo>
                  <a:lnTo>
                    <a:pt x="3102" y="2455"/>
                  </a:lnTo>
                  <a:lnTo>
                    <a:pt x="3105" y="2447"/>
                  </a:lnTo>
                  <a:lnTo>
                    <a:pt x="3114" y="2429"/>
                  </a:lnTo>
                  <a:lnTo>
                    <a:pt x="3120" y="2409"/>
                  </a:lnTo>
                  <a:lnTo>
                    <a:pt x="3122" y="2401"/>
                  </a:lnTo>
                  <a:lnTo>
                    <a:pt x="3122" y="2394"/>
                  </a:lnTo>
                  <a:lnTo>
                    <a:pt x="3121" y="2386"/>
                  </a:lnTo>
                  <a:lnTo>
                    <a:pt x="3119" y="2379"/>
                  </a:lnTo>
                  <a:lnTo>
                    <a:pt x="3115" y="2364"/>
                  </a:lnTo>
                  <a:lnTo>
                    <a:pt x="3110" y="2350"/>
                  </a:lnTo>
                  <a:lnTo>
                    <a:pt x="3110" y="2340"/>
                  </a:lnTo>
                  <a:lnTo>
                    <a:pt x="3111" y="2332"/>
                  </a:lnTo>
                  <a:lnTo>
                    <a:pt x="3115" y="2325"/>
                  </a:lnTo>
                  <a:lnTo>
                    <a:pt x="3119" y="2318"/>
                  </a:lnTo>
                  <a:lnTo>
                    <a:pt x="3128" y="2308"/>
                  </a:lnTo>
                  <a:lnTo>
                    <a:pt x="3139" y="2299"/>
                  </a:lnTo>
                  <a:lnTo>
                    <a:pt x="3142" y="2293"/>
                  </a:lnTo>
                  <a:lnTo>
                    <a:pt x="3145" y="2288"/>
                  </a:lnTo>
                  <a:lnTo>
                    <a:pt x="3145" y="2283"/>
                  </a:lnTo>
                  <a:lnTo>
                    <a:pt x="3144" y="2276"/>
                  </a:lnTo>
                  <a:lnTo>
                    <a:pt x="3141" y="2268"/>
                  </a:lnTo>
                  <a:lnTo>
                    <a:pt x="3133" y="2259"/>
                  </a:lnTo>
                  <a:lnTo>
                    <a:pt x="3124" y="2248"/>
                  </a:lnTo>
                  <a:lnTo>
                    <a:pt x="3110" y="2236"/>
                  </a:lnTo>
                  <a:lnTo>
                    <a:pt x="3105" y="2231"/>
                  </a:lnTo>
                  <a:lnTo>
                    <a:pt x="3101" y="2227"/>
                  </a:lnTo>
                  <a:lnTo>
                    <a:pt x="3098" y="2221"/>
                  </a:lnTo>
                  <a:lnTo>
                    <a:pt x="3095" y="2217"/>
                  </a:lnTo>
                  <a:lnTo>
                    <a:pt x="3094" y="2212"/>
                  </a:lnTo>
                  <a:lnTo>
                    <a:pt x="3093" y="2208"/>
                  </a:lnTo>
                  <a:lnTo>
                    <a:pt x="3093" y="2204"/>
                  </a:lnTo>
                  <a:lnTo>
                    <a:pt x="3094" y="2198"/>
                  </a:lnTo>
                  <a:lnTo>
                    <a:pt x="3095" y="2194"/>
                  </a:lnTo>
                  <a:lnTo>
                    <a:pt x="3097" y="2190"/>
                  </a:lnTo>
                  <a:lnTo>
                    <a:pt x="3100" y="2187"/>
                  </a:lnTo>
                  <a:lnTo>
                    <a:pt x="3103" y="2183"/>
                  </a:lnTo>
                  <a:lnTo>
                    <a:pt x="3111" y="2175"/>
                  </a:lnTo>
                  <a:lnTo>
                    <a:pt x="3122" y="2169"/>
                  </a:lnTo>
                  <a:lnTo>
                    <a:pt x="3130" y="2165"/>
                  </a:lnTo>
                  <a:lnTo>
                    <a:pt x="3136" y="2160"/>
                  </a:lnTo>
                  <a:lnTo>
                    <a:pt x="3142" y="2155"/>
                  </a:lnTo>
                  <a:lnTo>
                    <a:pt x="3145" y="2148"/>
                  </a:lnTo>
                  <a:lnTo>
                    <a:pt x="3147" y="2142"/>
                  </a:lnTo>
                  <a:lnTo>
                    <a:pt x="3148" y="2136"/>
                  </a:lnTo>
                  <a:lnTo>
                    <a:pt x="3148" y="2130"/>
                  </a:lnTo>
                  <a:lnTo>
                    <a:pt x="3147" y="2123"/>
                  </a:lnTo>
                  <a:lnTo>
                    <a:pt x="3145" y="2117"/>
                  </a:lnTo>
                  <a:lnTo>
                    <a:pt x="3143" y="2111"/>
                  </a:lnTo>
                  <a:lnTo>
                    <a:pt x="3139" y="2106"/>
                  </a:lnTo>
                  <a:lnTo>
                    <a:pt x="3134" y="2099"/>
                  </a:lnTo>
                  <a:lnTo>
                    <a:pt x="3130" y="2093"/>
                  </a:lnTo>
                  <a:lnTo>
                    <a:pt x="3125" y="2088"/>
                  </a:lnTo>
                  <a:lnTo>
                    <a:pt x="3119" y="2084"/>
                  </a:lnTo>
                  <a:lnTo>
                    <a:pt x="3113" y="2078"/>
                  </a:lnTo>
                  <a:lnTo>
                    <a:pt x="3114" y="2064"/>
                  </a:lnTo>
                  <a:lnTo>
                    <a:pt x="3114" y="2040"/>
                  </a:lnTo>
                  <a:lnTo>
                    <a:pt x="3114" y="2027"/>
                  </a:lnTo>
                  <a:lnTo>
                    <a:pt x="3113" y="2017"/>
                  </a:lnTo>
                  <a:lnTo>
                    <a:pt x="3113" y="2013"/>
                  </a:lnTo>
                  <a:lnTo>
                    <a:pt x="3111" y="2011"/>
                  </a:lnTo>
                  <a:lnTo>
                    <a:pt x="3109" y="2009"/>
                  </a:lnTo>
                  <a:lnTo>
                    <a:pt x="3108" y="2008"/>
                  </a:lnTo>
                  <a:lnTo>
                    <a:pt x="3102" y="2011"/>
                  </a:lnTo>
                  <a:lnTo>
                    <a:pt x="3090" y="2014"/>
                  </a:lnTo>
                  <a:lnTo>
                    <a:pt x="3072" y="2018"/>
                  </a:lnTo>
                  <a:lnTo>
                    <a:pt x="3051" y="2023"/>
                  </a:lnTo>
                  <a:lnTo>
                    <a:pt x="3011" y="2032"/>
                  </a:lnTo>
                  <a:lnTo>
                    <a:pt x="2988" y="2035"/>
                  </a:lnTo>
                  <a:lnTo>
                    <a:pt x="2981" y="2035"/>
                  </a:lnTo>
                  <a:lnTo>
                    <a:pt x="2975" y="2033"/>
                  </a:lnTo>
                  <a:lnTo>
                    <a:pt x="2969" y="2030"/>
                  </a:lnTo>
                  <a:lnTo>
                    <a:pt x="2963" y="2028"/>
                  </a:lnTo>
                  <a:lnTo>
                    <a:pt x="2953" y="2021"/>
                  </a:lnTo>
                  <a:lnTo>
                    <a:pt x="2944" y="2012"/>
                  </a:lnTo>
                  <a:lnTo>
                    <a:pt x="2927" y="1991"/>
                  </a:lnTo>
                  <a:lnTo>
                    <a:pt x="2911" y="1972"/>
                  </a:lnTo>
                  <a:lnTo>
                    <a:pt x="2902" y="1973"/>
                  </a:lnTo>
                  <a:lnTo>
                    <a:pt x="2894" y="1974"/>
                  </a:lnTo>
                  <a:lnTo>
                    <a:pt x="2885" y="1977"/>
                  </a:lnTo>
                  <a:lnTo>
                    <a:pt x="2877" y="1979"/>
                  </a:lnTo>
                  <a:lnTo>
                    <a:pt x="2860" y="1988"/>
                  </a:lnTo>
                  <a:lnTo>
                    <a:pt x="2844" y="1996"/>
                  </a:lnTo>
                  <a:lnTo>
                    <a:pt x="2827" y="2005"/>
                  </a:lnTo>
                  <a:lnTo>
                    <a:pt x="2810" y="2013"/>
                  </a:lnTo>
                  <a:lnTo>
                    <a:pt x="2803" y="2016"/>
                  </a:lnTo>
                  <a:lnTo>
                    <a:pt x="2795" y="2018"/>
                  </a:lnTo>
                  <a:lnTo>
                    <a:pt x="2787" y="2020"/>
                  </a:lnTo>
                  <a:lnTo>
                    <a:pt x="2779" y="2020"/>
                  </a:lnTo>
                  <a:lnTo>
                    <a:pt x="2776" y="2014"/>
                  </a:lnTo>
                  <a:lnTo>
                    <a:pt x="2774" y="2003"/>
                  </a:lnTo>
                  <a:lnTo>
                    <a:pt x="2772" y="1992"/>
                  </a:lnTo>
                  <a:lnTo>
                    <a:pt x="2771" y="1977"/>
                  </a:lnTo>
                  <a:lnTo>
                    <a:pt x="2769" y="1950"/>
                  </a:lnTo>
                  <a:lnTo>
                    <a:pt x="2769" y="1930"/>
                  </a:lnTo>
                  <a:lnTo>
                    <a:pt x="2771" y="1918"/>
                  </a:lnTo>
                  <a:lnTo>
                    <a:pt x="2772" y="1904"/>
                  </a:lnTo>
                  <a:lnTo>
                    <a:pt x="2774" y="1893"/>
                  </a:lnTo>
                  <a:lnTo>
                    <a:pt x="2776" y="1880"/>
                  </a:lnTo>
                  <a:lnTo>
                    <a:pt x="2778" y="1869"/>
                  </a:lnTo>
                  <a:lnTo>
                    <a:pt x="2780" y="1858"/>
                  </a:lnTo>
                  <a:lnTo>
                    <a:pt x="2781" y="1849"/>
                  </a:lnTo>
                  <a:lnTo>
                    <a:pt x="2781" y="1840"/>
                  </a:lnTo>
                  <a:lnTo>
                    <a:pt x="2780" y="1831"/>
                  </a:lnTo>
                  <a:lnTo>
                    <a:pt x="2777" y="1823"/>
                  </a:lnTo>
                  <a:lnTo>
                    <a:pt x="2775" y="1820"/>
                  </a:lnTo>
                  <a:lnTo>
                    <a:pt x="2773" y="1817"/>
                  </a:lnTo>
                  <a:lnTo>
                    <a:pt x="2769" y="1813"/>
                  </a:lnTo>
                  <a:lnTo>
                    <a:pt x="2765" y="1810"/>
                  </a:lnTo>
                  <a:lnTo>
                    <a:pt x="2756" y="1806"/>
                  </a:lnTo>
                  <a:lnTo>
                    <a:pt x="2744" y="1802"/>
                  </a:lnTo>
                  <a:lnTo>
                    <a:pt x="2729" y="1800"/>
                  </a:lnTo>
                  <a:lnTo>
                    <a:pt x="2710" y="1799"/>
                  </a:lnTo>
                  <a:lnTo>
                    <a:pt x="2691" y="1797"/>
                  </a:lnTo>
                  <a:lnTo>
                    <a:pt x="2677" y="1795"/>
                  </a:lnTo>
                  <a:lnTo>
                    <a:pt x="2665" y="1792"/>
                  </a:lnTo>
                  <a:lnTo>
                    <a:pt x="2656" y="1787"/>
                  </a:lnTo>
                  <a:lnTo>
                    <a:pt x="2653" y="1785"/>
                  </a:lnTo>
                  <a:lnTo>
                    <a:pt x="2651" y="1782"/>
                  </a:lnTo>
                  <a:lnTo>
                    <a:pt x="2647" y="1779"/>
                  </a:lnTo>
                  <a:lnTo>
                    <a:pt x="2646" y="1776"/>
                  </a:lnTo>
                  <a:lnTo>
                    <a:pt x="2644" y="1770"/>
                  </a:lnTo>
                  <a:lnTo>
                    <a:pt x="2644" y="1761"/>
                  </a:lnTo>
                  <a:lnTo>
                    <a:pt x="2646" y="1743"/>
                  </a:lnTo>
                  <a:lnTo>
                    <a:pt x="2652" y="1721"/>
                  </a:lnTo>
                  <a:lnTo>
                    <a:pt x="2654" y="1708"/>
                  </a:lnTo>
                  <a:lnTo>
                    <a:pt x="2656" y="1695"/>
                  </a:lnTo>
                  <a:lnTo>
                    <a:pt x="2657" y="1681"/>
                  </a:lnTo>
                  <a:lnTo>
                    <a:pt x="2657" y="1666"/>
                  </a:lnTo>
                  <a:lnTo>
                    <a:pt x="2657" y="1663"/>
                  </a:lnTo>
                  <a:lnTo>
                    <a:pt x="2656" y="1661"/>
                  </a:lnTo>
                  <a:lnTo>
                    <a:pt x="2654" y="1659"/>
                  </a:lnTo>
                  <a:lnTo>
                    <a:pt x="2652" y="1656"/>
                  </a:lnTo>
                  <a:lnTo>
                    <a:pt x="2646" y="1652"/>
                  </a:lnTo>
                  <a:lnTo>
                    <a:pt x="2638" y="1648"/>
                  </a:lnTo>
                  <a:lnTo>
                    <a:pt x="2630" y="1644"/>
                  </a:lnTo>
                  <a:lnTo>
                    <a:pt x="2619" y="1641"/>
                  </a:lnTo>
                  <a:lnTo>
                    <a:pt x="2608" y="1638"/>
                  </a:lnTo>
                  <a:lnTo>
                    <a:pt x="2596" y="1635"/>
                  </a:lnTo>
                  <a:lnTo>
                    <a:pt x="2551" y="1628"/>
                  </a:lnTo>
                  <a:lnTo>
                    <a:pt x="2519" y="1625"/>
                  </a:lnTo>
                  <a:lnTo>
                    <a:pt x="2503" y="1624"/>
                  </a:lnTo>
                  <a:lnTo>
                    <a:pt x="2475" y="1622"/>
                  </a:lnTo>
                  <a:lnTo>
                    <a:pt x="2461" y="1620"/>
                  </a:lnTo>
                  <a:lnTo>
                    <a:pt x="2449" y="1619"/>
                  </a:lnTo>
                  <a:lnTo>
                    <a:pt x="2441" y="1617"/>
                  </a:lnTo>
                  <a:lnTo>
                    <a:pt x="2437" y="1614"/>
                  </a:lnTo>
                  <a:lnTo>
                    <a:pt x="2435" y="1613"/>
                  </a:lnTo>
                  <a:lnTo>
                    <a:pt x="2434" y="1610"/>
                  </a:lnTo>
                  <a:lnTo>
                    <a:pt x="2433" y="1606"/>
                  </a:lnTo>
                  <a:lnTo>
                    <a:pt x="2434" y="1601"/>
                  </a:lnTo>
                  <a:lnTo>
                    <a:pt x="2436" y="1587"/>
                  </a:lnTo>
                  <a:lnTo>
                    <a:pt x="2440" y="1571"/>
                  </a:lnTo>
                  <a:lnTo>
                    <a:pt x="2443" y="1555"/>
                  </a:lnTo>
                  <a:lnTo>
                    <a:pt x="2446" y="1539"/>
                  </a:lnTo>
                  <a:lnTo>
                    <a:pt x="2447" y="1533"/>
                  </a:lnTo>
                  <a:lnTo>
                    <a:pt x="2448" y="1527"/>
                  </a:lnTo>
                  <a:lnTo>
                    <a:pt x="2447" y="1521"/>
                  </a:lnTo>
                  <a:lnTo>
                    <a:pt x="2446" y="1517"/>
                  </a:lnTo>
                  <a:lnTo>
                    <a:pt x="2433" y="1514"/>
                  </a:lnTo>
                  <a:lnTo>
                    <a:pt x="2418" y="1513"/>
                  </a:lnTo>
                  <a:lnTo>
                    <a:pt x="2402" y="1512"/>
                  </a:lnTo>
                  <a:lnTo>
                    <a:pt x="2387" y="1512"/>
                  </a:lnTo>
                  <a:lnTo>
                    <a:pt x="2371" y="1511"/>
                  </a:lnTo>
                  <a:lnTo>
                    <a:pt x="2357" y="1510"/>
                  </a:lnTo>
                  <a:lnTo>
                    <a:pt x="2342" y="1507"/>
                  </a:lnTo>
                  <a:lnTo>
                    <a:pt x="2328" y="1503"/>
                  </a:lnTo>
                  <a:lnTo>
                    <a:pt x="2319" y="1498"/>
                  </a:lnTo>
                  <a:lnTo>
                    <a:pt x="2310" y="1496"/>
                  </a:lnTo>
                  <a:lnTo>
                    <a:pt x="2301" y="1495"/>
                  </a:lnTo>
                  <a:lnTo>
                    <a:pt x="2293" y="1495"/>
                  </a:lnTo>
                  <a:lnTo>
                    <a:pt x="2286" y="1495"/>
                  </a:lnTo>
                  <a:lnTo>
                    <a:pt x="2278" y="1496"/>
                  </a:lnTo>
                  <a:lnTo>
                    <a:pt x="2272" y="1498"/>
                  </a:lnTo>
                  <a:lnTo>
                    <a:pt x="2266" y="1500"/>
                  </a:lnTo>
                  <a:lnTo>
                    <a:pt x="2253" y="1506"/>
                  </a:lnTo>
                  <a:lnTo>
                    <a:pt x="2240" y="1511"/>
                  </a:lnTo>
                  <a:lnTo>
                    <a:pt x="2234" y="1513"/>
                  </a:lnTo>
                  <a:lnTo>
                    <a:pt x="2226" y="1515"/>
                  </a:lnTo>
                  <a:lnTo>
                    <a:pt x="2219" y="1516"/>
                  </a:lnTo>
                  <a:lnTo>
                    <a:pt x="2211" y="1516"/>
                  </a:lnTo>
                  <a:lnTo>
                    <a:pt x="2206" y="1515"/>
                  </a:lnTo>
                  <a:lnTo>
                    <a:pt x="2203" y="1514"/>
                  </a:lnTo>
                  <a:lnTo>
                    <a:pt x="2200" y="1511"/>
                  </a:lnTo>
                  <a:lnTo>
                    <a:pt x="2198" y="1508"/>
                  </a:lnTo>
                  <a:lnTo>
                    <a:pt x="2196" y="1498"/>
                  </a:lnTo>
                  <a:lnTo>
                    <a:pt x="2196" y="1487"/>
                  </a:lnTo>
                  <a:lnTo>
                    <a:pt x="2198" y="1464"/>
                  </a:lnTo>
                  <a:lnTo>
                    <a:pt x="2200" y="1448"/>
                  </a:lnTo>
                  <a:lnTo>
                    <a:pt x="2201" y="1429"/>
                  </a:lnTo>
                  <a:lnTo>
                    <a:pt x="2203" y="1413"/>
                  </a:lnTo>
                  <a:lnTo>
                    <a:pt x="2206" y="1400"/>
                  </a:lnTo>
                  <a:lnTo>
                    <a:pt x="2211" y="1390"/>
                  </a:lnTo>
                  <a:lnTo>
                    <a:pt x="2224" y="1369"/>
                  </a:lnTo>
                  <a:lnTo>
                    <a:pt x="2242" y="1342"/>
                  </a:lnTo>
                  <a:lnTo>
                    <a:pt x="2252" y="1337"/>
                  </a:lnTo>
                  <a:lnTo>
                    <a:pt x="2266" y="1327"/>
                  </a:lnTo>
                  <a:lnTo>
                    <a:pt x="2282" y="1317"/>
                  </a:lnTo>
                  <a:lnTo>
                    <a:pt x="2296" y="1305"/>
                  </a:lnTo>
                  <a:lnTo>
                    <a:pt x="2302" y="1299"/>
                  </a:lnTo>
                  <a:lnTo>
                    <a:pt x="2308" y="1293"/>
                  </a:lnTo>
                  <a:lnTo>
                    <a:pt x="2312" y="1286"/>
                  </a:lnTo>
                  <a:lnTo>
                    <a:pt x="2314" y="1279"/>
                  </a:lnTo>
                  <a:lnTo>
                    <a:pt x="2315" y="1273"/>
                  </a:lnTo>
                  <a:lnTo>
                    <a:pt x="2314" y="1267"/>
                  </a:lnTo>
                  <a:lnTo>
                    <a:pt x="2313" y="1264"/>
                  </a:lnTo>
                  <a:lnTo>
                    <a:pt x="2311" y="1261"/>
                  </a:lnTo>
                  <a:lnTo>
                    <a:pt x="2308" y="1257"/>
                  </a:lnTo>
                  <a:lnTo>
                    <a:pt x="2304" y="1254"/>
                  </a:lnTo>
                  <a:lnTo>
                    <a:pt x="2273" y="1254"/>
                  </a:lnTo>
                  <a:lnTo>
                    <a:pt x="2234" y="1251"/>
                  </a:lnTo>
                  <a:lnTo>
                    <a:pt x="2223" y="1250"/>
                  </a:lnTo>
                  <a:lnTo>
                    <a:pt x="2214" y="1248"/>
                  </a:lnTo>
                  <a:lnTo>
                    <a:pt x="2204" y="1246"/>
                  </a:lnTo>
                  <a:lnTo>
                    <a:pt x="2196" y="1244"/>
                  </a:lnTo>
                  <a:lnTo>
                    <a:pt x="2188" y="1241"/>
                  </a:lnTo>
                  <a:lnTo>
                    <a:pt x="2181" y="1237"/>
                  </a:lnTo>
                  <a:lnTo>
                    <a:pt x="2177" y="1232"/>
                  </a:lnTo>
                  <a:lnTo>
                    <a:pt x="2173" y="1227"/>
                  </a:lnTo>
                  <a:lnTo>
                    <a:pt x="2169" y="1218"/>
                  </a:lnTo>
                  <a:lnTo>
                    <a:pt x="2163" y="1210"/>
                  </a:lnTo>
                  <a:lnTo>
                    <a:pt x="2156" y="1205"/>
                  </a:lnTo>
                  <a:lnTo>
                    <a:pt x="2150" y="1200"/>
                  </a:lnTo>
                  <a:lnTo>
                    <a:pt x="2136" y="1192"/>
                  </a:lnTo>
                  <a:lnTo>
                    <a:pt x="2121" y="1184"/>
                  </a:lnTo>
                  <a:lnTo>
                    <a:pt x="2114" y="1180"/>
                  </a:lnTo>
                  <a:lnTo>
                    <a:pt x="2107" y="1176"/>
                  </a:lnTo>
                  <a:lnTo>
                    <a:pt x="2101" y="1172"/>
                  </a:lnTo>
                  <a:lnTo>
                    <a:pt x="2095" y="1167"/>
                  </a:lnTo>
                  <a:lnTo>
                    <a:pt x="2091" y="1160"/>
                  </a:lnTo>
                  <a:lnTo>
                    <a:pt x="2087" y="1153"/>
                  </a:lnTo>
                  <a:lnTo>
                    <a:pt x="2083" y="1145"/>
                  </a:lnTo>
                  <a:lnTo>
                    <a:pt x="2082" y="1134"/>
                  </a:lnTo>
                  <a:lnTo>
                    <a:pt x="2077" y="1112"/>
                  </a:lnTo>
                  <a:lnTo>
                    <a:pt x="2070" y="1088"/>
                  </a:lnTo>
                  <a:lnTo>
                    <a:pt x="2069" y="1082"/>
                  </a:lnTo>
                  <a:lnTo>
                    <a:pt x="2068" y="1076"/>
                  </a:lnTo>
                  <a:lnTo>
                    <a:pt x="2068" y="1071"/>
                  </a:lnTo>
                  <a:lnTo>
                    <a:pt x="2069" y="1065"/>
                  </a:lnTo>
                  <a:lnTo>
                    <a:pt x="2070" y="1059"/>
                  </a:lnTo>
                  <a:lnTo>
                    <a:pt x="2073" y="1055"/>
                  </a:lnTo>
                  <a:lnTo>
                    <a:pt x="2076" y="1050"/>
                  </a:lnTo>
                  <a:lnTo>
                    <a:pt x="2081" y="1046"/>
                  </a:lnTo>
                  <a:lnTo>
                    <a:pt x="2089" y="1040"/>
                  </a:lnTo>
                  <a:lnTo>
                    <a:pt x="2098" y="1035"/>
                  </a:lnTo>
                  <a:lnTo>
                    <a:pt x="2107" y="1031"/>
                  </a:lnTo>
                  <a:lnTo>
                    <a:pt x="2118" y="1028"/>
                  </a:lnTo>
                  <a:lnTo>
                    <a:pt x="2128" y="1025"/>
                  </a:lnTo>
                  <a:lnTo>
                    <a:pt x="2139" y="1023"/>
                  </a:lnTo>
                  <a:lnTo>
                    <a:pt x="2150" y="1021"/>
                  </a:lnTo>
                  <a:lnTo>
                    <a:pt x="2163" y="1020"/>
                  </a:lnTo>
                  <a:lnTo>
                    <a:pt x="2186" y="1017"/>
                  </a:lnTo>
                  <a:lnTo>
                    <a:pt x="2209" y="1019"/>
                  </a:lnTo>
                  <a:lnTo>
                    <a:pt x="2230" y="1020"/>
                  </a:lnTo>
                  <a:lnTo>
                    <a:pt x="2249" y="1023"/>
                  </a:lnTo>
                  <a:lnTo>
                    <a:pt x="2275" y="1029"/>
                  </a:lnTo>
                  <a:lnTo>
                    <a:pt x="2303" y="1037"/>
                  </a:lnTo>
                  <a:lnTo>
                    <a:pt x="2317" y="1041"/>
                  </a:lnTo>
                  <a:lnTo>
                    <a:pt x="2332" y="1046"/>
                  </a:lnTo>
                  <a:lnTo>
                    <a:pt x="2345" y="1049"/>
                  </a:lnTo>
                  <a:lnTo>
                    <a:pt x="2360" y="1051"/>
                  </a:lnTo>
                  <a:lnTo>
                    <a:pt x="2372" y="1053"/>
                  </a:lnTo>
                  <a:lnTo>
                    <a:pt x="2386" y="1052"/>
                  </a:lnTo>
                  <a:lnTo>
                    <a:pt x="2397" y="1051"/>
                  </a:lnTo>
                  <a:lnTo>
                    <a:pt x="2409" y="1047"/>
                  </a:lnTo>
                  <a:lnTo>
                    <a:pt x="2414" y="1044"/>
                  </a:lnTo>
                  <a:lnTo>
                    <a:pt x="2419" y="1040"/>
                  </a:lnTo>
                  <a:lnTo>
                    <a:pt x="2424" y="1037"/>
                  </a:lnTo>
                  <a:lnTo>
                    <a:pt x="2429" y="1032"/>
                  </a:lnTo>
                  <a:lnTo>
                    <a:pt x="2433" y="1027"/>
                  </a:lnTo>
                  <a:lnTo>
                    <a:pt x="2437" y="1021"/>
                  </a:lnTo>
                  <a:lnTo>
                    <a:pt x="2440" y="1014"/>
                  </a:lnTo>
                  <a:lnTo>
                    <a:pt x="2443" y="1007"/>
                  </a:lnTo>
                  <a:lnTo>
                    <a:pt x="2449" y="989"/>
                  </a:lnTo>
                  <a:lnTo>
                    <a:pt x="2454" y="974"/>
                  </a:lnTo>
                  <a:lnTo>
                    <a:pt x="2456" y="958"/>
                  </a:lnTo>
                  <a:lnTo>
                    <a:pt x="2458" y="944"/>
                  </a:lnTo>
                  <a:lnTo>
                    <a:pt x="2459" y="918"/>
                  </a:lnTo>
                  <a:lnTo>
                    <a:pt x="2461" y="896"/>
                  </a:lnTo>
                  <a:lnTo>
                    <a:pt x="2463" y="885"/>
                  </a:lnTo>
                  <a:lnTo>
                    <a:pt x="2466" y="876"/>
                  </a:lnTo>
                  <a:lnTo>
                    <a:pt x="2471" y="865"/>
                  </a:lnTo>
                  <a:lnTo>
                    <a:pt x="2479" y="856"/>
                  </a:lnTo>
                  <a:lnTo>
                    <a:pt x="2489" y="845"/>
                  </a:lnTo>
                  <a:lnTo>
                    <a:pt x="2502" y="836"/>
                  </a:lnTo>
                  <a:lnTo>
                    <a:pt x="2517" y="827"/>
                  </a:lnTo>
                  <a:lnTo>
                    <a:pt x="2537" y="816"/>
                  </a:lnTo>
                  <a:lnTo>
                    <a:pt x="2547" y="812"/>
                  </a:lnTo>
                  <a:lnTo>
                    <a:pt x="2557" y="810"/>
                  </a:lnTo>
                  <a:lnTo>
                    <a:pt x="2566" y="809"/>
                  </a:lnTo>
                  <a:lnTo>
                    <a:pt x="2576" y="809"/>
                  </a:lnTo>
                  <a:lnTo>
                    <a:pt x="2585" y="810"/>
                  </a:lnTo>
                  <a:lnTo>
                    <a:pt x="2593" y="813"/>
                  </a:lnTo>
                  <a:lnTo>
                    <a:pt x="2602" y="816"/>
                  </a:lnTo>
                  <a:lnTo>
                    <a:pt x="2611" y="819"/>
                  </a:lnTo>
                  <a:lnTo>
                    <a:pt x="2628" y="828"/>
                  </a:lnTo>
                  <a:lnTo>
                    <a:pt x="2644" y="835"/>
                  </a:lnTo>
                  <a:lnTo>
                    <a:pt x="2653" y="838"/>
                  </a:lnTo>
                  <a:lnTo>
                    <a:pt x="2662" y="841"/>
                  </a:lnTo>
                  <a:lnTo>
                    <a:pt x="2670" y="842"/>
                  </a:lnTo>
                  <a:lnTo>
                    <a:pt x="2680" y="843"/>
                  </a:lnTo>
                  <a:lnTo>
                    <a:pt x="2687" y="842"/>
                  </a:lnTo>
                  <a:lnTo>
                    <a:pt x="2694" y="840"/>
                  </a:lnTo>
                  <a:lnTo>
                    <a:pt x="2701" y="837"/>
                  </a:lnTo>
                  <a:lnTo>
                    <a:pt x="2707" y="832"/>
                  </a:lnTo>
                  <a:lnTo>
                    <a:pt x="2713" y="827"/>
                  </a:lnTo>
                  <a:lnTo>
                    <a:pt x="2718" y="819"/>
                  </a:lnTo>
                  <a:lnTo>
                    <a:pt x="2724" y="813"/>
                  </a:lnTo>
                  <a:lnTo>
                    <a:pt x="2728" y="805"/>
                  </a:lnTo>
                  <a:lnTo>
                    <a:pt x="2731" y="796"/>
                  </a:lnTo>
                  <a:lnTo>
                    <a:pt x="2734" y="788"/>
                  </a:lnTo>
                  <a:lnTo>
                    <a:pt x="2737" y="780"/>
                  </a:lnTo>
                  <a:lnTo>
                    <a:pt x="2739" y="771"/>
                  </a:lnTo>
                  <a:lnTo>
                    <a:pt x="2740" y="763"/>
                  </a:lnTo>
                  <a:lnTo>
                    <a:pt x="2741" y="756"/>
                  </a:lnTo>
                  <a:lnTo>
                    <a:pt x="2741" y="748"/>
                  </a:lnTo>
                  <a:lnTo>
                    <a:pt x="2741" y="742"/>
                  </a:lnTo>
                  <a:lnTo>
                    <a:pt x="2737" y="701"/>
                  </a:lnTo>
                  <a:lnTo>
                    <a:pt x="2733" y="662"/>
                  </a:lnTo>
                  <a:lnTo>
                    <a:pt x="2733" y="652"/>
                  </a:lnTo>
                  <a:lnTo>
                    <a:pt x="2734" y="643"/>
                  </a:lnTo>
                  <a:lnTo>
                    <a:pt x="2736" y="635"/>
                  </a:lnTo>
                  <a:lnTo>
                    <a:pt x="2739" y="626"/>
                  </a:lnTo>
                  <a:lnTo>
                    <a:pt x="2744" y="619"/>
                  </a:lnTo>
                  <a:lnTo>
                    <a:pt x="2751" y="612"/>
                  </a:lnTo>
                  <a:lnTo>
                    <a:pt x="2758" y="606"/>
                  </a:lnTo>
                  <a:lnTo>
                    <a:pt x="2768" y="601"/>
                  </a:lnTo>
                  <a:lnTo>
                    <a:pt x="2779" y="598"/>
                  </a:lnTo>
                  <a:lnTo>
                    <a:pt x="2790" y="596"/>
                  </a:lnTo>
                  <a:lnTo>
                    <a:pt x="2803" y="595"/>
                  </a:lnTo>
                  <a:lnTo>
                    <a:pt x="2815" y="595"/>
                  </a:lnTo>
                  <a:lnTo>
                    <a:pt x="2842" y="597"/>
                  </a:lnTo>
                  <a:lnTo>
                    <a:pt x="2870" y="600"/>
                  </a:lnTo>
                  <a:lnTo>
                    <a:pt x="2883" y="602"/>
                  </a:lnTo>
                  <a:lnTo>
                    <a:pt x="2897" y="602"/>
                  </a:lnTo>
                  <a:lnTo>
                    <a:pt x="2909" y="602"/>
                  </a:lnTo>
                  <a:lnTo>
                    <a:pt x="2921" y="601"/>
                  </a:lnTo>
                  <a:lnTo>
                    <a:pt x="2932" y="599"/>
                  </a:lnTo>
                  <a:lnTo>
                    <a:pt x="2942" y="595"/>
                  </a:lnTo>
                  <a:lnTo>
                    <a:pt x="2947" y="593"/>
                  </a:lnTo>
                  <a:lnTo>
                    <a:pt x="2951" y="590"/>
                  </a:lnTo>
                  <a:lnTo>
                    <a:pt x="2955" y="587"/>
                  </a:lnTo>
                  <a:lnTo>
                    <a:pt x="2958" y="582"/>
                  </a:lnTo>
                  <a:lnTo>
                    <a:pt x="2962" y="577"/>
                  </a:lnTo>
                  <a:lnTo>
                    <a:pt x="2965" y="571"/>
                  </a:lnTo>
                  <a:lnTo>
                    <a:pt x="2968" y="566"/>
                  </a:lnTo>
                  <a:lnTo>
                    <a:pt x="2969" y="559"/>
                  </a:lnTo>
                  <a:lnTo>
                    <a:pt x="2971" y="547"/>
                  </a:lnTo>
                  <a:lnTo>
                    <a:pt x="2972" y="535"/>
                  </a:lnTo>
                  <a:lnTo>
                    <a:pt x="2972" y="523"/>
                  </a:lnTo>
                  <a:lnTo>
                    <a:pt x="2973" y="510"/>
                  </a:lnTo>
                  <a:lnTo>
                    <a:pt x="2974" y="505"/>
                  </a:lnTo>
                  <a:lnTo>
                    <a:pt x="2975" y="499"/>
                  </a:lnTo>
                  <a:lnTo>
                    <a:pt x="2977" y="494"/>
                  </a:lnTo>
                  <a:lnTo>
                    <a:pt x="2980" y="489"/>
                  </a:lnTo>
                  <a:lnTo>
                    <a:pt x="2989" y="486"/>
                  </a:lnTo>
                  <a:lnTo>
                    <a:pt x="3000" y="485"/>
                  </a:lnTo>
                  <a:lnTo>
                    <a:pt x="3011" y="483"/>
                  </a:lnTo>
                  <a:lnTo>
                    <a:pt x="3022" y="481"/>
                  </a:lnTo>
                  <a:lnTo>
                    <a:pt x="3022" y="481"/>
                  </a:lnTo>
                  <a:lnTo>
                    <a:pt x="3022" y="453"/>
                  </a:lnTo>
                  <a:lnTo>
                    <a:pt x="3025" y="426"/>
                  </a:lnTo>
                  <a:lnTo>
                    <a:pt x="3028" y="398"/>
                  </a:lnTo>
                  <a:lnTo>
                    <a:pt x="3032" y="371"/>
                  </a:lnTo>
                  <a:lnTo>
                    <a:pt x="3034" y="359"/>
                  </a:lnTo>
                  <a:lnTo>
                    <a:pt x="3038" y="348"/>
                  </a:lnTo>
                  <a:lnTo>
                    <a:pt x="3043" y="335"/>
                  </a:lnTo>
                  <a:lnTo>
                    <a:pt x="3048" y="323"/>
                  </a:lnTo>
                  <a:lnTo>
                    <a:pt x="3052" y="311"/>
                  </a:lnTo>
                  <a:lnTo>
                    <a:pt x="3055" y="299"/>
                  </a:lnTo>
                  <a:lnTo>
                    <a:pt x="3057" y="288"/>
                  </a:lnTo>
                  <a:lnTo>
                    <a:pt x="3057" y="277"/>
                  </a:lnTo>
                  <a:lnTo>
                    <a:pt x="3047" y="273"/>
                  </a:lnTo>
                  <a:lnTo>
                    <a:pt x="3036" y="267"/>
                  </a:lnTo>
                  <a:lnTo>
                    <a:pt x="3025" y="263"/>
                  </a:lnTo>
                  <a:lnTo>
                    <a:pt x="3013" y="260"/>
                  </a:lnTo>
                  <a:lnTo>
                    <a:pt x="2988" y="254"/>
                  </a:lnTo>
                  <a:lnTo>
                    <a:pt x="2962" y="248"/>
                  </a:lnTo>
                  <a:lnTo>
                    <a:pt x="2937" y="242"/>
                  </a:lnTo>
                  <a:lnTo>
                    <a:pt x="2914" y="236"/>
                  </a:lnTo>
                  <a:lnTo>
                    <a:pt x="2904" y="232"/>
                  </a:lnTo>
                  <a:lnTo>
                    <a:pt x="2895" y="228"/>
                  </a:lnTo>
                  <a:lnTo>
                    <a:pt x="2886" y="224"/>
                  </a:lnTo>
                  <a:lnTo>
                    <a:pt x="2879" y="218"/>
                  </a:lnTo>
                  <a:lnTo>
                    <a:pt x="2880" y="195"/>
                  </a:lnTo>
                  <a:lnTo>
                    <a:pt x="2881" y="172"/>
                  </a:lnTo>
                  <a:lnTo>
                    <a:pt x="2882" y="149"/>
                  </a:lnTo>
                  <a:lnTo>
                    <a:pt x="2880" y="125"/>
                  </a:lnTo>
                  <a:lnTo>
                    <a:pt x="2886" y="36"/>
                  </a:lnTo>
                  <a:lnTo>
                    <a:pt x="2886" y="36"/>
                  </a:lnTo>
                  <a:lnTo>
                    <a:pt x="2858" y="32"/>
                  </a:lnTo>
                  <a:lnTo>
                    <a:pt x="2829" y="25"/>
                  </a:lnTo>
                  <a:lnTo>
                    <a:pt x="2815" y="24"/>
                  </a:lnTo>
                  <a:lnTo>
                    <a:pt x="2801" y="23"/>
                  </a:lnTo>
                  <a:lnTo>
                    <a:pt x="2795" y="24"/>
                  </a:lnTo>
                  <a:lnTo>
                    <a:pt x="2787" y="25"/>
                  </a:lnTo>
                  <a:lnTo>
                    <a:pt x="2781" y="26"/>
                  </a:lnTo>
                  <a:lnTo>
                    <a:pt x="2775" y="30"/>
                  </a:lnTo>
                  <a:lnTo>
                    <a:pt x="2769" y="32"/>
                  </a:lnTo>
                  <a:lnTo>
                    <a:pt x="2766" y="35"/>
                  </a:lnTo>
                  <a:lnTo>
                    <a:pt x="2763" y="38"/>
                  </a:lnTo>
                  <a:lnTo>
                    <a:pt x="2760" y="42"/>
                  </a:lnTo>
                  <a:lnTo>
                    <a:pt x="2759" y="45"/>
                  </a:lnTo>
                  <a:lnTo>
                    <a:pt x="2758" y="49"/>
                  </a:lnTo>
                  <a:lnTo>
                    <a:pt x="2758" y="53"/>
                  </a:lnTo>
                  <a:lnTo>
                    <a:pt x="2758" y="58"/>
                  </a:lnTo>
                  <a:lnTo>
                    <a:pt x="2761" y="66"/>
                  </a:lnTo>
                  <a:lnTo>
                    <a:pt x="2765" y="75"/>
                  </a:lnTo>
                  <a:lnTo>
                    <a:pt x="2771" y="86"/>
                  </a:lnTo>
                  <a:lnTo>
                    <a:pt x="2777" y="96"/>
                  </a:lnTo>
                  <a:lnTo>
                    <a:pt x="2790" y="118"/>
                  </a:lnTo>
                  <a:lnTo>
                    <a:pt x="2802" y="140"/>
                  </a:lnTo>
                  <a:lnTo>
                    <a:pt x="2806" y="152"/>
                  </a:lnTo>
                  <a:lnTo>
                    <a:pt x="2808" y="163"/>
                  </a:lnTo>
                  <a:lnTo>
                    <a:pt x="2809" y="168"/>
                  </a:lnTo>
                  <a:lnTo>
                    <a:pt x="2809" y="173"/>
                  </a:lnTo>
                  <a:lnTo>
                    <a:pt x="2808" y="179"/>
                  </a:lnTo>
                  <a:lnTo>
                    <a:pt x="2806" y="184"/>
                  </a:lnTo>
                  <a:lnTo>
                    <a:pt x="2803" y="189"/>
                  </a:lnTo>
                  <a:lnTo>
                    <a:pt x="2800" y="194"/>
                  </a:lnTo>
                  <a:lnTo>
                    <a:pt x="2796" y="197"/>
                  </a:lnTo>
                  <a:lnTo>
                    <a:pt x="2790" y="201"/>
                  </a:lnTo>
                  <a:lnTo>
                    <a:pt x="2785" y="203"/>
                  </a:lnTo>
                  <a:lnTo>
                    <a:pt x="2780" y="205"/>
                  </a:lnTo>
                  <a:lnTo>
                    <a:pt x="2775" y="205"/>
                  </a:lnTo>
                  <a:lnTo>
                    <a:pt x="2768" y="206"/>
                  </a:lnTo>
                  <a:lnTo>
                    <a:pt x="2756" y="206"/>
                  </a:lnTo>
                  <a:lnTo>
                    <a:pt x="2743" y="207"/>
                  </a:lnTo>
                  <a:lnTo>
                    <a:pt x="2731" y="207"/>
                  </a:lnTo>
                  <a:lnTo>
                    <a:pt x="2720" y="210"/>
                  </a:lnTo>
                  <a:lnTo>
                    <a:pt x="2710" y="214"/>
                  </a:lnTo>
                  <a:lnTo>
                    <a:pt x="2701" y="220"/>
                  </a:lnTo>
                  <a:lnTo>
                    <a:pt x="2692" y="228"/>
                  </a:lnTo>
                  <a:lnTo>
                    <a:pt x="2685" y="236"/>
                  </a:lnTo>
                  <a:lnTo>
                    <a:pt x="2671" y="255"/>
                  </a:lnTo>
                  <a:lnTo>
                    <a:pt x="2659" y="274"/>
                  </a:lnTo>
                  <a:lnTo>
                    <a:pt x="2653" y="282"/>
                  </a:lnTo>
                  <a:lnTo>
                    <a:pt x="2645" y="290"/>
                  </a:lnTo>
                  <a:lnTo>
                    <a:pt x="2638" y="298"/>
                  </a:lnTo>
                  <a:lnTo>
                    <a:pt x="2630" y="303"/>
                  </a:lnTo>
                  <a:lnTo>
                    <a:pt x="2626" y="305"/>
                  </a:lnTo>
                  <a:lnTo>
                    <a:pt x="2621" y="307"/>
                  </a:lnTo>
                  <a:lnTo>
                    <a:pt x="2616" y="309"/>
                  </a:lnTo>
                  <a:lnTo>
                    <a:pt x="2611" y="309"/>
                  </a:lnTo>
                  <a:lnTo>
                    <a:pt x="2605" y="310"/>
                  </a:lnTo>
                  <a:lnTo>
                    <a:pt x="2598" y="310"/>
                  </a:lnTo>
                  <a:lnTo>
                    <a:pt x="2592" y="309"/>
                  </a:lnTo>
                  <a:lnTo>
                    <a:pt x="2586" y="307"/>
                  </a:lnTo>
                  <a:lnTo>
                    <a:pt x="2580" y="306"/>
                  </a:lnTo>
                  <a:lnTo>
                    <a:pt x="2575" y="303"/>
                  </a:lnTo>
                  <a:lnTo>
                    <a:pt x="2570" y="301"/>
                  </a:lnTo>
                  <a:lnTo>
                    <a:pt x="2566" y="298"/>
                  </a:lnTo>
                  <a:lnTo>
                    <a:pt x="2564" y="294"/>
                  </a:lnTo>
                  <a:lnTo>
                    <a:pt x="2561" y="291"/>
                  </a:lnTo>
                  <a:lnTo>
                    <a:pt x="2559" y="287"/>
                  </a:lnTo>
                  <a:lnTo>
                    <a:pt x="2558" y="283"/>
                  </a:lnTo>
                  <a:lnTo>
                    <a:pt x="2557" y="275"/>
                  </a:lnTo>
                  <a:lnTo>
                    <a:pt x="2557" y="266"/>
                  </a:lnTo>
                  <a:lnTo>
                    <a:pt x="2558" y="257"/>
                  </a:lnTo>
                  <a:lnTo>
                    <a:pt x="2559" y="249"/>
                  </a:lnTo>
                  <a:lnTo>
                    <a:pt x="2563" y="232"/>
                  </a:lnTo>
                  <a:lnTo>
                    <a:pt x="2564" y="219"/>
                  </a:lnTo>
                  <a:lnTo>
                    <a:pt x="2564" y="217"/>
                  </a:lnTo>
                  <a:lnTo>
                    <a:pt x="2563" y="215"/>
                  </a:lnTo>
                  <a:lnTo>
                    <a:pt x="2562" y="213"/>
                  </a:lnTo>
                  <a:lnTo>
                    <a:pt x="2561" y="212"/>
                  </a:lnTo>
                  <a:lnTo>
                    <a:pt x="2557" y="212"/>
                  </a:lnTo>
                  <a:lnTo>
                    <a:pt x="2549" y="214"/>
                  </a:lnTo>
                  <a:lnTo>
                    <a:pt x="2541" y="216"/>
                  </a:lnTo>
                  <a:lnTo>
                    <a:pt x="2533" y="218"/>
                  </a:lnTo>
                  <a:lnTo>
                    <a:pt x="2524" y="219"/>
                  </a:lnTo>
                  <a:lnTo>
                    <a:pt x="2515" y="218"/>
                  </a:lnTo>
                  <a:lnTo>
                    <a:pt x="2507" y="217"/>
                  </a:lnTo>
                  <a:lnTo>
                    <a:pt x="2498" y="216"/>
                  </a:lnTo>
                  <a:lnTo>
                    <a:pt x="2489" y="213"/>
                  </a:lnTo>
                  <a:lnTo>
                    <a:pt x="2482" y="210"/>
                  </a:lnTo>
                  <a:lnTo>
                    <a:pt x="2473" y="205"/>
                  </a:lnTo>
                  <a:lnTo>
                    <a:pt x="2466" y="201"/>
                  </a:lnTo>
                  <a:lnTo>
                    <a:pt x="2460" y="194"/>
                  </a:lnTo>
                  <a:lnTo>
                    <a:pt x="2454" y="188"/>
                  </a:lnTo>
                  <a:lnTo>
                    <a:pt x="2448" y="182"/>
                  </a:lnTo>
                  <a:lnTo>
                    <a:pt x="2444" y="175"/>
                  </a:lnTo>
                  <a:lnTo>
                    <a:pt x="2440" y="166"/>
                  </a:lnTo>
                  <a:lnTo>
                    <a:pt x="2438" y="158"/>
                  </a:lnTo>
                  <a:lnTo>
                    <a:pt x="2436" y="152"/>
                  </a:lnTo>
                  <a:lnTo>
                    <a:pt x="2432" y="146"/>
                  </a:lnTo>
                  <a:lnTo>
                    <a:pt x="2427" y="142"/>
                  </a:lnTo>
                  <a:lnTo>
                    <a:pt x="2422" y="139"/>
                  </a:lnTo>
                  <a:lnTo>
                    <a:pt x="2411" y="135"/>
                  </a:lnTo>
                  <a:lnTo>
                    <a:pt x="2398" y="133"/>
                  </a:lnTo>
                  <a:lnTo>
                    <a:pt x="2386" y="131"/>
                  </a:lnTo>
                  <a:lnTo>
                    <a:pt x="2375" y="129"/>
                  </a:lnTo>
                  <a:lnTo>
                    <a:pt x="2371" y="127"/>
                  </a:lnTo>
                  <a:lnTo>
                    <a:pt x="2368" y="123"/>
                  </a:lnTo>
                  <a:lnTo>
                    <a:pt x="2366" y="119"/>
                  </a:lnTo>
                  <a:lnTo>
                    <a:pt x="2366" y="114"/>
                  </a:lnTo>
                  <a:lnTo>
                    <a:pt x="2365" y="93"/>
                  </a:lnTo>
                  <a:lnTo>
                    <a:pt x="2364" y="68"/>
                  </a:lnTo>
                  <a:lnTo>
                    <a:pt x="2362" y="56"/>
                  </a:lnTo>
                  <a:lnTo>
                    <a:pt x="2360" y="43"/>
                  </a:lnTo>
                  <a:lnTo>
                    <a:pt x="2357" y="34"/>
                  </a:lnTo>
                  <a:lnTo>
                    <a:pt x="2352" y="25"/>
                  </a:lnTo>
                  <a:lnTo>
                    <a:pt x="2350" y="22"/>
                  </a:lnTo>
                  <a:lnTo>
                    <a:pt x="2347" y="21"/>
                  </a:lnTo>
                  <a:lnTo>
                    <a:pt x="2344" y="21"/>
                  </a:lnTo>
                  <a:lnTo>
                    <a:pt x="2341" y="22"/>
                  </a:lnTo>
                  <a:lnTo>
                    <a:pt x="2335" y="27"/>
                  </a:lnTo>
                  <a:lnTo>
                    <a:pt x="2326" y="35"/>
                  </a:lnTo>
                  <a:lnTo>
                    <a:pt x="2319" y="43"/>
                  </a:lnTo>
                  <a:lnTo>
                    <a:pt x="2311" y="51"/>
                  </a:lnTo>
                  <a:lnTo>
                    <a:pt x="2302" y="58"/>
                  </a:lnTo>
                  <a:lnTo>
                    <a:pt x="2294" y="63"/>
                  </a:lnTo>
                  <a:lnTo>
                    <a:pt x="2277" y="68"/>
                  </a:lnTo>
                  <a:lnTo>
                    <a:pt x="2262" y="71"/>
                  </a:lnTo>
                  <a:lnTo>
                    <a:pt x="2249" y="74"/>
                  </a:lnTo>
                  <a:lnTo>
                    <a:pt x="2239" y="74"/>
                  </a:lnTo>
                  <a:lnTo>
                    <a:pt x="2230" y="74"/>
                  </a:lnTo>
                  <a:lnTo>
                    <a:pt x="2223" y="72"/>
                  </a:lnTo>
                  <a:lnTo>
                    <a:pt x="2217" y="69"/>
                  </a:lnTo>
                  <a:lnTo>
                    <a:pt x="2212" y="65"/>
                  </a:lnTo>
                  <a:lnTo>
                    <a:pt x="2203" y="55"/>
                  </a:lnTo>
                  <a:lnTo>
                    <a:pt x="2195" y="40"/>
                  </a:lnTo>
                  <a:lnTo>
                    <a:pt x="2191" y="32"/>
                  </a:lnTo>
                  <a:lnTo>
                    <a:pt x="2186" y="23"/>
                  </a:lnTo>
                  <a:lnTo>
                    <a:pt x="2178" y="14"/>
                  </a:lnTo>
                  <a:lnTo>
                    <a:pt x="2171" y="4"/>
                  </a:lnTo>
                  <a:lnTo>
                    <a:pt x="2166" y="1"/>
                  </a:lnTo>
                  <a:lnTo>
                    <a:pt x="2162" y="0"/>
                  </a:lnTo>
                  <a:lnTo>
                    <a:pt x="2157" y="0"/>
                  </a:lnTo>
                  <a:lnTo>
                    <a:pt x="2153" y="3"/>
                  </a:lnTo>
                  <a:lnTo>
                    <a:pt x="2144" y="12"/>
                  </a:lnTo>
                  <a:lnTo>
                    <a:pt x="2135" y="24"/>
                  </a:lnTo>
                  <a:lnTo>
                    <a:pt x="2124" y="37"/>
                  </a:lnTo>
                  <a:lnTo>
                    <a:pt x="2115" y="49"/>
                  </a:lnTo>
                  <a:lnTo>
                    <a:pt x="2108" y="55"/>
                  </a:lnTo>
                  <a:lnTo>
                    <a:pt x="2103" y="59"/>
                  </a:lnTo>
                  <a:lnTo>
                    <a:pt x="2098" y="61"/>
                  </a:lnTo>
                  <a:lnTo>
                    <a:pt x="2092" y="62"/>
                  </a:lnTo>
                  <a:lnTo>
                    <a:pt x="2080" y="61"/>
                  </a:lnTo>
                  <a:lnTo>
                    <a:pt x="2071" y="58"/>
                  </a:lnTo>
                  <a:lnTo>
                    <a:pt x="2063" y="55"/>
                  </a:lnTo>
                  <a:lnTo>
                    <a:pt x="2055" y="49"/>
                  </a:lnTo>
                  <a:lnTo>
                    <a:pt x="2045" y="37"/>
                  </a:lnTo>
                  <a:lnTo>
                    <a:pt x="2035" y="25"/>
                  </a:lnTo>
                  <a:lnTo>
                    <a:pt x="2030" y="21"/>
                  </a:lnTo>
                  <a:lnTo>
                    <a:pt x="2026" y="17"/>
                  </a:lnTo>
                  <a:lnTo>
                    <a:pt x="2021" y="14"/>
                  </a:lnTo>
                  <a:lnTo>
                    <a:pt x="2015" y="14"/>
                  </a:lnTo>
                  <a:lnTo>
                    <a:pt x="2007" y="15"/>
                  </a:lnTo>
                  <a:lnTo>
                    <a:pt x="1999" y="18"/>
                  </a:lnTo>
                  <a:lnTo>
                    <a:pt x="1990" y="25"/>
                  </a:lnTo>
                  <a:lnTo>
                    <a:pt x="1978" y="35"/>
                  </a:lnTo>
                  <a:lnTo>
                    <a:pt x="1974" y="38"/>
                  </a:lnTo>
                  <a:lnTo>
                    <a:pt x="1972" y="42"/>
                  </a:lnTo>
                  <a:lnTo>
                    <a:pt x="1970" y="45"/>
                  </a:lnTo>
                  <a:lnTo>
                    <a:pt x="1969" y="49"/>
                  </a:lnTo>
                  <a:lnTo>
                    <a:pt x="1968" y="52"/>
                  </a:lnTo>
                  <a:lnTo>
                    <a:pt x="1969" y="57"/>
                  </a:lnTo>
                  <a:lnTo>
                    <a:pt x="1969" y="61"/>
                  </a:lnTo>
                  <a:lnTo>
                    <a:pt x="1971" y="65"/>
                  </a:lnTo>
                  <a:lnTo>
                    <a:pt x="1975" y="72"/>
                  </a:lnTo>
                  <a:lnTo>
                    <a:pt x="1981" y="81"/>
                  </a:lnTo>
                  <a:lnTo>
                    <a:pt x="1990" y="88"/>
                  </a:lnTo>
                  <a:lnTo>
                    <a:pt x="1998" y="96"/>
                  </a:lnTo>
                  <a:lnTo>
                    <a:pt x="2019" y="112"/>
                  </a:lnTo>
                  <a:lnTo>
                    <a:pt x="2040" y="125"/>
                  </a:lnTo>
                  <a:lnTo>
                    <a:pt x="2058" y="138"/>
                  </a:lnTo>
                  <a:lnTo>
                    <a:pt x="2072" y="148"/>
                  </a:lnTo>
                  <a:lnTo>
                    <a:pt x="2072" y="154"/>
                  </a:lnTo>
                  <a:lnTo>
                    <a:pt x="2071" y="159"/>
                  </a:lnTo>
                  <a:lnTo>
                    <a:pt x="2069" y="163"/>
                  </a:lnTo>
                  <a:lnTo>
                    <a:pt x="2067" y="166"/>
                  </a:lnTo>
                  <a:lnTo>
                    <a:pt x="2064" y="170"/>
                  </a:lnTo>
                  <a:lnTo>
                    <a:pt x="2060" y="173"/>
                  </a:lnTo>
                  <a:lnTo>
                    <a:pt x="2056" y="177"/>
                  </a:lnTo>
                  <a:lnTo>
                    <a:pt x="2052" y="179"/>
                  </a:lnTo>
                  <a:lnTo>
                    <a:pt x="2042" y="184"/>
                  </a:lnTo>
                  <a:lnTo>
                    <a:pt x="2030" y="187"/>
                  </a:lnTo>
                  <a:lnTo>
                    <a:pt x="2019" y="191"/>
                  </a:lnTo>
                  <a:lnTo>
                    <a:pt x="2005" y="194"/>
                  </a:lnTo>
                  <a:lnTo>
                    <a:pt x="1978" y="201"/>
                  </a:lnTo>
                  <a:lnTo>
                    <a:pt x="1953" y="209"/>
                  </a:lnTo>
                  <a:lnTo>
                    <a:pt x="1942" y="214"/>
                  </a:lnTo>
                  <a:lnTo>
                    <a:pt x="1931" y="221"/>
                  </a:lnTo>
                  <a:lnTo>
                    <a:pt x="1927" y="225"/>
                  </a:lnTo>
                  <a:lnTo>
                    <a:pt x="1923" y="229"/>
                  </a:lnTo>
                  <a:lnTo>
                    <a:pt x="1919" y="233"/>
                  </a:lnTo>
                  <a:lnTo>
                    <a:pt x="1917" y="238"/>
                  </a:lnTo>
                  <a:lnTo>
                    <a:pt x="1913" y="244"/>
                  </a:lnTo>
                  <a:lnTo>
                    <a:pt x="1911" y="251"/>
                  </a:lnTo>
                  <a:lnTo>
                    <a:pt x="1910" y="258"/>
                  </a:lnTo>
                  <a:lnTo>
                    <a:pt x="1909" y="265"/>
                  </a:lnTo>
                  <a:lnTo>
                    <a:pt x="1908" y="281"/>
                  </a:lnTo>
                  <a:lnTo>
                    <a:pt x="1910" y="298"/>
                  </a:lnTo>
                  <a:lnTo>
                    <a:pt x="1913" y="314"/>
                  </a:lnTo>
                  <a:lnTo>
                    <a:pt x="1918" y="332"/>
                  </a:lnTo>
                  <a:lnTo>
                    <a:pt x="1922" y="351"/>
                  </a:lnTo>
                  <a:lnTo>
                    <a:pt x="1928" y="369"/>
                  </a:lnTo>
                  <a:lnTo>
                    <a:pt x="1940" y="402"/>
                  </a:lnTo>
                  <a:lnTo>
                    <a:pt x="1949" y="430"/>
                  </a:lnTo>
                  <a:lnTo>
                    <a:pt x="1953" y="442"/>
                  </a:lnTo>
                  <a:lnTo>
                    <a:pt x="1955" y="451"/>
                  </a:lnTo>
                  <a:lnTo>
                    <a:pt x="1956" y="457"/>
                  </a:lnTo>
                  <a:lnTo>
                    <a:pt x="1955" y="461"/>
                  </a:lnTo>
                  <a:lnTo>
                    <a:pt x="1947" y="469"/>
                  </a:lnTo>
                  <a:lnTo>
                    <a:pt x="1938" y="474"/>
                  </a:lnTo>
                  <a:lnTo>
                    <a:pt x="1931" y="478"/>
                  </a:lnTo>
                  <a:lnTo>
                    <a:pt x="1924" y="480"/>
                  </a:lnTo>
                  <a:lnTo>
                    <a:pt x="1917" y="481"/>
                  </a:lnTo>
                  <a:lnTo>
                    <a:pt x="1910" y="480"/>
                  </a:lnTo>
                  <a:lnTo>
                    <a:pt x="1904" y="478"/>
                  </a:lnTo>
                  <a:lnTo>
                    <a:pt x="1897" y="476"/>
                  </a:lnTo>
                  <a:lnTo>
                    <a:pt x="1872" y="460"/>
                  </a:lnTo>
                  <a:lnTo>
                    <a:pt x="1843" y="446"/>
                  </a:lnTo>
                  <a:lnTo>
                    <a:pt x="1838" y="445"/>
                  </a:lnTo>
                  <a:lnTo>
                    <a:pt x="1831" y="445"/>
                  </a:lnTo>
                  <a:lnTo>
                    <a:pt x="1824" y="446"/>
                  </a:lnTo>
                  <a:lnTo>
                    <a:pt x="1815" y="447"/>
                  </a:lnTo>
                  <a:lnTo>
                    <a:pt x="1796" y="452"/>
                  </a:lnTo>
                  <a:lnTo>
                    <a:pt x="1774" y="458"/>
                  </a:lnTo>
                  <a:lnTo>
                    <a:pt x="1732" y="472"/>
                  </a:lnTo>
                  <a:lnTo>
                    <a:pt x="1703" y="482"/>
                  </a:lnTo>
                  <a:lnTo>
                    <a:pt x="1682" y="491"/>
                  </a:lnTo>
                  <a:lnTo>
                    <a:pt x="1661" y="496"/>
                  </a:lnTo>
                  <a:lnTo>
                    <a:pt x="1640" y="501"/>
                  </a:lnTo>
                  <a:lnTo>
                    <a:pt x="1619" y="505"/>
                  </a:lnTo>
                  <a:lnTo>
                    <a:pt x="1599" y="510"/>
                  </a:lnTo>
                  <a:lnTo>
                    <a:pt x="1577" y="517"/>
                  </a:lnTo>
                  <a:lnTo>
                    <a:pt x="1566" y="520"/>
                  </a:lnTo>
                  <a:lnTo>
                    <a:pt x="1556" y="524"/>
                  </a:lnTo>
                  <a:lnTo>
                    <a:pt x="1545" y="528"/>
                  </a:lnTo>
                  <a:lnTo>
                    <a:pt x="1536" y="533"/>
                  </a:lnTo>
                  <a:lnTo>
                    <a:pt x="1414" y="600"/>
                  </a:lnTo>
                  <a:lnTo>
                    <a:pt x="1411" y="622"/>
                  </a:lnTo>
                  <a:lnTo>
                    <a:pt x="1407" y="644"/>
                  </a:lnTo>
                  <a:lnTo>
                    <a:pt x="1404" y="654"/>
                  </a:lnTo>
                  <a:lnTo>
                    <a:pt x="1399" y="664"/>
                  </a:lnTo>
                  <a:lnTo>
                    <a:pt x="1394" y="674"/>
                  </a:lnTo>
                  <a:lnTo>
                    <a:pt x="1388" y="684"/>
                  </a:lnTo>
                  <a:lnTo>
                    <a:pt x="1374" y="697"/>
                  </a:lnTo>
                  <a:lnTo>
                    <a:pt x="1355" y="714"/>
                  </a:lnTo>
                  <a:lnTo>
                    <a:pt x="1344" y="722"/>
                  </a:lnTo>
                  <a:lnTo>
                    <a:pt x="1337" y="731"/>
                  </a:lnTo>
                  <a:lnTo>
                    <a:pt x="1333" y="734"/>
                  </a:lnTo>
                  <a:lnTo>
                    <a:pt x="1331" y="737"/>
                  </a:lnTo>
                  <a:lnTo>
                    <a:pt x="1330" y="740"/>
                  </a:lnTo>
                  <a:lnTo>
                    <a:pt x="1329" y="743"/>
                  </a:lnTo>
                  <a:lnTo>
                    <a:pt x="1338" y="751"/>
                  </a:lnTo>
                  <a:lnTo>
                    <a:pt x="1346" y="760"/>
                  </a:lnTo>
                  <a:lnTo>
                    <a:pt x="1353" y="767"/>
                  </a:lnTo>
                  <a:lnTo>
                    <a:pt x="1359" y="775"/>
                  </a:lnTo>
                  <a:lnTo>
                    <a:pt x="1362" y="782"/>
                  </a:lnTo>
                  <a:lnTo>
                    <a:pt x="1365" y="788"/>
                  </a:lnTo>
                  <a:lnTo>
                    <a:pt x="1365" y="791"/>
                  </a:lnTo>
                  <a:lnTo>
                    <a:pt x="1365" y="794"/>
                  </a:lnTo>
                  <a:lnTo>
                    <a:pt x="1365" y="796"/>
                  </a:lnTo>
                  <a:lnTo>
                    <a:pt x="1364" y="798"/>
                  </a:lnTo>
                  <a:lnTo>
                    <a:pt x="1359" y="806"/>
                  </a:lnTo>
                  <a:lnTo>
                    <a:pt x="1354" y="812"/>
                  </a:lnTo>
                  <a:lnTo>
                    <a:pt x="1348" y="817"/>
                  </a:lnTo>
                  <a:lnTo>
                    <a:pt x="1343" y="822"/>
                  </a:lnTo>
                  <a:lnTo>
                    <a:pt x="1333" y="830"/>
                  </a:lnTo>
                  <a:lnTo>
                    <a:pt x="1321" y="835"/>
                  </a:lnTo>
                  <a:lnTo>
                    <a:pt x="1296" y="841"/>
                  </a:lnTo>
                  <a:lnTo>
                    <a:pt x="1267" y="848"/>
                  </a:lnTo>
                  <a:lnTo>
                    <a:pt x="1260" y="852"/>
                  </a:lnTo>
                  <a:lnTo>
                    <a:pt x="1252" y="856"/>
                  </a:lnTo>
                  <a:lnTo>
                    <a:pt x="1245" y="861"/>
                  </a:lnTo>
                  <a:lnTo>
                    <a:pt x="1238" y="867"/>
                  </a:lnTo>
                  <a:lnTo>
                    <a:pt x="1224" y="881"/>
                  </a:lnTo>
                  <a:lnTo>
                    <a:pt x="1211" y="893"/>
                  </a:lnTo>
                  <a:lnTo>
                    <a:pt x="1203" y="900"/>
                  </a:lnTo>
                  <a:lnTo>
                    <a:pt x="1195" y="906"/>
                  </a:lnTo>
                  <a:lnTo>
                    <a:pt x="1188" y="910"/>
                  </a:lnTo>
                  <a:lnTo>
                    <a:pt x="1178" y="914"/>
                  </a:lnTo>
                  <a:lnTo>
                    <a:pt x="1169" y="916"/>
                  </a:lnTo>
                  <a:lnTo>
                    <a:pt x="1160" y="917"/>
                  </a:lnTo>
                  <a:lnTo>
                    <a:pt x="1149" y="916"/>
                  </a:lnTo>
                  <a:lnTo>
                    <a:pt x="1137" y="913"/>
                  </a:lnTo>
                  <a:lnTo>
                    <a:pt x="1127" y="910"/>
                  </a:lnTo>
                  <a:lnTo>
                    <a:pt x="1120" y="905"/>
                  </a:lnTo>
                  <a:lnTo>
                    <a:pt x="1116" y="899"/>
                  </a:lnTo>
                  <a:lnTo>
                    <a:pt x="1113" y="892"/>
                  </a:lnTo>
                  <a:lnTo>
                    <a:pt x="1112" y="886"/>
                  </a:lnTo>
                  <a:lnTo>
                    <a:pt x="1112" y="879"/>
                  </a:lnTo>
                  <a:lnTo>
                    <a:pt x="1112" y="871"/>
                  </a:lnTo>
                  <a:lnTo>
                    <a:pt x="1114" y="863"/>
                  </a:lnTo>
                  <a:lnTo>
                    <a:pt x="1117" y="849"/>
                  </a:lnTo>
                  <a:lnTo>
                    <a:pt x="1120" y="837"/>
                  </a:lnTo>
                  <a:lnTo>
                    <a:pt x="1120" y="833"/>
                  </a:lnTo>
                  <a:lnTo>
                    <a:pt x="1119" y="829"/>
                  </a:lnTo>
                  <a:lnTo>
                    <a:pt x="1117" y="826"/>
                  </a:lnTo>
                  <a:lnTo>
                    <a:pt x="1113" y="824"/>
                  </a:lnTo>
                  <a:lnTo>
                    <a:pt x="1106" y="824"/>
                  </a:lnTo>
                  <a:lnTo>
                    <a:pt x="1100" y="824"/>
                  </a:lnTo>
                  <a:lnTo>
                    <a:pt x="1095" y="826"/>
                  </a:lnTo>
                  <a:lnTo>
                    <a:pt x="1090" y="827"/>
                  </a:lnTo>
                  <a:lnTo>
                    <a:pt x="1087" y="804"/>
                  </a:lnTo>
                  <a:lnTo>
                    <a:pt x="1084" y="786"/>
                  </a:lnTo>
                  <a:lnTo>
                    <a:pt x="1082" y="779"/>
                  </a:lnTo>
                  <a:lnTo>
                    <a:pt x="1080" y="772"/>
                  </a:lnTo>
                  <a:lnTo>
                    <a:pt x="1079" y="767"/>
                  </a:lnTo>
                  <a:lnTo>
                    <a:pt x="1076" y="764"/>
                  </a:lnTo>
                  <a:lnTo>
                    <a:pt x="1073" y="760"/>
                  </a:lnTo>
                  <a:lnTo>
                    <a:pt x="1070" y="758"/>
                  </a:lnTo>
                  <a:lnTo>
                    <a:pt x="1065" y="757"/>
                  </a:lnTo>
                  <a:lnTo>
                    <a:pt x="1058" y="756"/>
                  </a:lnTo>
                  <a:lnTo>
                    <a:pt x="1044" y="756"/>
                  </a:lnTo>
                  <a:lnTo>
                    <a:pt x="1022" y="758"/>
                  </a:lnTo>
                  <a:lnTo>
                    <a:pt x="1009" y="759"/>
                  </a:lnTo>
                  <a:lnTo>
                    <a:pt x="995" y="760"/>
                  </a:lnTo>
                  <a:lnTo>
                    <a:pt x="978" y="759"/>
                  </a:lnTo>
                  <a:lnTo>
                    <a:pt x="963" y="756"/>
                  </a:lnTo>
                  <a:lnTo>
                    <a:pt x="954" y="754"/>
                  </a:lnTo>
                  <a:lnTo>
                    <a:pt x="947" y="751"/>
                  </a:lnTo>
                  <a:lnTo>
                    <a:pt x="941" y="748"/>
                  </a:lnTo>
                  <a:lnTo>
                    <a:pt x="933" y="744"/>
                  </a:lnTo>
                  <a:lnTo>
                    <a:pt x="928" y="740"/>
                  </a:lnTo>
                  <a:lnTo>
                    <a:pt x="924" y="735"/>
                  </a:lnTo>
                  <a:lnTo>
                    <a:pt x="920" y="728"/>
                  </a:lnTo>
                  <a:lnTo>
                    <a:pt x="917" y="722"/>
                  </a:lnTo>
                  <a:lnTo>
                    <a:pt x="907" y="719"/>
                  </a:lnTo>
                  <a:lnTo>
                    <a:pt x="900" y="718"/>
                  </a:lnTo>
                  <a:lnTo>
                    <a:pt x="894" y="718"/>
                  </a:lnTo>
                  <a:lnTo>
                    <a:pt x="889" y="720"/>
                  </a:lnTo>
                  <a:lnTo>
                    <a:pt x="885" y="724"/>
                  </a:lnTo>
                  <a:lnTo>
                    <a:pt x="882" y="728"/>
                  </a:lnTo>
                  <a:lnTo>
                    <a:pt x="880" y="735"/>
                  </a:lnTo>
                  <a:lnTo>
                    <a:pt x="878" y="741"/>
                  </a:lnTo>
                  <a:lnTo>
                    <a:pt x="874" y="757"/>
                  </a:lnTo>
                  <a:lnTo>
                    <a:pt x="868" y="773"/>
                  </a:lnTo>
                  <a:lnTo>
                    <a:pt x="864" y="783"/>
                  </a:lnTo>
                  <a:lnTo>
                    <a:pt x="858" y="791"/>
                  </a:lnTo>
                  <a:lnTo>
                    <a:pt x="851" y="799"/>
                  </a:lnTo>
                  <a:lnTo>
                    <a:pt x="843" y="808"/>
                  </a:lnTo>
                  <a:lnTo>
                    <a:pt x="831" y="816"/>
                  </a:lnTo>
                  <a:lnTo>
                    <a:pt x="819" y="824"/>
                  </a:lnTo>
                  <a:lnTo>
                    <a:pt x="805" y="833"/>
                  </a:lnTo>
                  <a:lnTo>
                    <a:pt x="792" y="840"/>
                  </a:lnTo>
                  <a:lnTo>
                    <a:pt x="778" y="848"/>
                  </a:lnTo>
                  <a:lnTo>
                    <a:pt x="766" y="857"/>
                  </a:lnTo>
                  <a:lnTo>
                    <a:pt x="755" y="864"/>
                  </a:lnTo>
                  <a:lnTo>
                    <a:pt x="747" y="872"/>
                  </a:lnTo>
                  <a:lnTo>
                    <a:pt x="740" y="883"/>
                  </a:lnTo>
                  <a:lnTo>
                    <a:pt x="732" y="902"/>
                  </a:lnTo>
                  <a:lnTo>
                    <a:pt x="723" y="924"/>
                  </a:lnTo>
                  <a:lnTo>
                    <a:pt x="711" y="948"/>
                  </a:lnTo>
                  <a:lnTo>
                    <a:pt x="705" y="959"/>
                  </a:lnTo>
                  <a:lnTo>
                    <a:pt x="700" y="971"/>
                  </a:lnTo>
                  <a:lnTo>
                    <a:pt x="694" y="980"/>
                  </a:lnTo>
                  <a:lnTo>
                    <a:pt x="686" y="988"/>
                  </a:lnTo>
                  <a:lnTo>
                    <a:pt x="680" y="995"/>
                  </a:lnTo>
                  <a:lnTo>
                    <a:pt x="673" y="999"/>
                  </a:lnTo>
                  <a:lnTo>
                    <a:pt x="670" y="1000"/>
                  </a:lnTo>
                  <a:lnTo>
                    <a:pt x="666" y="1001"/>
                  </a:lnTo>
                  <a:lnTo>
                    <a:pt x="663" y="1000"/>
                  </a:lnTo>
                  <a:lnTo>
                    <a:pt x="660" y="999"/>
                  </a:lnTo>
                  <a:lnTo>
                    <a:pt x="655" y="997"/>
                  </a:lnTo>
                  <a:lnTo>
                    <a:pt x="652" y="993"/>
                  </a:lnTo>
                  <a:lnTo>
                    <a:pt x="649" y="990"/>
                  </a:lnTo>
                  <a:lnTo>
                    <a:pt x="647" y="987"/>
                  </a:lnTo>
                  <a:lnTo>
                    <a:pt x="645" y="979"/>
                  </a:lnTo>
                  <a:lnTo>
                    <a:pt x="645" y="969"/>
                  </a:lnTo>
                  <a:lnTo>
                    <a:pt x="647" y="950"/>
                  </a:lnTo>
                  <a:lnTo>
                    <a:pt x="651" y="930"/>
                  </a:lnTo>
                  <a:lnTo>
                    <a:pt x="652" y="920"/>
                  </a:lnTo>
                  <a:lnTo>
                    <a:pt x="652" y="912"/>
                  </a:lnTo>
                  <a:lnTo>
                    <a:pt x="651" y="909"/>
                  </a:lnTo>
                  <a:lnTo>
                    <a:pt x="650" y="905"/>
                  </a:lnTo>
                  <a:lnTo>
                    <a:pt x="648" y="903"/>
                  </a:lnTo>
                  <a:lnTo>
                    <a:pt x="646" y="900"/>
                  </a:lnTo>
                  <a:lnTo>
                    <a:pt x="642" y="897"/>
                  </a:lnTo>
                  <a:lnTo>
                    <a:pt x="638" y="896"/>
                  </a:lnTo>
                  <a:lnTo>
                    <a:pt x="633" y="895"/>
                  </a:lnTo>
                  <a:lnTo>
                    <a:pt x="628" y="894"/>
                  </a:lnTo>
                  <a:lnTo>
                    <a:pt x="621" y="895"/>
                  </a:lnTo>
                  <a:lnTo>
                    <a:pt x="613" y="896"/>
                  </a:lnTo>
                  <a:lnTo>
                    <a:pt x="605" y="897"/>
                  </a:lnTo>
                  <a:lnTo>
                    <a:pt x="595" y="901"/>
                  </a:lnTo>
                  <a:lnTo>
                    <a:pt x="585" y="906"/>
                  </a:lnTo>
                  <a:lnTo>
                    <a:pt x="578" y="912"/>
                  </a:lnTo>
                  <a:lnTo>
                    <a:pt x="573" y="918"/>
                  </a:lnTo>
                  <a:lnTo>
                    <a:pt x="568" y="927"/>
                  </a:lnTo>
                  <a:lnTo>
                    <a:pt x="562" y="943"/>
                  </a:lnTo>
                  <a:lnTo>
                    <a:pt x="555" y="962"/>
                  </a:lnTo>
                  <a:lnTo>
                    <a:pt x="557" y="972"/>
                  </a:lnTo>
                  <a:lnTo>
                    <a:pt x="557" y="983"/>
                  </a:lnTo>
                  <a:lnTo>
                    <a:pt x="555" y="995"/>
                  </a:lnTo>
                  <a:lnTo>
                    <a:pt x="552" y="1007"/>
                  </a:lnTo>
                  <a:lnTo>
                    <a:pt x="550" y="1012"/>
                  </a:lnTo>
                  <a:lnTo>
                    <a:pt x="547" y="1017"/>
                  </a:lnTo>
                  <a:lnTo>
                    <a:pt x="542" y="1022"/>
                  </a:lnTo>
                  <a:lnTo>
                    <a:pt x="539" y="1026"/>
                  </a:lnTo>
                  <a:lnTo>
                    <a:pt x="535" y="1028"/>
                  </a:lnTo>
                  <a:lnTo>
                    <a:pt x="530" y="1030"/>
                  </a:lnTo>
                  <a:lnTo>
                    <a:pt x="525" y="1031"/>
                  </a:lnTo>
                  <a:lnTo>
                    <a:pt x="518" y="1030"/>
                  </a:lnTo>
                  <a:lnTo>
                    <a:pt x="516" y="1029"/>
                  </a:lnTo>
                  <a:lnTo>
                    <a:pt x="514" y="1028"/>
                  </a:lnTo>
                  <a:lnTo>
                    <a:pt x="512" y="1026"/>
                  </a:lnTo>
                  <a:lnTo>
                    <a:pt x="511" y="1024"/>
                  </a:lnTo>
                  <a:lnTo>
                    <a:pt x="509" y="1019"/>
                  </a:lnTo>
                  <a:lnTo>
                    <a:pt x="507" y="1011"/>
                  </a:lnTo>
                  <a:lnTo>
                    <a:pt x="506" y="999"/>
                  </a:lnTo>
                  <a:lnTo>
                    <a:pt x="506" y="987"/>
                  </a:lnTo>
                  <a:lnTo>
                    <a:pt x="506" y="976"/>
                  </a:lnTo>
                  <a:lnTo>
                    <a:pt x="503" y="967"/>
                  </a:lnTo>
                  <a:lnTo>
                    <a:pt x="500" y="958"/>
                  </a:lnTo>
                  <a:lnTo>
                    <a:pt x="497" y="949"/>
                  </a:lnTo>
                  <a:lnTo>
                    <a:pt x="486" y="938"/>
                  </a:lnTo>
                  <a:lnTo>
                    <a:pt x="475" y="927"/>
                  </a:lnTo>
                  <a:lnTo>
                    <a:pt x="465" y="918"/>
                  </a:lnTo>
                  <a:lnTo>
                    <a:pt x="450" y="907"/>
                  </a:lnTo>
                  <a:lnTo>
                    <a:pt x="441" y="902"/>
                  </a:lnTo>
                  <a:lnTo>
                    <a:pt x="434" y="899"/>
                  </a:lnTo>
                  <a:lnTo>
                    <a:pt x="431" y="899"/>
                  </a:lnTo>
                  <a:lnTo>
                    <a:pt x="428" y="899"/>
                  </a:lnTo>
                  <a:lnTo>
                    <a:pt x="425" y="900"/>
                  </a:lnTo>
                  <a:lnTo>
                    <a:pt x="422" y="902"/>
                  </a:lnTo>
                  <a:lnTo>
                    <a:pt x="421" y="905"/>
                  </a:lnTo>
                  <a:lnTo>
                    <a:pt x="420" y="908"/>
                  </a:lnTo>
                  <a:lnTo>
                    <a:pt x="420" y="911"/>
                  </a:lnTo>
                  <a:lnTo>
                    <a:pt x="420" y="914"/>
                  </a:lnTo>
                  <a:lnTo>
                    <a:pt x="422" y="923"/>
                  </a:lnTo>
                  <a:lnTo>
                    <a:pt x="425" y="931"/>
                  </a:lnTo>
                  <a:lnTo>
                    <a:pt x="432" y="948"/>
                  </a:lnTo>
                  <a:lnTo>
                    <a:pt x="438" y="959"/>
                  </a:lnTo>
                  <a:lnTo>
                    <a:pt x="441" y="968"/>
                  </a:lnTo>
                  <a:lnTo>
                    <a:pt x="443" y="978"/>
                  </a:lnTo>
                  <a:lnTo>
                    <a:pt x="444" y="988"/>
                  </a:lnTo>
                  <a:lnTo>
                    <a:pt x="444" y="1000"/>
                  </a:lnTo>
                  <a:lnTo>
                    <a:pt x="442" y="1021"/>
                  </a:lnTo>
                  <a:lnTo>
                    <a:pt x="438" y="1039"/>
                  </a:lnTo>
                  <a:lnTo>
                    <a:pt x="433" y="1057"/>
                  </a:lnTo>
                  <a:lnTo>
                    <a:pt x="427" y="1073"/>
                  </a:lnTo>
                  <a:lnTo>
                    <a:pt x="425" y="1080"/>
                  </a:lnTo>
                  <a:lnTo>
                    <a:pt x="422" y="1088"/>
                  </a:lnTo>
                  <a:lnTo>
                    <a:pt x="420" y="1098"/>
                  </a:lnTo>
                  <a:lnTo>
                    <a:pt x="420" y="1108"/>
                  </a:lnTo>
                  <a:lnTo>
                    <a:pt x="422" y="1110"/>
                  </a:lnTo>
                  <a:lnTo>
                    <a:pt x="425" y="1111"/>
                  </a:lnTo>
                  <a:lnTo>
                    <a:pt x="427" y="1111"/>
                  </a:lnTo>
                  <a:lnTo>
                    <a:pt x="429" y="1111"/>
                  </a:lnTo>
                  <a:lnTo>
                    <a:pt x="434" y="1110"/>
                  </a:lnTo>
                  <a:lnTo>
                    <a:pt x="438" y="1108"/>
                  </a:lnTo>
                  <a:lnTo>
                    <a:pt x="448" y="1101"/>
                  </a:lnTo>
                  <a:lnTo>
                    <a:pt x="454" y="1094"/>
                  </a:lnTo>
                  <a:lnTo>
                    <a:pt x="461" y="1083"/>
                  </a:lnTo>
                  <a:lnTo>
                    <a:pt x="468" y="1073"/>
                  </a:lnTo>
                  <a:lnTo>
                    <a:pt x="477" y="1063"/>
                  </a:lnTo>
                  <a:lnTo>
                    <a:pt x="486" y="1054"/>
                  </a:lnTo>
                  <a:lnTo>
                    <a:pt x="493" y="1055"/>
                  </a:lnTo>
                  <a:lnTo>
                    <a:pt x="502" y="1057"/>
                  </a:lnTo>
                  <a:lnTo>
                    <a:pt x="500" y="1073"/>
                  </a:lnTo>
                  <a:lnTo>
                    <a:pt x="498" y="1092"/>
                  </a:lnTo>
                  <a:lnTo>
                    <a:pt x="497" y="1101"/>
                  </a:lnTo>
                  <a:lnTo>
                    <a:pt x="497" y="1110"/>
                  </a:lnTo>
                  <a:lnTo>
                    <a:pt x="497" y="1118"/>
                  </a:lnTo>
                  <a:lnTo>
                    <a:pt x="498" y="1123"/>
                  </a:lnTo>
                  <a:lnTo>
                    <a:pt x="500" y="1127"/>
                  </a:lnTo>
                  <a:lnTo>
                    <a:pt x="502" y="1130"/>
                  </a:lnTo>
                  <a:lnTo>
                    <a:pt x="505" y="1132"/>
                  </a:lnTo>
                  <a:lnTo>
                    <a:pt x="508" y="1134"/>
                  </a:lnTo>
                  <a:lnTo>
                    <a:pt x="514" y="1137"/>
                  </a:lnTo>
                  <a:lnTo>
                    <a:pt x="522" y="1138"/>
                  </a:lnTo>
                  <a:lnTo>
                    <a:pt x="538" y="1136"/>
                  </a:lnTo>
                  <a:lnTo>
                    <a:pt x="555" y="1133"/>
                  </a:lnTo>
                  <a:lnTo>
                    <a:pt x="562" y="1132"/>
                  </a:lnTo>
                  <a:lnTo>
                    <a:pt x="569" y="1131"/>
                  </a:lnTo>
                  <a:lnTo>
                    <a:pt x="575" y="1132"/>
                  </a:lnTo>
                  <a:lnTo>
                    <a:pt x="580" y="1134"/>
                  </a:lnTo>
                  <a:lnTo>
                    <a:pt x="581" y="1136"/>
                  </a:lnTo>
                  <a:lnTo>
                    <a:pt x="582" y="1138"/>
                  </a:lnTo>
                  <a:lnTo>
                    <a:pt x="583" y="1142"/>
                  </a:lnTo>
                  <a:lnTo>
                    <a:pt x="583" y="1145"/>
                  </a:lnTo>
                  <a:lnTo>
                    <a:pt x="582" y="1154"/>
                  </a:lnTo>
                  <a:lnTo>
                    <a:pt x="579" y="1167"/>
                  </a:lnTo>
                  <a:lnTo>
                    <a:pt x="574" y="1180"/>
                  </a:lnTo>
                  <a:lnTo>
                    <a:pt x="568" y="1194"/>
                  </a:lnTo>
                  <a:lnTo>
                    <a:pt x="564" y="1207"/>
                  </a:lnTo>
                  <a:lnTo>
                    <a:pt x="562" y="1221"/>
                  </a:lnTo>
                  <a:lnTo>
                    <a:pt x="562" y="1227"/>
                  </a:lnTo>
                  <a:lnTo>
                    <a:pt x="563" y="1233"/>
                  </a:lnTo>
                  <a:lnTo>
                    <a:pt x="564" y="1239"/>
                  </a:lnTo>
                  <a:lnTo>
                    <a:pt x="566" y="1244"/>
                  </a:lnTo>
                  <a:lnTo>
                    <a:pt x="571" y="1248"/>
                  </a:lnTo>
                  <a:lnTo>
                    <a:pt x="576" y="1252"/>
                  </a:lnTo>
                  <a:lnTo>
                    <a:pt x="582" y="1255"/>
                  </a:lnTo>
                  <a:lnTo>
                    <a:pt x="589" y="1257"/>
                  </a:lnTo>
                  <a:lnTo>
                    <a:pt x="605" y="1261"/>
                  </a:lnTo>
                  <a:lnTo>
                    <a:pt x="617" y="1265"/>
                  </a:lnTo>
                  <a:lnTo>
                    <a:pt x="623" y="1269"/>
                  </a:lnTo>
                  <a:lnTo>
                    <a:pt x="626" y="1273"/>
                  </a:lnTo>
                  <a:lnTo>
                    <a:pt x="628" y="1280"/>
                  </a:lnTo>
                  <a:lnTo>
                    <a:pt x="629" y="1291"/>
                  </a:lnTo>
                  <a:lnTo>
                    <a:pt x="628" y="1297"/>
                  </a:lnTo>
                  <a:lnTo>
                    <a:pt x="627" y="1302"/>
                  </a:lnTo>
                  <a:lnTo>
                    <a:pt x="624" y="1309"/>
                  </a:lnTo>
                  <a:lnTo>
                    <a:pt x="621" y="1314"/>
                  </a:lnTo>
                  <a:lnTo>
                    <a:pt x="612" y="1323"/>
                  </a:lnTo>
                  <a:lnTo>
                    <a:pt x="602" y="1334"/>
                  </a:lnTo>
                  <a:lnTo>
                    <a:pt x="590" y="1343"/>
                  </a:lnTo>
                  <a:lnTo>
                    <a:pt x="580" y="1352"/>
                  </a:lnTo>
                  <a:lnTo>
                    <a:pt x="576" y="1358"/>
                  </a:lnTo>
                  <a:lnTo>
                    <a:pt x="571" y="1363"/>
                  </a:lnTo>
                  <a:lnTo>
                    <a:pt x="567" y="1368"/>
                  </a:lnTo>
                  <a:lnTo>
                    <a:pt x="564" y="1373"/>
                  </a:lnTo>
                  <a:lnTo>
                    <a:pt x="559" y="1386"/>
                  </a:lnTo>
                  <a:lnTo>
                    <a:pt x="555" y="1397"/>
                  </a:lnTo>
                  <a:lnTo>
                    <a:pt x="555" y="1403"/>
                  </a:lnTo>
                  <a:lnTo>
                    <a:pt x="555" y="1409"/>
                  </a:lnTo>
                  <a:lnTo>
                    <a:pt x="555" y="1415"/>
                  </a:lnTo>
                  <a:lnTo>
                    <a:pt x="557" y="1423"/>
                  </a:lnTo>
                  <a:lnTo>
                    <a:pt x="560" y="1432"/>
                  </a:lnTo>
                  <a:lnTo>
                    <a:pt x="565" y="1441"/>
                  </a:lnTo>
                  <a:lnTo>
                    <a:pt x="571" y="1449"/>
                  </a:lnTo>
                  <a:lnTo>
                    <a:pt x="576" y="1457"/>
                  </a:lnTo>
                  <a:lnTo>
                    <a:pt x="581" y="1465"/>
                  </a:lnTo>
                  <a:lnTo>
                    <a:pt x="585" y="1472"/>
                  </a:lnTo>
                  <a:lnTo>
                    <a:pt x="589" y="1481"/>
                  </a:lnTo>
                  <a:lnTo>
                    <a:pt x="592" y="1490"/>
                  </a:lnTo>
                  <a:lnTo>
                    <a:pt x="592" y="1499"/>
                  </a:lnTo>
                  <a:lnTo>
                    <a:pt x="591" y="1510"/>
                  </a:lnTo>
                  <a:lnTo>
                    <a:pt x="590" y="1519"/>
                  </a:lnTo>
                  <a:lnTo>
                    <a:pt x="588" y="1530"/>
                  </a:lnTo>
                  <a:lnTo>
                    <a:pt x="586" y="1539"/>
                  </a:lnTo>
                  <a:lnTo>
                    <a:pt x="585" y="1550"/>
                  </a:lnTo>
                  <a:lnTo>
                    <a:pt x="585" y="1559"/>
                  </a:lnTo>
                  <a:lnTo>
                    <a:pt x="586" y="1569"/>
                  </a:lnTo>
                  <a:lnTo>
                    <a:pt x="587" y="1577"/>
                  </a:lnTo>
                  <a:lnTo>
                    <a:pt x="589" y="1582"/>
                  </a:lnTo>
                  <a:lnTo>
                    <a:pt x="591" y="1586"/>
                  </a:lnTo>
                  <a:lnTo>
                    <a:pt x="593" y="1590"/>
                  </a:lnTo>
                  <a:lnTo>
                    <a:pt x="596" y="1592"/>
                  </a:lnTo>
                  <a:lnTo>
                    <a:pt x="598" y="1594"/>
                  </a:lnTo>
                  <a:lnTo>
                    <a:pt x="601" y="1594"/>
                  </a:lnTo>
                  <a:lnTo>
                    <a:pt x="603" y="1594"/>
                  </a:lnTo>
                  <a:lnTo>
                    <a:pt x="609" y="1593"/>
                  </a:lnTo>
                  <a:lnTo>
                    <a:pt x="616" y="1589"/>
                  </a:lnTo>
                  <a:lnTo>
                    <a:pt x="624" y="1583"/>
                  </a:lnTo>
                  <a:lnTo>
                    <a:pt x="632" y="1577"/>
                  </a:lnTo>
                  <a:lnTo>
                    <a:pt x="641" y="1569"/>
                  </a:lnTo>
                  <a:lnTo>
                    <a:pt x="650" y="1562"/>
                  </a:lnTo>
                  <a:lnTo>
                    <a:pt x="660" y="1556"/>
                  </a:lnTo>
                  <a:lnTo>
                    <a:pt x="670" y="1552"/>
                  </a:lnTo>
                  <a:lnTo>
                    <a:pt x="675" y="1550"/>
                  </a:lnTo>
                  <a:lnTo>
                    <a:pt x="680" y="1548"/>
                  </a:lnTo>
                  <a:lnTo>
                    <a:pt x="685" y="1547"/>
                  </a:lnTo>
                  <a:lnTo>
                    <a:pt x="690" y="1548"/>
                  </a:lnTo>
                  <a:lnTo>
                    <a:pt x="696" y="1548"/>
                  </a:lnTo>
                  <a:lnTo>
                    <a:pt x="702" y="1551"/>
                  </a:lnTo>
                  <a:lnTo>
                    <a:pt x="707" y="1554"/>
                  </a:lnTo>
                  <a:lnTo>
                    <a:pt x="712" y="1557"/>
                  </a:lnTo>
                  <a:lnTo>
                    <a:pt x="724" y="1566"/>
                  </a:lnTo>
                  <a:lnTo>
                    <a:pt x="735" y="1578"/>
                  </a:lnTo>
                  <a:lnTo>
                    <a:pt x="747" y="1590"/>
                  </a:lnTo>
                  <a:lnTo>
                    <a:pt x="758" y="1603"/>
                  </a:lnTo>
                  <a:lnTo>
                    <a:pt x="770" y="1615"/>
                  </a:lnTo>
                  <a:lnTo>
                    <a:pt x="780" y="1627"/>
                  </a:lnTo>
                  <a:lnTo>
                    <a:pt x="792" y="1636"/>
                  </a:lnTo>
                  <a:lnTo>
                    <a:pt x="803" y="1644"/>
                  </a:lnTo>
                  <a:lnTo>
                    <a:pt x="809" y="1647"/>
                  </a:lnTo>
                  <a:lnTo>
                    <a:pt x="815" y="1649"/>
                  </a:lnTo>
                  <a:lnTo>
                    <a:pt x="821" y="1650"/>
                  </a:lnTo>
                  <a:lnTo>
                    <a:pt x="827" y="1650"/>
                  </a:lnTo>
                  <a:lnTo>
                    <a:pt x="840" y="1650"/>
                  </a:lnTo>
                  <a:lnTo>
                    <a:pt x="852" y="1648"/>
                  </a:lnTo>
                  <a:lnTo>
                    <a:pt x="865" y="1644"/>
                  </a:lnTo>
                  <a:lnTo>
                    <a:pt x="876" y="1643"/>
                  </a:lnTo>
                  <a:lnTo>
                    <a:pt x="882" y="1642"/>
                  </a:lnTo>
                  <a:lnTo>
                    <a:pt x="888" y="1642"/>
                  </a:lnTo>
                  <a:lnTo>
                    <a:pt x="894" y="1643"/>
                  </a:lnTo>
                  <a:lnTo>
                    <a:pt x="899" y="1645"/>
                  </a:lnTo>
                  <a:lnTo>
                    <a:pt x="913" y="1652"/>
                  </a:lnTo>
                  <a:lnTo>
                    <a:pt x="926" y="1660"/>
                  </a:lnTo>
                  <a:lnTo>
                    <a:pt x="939" y="1668"/>
                  </a:lnTo>
                  <a:lnTo>
                    <a:pt x="950" y="1680"/>
                  </a:lnTo>
                  <a:lnTo>
                    <a:pt x="955" y="1685"/>
                  </a:lnTo>
                  <a:lnTo>
                    <a:pt x="959" y="1691"/>
                  </a:lnTo>
                  <a:lnTo>
                    <a:pt x="964" y="1698"/>
                  </a:lnTo>
                  <a:lnTo>
                    <a:pt x="968" y="1704"/>
                  </a:lnTo>
                  <a:lnTo>
                    <a:pt x="971" y="1711"/>
                  </a:lnTo>
                  <a:lnTo>
                    <a:pt x="973" y="1719"/>
                  </a:lnTo>
                  <a:lnTo>
                    <a:pt x="974" y="1726"/>
                  </a:lnTo>
                  <a:lnTo>
                    <a:pt x="975" y="1733"/>
                  </a:lnTo>
                  <a:lnTo>
                    <a:pt x="975" y="1743"/>
                  </a:lnTo>
                  <a:lnTo>
                    <a:pt x="974" y="1751"/>
                  </a:lnTo>
                  <a:lnTo>
                    <a:pt x="973" y="1759"/>
                  </a:lnTo>
                  <a:lnTo>
                    <a:pt x="971" y="1768"/>
                  </a:lnTo>
                  <a:lnTo>
                    <a:pt x="965" y="1781"/>
                  </a:lnTo>
                  <a:lnTo>
                    <a:pt x="957" y="1795"/>
                  </a:lnTo>
                  <a:lnTo>
                    <a:pt x="950" y="1807"/>
                  </a:lnTo>
                  <a:lnTo>
                    <a:pt x="943" y="1820"/>
                  </a:lnTo>
                  <a:lnTo>
                    <a:pt x="940" y="1826"/>
                  </a:lnTo>
                  <a:lnTo>
                    <a:pt x="937" y="1833"/>
                  </a:lnTo>
                  <a:lnTo>
                    <a:pt x="934" y="1840"/>
                  </a:lnTo>
                  <a:lnTo>
                    <a:pt x="932" y="1847"/>
                  </a:lnTo>
                  <a:lnTo>
                    <a:pt x="928" y="1851"/>
                  </a:lnTo>
                  <a:lnTo>
                    <a:pt x="926" y="1855"/>
                  </a:lnTo>
                  <a:lnTo>
                    <a:pt x="924" y="1860"/>
                  </a:lnTo>
                  <a:lnTo>
                    <a:pt x="922" y="1865"/>
                  </a:lnTo>
                  <a:lnTo>
                    <a:pt x="922" y="1876"/>
                  </a:lnTo>
                  <a:lnTo>
                    <a:pt x="923" y="1889"/>
                  </a:lnTo>
                  <a:lnTo>
                    <a:pt x="930" y="1916"/>
                  </a:lnTo>
                  <a:lnTo>
                    <a:pt x="940" y="1945"/>
                  </a:lnTo>
                  <a:lnTo>
                    <a:pt x="944" y="1960"/>
                  </a:lnTo>
                  <a:lnTo>
                    <a:pt x="946" y="1973"/>
                  </a:lnTo>
                  <a:lnTo>
                    <a:pt x="948" y="1987"/>
                  </a:lnTo>
                  <a:lnTo>
                    <a:pt x="948" y="1998"/>
                  </a:lnTo>
                  <a:lnTo>
                    <a:pt x="946" y="2004"/>
                  </a:lnTo>
                  <a:lnTo>
                    <a:pt x="945" y="2010"/>
                  </a:lnTo>
                  <a:lnTo>
                    <a:pt x="942" y="2015"/>
                  </a:lnTo>
                  <a:lnTo>
                    <a:pt x="939" y="2019"/>
                  </a:lnTo>
                  <a:lnTo>
                    <a:pt x="934" y="2023"/>
                  </a:lnTo>
                  <a:lnTo>
                    <a:pt x="928" y="2027"/>
                  </a:lnTo>
                  <a:lnTo>
                    <a:pt x="922" y="2030"/>
                  </a:lnTo>
                  <a:lnTo>
                    <a:pt x="915" y="2033"/>
                  </a:lnTo>
                  <a:lnTo>
                    <a:pt x="910" y="2034"/>
                  </a:lnTo>
                  <a:lnTo>
                    <a:pt x="905" y="2033"/>
                  </a:lnTo>
                  <a:lnTo>
                    <a:pt x="899" y="2032"/>
                  </a:lnTo>
                  <a:lnTo>
                    <a:pt x="893" y="2029"/>
                  </a:lnTo>
                  <a:lnTo>
                    <a:pt x="879" y="2024"/>
                  </a:lnTo>
                  <a:lnTo>
                    <a:pt x="865" y="2017"/>
                  </a:lnTo>
                  <a:lnTo>
                    <a:pt x="849" y="2011"/>
                  </a:lnTo>
                  <a:lnTo>
                    <a:pt x="833" y="2004"/>
                  </a:lnTo>
                  <a:lnTo>
                    <a:pt x="825" y="2003"/>
                  </a:lnTo>
                  <a:lnTo>
                    <a:pt x="817" y="2001"/>
                  </a:lnTo>
                  <a:lnTo>
                    <a:pt x="809" y="2001"/>
                  </a:lnTo>
                  <a:lnTo>
                    <a:pt x="802" y="2001"/>
                  </a:lnTo>
                  <a:lnTo>
                    <a:pt x="795" y="2003"/>
                  </a:lnTo>
                  <a:lnTo>
                    <a:pt x="787" y="2005"/>
                  </a:lnTo>
                  <a:lnTo>
                    <a:pt x="781" y="2009"/>
                  </a:lnTo>
                  <a:lnTo>
                    <a:pt x="775" y="2012"/>
                  </a:lnTo>
                  <a:lnTo>
                    <a:pt x="762" y="2020"/>
                  </a:lnTo>
                  <a:lnTo>
                    <a:pt x="752" y="2029"/>
                  </a:lnTo>
                  <a:lnTo>
                    <a:pt x="732" y="2051"/>
                  </a:lnTo>
                  <a:lnTo>
                    <a:pt x="712" y="2073"/>
                  </a:lnTo>
                  <a:lnTo>
                    <a:pt x="699" y="2084"/>
                  </a:lnTo>
                  <a:lnTo>
                    <a:pt x="680" y="2099"/>
                  </a:lnTo>
                  <a:lnTo>
                    <a:pt x="670" y="2109"/>
                  </a:lnTo>
                  <a:lnTo>
                    <a:pt x="660" y="2117"/>
                  </a:lnTo>
                  <a:lnTo>
                    <a:pt x="651" y="2126"/>
                  </a:lnTo>
                  <a:lnTo>
                    <a:pt x="644" y="2136"/>
                  </a:lnTo>
                  <a:lnTo>
                    <a:pt x="637" y="2144"/>
                  </a:lnTo>
                  <a:lnTo>
                    <a:pt x="634" y="2151"/>
                  </a:lnTo>
                  <a:lnTo>
                    <a:pt x="633" y="2155"/>
                  </a:lnTo>
                  <a:lnTo>
                    <a:pt x="633" y="2158"/>
                  </a:lnTo>
                  <a:lnTo>
                    <a:pt x="633" y="2161"/>
                  </a:lnTo>
                  <a:lnTo>
                    <a:pt x="634" y="2163"/>
                  </a:lnTo>
                  <a:lnTo>
                    <a:pt x="636" y="2165"/>
                  </a:lnTo>
                  <a:lnTo>
                    <a:pt x="639" y="2167"/>
                  </a:lnTo>
                  <a:lnTo>
                    <a:pt x="644" y="2168"/>
                  </a:lnTo>
                  <a:lnTo>
                    <a:pt x="649" y="2168"/>
                  </a:lnTo>
                  <a:lnTo>
                    <a:pt x="662" y="2168"/>
                  </a:lnTo>
                  <a:lnTo>
                    <a:pt x="681" y="2165"/>
                  </a:lnTo>
                  <a:lnTo>
                    <a:pt x="695" y="2162"/>
                  </a:lnTo>
                  <a:lnTo>
                    <a:pt x="707" y="2158"/>
                  </a:lnTo>
                  <a:lnTo>
                    <a:pt x="720" y="2154"/>
                  </a:lnTo>
                  <a:lnTo>
                    <a:pt x="732" y="2148"/>
                  </a:lnTo>
                  <a:lnTo>
                    <a:pt x="755" y="2137"/>
                  </a:lnTo>
                  <a:lnTo>
                    <a:pt x="779" y="2127"/>
                  </a:lnTo>
                  <a:lnTo>
                    <a:pt x="791" y="2123"/>
                  </a:lnTo>
                  <a:lnTo>
                    <a:pt x="802" y="2120"/>
                  </a:lnTo>
                  <a:lnTo>
                    <a:pt x="815" y="2119"/>
                  </a:lnTo>
                  <a:lnTo>
                    <a:pt x="826" y="2119"/>
                  </a:lnTo>
                  <a:lnTo>
                    <a:pt x="838" y="2120"/>
                  </a:lnTo>
                  <a:lnTo>
                    <a:pt x="852" y="2123"/>
                  </a:lnTo>
                  <a:lnTo>
                    <a:pt x="866" y="2130"/>
                  </a:lnTo>
                  <a:lnTo>
                    <a:pt x="879" y="2138"/>
                  </a:lnTo>
                  <a:lnTo>
                    <a:pt x="879" y="2146"/>
                  </a:lnTo>
                  <a:lnTo>
                    <a:pt x="877" y="2157"/>
                  </a:lnTo>
                  <a:lnTo>
                    <a:pt x="874" y="2166"/>
                  </a:lnTo>
                  <a:lnTo>
                    <a:pt x="870" y="2178"/>
                  </a:lnTo>
                  <a:lnTo>
                    <a:pt x="864" y="2187"/>
                  </a:lnTo>
                  <a:lnTo>
                    <a:pt x="857" y="2196"/>
                  </a:lnTo>
                  <a:lnTo>
                    <a:pt x="851" y="2205"/>
                  </a:lnTo>
                  <a:lnTo>
                    <a:pt x="845" y="2212"/>
                  </a:lnTo>
                  <a:lnTo>
                    <a:pt x="840" y="2219"/>
                  </a:lnTo>
                  <a:lnTo>
                    <a:pt x="834" y="2228"/>
                  </a:lnTo>
                  <a:lnTo>
                    <a:pt x="831" y="2237"/>
                  </a:lnTo>
                  <a:lnTo>
                    <a:pt x="828" y="2247"/>
                  </a:lnTo>
                  <a:lnTo>
                    <a:pt x="824" y="2269"/>
                  </a:lnTo>
                  <a:lnTo>
                    <a:pt x="822" y="2288"/>
                  </a:lnTo>
                  <a:lnTo>
                    <a:pt x="821" y="2298"/>
                  </a:lnTo>
                  <a:lnTo>
                    <a:pt x="818" y="2306"/>
                  </a:lnTo>
                  <a:lnTo>
                    <a:pt x="815" y="2316"/>
                  </a:lnTo>
                  <a:lnTo>
                    <a:pt x="809" y="2326"/>
                  </a:lnTo>
                  <a:lnTo>
                    <a:pt x="804" y="2336"/>
                  </a:lnTo>
                  <a:lnTo>
                    <a:pt x="798" y="2347"/>
                  </a:lnTo>
                  <a:lnTo>
                    <a:pt x="791" y="2357"/>
                  </a:lnTo>
                  <a:lnTo>
                    <a:pt x="783" y="2366"/>
                  </a:lnTo>
                  <a:lnTo>
                    <a:pt x="768" y="2385"/>
                  </a:lnTo>
                  <a:lnTo>
                    <a:pt x="750" y="2403"/>
                  </a:lnTo>
                  <a:lnTo>
                    <a:pt x="742" y="2410"/>
                  </a:lnTo>
                  <a:lnTo>
                    <a:pt x="733" y="2416"/>
                  </a:lnTo>
                  <a:lnTo>
                    <a:pt x="726" y="2422"/>
                  </a:lnTo>
                  <a:lnTo>
                    <a:pt x="718" y="2426"/>
                  </a:lnTo>
                  <a:lnTo>
                    <a:pt x="710" y="2430"/>
                  </a:lnTo>
                  <a:lnTo>
                    <a:pt x="705" y="2434"/>
                  </a:lnTo>
                  <a:lnTo>
                    <a:pt x="701" y="2438"/>
                  </a:lnTo>
                  <a:lnTo>
                    <a:pt x="697" y="2443"/>
                  </a:lnTo>
                  <a:lnTo>
                    <a:pt x="695" y="2447"/>
                  </a:lnTo>
                  <a:lnTo>
                    <a:pt x="694" y="2451"/>
                  </a:lnTo>
                  <a:lnTo>
                    <a:pt x="694" y="2455"/>
                  </a:lnTo>
                  <a:lnTo>
                    <a:pt x="694" y="2459"/>
                  </a:lnTo>
                  <a:lnTo>
                    <a:pt x="697" y="2469"/>
                  </a:lnTo>
                  <a:lnTo>
                    <a:pt x="701" y="2478"/>
                  </a:lnTo>
                  <a:lnTo>
                    <a:pt x="706" y="2488"/>
                  </a:lnTo>
                  <a:lnTo>
                    <a:pt x="711" y="2500"/>
                  </a:lnTo>
                  <a:lnTo>
                    <a:pt x="714" y="2508"/>
                  </a:lnTo>
                  <a:lnTo>
                    <a:pt x="718" y="2518"/>
                  </a:lnTo>
                  <a:lnTo>
                    <a:pt x="721" y="2530"/>
                  </a:lnTo>
                  <a:lnTo>
                    <a:pt x="723" y="2543"/>
                  </a:lnTo>
                  <a:lnTo>
                    <a:pt x="723" y="2549"/>
                  </a:lnTo>
                  <a:lnTo>
                    <a:pt x="723" y="2555"/>
                  </a:lnTo>
                  <a:lnTo>
                    <a:pt x="723" y="2561"/>
                  </a:lnTo>
                  <a:lnTo>
                    <a:pt x="722" y="2567"/>
                  </a:lnTo>
                  <a:lnTo>
                    <a:pt x="720" y="2571"/>
                  </a:lnTo>
                  <a:lnTo>
                    <a:pt x="717" y="2575"/>
                  </a:lnTo>
                  <a:lnTo>
                    <a:pt x="713" y="2577"/>
                  </a:lnTo>
                  <a:lnTo>
                    <a:pt x="709" y="2579"/>
                  </a:lnTo>
                  <a:lnTo>
                    <a:pt x="706" y="2579"/>
                  </a:lnTo>
                  <a:lnTo>
                    <a:pt x="703" y="2579"/>
                  </a:lnTo>
                  <a:lnTo>
                    <a:pt x="700" y="2577"/>
                  </a:lnTo>
                  <a:lnTo>
                    <a:pt x="698" y="2575"/>
                  </a:lnTo>
                  <a:lnTo>
                    <a:pt x="693" y="2568"/>
                  </a:lnTo>
                  <a:lnTo>
                    <a:pt x="688" y="2559"/>
                  </a:lnTo>
                  <a:lnTo>
                    <a:pt x="681" y="2542"/>
                  </a:lnTo>
                  <a:lnTo>
                    <a:pt x="676" y="2529"/>
                  </a:lnTo>
                  <a:lnTo>
                    <a:pt x="666" y="2517"/>
                  </a:lnTo>
                  <a:lnTo>
                    <a:pt x="659" y="2505"/>
                  </a:lnTo>
                  <a:lnTo>
                    <a:pt x="652" y="2497"/>
                  </a:lnTo>
                  <a:lnTo>
                    <a:pt x="646" y="2491"/>
                  </a:lnTo>
                  <a:lnTo>
                    <a:pt x="642" y="2488"/>
                  </a:lnTo>
                  <a:lnTo>
                    <a:pt x="639" y="2487"/>
                  </a:lnTo>
                  <a:lnTo>
                    <a:pt x="636" y="2488"/>
                  </a:lnTo>
                  <a:lnTo>
                    <a:pt x="633" y="2489"/>
                  </a:lnTo>
                  <a:lnTo>
                    <a:pt x="629" y="2493"/>
                  </a:lnTo>
                  <a:lnTo>
                    <a:pt x="626" y="2497"/>
                  </a:lnTo>
                  <a:lnTo>
                    <a:pt x="622" y="2503"/>
                  </a:lnTo>
                  <a:lnTo>
                    <a:pt x="617" y="2510"/>
                  </a:lnTo>
                  <a:lnTo>
                    <a:pt x="605" y="2527"/>
                  </a:lnTo>
                  <a:lnTo>
                    <a:pt x="588" y="2548"/>
                  </a:lnTo>
                  <a:lnTo>
                    <a:pt x="580" y="2559"/>
                  </a:lnTo>
                  <a:lnTo>
                    <a:pt x="574" y="2570"/>
                  </a:lnTo>
                  <a:lnTo>
                    <a:pt x="572" y="2574"/>
                  </a:lnTo>
                  <a:lnTo>
                    <a:pt x="571" y="2578"/>
                  </a:lnTo>
                  <a:lnTo>
                    <a:pt x="571" y="2582"/>
                  </a:lnTo>
                  <a:lnTo>
                    <a:pt x="571" y="2585"/>
                  </a:lnTo>
                  <a:lnTo>
                    <a:pt x="589" y="2589"/>
                  </a:lnTo>
                  <a:lnTo>
                    <a:pt x="610" y="2591"/>
                  </a:lnTo>
                  <a:lnTo>
                    <a:pt x="631" y="2593"/>
                  </a:lnTo>
                  <a:lnTo>
                    <a:pt x="651" y="2596"/>
                  </a:lnTo>
                  <a:lnTo>
                    <a:pt x="658" y="2598"/>
                  </a:lnTo>
                  <a:lnTo>
                    <a:pt x="664" y="2601"/>
                  </a:lnTo>
                  <a:lnTo>
                    <a:pt x="668" y="2603"/>
                  </a:lnTo>
                  <a:lnTo>
                    <a:pt x="670" y="2605"/>
                  </a:lnTo>
                  <a:lnTo>
                    <a:pt x="671" y="2608"/>
                  </a:lnTo>
                  <a:lnTo>
                    <a:pt x="672" y="2611"/>
                  </a:lnTo>
                  <a:lnTo>
                    <a:pt x="672" y="2615"/>
                  </a:lnTo>
                  <a:lnTo>
                    <a:pt x="672" y="2618"/>
                  </a:lnTo>
                  <a:lnTo>
                    <a:pt x="671" y="2622"/>
                  </a:lnTo>
                  <a:lnTo>
                    <a:pt x="669" y="2626"/>
                  </a:lnTo>
                  <a:lnTo>
                    <a:pt x="662" y="2636"/>
                  </a:lnTo>
                  <a:lnTo>
                    <a:pt x="653" y="2647"/>
                  </a:lnTo>
                  <a:lnTo>
                    <a:pt x="645" y="2648"/>
                  </a:lnTo>
                  <a:lnTo>
                    <a:pt x="635" y="2647"/>
                  </a:lnTo>
                  <a:lnTo>
                    <a:pt x="631" y="2647"/>
                  </a:lnTo>
                  <a:lnTo>
                    <a:pt x="627" y="2648"/>
                  </a:lnTo>
                  <a:lnTo>
                    <a:pt x="623" y="2648"/>
                  </a:lnTo>
                  <a:lnTo>
                    <a:pt x="620" y="2650"/>
                  </a:lnTo>
                  <a:lnTo>
                    <a:pt x="620" y="2656"/>
                  </a:lnTo>
                  <a:lnTo>
                    <a:pt x="621" y="2663"/>
                  </a:lnTo>
                  <a:lnTo>
                    <a:pt x="624" y="2670"/>
                  </a:lnTo>
                  <a:lnTo>
                    <a:pt x="628" y="2676"/>
                  </a:lnTo>
                  <a:lnTo>
                    <a:pt x="636" y="2692"/>
                  </a:lnTo>
                  <a:lnTo>
                    <a:pt x="641" y="2705"/>
                  </a:lnTo>
                  <a:lnTo>
                    <a:pt x="644" y="2713"/>
                  </a:lnTo>
                  <a:lnTo>
                    <a:pt x="644" y="2721"/>
                  </a:lnTo>
                  <a:lnTo>
                    <a:pt x="644" y="2728"/>
                  </a:lnTo>
                  <a:lnTo>
                    <a:pt x="644" y="2736"/>
                  </a:lnTo>
                  <a:lnTo>
                    <a:pt x="641" y="2742"/>
                  </a:lnTo>
                  <a:lnTo>
                    <a:pt x="639" y="2748"/>
                  </a:lnTo>
                  <a:lnTo>
                    <a:pt x="636" y="2753"/>
                  </a:lnTo>
                  <a:lnTo>
                    <a:pt x="633" y="2758"/>
                  </a:lnTo>
                  <a:lnTo>
                    <a:pt x="628" y="2762"/>
                  </a:lnTo>
                  <a:lnTo>
                    <a:pt x="624" y="2766"/>
                  </a:lnTo>
                  <a:lnTo>
                    <a:pt x="617" y="2769"/>
                  </a:lnTo>
                  <a:lnTo>
                    <a:pt x="612" y="2771"/>
                  </a:lnTo>
                  <a:lnTo>
                    <a:pt x="605" y="2772"/>
                  </a:lnTo>
                  <a:lnTo>
                    <a:pt x="598" y="2773"/>
                  </a:lnTo>
                  <a:lnTo>
                    <a:pt x="590" y="2774"/>
                  </a:lnTo>
                  <a:lnTo>
                    <a:pt x="582" y="2773"/>
                  </a:lnTo>
                  <a:lnTo>
                    <a:pt x="567" y="2772"/>
                  </a:lnTo>
                  <a:lnTo>
                    <a:pt x="555" y="2771"/>
                  </a:lnTo>
                  <a:lnTo>
                    <a:pt x="542" y="2772"/>
                  </a:lnTo>
                  <a:lnTo>
                    <a:pt x="531" y="2775"/>
                  </a:lnTo>
                  <a:lnTo>
                    <a:pt x="526" y="2777"/>
                  </a:lnTo>
                  <a:lnTo>
                    <a:pt x="522" y="2780"/>
                  </a:lnTo>
                  <a:lnTo>
                    <a:pt x="516" y="2784"/>
                  </a:lnTo>
                  <a:lnTo>
                    <a:pt x="513" y="2788"/>
                  </a:lnTo>
                  <a:lnTo>
                    <a:pt x="510" y="2793"/>
                  </a:lnTo>
                  <a:lnTo>
                    <a:pt x="507" y="2799"/>
                  </a:lnTo>
                  <a:lnTo>
                    <a:pt x="506" y="2806"/>
                  </a:lnTo>
                  <a:lnTo>
                    <a:pt x="504" y="2814"/>
                  </a:lnTo>
                  <a:lnTo>
                    <a:pt x="495" y="2822"/>
                  </a:lnTo>
                  <a:lnTo>
                    <a:pt x="488" y="2826"/>
                  </a:lnTo>
                  <a:lnTo>
                    <a:pt x="484" y="2828"/>
                  </a:lnTo>
                  <a:lnTo>
                    <a:pt x="481" y="2829"/>
                  </a:lnTo>
                  <a:lnTo>
                    <a:pt x="478" y="2829"/>
                  </a:lnTo>
                  <a:lnTo>
                    <a:pt x="475" y="2829"/>
                  </a:lnTo>
                  <a:lnTo>
                    <a:pt x="469" y="2826"/>
                  </a:lnTo>
                  <a:lnTo>
                    <a:pt x="464" y="2823"/>
                  </a:lnTo>
                  <a:lnTo>
                    <a:pt x="460" y="2818"/>
                  </a:lnTo>
                  <a:lnTo>
                    <a:pt x="456" y="2813"/>
                  </a:lnTo>
                  <a:lnTo>
                    <a:pt x="446" y="2802"/>
                  </a:lnTo>
                  <a:lnTo>
                    <a:pt x="436" y="2793"/>
                  </a:lnTo>
                  <a:lnTo>
                    <a:pt x="431" y="2790"/>
                  </a:lnTo>
                  <a:lnTo>
                    <a:pt x="425" y="2789"/>
                  </a:lnTo>
                  <a:lnTo>
                    <a:pt x="417" y="2789"/>
                  </a:lnTo>
                  <a:lnTo>
                    <a:pt x="409" y="2792"/>
                  </a:lnTo>
                  <a:lnTo>
                    <a:pt x="406" y="2794"/>
                  </a:lnTo>
                  <a:lnTo>
                    <a:pt x="403" y="2796"/>
                  </a:lnTo>
                  <a:lnTo>
                    <a:pt x="401" y="2799"/>
                  </a:lnTo>
                  <a:lnTo>
                    <a:pt x="398" y="2801"/>
                  </a:lnTo>
                  <a:lnTo>
                    <a:pt x="395" y="2809"/>
                  </a:lnTo>
                  <a:lnTo>
                    <a:pt x="392" y="2816"/>
                  </a:lnTo>
                  <a:lnTo>
                    <a:pt x="390" y="2822"/>
                  </a:lnTo>
                  <a:lnTo>
                    <a:pt x="388" y="2830"/>
                  </a:lnTo>
                  <a:lnTo>
                    <a:pt x="386" y="2833"/>
                  </a:lnTo>
                  <a:lnTo>
                    <a:pt x="384" y="2835"/>
                  </a:lnTo>
                  <a:lnTo>
                    <a:pt x="381" y="2838"/>
                  </a:lnTo>
                  <a:lnTo>
                    <a:pt x="378" y="2840"/>
                  </a:lnTo>
                  <a:lnTo>
                    <a:pt x="367" y="2846"/>
                  </a:lnTo>
                  <a:lnTo>
                    <a:pt x="351" y="2856"/>
                  </a:lnTo>
                  <a:lnTo>
                    <a:pt x="342" y="2859"/>
                  </a:lnTo>
                  <a:lnTo>
                    <a:pt x="335" y="2859"/>
                  </a:lnTo>
                  <a:lnTo>
                    <a:pt x="332" y="2859"/>
                  </a:lnTo>
                  <a:lnTo>
                    <a:pt x="329" y="2857"/>
                  </a:lnTo>
                  <a:lnTo>
                    <a:pt x="327" y="2855"/>
                  </a:lnTo>
                  <a:lnTo>
                    <a:pt x="324" y="2850"/>
                  </a:lnTo>
                  <a:lnTo>
                    <a:pt x="322" y="2846"/>
                  </a:lnTo>
                  <a:lnTo>
                    <a:pt x="320" y="2839"/>
                  </a:lnTo>
                  <a:lnTo>
                    <a:pt x="319" y="2830"/>
                  </a:lnTo>
                  <a:lnTo>
                    <a:pt x="319" y="2820"/>
                  </a:lnTo>
                  <a:lnTo>
                    <a:pt x="318" y="2810"/>
                  </a:lnTo>
                  <a:lnTo>
                    <a:pt x="318" y="2800"/>
                  </a:lnTo>
                  <a:lnTo>
                    <a:pt x="316" y="2792"/>
                  </a:lnTo>
                  <a:lnTo>
                    <a:pt x="314" y="2786"/>
                  </a:lnTo>
                  <a:lnTo>
                    <a:pt x="308" y="2782"/>
                  </a:lnTo>
                  <a:lnTo>
                    <a:pt x="303" y="2780"/>
                  </a:lnTo>
                  <a:lnTo>
                    <a:pt x="296" y="2777"/>
                  </a:lnTo>
                  <a:lnTo>
                    <a:pt x="292" y="2777"/>
                  </a:lnTo>
                  <a:lnTo>
                    <a:pt x="287" y="2777"/>
                  </a:lnTo>
                  <a:lnTo>
                    <a:pt x="283" y="2778"/>
                  </a:lnTo>
                  <a:lnTo>
                    <a:pt x="279" y="2781"/>
                  </a:lnTo>
                  <a:lnTo>
                    <a:pt x="274" y="2783"/>
                  </a:lnTo>
                  <a:lnTo>
                    <a:pt x="267" y="2790"/>
                  </a:lnTo>
                  <a:lnTo>
                    <a:pt x="261" y="2798"/>
                  </a:lnTo>
                  <a:lnTo>
                    <a:pt x="254" y="2809"/>
                  </a:lnTo>
                  <a:lnTo>
                    <a:pt x="247" y="2820"/>
                  </a:lnTo>
                  <a:lnTo>
                    <a:pt x="240" y="2833"/>
                  </a:lnTo>
                  <a:lnTo>
                    <a:pt x="233" y="2841"/>
                  </a:lnTo>
                  <a:lnTo>
                    <a:pt x="224" y="2847"/>
                  </a:lnTo>
                  <a:lnTo>
                    <a:pt x="216" y="2853"/>
                  </a:lnTo>
                  <a:lnTo>
                    <a:pt x="207" y="2855"/>
                  </a:lnTo>
                  <a:lnTo>
                    <a:pt x="195" y="2857"/>
                  </a:lnTo>
                  <a:lnTo>
                    <a:pt x="184" y="2858"/>
                  </a:lnTo>
                  <a:lnTo>
                    <a:pt x="171" y="2860"/>
                  </a:lnTo>
                  <a:lnTo>
                    <a:pt x="165" y="2860"/>
                  </a:lnTo>
                  <a:lnTo>
                    <a:pt x="159" y="2862"/>
                  </a:lnTo>
                  <a:lnTo>
                    <a:pt x="153" y="2863"/>
                  </a:lnTo>
                  <a:lnTo>
                    <a:pt x="149" y="2865"/>
                  </a:lnTo>
                  <a:lnTo>
                    <a:pt x="145" y="2868"/>
                  </a:lnTo>
                  <a:lnTo>
                    <a:pt x="141" y="2870"/>
                  </a:lnTo>
                  <a:lnTo>
                    <a:pt x="138" y="2873"/>
                  </a:lnTo>
                  <a:lnTo>
                    <a:pt x="136" y="2877"/>
                  </a:lnTo>
                  <a:lnTo>
                    <a:pt x="131" y="2885"/>
                  </a:lnTo>
                  <a:lnTo>
                    <a:pt x="127" y="2893"/>
                  </a:lnTo>
                  <a:lnTo>
                    <a:pt x="125" y="2903"/>
                  </a:lnTo>
                  <a:lnTo>
                    <a:pt x="123" y="2912"/>
                  </a:lnTo>
                  <a:lnTo>
                    <a:pt x="121" y="2933"/>
                  </a:lnTo>
                  <a:lnTo>
                    <a:pt x="119" y="2954"/>
                  </a:lnTo>
                  <a:lnTo>
                    <a:pt x="117" y="2963"/>
                  </a:lnTo>
                  <a:lnTo>
                    <a:pt x="115" y="2973"/>
                  </a:lnTo>
                  <a:lnTo>
                    <a:pt x="112" y="2981"/>
                  </a:lnTo>
                  <a:lnTo>
                    <a:pt x="108" y="2988"/>
                  </a:lnTo>
                  <a:lnTo>
                    <a:pt x="102" y="2992"/>
                  </a:lnTo>
                  <a:lnTo>
                    <a:pt x="97" y="2997"/>
                  </a:lnTo>
                  <a:lnTo>
                    <a:pt x="91" y="2998"/>
                  </a:lnTo>
                  <a:lnTo>
                    <a:pt x="84" y="2999"/>
                  </a:lnTo>
                  <a:lnTo>
                    <a:pt x="69" y="2999"/>
                  </a:lnTo>
                  <a:lnTo>
                    <a:pt x="52" y="2995"/>
                  </a:lnTo>
                  <a:lnTo>
                    <a:pt x="37" y="2993"/>
                  </a:lnTo>
                  <a:lnTo>
                    <a:pt x="22" y="2991"/>
                  </a:lnTo>
                  <a:lnTo>
                    <a:pt x="16" y="2991"/>
                  </a:lnTo>
                  <a:lnTo>
                    <a:pt x="10" y="2991"/>
                  </a:lnTo>
                  <a:lnTo>
                    <a:pt x="4" y="2993"/>
                  </a:lnTo>
                  <a:lnTo>
                    <a:pt x="0" y="2997"/>
                  </a:lnTo>
                  <a:lnTo>
                    <a:pt x="1" y="3005"/>
                  </a:lnTo>
                  <a:lnTo>
                    <a:pt x="2" y="3013"/>
                  </a:lnTo>
                  <a:lnTo>
                    <a:pt x="5" y="3019"/>
                  </a:lnTo>
                  <a:lnTo>
                    <a:pt x="10" y="3026"/>
                  </a:lnTo>
                  <a:lnTo>
                    <a:pt x="14" y="3030"/>
                  </a:lnTo>
                  <a:lnTo>
                    <a:pt x="19" y="3034"/>
                  </a:lnTo>
                  <a:lnTo>
                    <a:pt x="25" y="3038"/>
                  </a:lnTo>
                  <a:lnTo>
                    <a:pt x="31" y="3041"/>
                  </a:lnTo>
                  <a:lnTo>
                    <a:pt x="44" y="3048"/>
                  </a:lnTo>
                  <a:lnTo>
                    <a:pt x="58" y="3054"/>
                  </a:lnTo>
                  <a:lnTo>
                    <a:pt x="64" y="3057"/>
                  </a:lnTo>
                  <a:lnTo>
                    <a:pt x="70" y="3061"/>
                  </a:lnTo>
                  <a:lnTo>
                    <a:pt x="75" y="3065"/>
                  </a:lnTo>
                  <a:lnTo>
                    <a:pt x="79" y="3071"/>
                  </a:lnTo>
                  <a:lnTo>
                    <a:pt x="79" y="3071"/>
                  </a:lnTo>
                  <a:lnTo>
                    <a:pt x="88" y="3075"/>
                  </a:lnTo>
                  <a:lnTo>
                    <a:pt x="96" y="3078"/>
                  </a:lnTo>
                  <a:lnTo>
                    <a:pt x="104" y="3081"/>
                  </a:lnTo>
                  <a:lnTo>
                    <a:pt x="114" y="3081"/>
                  </a:lnTo>
                  <a:lnTo>
                    <a:pt x="118" y="3081"/>
                  </a:lnTo>
                  <a:lnTo>
                    <a:pt x="122" y="3080"/>
                  </a:lnTo>
                  <a:lnTo>
                    <a:pt x="124" y="3079"/>
                  </a:lnTo>
                  <a:lnTo>
                    <a:pt x="127" y="3077"/>
                  </a:lnTo>
                  <a:lnTo>
                    <a:pt x="131" y="3072"/>
                  </a:lnTo>
                  <a:lnTo>
                    <a:pt x="135" y="3065"/>
                  </a:lnTo>
                  <a:lnTo>
                    <a:pt x="136" y="3057"/>
                  </a:lnTo>
                  <a:lnTo>
                    <a:pt x="137" y="3049"/>
                  </a:lnTo>
                  <a:lnTo>
                    <a:pt x="139" y="3040"/>
                  </a:lnTo>
                  <a:lnTo>
                    <a:pt x="141" y="3032"/>
                  </a:lnTo>
                  <a:lnTo>
                    <a:pt x="146" y="3015"/>
                  </a:lnTo>
                  <a:lnTo>
                    <a:pt x="151" y="3000"/>
                  </a:lnTo>
                  <a:lnTo>
                    <a:pt x="155" y="2991"/>
                  </a:lnTo>
                  <a:lnTo>
                    <a:pt x="159" y="2985"/>
                  </a:lnTo>
                  <a:lnTo>
                    <a:pt x="163" y="2980"/>
                  </a:lnTo>
                  <a:lnTo>
                    <a:pt x="167" y="2976"/>
                  </a:lnTo>
                  <a:lnTo>
                    <a:pt x="172" y="2974"/>
                  </a:lnTo>
                  <a:lnTo>
                    <a:pt x="177" y="2971"/>
                  </a:lnTo>
                  <a:lnTo>
                    <a:pt x="183" y="2971"/>
                  </a:lnTo>
                  <a:lnTo>
                    <a:pt x="188" y="2971"/>
                  </a:lnTo>
                  <a:lnTo>
                    <a:pt x="193" y="2973"/>
                  </a:lnTo>
                  <a:lnTo>
                    <a:pt x="199" y="2975"/>
                  </a:lnTo>
                  <a:lnTo>
                    <a:pt x="205" y="2978"/>
                  </a:lnTo>
                  <a:lnTo>
                    <a:pt x="210" y="2981"/>
                  </a:lnTo>
                  <a:lnTo>
                    <a:pt x="221" y="2989"/>
                  </a:lnTo>
                  <a:lnTo>
                    <a:pt x="231" y="2999"/>
                  </a:lnTo>
                  <a:lnTo>
                    <a:pt x="236" y="3007"/>
                  </a:lnTo>
                  <a:lnTo>
                    <a:pt x="242" y="3016"/>
                  </a:lnTo>
                  <a:lnTo>
                    <a:pt x="248" y="3025"/>
                  </a:lnTo>
                  <a:lnTo>
                    <a:pt x="256" y="3032"/>
                  </a:lnTo>
                  <a:lnTo>
                    <a:pt x="261" y="3035"/>
                  </a:lnTo>
                  <a:lnTo>
                    <a:pt x="267" y="3037"/>
                  </a:lnTo>
                  <a:lnTo>
                    <a:pt x="273" y="3039"/>
                  </a:lnTo>
                  <a:lnTo>
                    <a:pt x="281" y="3040"/>
                  </a:lnTo>
                  <a:lnTo>
                    <a:pt x="294" y="3040"/>
                  </a:lnTo>
                  <a:lnTo>
                    <a:pt x="308" y="3040"/>
                  </a:lnTo>
                  <a:lnTo>
                    <a:pt x="319" y="3041"/>
                  </a:lnTo>
                  <a:lnTo>
                    <a:pt x="331" y="3043"/>
                  </a:lnTo>
                  <a:lnTo>
                    <a:pt x="337" y="3044"/>
                  </a:lnTo>
                  <a:lnTo>
                    <a:pt x="342" y="3047"/>
                  </a:lnTo>
                  <a:lnTo>
                    <a:pt x="347" y="3050"/>
                  </a:lnTo>
                  <a:lnTo>
                    <a:pt x="352" y="3053"/>
                  </a:lnTo>
                  <a:lnTo>
                    <a:pt x="355" y="3055"/>
                  </a:lnTo>
                  <a:lnTo>
                    <a:pt x="358" y="3057"/>
                  </a:lnTo>
                  <a:lnTo>
                    <a:pt x="361" y="3059"/>
                  </a:lnTo>
                  <a:lnTo>
                    <a:pt x="363" y="3062"/>
                  </a:lnTo>
                  <a:lnTo>
                    <a:pt x="367" y="3071"/>
                  </a:lnTo>
                  <a:lnTo>
                    <a:pt x="370" y="3079"/>
                  </a:lnTo>
                  <a:lnTo>
                    <a:pt x="372" y="3090"/>
                  </a:lnTo>
                  <a:lnTo>
                    <a:pt x="373" y="3102"/>
                  </a:lnTo>
                  <a:lnTo>
                    <a:pt x="375" y="3113"/>
                  </a:lnTo>
                  <a:lnTo>
                    <a:pt x="375" y="3127"/>
                  </a:lnTo>
                  <a:lnTo>
                    <a:pt x="372" y="3152"/>
                  </a:lnTo>
                  <a:lnTo>
                    <a:pt x="368" y="3176"/>
                  </a:lnTo>
                  <a:lnTo>
                    <a:pt x="364" y="3197"/>
                  </a:lnTo>
                  <a:lnTo>
                    <a:pt x="360" y="3210"/>
                  </a:lnTo>
                  <a:lnTo>
                    <a:pt x="355" y="3220"/>
                  </a:lnTo>
                  <a:lnTo>
                    <a:pt x="349" y="3230"/>
                  </a:lnTo>
                  <a:lnTo>
                    <a:pt x="345" y="3241"/>
                  </a:lnTo>
                  <a:lnTo>
                    <a:pt x="341" y="3251"/>
                  </a:lnTo>
                  <a:lnTo>
                    <a:pt x="339" y="3258"/>
                  </a:lnTo>
                  <a:lnTo>
                    <a:pt x="339" y="3266"/>
                  </a:lnTo>
                  <a:lnTo>
                    <a:pt x="340" y="3272"/>
                  </a:lnTo>
                  <a:lnTo>
                    <a:pt x="343" y="3279"/>
                  </a:lnTo>
                  <a:lnTo>
                    <a:pt x="346" y="3287"/>
                  </a:lnTo>
                  <a:lnTo>
                    <a:pt x="351" y="3294"/>
                  </a:lnTo>
                  <a:lnTo>
                    <a:pt x="356" y="3300"/>
                  </a:lnTo>
                  <a:lnTo>
                    <a:pt x="361" y="3307"/>
                  </a:lnTo>
                  <a:lnTo>
                    <a:pt x="372" y="3322"/>
                  </a:lnTo>
                  <a:lnTo>
                    <a:pt x="383" y="3337"/>
                  </a:lnTo>
                  <a:lnTo>
                    <a:pt x="387" y="3344"/>
                  </a:lnTo>
                  <a:lnTo>
                    <a:pt x="391" y="3352"/>
                  </a:lnTo>
                  <a:lnTo>
                    <a:pt x="393" y="3360"/>
                  </a:lnTo>
                  <a:lnTo>
                    <a:pt x="395" y="3368"/>
                  </a:lnTo>
                  <a:lnTo>
                    <a:pt x="395" y="3368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4" name="Freeform 131">
              <a:extLst>
                <a:ext uri="{FF2B5EF4-FFF2-40B4-BE49-F238E27FC236}">
                  <a16:creationId xmlns:a16="http://schemas.microsoft.com/office/drawing/2014/main" id="{59D6BF98-6E1A-4AD2-8B4C-9D53D2B67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6022" y="3960193"/>
              <a:ext cx="450683" cy="546426"/>
            </a:xfrm>
            <a:custGeom>
              <a:avLst/>
              <a:gdLst>
                <a:gd name="T0" fmla="*/ 406 w 1788"/>
                <a:gd name="T1" fmla="*/ 166 h 2251"/>
                <a:gd name="T2" fmla="*/ 336 w 1788"/>
                <a:gd name="T3" fmla="*/ 193 h 2251"/>
                <a:gd name="T4" fmla="*/ 339 w 1788"/>
                <a:gd name="T5" fmla="*/ 47 h 2251"/>
                <a:gd name="T6" fmla="*/ 238 w 1788"/>
                <a:gd name="T7" fmla="*/ 62 h 2251"/>
                <a:gd name="T8" fmla="*/ 199 w 1788"/>
                <a:gd name="T9" fmla="*/ 143 h 2251"/>
                <a:gd name="T10" fmla="*/ 133 w 1788"/>
                <a:gd name="T11" fmla="*/ 93 h 2251"/>
                <a:gd name="T12" fmla="*/ 88 w 1788"/>
                <a:gd name="T13" fmla="*/ 229 h 2251"/>
                <a:gd name="T14" fmla="*/ 62 w 1788"/>
                <a:gd name="T15" fmla="*/ 338 h 2251"/>
                <a:gd name="T16" fmla="*/ 5 w 1788"/>
                <a:gd name="T17" fmla="*/ 350 h 2251"/>
                <a:gd name="T18" fmla="*/ 57 w 1788"/>
                <a:gd name="T19" fmla="*/ 426 h 2251"/>
                <a:gd name="T20" fmla="*/ 153 w 1788"/>
                <a:gd name="T21" fmla="*/ 511 h 2251"/>
                <a:gd name="T22" fmla="*/ 243 w 1788"/>
                <a:gd name="T23" fmla="*/ 532 h 2251"/>
                <a:gd name="T24" fmla="*/ 342 w 1788"/>
                <a:gd name="T25" fmla="*/ 499 h 2251"/>
                <a:gd name="T26" fmla="*/ 500 w 1788"/>
                <a:gd name="T27" fmla="*/ 434 h 2251"/>
                <a:gd name="T28" fmla="*/ 591 w 1788"/>
                <a:gd name="T29" fmla="*/ 483 h 2251"/>
                <a:gd name="T30" fmla="*/ 678 w 1788"/>
                <a:gd name="T31" fmla="*/ 539 h 2251"/>
                <a:gd name="T32" fmla="*/ 707 w 1788"/>
                <a:gd name="T33" fmla="*/ 576 h 2251"/>
                <a:gd name="T34" fmla="*/ 608 w 1788"/>
                <a:gd name="T35" fmla="*/ 779 h 2251"/>
                <a:gd name="T36" fmla="*/ 521 w 1788"/>
                <a:gd name="T37" fmla="*/ 859 h 2251"/>
                <a:gd name="T38" fmla="*/ 531 w 1788"/>
                <a:gd name="T39" fmla="*/ 1156 h 2251"/>
                <a:gd name="T40" fmla="*/ 418 w 1788"/>
                <a:gd name="T41" fmla="*/ 1172 h 2251"/>
                <a:gd name="T42" fmla="*/ 361 w 1788"/>
                <a:gd name="T43" fmla="*/ 1356 h 2251"/>
                <a:gd name="T44" fmla="*/ 294 w 1788"/>
                <a:gd name="T45" fmla="*/ 1481 h 2251"/>
                <a:gd name="T46" fmla="*/ 286 w 1788"/>
                <a:gd name="T47" fmla="*/ 1675 h 2251"/>
                <a:gd name="T48" fmla="*/ 324 w 1788"/>
                <a:gd name="T49" fmla="*/ 1818 h 2251"/>
                <a:gd name="T50" fmla="*/ 366 w 1788"/>
                <a:gd name="T51" fmla="*/ 1997 h 2251"/>
                <a:gd name="T52" fmla="*/ 462 w 1788"/>
                <a:gd name="T53" fmla="*/ 1981 h 2251"/>
                <a:gd name="T54" fmla="*/ 536 w 1788"/>
                <a:gd name="T55" fmla="*/ 1822 h 2251"/>
                <a:gd name="T56" fmla="*/ 630 w 1788"/>
                <a:gd name="T57" fmla="*/ 2034 h 2251"/>
                <a:gd name="T58" fmla="*/ 714 w 1788"/>
                <a:gd name="T59" fmla="*/ 2102 h 2251"/>
                <a:gd name="T60" fmla="*/ 852 w 1788"/>
                <a:gd name="T61" fmla="*/ 2079 h 2251"/>
                <a:gd name="T62" fmla="*/ 948 w 1788"/>
                <a:gd name="T63" fmla="*/ 2215 h 2251"/>
                <a:gd name="T64" fmla="*/ 1041 w 1788"/>
                <a:gd name="T65" fmla="*/ 2244 h 2251"/>
                <a:gd name="T66" fmla="*/ 1055 w 1788"/>
                <a:gd name="T67" fmla="*/ 2145 h 2251"/>
                <a:gd name="T68" fmla="*/ 1287 w 1788"/>
                <a:gd name="T69" fmla="*/ 2014 h 2251"/>
                <a:gd name="T70" fmla="*/ 1391 w 1788"/>
                <a:gd name="T71" fmla="*/ 1933 h 2251"/>
                <a:gd name="T72" fmla="*/ 1388 w 1788"/>
                <a:gd name="T73" fmla="*/ 1815 h 2251"/>
                <a:gd name="T74" fmla="*/ 1522 w 1788"/>
                <a:gd name="T75" fmla="*/ 1685 h 2251"/>
                <a:gd name="T76" fmla="*/ 1401 w 1788"/>
                <a:gd name="T77" fmla="*/ 1416 h 2251"/>
                <a:gd name="T78" fmla="*/ 1432 w 1788"/>
                <a:gd name="T79" fmla="*/ 1231 h 2251"/>
                <a:gd name="T80" fmla="*/ 1346 w 1788"/>
                <a:gd name="T81" fmla="*/ 1102 h 2251"/>
                <a:gd name="T82" fmla="*/ 1243 w 1788"/>
                <a:gd name="T83" fmla="*/ 1015 h 2251"/>
                <a:gd name="T84" fmla="*/ 1232 w 1788"/>
                <a:gd name="T85" fmla="*/ 911 h 2251"/>
                <a:gd name="T86" fmla="*/ 1352 w 1788"/>
                <a:gd name="T87" fmla="*/ 790 h 2251"/>
                <a:gd name="T88" fmla="*/ 1437 w 1788"/>
                <a:gd name="T89" fmla="*/ 630 h 2251"/>
                <a:gd name="T90" fmla="*/ 1393 w 1788"/>
                <a:gd name="T91" fmla="*/ 531 h 2251"/>
                <a:gd name="T92" fmla="*/ 1366 w 1788"/>
                <a:gd name="T93" fmla="*/ 429 h 2251"/>
                <a:gd name="T94" fmla="*/ 1476 w 1788"/>
                <a:gd name="T95" fmla="*/ 328 h 2251"/>
                <a:gd name="T96" fmla="*/ 1536 w 1788"/>
                <a:gd name="T97" fmla="*/ 468 h 2251"/>
                <a:gd name="T98" fmla="*/ 1691 w 1788"/>
                <a:gd name="T99" fmla="*/ 545 h 2251"/>
                <a:gd name="T100" fmla="*/ 1705 w 1788"/>
                <a:gd name="T101" fmla="*/ 502 h 2251"/>
                <a:gd name="T102" fmla="*/ 1629 w 1788"/>
                <a:gd name="T103" fmla="*/ 446 h 2251"/>
                <a:gd name="T104" fmla="*/ 1751 w 1788"/>
                <a:gd name="T105" fmla="*/ 381 h 2251"/>
                <a:gd name="T106" fmla="*/ 1763 w 1788"/>
                <a:gd name="T107" fmla="*/ 278 h 2251"/>
                <a:gd name="T108" fmla="*/ 1617 w 1788"/>
                <a:gd name="T109" fmla="*/ 220 h 2251"/>
                <a:gd name="T110" fmla="*/ 1408 w 1788"/>
                <a:gd name="T111" fmla="*/ 157 h 2251"/>
                <a:gd name="T112" fmla="*/ 1226 w 1788"/>
                <a:gd name="T113" fmla="*/ 47 h 2251"/>
                <a:gd name="T114" fmla="*/ 1146 w 1788"/>
                <a:gd name="T115" fmla="*/ 133 h 2251"/>
                <a:gd name="T116" fmla="*/ 965 w 1788"/>
                <a:gd name="T117" fmla="*/ 104 h 2251"/>
                <a:gd name="T118" fmla="*/ 658 w 1788"/>
                <a:gd name="T119" fmla="*/ 104 h 2251"/>
                <a:gd name="T120" fmla="*/ 546 w 1788"/>
                <a:gd name="T121" fmla="*/ 106 h 2251"/>
                <a:gd name="T122" fmla="*/ 467 w 1788"/>
                <a:gd name="T123" fmla="*/ 14 h 2251"/>
                <a:gd name="T124" fmla="*/ 411 w 1788"/>
                <a:gd name="T125" fmla="*/ 18 h 2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88" h="2251">
                  <a:moveTo>
                    <a:pt x="406" y="16"/>
                  </a:moveTo>
                  <a:lnTo>
                    <a:pt x="402" y="20"/>
                  </a:lnTo>
                  <a:lnTo>
                    <a:pt x="400" y="26"/>
                  </a:lnTo>
                  <a:lnTo>
                    <a:pt x="399" y="33"/>
                  </a:lnTo>
                  <a:lnTo>
                    <a:pt x="399" y="42"/>
                  </a:lnTo>
                  <a:lnTo>
                    <a:pt x="401" y="60"/>
                  </a:lnTo>
                  <a:lnTo>
                    <a:pt x="403" y="80"/>
                  </a:lnTo>
                  <a:lnTo>
                    <a:pt x="407" y="101"/>
                  </a:lnTo>
                  <a:lnTo>
                    <a:pt x="410" y="122"/>
                  </a:lnTo>
                  <a:lnTo>
                    <a:pt x="410" y="131"/>
                  </a:lnTo>
                  <a:lnTo>
                    <a:pt x="411" y="141"/>
                  </a:lnTo>
                  <a:lnTo>
                    <a:pt x="410" y="149"/>
                  </a:lnTo>
                  <a:lnTo>
                    <a:pt x="409" y="156"/>
                  </a:lnTo>
                  <a:lnTo>
                    <a:pt x="406" y="166"/>
                  </a:lnTo>
                  <a:lnTo>
                    <a:pt x="401" y="176"/>
                  </a:lnTo>
                  <a:lnTo>
                    <a:pt x="395" y="188"/>
                  </a:lnTo>
                  <a:lnTo>
                    <a:pt x="387" y="198"/>
                  </a:lnTo>
                  <a:lnTo>
                    <a:pt x="383" y="203"/>
                  </a:lnTo>
                  <a:lnTo>
                    <a:pt x="378" y="207"/>
                  </a:lnTo>
                  <a:lnTo>
                    <a:pt x="373" y="211"/>
                  </a:lnTo>
                  <a:lnTo>
                    <a:pt x="369" y="214"/>
                  </a:lnTo>
                  <a:lnTo>
                    <a:pt x="364" y="215"/>
                  </a:lnTo>
                  <a:lnTo>
                    <a:pt x="359" y="215"/>
                  </a:lnTo>
                  <a:lnTo>
                    <a:pt x="353" y="214"/>
                  </a:lnTo>
                  <a:lnTo>
                    <a:pt x="348" y="212"/>
                  </a:lnTo>
                  <a:lnTo>
                    <a:pt x="343" y="206"/>
                  </a:lnTo>
                  <a:lnTo>
                    <a:pt x="339" y="200"/>
                  </a:lnTo>
                  <a:lnTo>
                    <a:pt x="336" y="193"/>
                  </a:lnTo>
                  <a:lnTo>
                    <a:pt x="335" y="186"/>
                  </a:lnTo>
                  <a:lnTo>
                    <a:pt x="335" y="177"/>
                  </a:lnTo>
                  <a:lnTo>
                    <a:pt x="335" y="168"/>
                  </a:lnTo>
                  <a:lnTo>
                    <a:pt x="337" y="159"/>
                  </a:lnTo>
                  <a:lnTo>
                    <a:pt x="338" y="150"/>
                  </a:lnTo>
                  <a:lnTo>
                    <a:pt x="343" y="130"/>
                  </a:lnTo>
                  <a:lnTo>
                    <a:pt x="346" y="111"/>
                  </a:lnTo>
                  <a:lnTo>
                    <a:pt x="348" y="102"/>
                  </a:lnTo>
                  <a:lnTo>
                    <a:pt x="348" y="93"/>
                  </a:lnTo>
                  <a:lnTo>
                    <a:pt x="348" y="84"/>
                  </a:lnTo>
                  <a:lnTo>
                    <a:pt x="347" y="76"/>
                  </a:lnTo>
                  <a:lnTo>
                    <a:pt x="344" y="65"/>
                  </a:lnTo>
                  <a:lnTo>
                    <a:pt x="342" y="55"/>
                  </a:lnTo>
                  <a:lnTo>
                    <a:pt x="339" y="47"/>
                  </a:lnTo>
                  <a:lnTo>
                    <a:pt x="336" y="42"/>
                  </a:lnTo>
                  <a:lnTo>
                    <a:pt x="334" y="41"/>
                  </a:lnTo>
                  <a:lnTo>
                    <a:pt x="332" y="40"/>
                  </a:lnTo>
                  <a:lnTo>
                    <a:pt x="328" y="40"/>
                  </a:lnTo>
                  <a:lnTo>
                    <a:pt x="325" y="40"/>
                  </a:lnTo>
                  <a:lnTo>
                    <a:pt x="317" y="43"/>
                  </a:lnTo>
                  <a:lnTo>
                    <a:pt x="307" y="50"/>
                  </a:lnTo>
                  <a:lnTo>
                    <a:pt x="300" y="53"/>
                  </a:lnTo>
                  <a:lnTo>
                    <a:pt x="290" y="55"/>
                  </a:lnTo>
                  <a:lnTo>
                    <a:pt x="277" y="56"/>
                  </a:lnTo>
                  <a:lnTo>
                    <a:pt x="265" y="57"/>
                  </a:lnTo>
                  <a:lnTo>
                    <a:pt x="252" y="59"/>
                  </a:lnTo>
                  <a:lnTo>
                    <a:pt x="242" y="61"/>
                  </a:lnTo>
                  <a:lnTo>
                    <a:pt x="238" y="62"/>
                  </a:lnTo>
                  <a:lnTo>
                    <a:pt x="235" y="65"/>
                  </a:lnTo>
                  <a:lnTo>
                    <a:pt x="232" y="67"/>
                  </a:lnTo>
                  <a:lnTo>
                    <a:pt x="231" y="69"/>
                  </a:lnTo>
                  <a:lnTo>
                    <a:pt x="229" y="72"/>
                  </a:lnTo>
                  <a:lnTo>
                    <a:pt x="226" y="76"/>
                  </a:lnTo>
                  <a:lnTo>
                    <a:pt x="224" y="80"/>
                  </a:lnTo>
                  <a:lnTo>
                    <a:pt x="222" y="85"/>
                  </a:lnTo>
                  <a:lnTo>
                    <a:pt x="219" y="99"/>
                  </a:lnTo>
                  <a:lnTo>
                    <a:pt x="215" y="113"/>
                  </a:lnTo>
                  <a:lnTo>
                    <a:pt x="213" y="120"/>
                  </a:lnTo>
                  <a:lnTo>
                    <a:pt x="210" y="126"/>
                  </a:lnTo>
                  <a:lnTo>
                    <a:pt x="206" y="132"/>
                  </a:lnTo>
                  <a:lnTo>
                    <a:pt x="203" y="138"/>
                  </a:lnTo>
                  <a:lnTo>
                    <a:pt x="199" y="143"/>
                  </a:lnTo>
                  <a:lnTo>
                    <a:pt x="194" y="146"/>
                  </a:lnTo>
                  <a:lnTo>
                    <a:pt x="189" y="149"/>
                  </a:lnTo>
                  <a:lnTo>
                    <a:pt x="182" y="150"/>
                  </a:lnTo>
                  <a:lnTo>
                    <a:pt x="177" y="150"/>
                  </a:lnTo>
                  <a:lnTo>
                    <a:pt x="172" y="148"/>
                  </a:lnTo>
                  <a:lnTo>
                    <a:pt x="168" y="146"/>
                  </a:lnTo>
                  <a:lnTo>
                    <a:pt x="165" y="142"/>
                  </a:lnTo>
                  <a:lnTo>
                    <a:pt x="158" y="132"/>
                  </a:lnTo>
                  <a:lnTo>
                    <a:pt x="154" y="122"/>
                  </a:lnTo>
                  <a:lnTo>
                    <a:pt x="149" y="111"/>
                  </a:lnTo>
                  <a:lnTo>
                    <a:pt x="144" y="101"/>
                  </a:lnTo>
                  <a:lnTo>
                    <a:pt x="141" y="98"/>
                  </a:lnTo>
                  <a:lnTo>
                    <a:pt x="138" y="95"/>
                  </a:lnTo>
                  <a:lnTo>
                    <a:pt x="133" y="93"/>
                  </a:lnTo>
                  <a:lnTo>
                    <a:pt x="129" y="92"/>
                  </a:lnTo>
                  <a:lnTo>
                    <a:pt x="119" y="103"/>
                  </a:lnTo>
                  <a:lnTo>
                    <a:pt x="108" y="115"/>
                  </a:lnTo>
                  <a:lnTo>
                    <a:pt x="99" y="127"/>
                  </a:lnTo>
                  <a:lnTo>
                    <a:pt x="92" y="140"/>
                  </a:lnTo>
                  <a:lnTo>
                    <a:pt x="89" y="147"/>
                  </a:lnTo>
                  <a:lnTo>
                    <a:pt x="85" y="153"/>
                  </a:lnTo>
                  <a:lnTo>
                    <a:pt x="83" y="161"/>
                  </a:lnTo>
                  <a:lnTo>
                    <a:pt x="82" y="168"/>
                  </a:lnTo>
                  <a:lnTo>
                    <a:pt x="81" y="175"/>
                  </a:lnTo>
                  <a:lnTo>
                    <a:pt x="80" y="182"/>
                  </a:lnTo>
                  <a:lnTo>
                    <a:pt x="81" y="191"/>
                  </a:lnTo>
                  <a:lnTo>
                    <a:pt x="82" y="198"/>
                  </a:lnTo>
                  <a:lnTo>
                    <a:pt x="88" y="229"/>
                  </a:lnTo>
                  <a:lnTo>
                    <a:pt x="95" y="276"/>
                  </a:lnTo>
                  <a:lnTo>
                    <a:pt x="96" y="288"/>
                  </a:lnTo>
                  <a:lnTo>
                    <a:pt x="97" y="299"/>
                  </a:lnTo>
                  <a:lnTo>
                    <a:pt x="97" y="311"/>
                  </a:lnTo>
                  <a:lnTo>
                    <a:pt x="96" y="321"/>
                  </a:lnTo>
                  <a:lnTo>
                    <a:pt x="95" y="330"/>
                  </a:lnTo>
                  <a:lnTo>
                    <a:pt x="93" y="338"/>
                  </a:lnTo>
                  <a:lnTo>
                    <a:pt x="89" y="344"/>
                  </a:lnTo>
                  <a:lnTo>
                    <a:pt x="84" y="347"/>
                  </a:lnTo>
                  <a:lnTo>
                    <a:pt x="82" y="348"/>
                  </a:lnTo>
                  <a:lnTo>
                    <a:pt x="79" y="348"/>
                  </a:lnTo>
                  <a:lnTo>
                    <a:pt x="75" y="346"/>
                  </a:lnTo>
                  <a:lnTo>
                    <a:pt x="71" y="344"/>
                  </a:lnTo>
                  <a:lnTo>
                    <a:pt x="62" y="338"/>
                  </a:lnTo>
                  <a:lnTo>
                    <a:pt x="51" y="331"/>
                  </a:lnTo>
                  <a:lnTo>
                    <a:pt x="40" y="322"/>
                  </a:lnTo>
                  <a:lnTo>
                    <a:pt x="28" y="315"/>
                  </a:lnTo>
                  <a:lnTo>
                    <a:pt x="23" y="312"/>
                  </a:lnTo>
                  <a:lnTo>
                    <a:pt x="18" y="310"/>
                  </a:lnTo>
                  <a:lnTo>
                    <a:pt x="13" y="308"/>
                  </a:lnTo>
                  <a:lnTo>
                    <a:pt x="8" y="308"/>
                  </a:lnTo>
                  <a:lnTo>
                    <a:pt x="5" y="309"/>
                  </a:lnTo>
                  <a:lnTo>
                    <a:pt x="3" y="310"/>
                  </a:lnTo>
                  <a:lnTo>
                    <a:pt x="1" y="313"/>
                  </a:lnTo>
                  <a:lnTo>
                    <a:pt x="0" y="317"/>
                  </a:lnTo>
                  <a:lnTo>
                    <a:pt x="0" y="327"/>
                  </a:lnTo>
                  <a:lnTo>
                    <a:pt x="2" y="339"/>
                  </a:lnTo>
                  <a:lnTo>
                    <a:pt x="5" y="350"/>
                  </a:lnTo>
                  <a:lnTo>
                    <a:pt x="8" y="361"/>
                  </a:lnTo>
                  <a:lnTo>
                    <a:pt x="13" y="370"/>
                  </a:lnTo>
                  <a:lnTo>
                    <a:pt x="16" y="374"/>
                  </a:lnTo>
                  <a:lnTo>
                    <a:pt x="18" y="380"/>
                  </a:lnTo>
                  <a:lnTo>
                    <a:pt x="20" y="385"/>
                  </a:lnTo>
                  <a:lnTo>
                    <a:pt x="23" y="390"/>
                  </a:lnTo>
                  <a:lnTo>
                    <a:pt x="27" y="395"/>
                  </a:lnTo>
                  <a:lnTo>
                    <a:pt x="30" y="402"/>
                  </a:lnTo>
                  <a:lnTo>
                    <a:pt x="33" y="409"/>
                  </a:lnTo>
                  <a:lnTo>
                    <a:pt x="35" y="416"/>
                  </a:lnTo>
                  <a:lnTo>
                    <a:pt x="36" y="426"/>
                  </a:lnTo>
                  <a:lnTo>
                    <a:pt x="36" y="426"/>
                  </a:lnTo>
                  <a:lnTo>
                    <a:pt x="47" y="426"/>
                  </a:lnTo>
                  <a:lnTo>
                    <a:pt x="57" y="426"/>
                  </a:lnTo>
                  <a:lnTo>
                    <a:pt x="68" y="428"/>
                  </a:lnTo>
                  <a:lnTo>
                    <a:pt x="77" y="430"/>
                  </a:lnTo>
                  <a:lnTo>
                    <a:pt x="87" y="433"/>
                  </a:lnTo>
                  <a:lnTo>
                    <a:pt x="96" y="437"/>
                  </a:lnTo>
                  <a:lnTo>
                    <a:pt x="104" y="441"/>
                  </a:lnTo>
                  <a:lnTo>
                    <a:pt x="113" y="446"/>
                  </a:lnTo>
                  <a:lnTo>
                    <a:pt x="120" y="453"/>
                  </a:lnTo>
                  <a:lnTo>
                    <a:pt x="126" y="459"/>
                  </a:lnTo>
                  <a:lnTo>
                    <a:pt x="132" y="466"/>
                  </a:lnTo>
                  <a:lnTo>
                    <a:pt x="139" y="473"/>
                  </a:lnTo>
                  <a:lnTo>
                    <a:pt x="143" y="482"/>
                  </a:lnTo>
                  <a:lnTo>
                    <a:pt x="147" y="491"/>
                  </a:lnTo>
                  <a:lnTo>
                    <a:pt x="151" y="501"/>
                  </a:lnTo>
                  <a:lnTo>
                    <a:pt x="153" y="511"/>
                  </a:lnTo>
                  <a:lnTo>
                    <a:pt x="156" y="520"/>
                  </a:lnTo>
                  <a:lnTo>
                    <a:pt x="160" y="528"/>
                  </a:lnTo>
                  <a:lnTo>
                    <a:pt x="163" y="534"/>
                  </a:lnTo>
                  <a:lnTo>
                    <a:pt x="167" y="540"/>
                  </a:lnTo>
                  <a:lnTo>
                    <a:pt x="172" y="544"/>
                  </a:lnTo>
                  <a:lnTo>
                    <a:pt x="176" y="548"/>
                  </a:lnTo>
                  <a:lnTo>
                    <a:pt x="182" y="550"/>
                  </a:lnTo>
                  <a:lnTo>
                    <a:pt x="188" y="551"/>
                  </a:lnTo>
                  <a:lnTo>
                    <a:pt x="194" y="552"/>
                  </a:lnTo>
                  <a:lnTo>
                    <a:pt x="200" y="551"/>
                  </a:lnTo>
                  <a:lnTo>
                    <a:pt x="207" y="550"/>
                  </a:lnTo>
                  <a:lnTo>
                    <a:pt x="214" y="548"/>
                  </a:lnTo>
                  <a:lnTo>
                    <a:pt x="228" y="541"/>
                  </a:lnTo>
                  <a:lnTo>
                    <a:pt x="243" y="532"/>
                  </a:lnTo>
                  <a:lnTo>
                    <a:pt x="263" y="515"/>
                  </a:lnTo>
                  <a:lnTo>
                    <a:pt x="276" y="501"/>
                  </a:lnTo>
                  <a:lnTo>
                    <a:pt x="279" y="499"/>
                  </a:lnTo>
                  <a:lnTo>
                    <a:pt x="284" y="496"/>
                  </a:lnTo>
                  <a:lnTo>
                    <a:pt x="288" y="495"/>
                  </a:lnTo>
                  <a:lnTo>
                    <a:pt x="293" y="494"/>
                  </a:lnTo>
                  <a:lnTo>
                    <a:pt x="298" y="494"/>
                  </a:lnTo>
                  <a:lnTo>
                    <a:pt x="305" y="494"/>
                  </a:lnTo>
                  <a:lnTo>
                    <a:pt x="313" y="495"/>
                  </a:lnTo>
                  <a:lnTo>
                    <a:pt x="321" y="497"/>
                  </a:lnTo>
                  <a:lnTo>
                    <a:pt x="327" y="500"/>
                  </a:lnTo>
                  <a:lnTo>
                    <a:pt x="333" y="500"/>
                  </a:lnTo>
                  <a:lnTo>
                    <a:pt x="338" y="500"/>
                  </a:lnTo>
                  <a:lnTo>
                    <a:pt x="342" y="499"/>
                  </a:lnTo>
                  <a:lnTo>
                    <a:pt x="351" y="495"/>
                  </a:lnTo>
                  <a:lnTo>
                    <a:pt x="360" y="490"/>
                  </a:lnTo>
                  <a:lnTo>
                    <a:pt x="375" y="479"/>
                  </a:lnTo>
                  <a:lnTo>
                    <a:pt x="393" y="468"/>
                  </a:lnTo>
                  <a:lnTo>
                    <a:pt x="408" y="463"/>
                  </a:lnTo>
                  <a:lnTo>
                    <a:pt x="421" y="460"/>
                  </a:lnTo>
                  <a:lnTo>
                    <a:pt x="435" y="459"/>
                  </a:lnTo>
                  <a:lnTo>
                    <a:pt x="448" y="457"/>
                  </a:lnTo>
                  <a:lnTo>
                    <a:pt x="461" y="455"/>
                  </a:lnTo>
                  <a:lnTo>
                    <a:pt x="474" y="451"/>
                  </a:lnTo>
                  <a:lnTo>
                    <a:pt x="481" y="447"/>
                  </a:lnTo>
                  <a:lnTo>
                    <a:pt x="487" y="444"/>
                  </a:lnTo>
                  <a:lnTo>
                    <a:pt x="494" y="439"/>
                  </a:lnTo>
                  <a:lnTo>
                    <a:pt x="500" y="434"/>
                  </a:lnTo>
                  <a:lnTo>
                    <a:pt x="508" y="429"/>
                  </a:lnTo>
                  <a:lnTo>
                    <a:pt x="518" y="421"/>
                  </a:lnTo>
                  <a:lnTo>
                    <a:pt x="532" y="413"/>
                  </a:lnTo>
                  <a:lnTo>
                    <a:pt x="546" y="406"/>
                  </a:lnTo>
                  <a:lnTo>
                    <a:pt x="561" y="399"/>
                  </a:lnTo>
                  <a:lnTo>
                    <a:pt x="574" y="395"/>
                  </a:lnTo>
                  <a:lnTo>
                    <a:pt x="581" y="394"/>
                  </a:lnTo>
                  <a:lnTo>
                    <a:pt x="586" y="394"/>
                  </a:lnTo>
                  <a:lnTo>
                    <a:pt x="591" y="395"/>
                  </a:lnTo>
                  <a:lnTo>
                    <a:pt x="594" y="398"/>
                  </a:lnTo>
                  <a:lnTo>
                    <a:pt x="594" y="419"/>
                  </a:lnTo>
                  <a:lnTo>
                    <a:pt x="594" y="439"/>
                  </a:lnTo>
                  <a:lnTo>
                    <a:pt x="593" y="460"/>
                  </a:lnTo>
                  <a:lnTo>
                    <a:pt x="591" y="483"/>
                  </a:lnTo>
                  <a:lnTo>
                    <a:pt x="588" y="502"/>
                  </a:lnTo>
                  <a:lnTo>
                    <a:pt x="587" y="515"/>
                  </a:lnTo>
                  <a:lnTo>
                    <a:pt x="587" y="521"/>
                  </a:lnTo>
                  <a:lnTo>
                    <a:pt x="588" y="526"/>
                  </a:lnTo>
                  <a:lnTo>
                    <a:pt x="590" y="530"/>
                  </a:lnTo>
                  <a:lnTo>
                    <a:pt x="592" y="533"/>
                  </a:lnTo>
                  <a:lnTo>
                    <a:pt x="595" y="535"/>
                  </a:lnTo>
                  <a:lnTo>
                    <a:pt x="600" y="537"/>
                  </a:lnTo>
                  <a:lnTo>
                    <a:pt x="605" y="539"/>
                  </a:lnTo>
                  <a:lnTo>
                    <a:pt x="611" y="539"/>
                  </a:lnTo>
                  <a:lnTo>
                    <a:pt x="626" y="540"/>
                  </a:lnTo>
                  <a:lnTo>
                    <a:pt x="646" y="541"/>
                  </a:lnTo>
                  <a:lnTo>
                    <a:pt x="659" y="540"/>
                  </a:lnTo>
                  <a:lnTo>
                    <a:pt x="678" y="539"/>
                  </a:lnTo>
                  <a:lnTo>
                    <a:pt x="686" y="539"/>
                  </a:lnTo>
                  <a:lnTo>
                    <a:pt x="694" y="540"/>
                  </a:lnTo>
                  <a:lnTo>
                    <a:pt x="698" y="540"/>
                  </a:lnTo>
                  <a:lnTo>
                    <a:pt x="700" y="541"/>
                  </a:lnTo>
                  <a:lnTo>
                    <a:pt x="701" y="543"/>
                  </a:lnTo>
                  <a:lnTo>
                    <a:pt x="702" y="545"/>
                  </a:lnTo>
                  <a:lnTo>
                    <a:pt x="705" y="548"/>
                  </a:lnTo>
                  <a:lnTo>
                    <a:pt x="708" y="550"/>
                  </a:lnTo>
                  <a:lnTo>
                    <a:pt x="709" y="554"/>
                  </a:lnTo>
                  <a:lnTo>
                    <a:pt x="710" y="557"/>
                  </a:lnTo>
                  <a:lnTo>
                    <a:pt x="710" y="561"/>
                  </a:lnTo>
                  <a:lnTo>
                    <a:pt x="710" y="566"/>
                  </a:lnTo>
                  <a:lnTo>
                    <a:pt x="708" y="571"/>
                  </a:lnTo>
                  <a:lnTo>
                    <a:pt x="707" y="576"/>
                  </a:lnTo>
                  <a:lnTo>
                    <a:pt x="702" y="587"/>
                  </a:lnTo>
                  <a:lnTo>
                    <a:pt x="694" y="600"/>
                  </a:lnTo>
                  <a:lnTo>
                    <a:pt x="686" y="612"/>
                  </a:lnTo>
                  <a:lnTo>
                    <a:pt x="677" y="626"/>
                  </a:lnTo>
                  <a:lnTo>
                    <a:pt x="657" y="652"/>
                  </a:lnTo>
                  <a:lnTo>
                    <a:pt x="638" y="675"/>
                  </a:lnTo>
                  <a:lnTo>
                    <a:pt x="625" y="694"/>
                  </a:lnTo>
                  <a:lnTo>
                    <a:pt x="617" y="705"/>
                  </a:lnTo>
                  <a:lnTo>
                    <a:pt x="614" y="717"/>
                  </a:lnTo>
                  <a:lnTo>
                    <a:pt x="612" y="729"/>
                  </a:lnTo>
                  <a:lnTo>
                    <a:pt x="611" y="742"/>
                  </a:lnTo>
                  <a:lnTo>
                    <a:pt x="610" y="754"/>
                  </a:lnTo>
                  <a:lnTo>
                    <a:pt x="609" y="767"/>
                  </a:lnTo>
                  <a:lnTo>
                    <a:pt x="608" y="779"/>
                  </a:lnTo>
                  <a:lnTo>
                    <a:pt x="606" y="792"/>
                  </a:lnTo>
                  <a:lnTo>
                    <a:pt x="603" y="804"/>
                  </a:lnTo>
                  <a:lnTo>
                    <a:pt x="601" y="810"/>
                  </a:lnTo>
                  <a:lnTo>
                    <a:pt x="597" y="816"/>
                  </a:lnTo>
                  <a:lnTo>
                    <a:pt x="594" y="820"/>
                  </a:lnTo>
                  <a:lnTo>
                    <a:pt x="590" y="824"/>
                  </a:lnTo>
                  <a:lnTo>
                    <a:pt x="585" y="827"/>
                  </a:lnTo>
                  <a:lnTo>
                    <a:pt x="581" y="830"/>
                  </a:lnTo>
                  <a:lnTo>
                    <a:pt x="576" y="832"/>
                  </a:lnTo>
                  <a:lnTo>
                    <a:pt x="569" y="834"/>
                  </a:lnTo>
                  <a:lnTo>
                    <a:pt x="546" y="840"/>
                  </a:lnTo>
                  <a:lnTo>
                    <a:pt x="523" y="843"/>
                  </a:lnTo>
                  <a:lnTo>
                    <a:pt x="522" y="851"/>
                  </a:lnTo>
                  <a:lnTo>
                    <a:pt x="521" y="859"/>
                  </a:lnTo>
                  <a:lnTo>
                    <a:pt x="520" y="869"/>
                  </a:lnTo>
                  <a:lnTo>
                    <a:pt x="520" y="879"/>
                  </a:lnTo>
                  <a:lnTo>
                    <a:pt x="521" y="900"/>
                  </a:lnTo>
                  <a:lnTo>
                    <a:pt x="523" y="922"/>
                  </a:lnTo>
                  <a:lnTo>
                    <a:pt x="527" y="945"/>
                  </a:lnTo>
                  <a:lnTo>
                    <a:pt x="529" y="967"/>
                  </a:lnTo>
                  <a:lnTo>
                    <a:pt x="531" y="987"/>
                  </a:lnTo>
                  <a:lnTo>
                    <a:pt x="532" y="1006"/>
                  </a:lnTo>
                  <a:lnTo>
                    <a:pt x="533" y="1042"/>
                  </a:lnTo>
                  <a:lnTo>
                    <a:pt x="534" y="1082"/>
                  </a:lnTo>
                  <a:lnTo>
                    <a:pt x="535" y="1102"/>
                  </a:lnTo>
                  <a:lnTo>
                    <a:pt x="534" y="1120"/>
                  </a:lnTo>
                  <a:lnTo>
                    <a:pt x="533" y="1139"/>
                  </a:lnTo>
                  <a:lnTo>
                    <a:pt x="531" y="1156"/>
                  </a:lnTo>
                  <a:lnTo>
                    <a:pt x="527" y="1158"/>
                  </a:lnTo>
                  <a:lnTo>
                    <a:pt x="522" y="1159"/>
                  </a:lnTo>
                  <a:lnTo>
                    <a:pt x="518" y="1159"/>
                  </a:lnTo>
                  <a:lnTo>
                    <a:pt x="513" y="1160"/>
                  </a:lnTo>
                  <a:lnTo>
                    <a:pt x="504" y="1160"/>
                  </a:lnTo>
                  <a:lnTo>
                    <a:pt x="494" y="1159"/>
                  </a:lnTo>
                  <a:lnTo>
                    <a:pt x="478" y="1159"/>
                  </a:lnTo>
                  <a:lnTo>
                    <a:pt x="456" y="1159"/>
                  </a:lnTo>
                  <a:lnTo>
                    <a:pt x="444" y="1160"/>
                  </a:lnTo>
                  <a:lnTo>
                    <a:pt x="434" y="1161"/>
                  </a:lnTo>
                  <a:lnTo>
                    <a:pt x="425" y="1162"/>
                  </a:lnTo>
                  <a:lnTo>
                    <a:pt x="421" y="1165"/>
                  </a:lnTo>
                  <a:lnTo>
                    <a:pt x="419" y="1168"/>
                  </a:lnTo>
                  <a:lnTo>
                    <a:pt x="418" y="1172"/>
                  </a:lnTo>
                  <a:lnTo>
                    <a:pt x="417" y="1179"/>
                  </a:lnTo>
                  <a:lnTo>
                    <a:pt x="416" y="1187"/>
                  </a:lnTo>
                  <a:lnTo>
                    <a:pt x="415" y="1207"/>
                  </a:lnTo>
                  <a:lnTo>
                    <a:pt x="414" y="1229"/>
                  </a:lnTo>
                  <a:lnTo>
                    <a:pt x="413" y="1252"/>
                  </a:lnTo>
                  <a:lnTo>
                    <a:pt x="411" y="1274"/>
                  </a:lnTo>
                  <a:lnTo>
                    <a:pt x="410" y="1283"/>
                  </a:lnTo>
                  <a:lnTo>
                    <a:pt x="408" y="1291"/>
                  </a:lnTo>
                  <a:lnTo>
                    <a:pt x="407" y="1300"/>
                  </a:lnTo>
                  <a:lnTo>
                    <a:pt x="405" y="1305"/>
                  </a:lnTo>
                  <a:lnTo>
                    <a:pt x="397" y="1316"/>
                  </a:lnTo>
                  <a:lnTo>
                    <a:pt x="388" y="1330"/>
                  </a:lnTo>
                  <a:lnTo>
                    <a:pt x="375" y="1343"/>
                  </a:lnTo>
                  <a:lnTo>
                    <a:pt x="361" y="1356"/>
                  </a:lnTo>
                  <a:lnTo>
                    <a:pt x="346" y="1368"/>
                  </a:lnTo>
                  <a:lnTo>
                    <a:pt x="331" y="1377"/>
                  </a:lnTo>
                  <a:lnTo>
                    <a:pt x="323" y="1381"/>
                  </a:lnTo>
                  <a:lnTo>
                    <a:pt x="316" y="1384"/>
                  </a:lnTo>
                  <a:lnTo>
                    <a:pt x="310" y="1386"/>
                  </a:lnTo>
                  <a:lnTo>
                    <a:pt x="303" y="1387"/>
                  </a:lnTo>
                  <a:lnTo>
                    <a:pt x="298" y="1397"/>
                  </a:lnTo>
                  <a:lnTo>
                    <a:pt x="294" y="1407"/>
                  </a:lnTo>
                  <a:lnTo>
                    <a:pt x="291" y="1419"/>
                  </a:lnTo>
                  <a:lnTo>
                    <a:pt x="290" y="1430"/>
                  </a:lnTo>
                  <a:lnTo>
                    <a:pt x="290" y="1443"/>
                  </a:lnTo>
                  <a:lnTo>
                    <a:pt x="291" y="1455"/>
                  </a:lnTo>
                  <a:lnTo>
                    <a:pt x="292" y="1468"/>
                  </a:lnTo>
                  <a:lnTo>
                    <a:pt x="294" y="1481"/>
                  </a:lnTo>
                  <a:lnTo>
                    <a:pt x="298" y="1507"/>
                  </a:lnTo>
                  <a:lnTo>
                    <a:pt x="300" y="1533"/>
                  </a:lnTo>
                  <a:lnTo>
                    <a:pt x="301" y="1546"/>
                  </a:lnTo>
                  <a:lnTo>
                    <a:pt x="300" y="1558"/>
                  </a:lnTo>
                  <a:lnTo>
                    <a:pt x="298" y="1571"/>
                  </a:lnTo>
                  <a:lnTo>
                    <a:pt x="295" y="1582"/>
                  </a:lnTo>
                  <a:lnTo>
                    <a:pt x="287" y="1605"/>
                  </a:lnTo>
                  <a:lnTo>
                    <a:pt x="279" y="1629"/>
                  </a:lnTo>
                  <a:lnTo>
                    <a:pt x="278" y="1641"/>
                  </a:lnTo>
                  <a:lnTo>
                    <a:pt x="278" y="1652"/>
                  </a:lnTo>
                  <a:lnTo>
                    <a:pt x="279" y="1659"/>
                  </a:lnTo>
                  <a:lnTo>
                    <a:pt x="280" y="1664"/>
                  </a:lnTo>
                  <a:lnTo>
                    <a:pt x="283" y="1670"/>
                  </a:lnTo>
                  <a:lnTo>
                    <a:pt x="286" y="1675"/>
                  </a:lnTo>
                  <a:lnTo>
                    <a:pt x="291" y="1687"/>
                  </a:lnTo>
                  <a:lnTo>
                    <a:pt x="293" y="1698"/>
                  </a:lnTo>
                  <a:lnTo>
                    <a:pt x="295" y="1709"/>
                  </a:lnTo>
                  <a:lnTo>
                    <a:pt x="295" y="1720"/>
                  </a:lnTo>
                  <a:lnTo>
                    <a:pt x="296" y="1732"/>
                  </a:lnTo>
                  <a:lnTo>
                    <a:pt x="297" y="1743"/>
                  </a:lnTo>
                  <a:lnTo>
                    <a:pt x="300" y="1754"/>
                  </a:lnTo>
                  <a:lnTo>
                    <a:pt x="304" y="1766"/>
                  </a:lnTo>
                  <a:lnTo>
                    <a:pt x="314" y="1777"/>
                  </a:lnTo>
                  <a:lnTo>
                    <a:pt x="320" y="1786"/>
                  </a:lnTo>
                  <a:lnTo>
                    <a:pt x="324" y="1794"/>
                  </a:lnTo>
                  <a:lnTo>
                    <a:pt x="325" y="1802"/>
                  </a:lnTo>
                  <a:lnTo>
                    <a:pt x="325" y="1810"/>
                  </a:lnTo>
                  <a:lnTo>
                    <a:pt x="324" y="1818"/>
                  </a:lnTo>
                  <a:lnTo>
                    <a:pt x="321" y="1829"/>
                  </a:lnTo>
                  <a:lnTo>
                    <a:pt x="318" y="1840"/>
                  </a:lnTo>
                  <a:lnTo>
                    <a:pt x="315" y="1853"/>
                  </a:lnTo>
                  <a:lnTo>
                    <a:pt x="315" y="1866"/>
                  </a:lnTo>
                  <a:lnTo>
                    <a:pt x="315" y="1866"/>
                  </a:lnTo>
                  <a:lnTo>
                    <a:pt x="326" y="1894"/>
                  </a:lnTo>
                  <a:lnTo>
                    <a:pt x="339" y="1924"/>
                  </a:lnTo>
                  <a:lnTo>
                    <a:pt x="345" y="1938"/>
                  </a:lnTo>
                  <a:lnTo>
                    <a:pt x="351" y="1953"/>
                  </a:lnTo>
                  <a:lnTo>
                    <a:pt x="356" y="1967"/>
                  </a:lnTo>
                  <a:lnTo>
                    <a:pt x="360" y="1982"/>
                  </a:lnTo>
                  <a:lnTo>
                    <a:pt x="362" y="1987"/>
                  </a:lnTo>
                  <a:lnTo>
                    <a:pt x="364" y="1992"/>
                  </a:lnTo>
                  <a:lnTo>
                    <a:pt x="366" y="1997"/>
                  </a:lnTo>
                  <a:lnTo>
                    <a:pt x="369" y="2000"/>
                  </a:lnTo>
                  <a:lnTo>
                    <a:pt x="372" y="2004"/>
                  </a:lnTo>
                  <a:lnTo>
                    <a:pt x="375" y="2006"/>
                  </a:lnTo>
                  <a:lnTo>
                    <a:pt x="378" y="2008"/>
                  </a:lnTo>
                  <a:lnTo>
                    <a:pt x="383" y="2010"/>
                  </a:lnTo>
                  <a:lnTo>
                    <a:pt x="391" y="2012"/>
                  </a:lnTo>
                  <a:lnTo>
                    <a:pt x="400" y="2012"/>
                  </a:lnTo>
                  <a:lnTo>
                    <a:pt x="410" y="2011"/>
                  </a:lnTo>
                  <a:lnTo>
                    <a:pt x="419" y="2008"/>
                  </a:lnTo>
                  <a:lnTo>
                    <a:pt x="430" y="2005"/>
                  </a:lnTo>
                  <a:lnTo>
                    <a:pt x="438" y="2000"/>
                  </a:lnTo>
                  <a:lnTo>
                    <a:pt x="447" y="1995"/>
                  </a:lnTo>
                  <a:lnTo>
                    <a:pt x="455" y="1988"/>
                  </a:lnTo>
                  <a:lnTo>
                    <a:pt x="462" y="1981"/>
                  </a:lnTo>
                  <a:lnTo>
                    <a:pt x="467" y="1975"/>
                  </a:lnTo>
                  <a:lnTo>
                    <a:pt x="471" y="1967"/>
                  </a:lnTo>
                  <a:lnTo>
                    <a:pt x="473" y="1959"/>
                  </a:lnTo>
                  <a:lnTo>
                    <a:pt x="478" y="1940"/>
                  </a:lnTo>
                  <a:lnTo>
                    <a:pt x="483" y="1922"/>
                  </a:lnTo>
                  <a:lnTo>
                    <a:pt x="488" y="1903"/>
                  </a:lnTo>
                  <a:lnTo>
                    <a:pt x="494" y="1883"/>
                  </a:lnTo>
                  <a:lnTo>
                    <a:pt x="500" y="1864"/>
                  </a:lnTo>
                  <a:lnTo>
                    <a:pt x="507" y="1845"/>
                  </a:lnTo>
                  <a:lnTo>
                    <a:pt x="511" y="1827"/>
                  </a:lnTo>
                  <a:lnTo>
                    <a:pt x="514" y="1809"/>
                  </a:lnTo>
                  <a:lnTo>
                    <a:pt x="517" y="1808"/>
                  </a:lnTo>
                  <a:lnTo>
                    <a:pt x="520" y="1807"/>
                  </a:lnTo>
                  <a:lnTo>
                    <a:pt x="536" y="1822"/>
                  </a:lnTo>
                  <a:lnTo>
                    <a:pt x="549" y="1836"/>
                  </a:lnTo>
                  <a:lnTo>
                    <a:pt x="562" y="1850"/>
                  </a:lnTo>
                  <a:lnTo>
                    <a:pt x="572" y="1864"/>
                  </a:lnTo>
                  <a:lnTo>
                    <a:pt x="583" y="1879"/>
                  </a:lnTo>
                  <a:lnTo>
                    <a:pt x="591" y="1895"/>
                  </a:lnTo>
                  <a:lnTo>
                    <a:pt x="594" y="1905"/>
                  </a:lnTo>
                  <a:lnTo>
                    <a:pt x="597" y="1914"/>
                  </a:lnTo>
                  <a:lnTo>
                    <a:pt x="601" y="1925"/>
                  </a:lnTo>
                  <a:lnTo>
                    <a:pt x="603" y="1936"/>
                  </a:lnTo>
                  <a:lnTo>
                    <a:pt x="607" y="1954"/>
                  </a:lnTo>
                  <a:lnTo>
                    <a:pt x="614" y="1982"/>
                  </a:lnTo>
                  <a:lnTo>
                    <a:pt x="618" y="1999"/>
                  </a:lnTo>
                  <a:lnTo>
                    <a:pt x="623" y="2016"/>
                  </a:lnTo>
                  <a:lnTo>
                    <a:pt x="630" y="2034"/>
                  </a:lnTo>
                  <a:lnTo>
                    <a:pt x="636" y="2051"/>
                  </a:lnTo>
                  <a:lnTo>
                    <a:pt x="643" y="2068"/>
                  </a:lnTo>
                  <a:lnTo>
                    <a:pt x="651" y="2082"/>
                  </a:lnTo>
                  <a:lnTo>
                    <a:pt x="659" y="2095"/>
                  </a:lnTo>
                  <a:lnTo>
                    <a:pt x="667" y="2105"/>
                  </a:lnTo>
                  <a:lnTo>
                    <a:pt x="671" y="2109"/>
                  </a:lnTo>
                  <a:lnTo>
                    <a:pt x="677" y="2112"/>
                  </a:lnTo>
                  <a:lnTo>
                    <a:pt x="681" y="2115"/>
                  </a:lnTo>
                  <a:lnTo>
                    <a:pt x="686" y="2116"/>
                  </a:lnTo>
                  <a:lnTo>
                    <a:pt x="691" y="2116"/>
                  </a:lnTo>
                  <a:lnTo>
                    <a:pt x="695" y="2115"/>
                  </a:lnTo>
                  <a:lnTo>
                    <a:pt x="701" y="2111"/>
                  </a:lnTo>
                  <a:lnTo>
                    <a:pt x="706" y="2108"/>
                  </a:lnTo>
                  <a:lnTo>
                    <a:pt x="714" y="2102"/>
                  </a:lnTo>
                  <a:lnTo>
                    <a:pt x="726" y="2094"/>
                  </a:lnTo>
                  <a:lnTo>
                    <a:pt x="737" y="2086"/>
                  </a:lnTo>
                  <a:lnTo>
                    <a:pt x="751" y="2079"/>
                  </a:lnTo>
                  <a:lnTo>
                    <a:pt x="763" y="2072"/>
                  </a:lnTo>
                  <a:lnTo>
                    <a:pt x="777" y="2067"/>
                  </a:lnTo>
                  <a:lnTo>
                    <a:pt x="788" y="2062"/>
                  </a:lnTo>
                  <a:lnTo>
                    <a:pt x="799" y="2061"/>
                  </a:lnTo>
                  <a:lnTo>
                    <a:pt x="808" y="2062"/>
                  </a:lnTo>
                  <a:lnTo>
                    <a:pt x="817" y="2063"/>
                  </a:lnTo>
                  <a:lnTo>
                    <a:pt x="826" y="2065"/>
                  </a:lnTo>
                  <a:lnTo>
                    <a:pt x="833" y="2068"/>
                  </a:lnTo>
                  <a:lnTo>
                    <a:pt x="839" y="2071"/>
                  </a:lnTo>
                  <a:lnTo>
                    <a:pt x="847" y="2075"/>
                  </a:lnTo>
                  <a:lnTo>
                    <a:pt x="852" y="2079"/>
                  </a:lnTo>
                  <a:lnTo>
                    <a:pt x="858" y="2084"/>
                  </a:lnTo>
                  <a:lnTo>
                    <a:pt x="880" y="2105"/>
                  </a:lnTo>
                  <a:lnTo>
                    <a:pt x="905" y="2126"/>
                  </a:lnTo>
                  <a:lnTo>
                    <a:pt x="910" y="2129"/>
                  </a:lnTo>
                  <a:lnTo>
                    <a:pt x="915" y="2133"/>
                  </a:lnTo>
                  <a:lnTo>
                    <a:pt x="920" y="2137"/>
                  </a:lnTo>
                  <a:lnTo>
                    <a:pt x="924" y="2142"/>
                  </a:lnTo>
                  <a:lnTo>
                    <a:pt x="932" y="2151"/>
                  </a:lnTo>
                  <a:lnTo>
                    <a:pt x="940" y="2160"/>
                  </a:lnTo>
                  <a:lnTo>
                    <a:pt x="944" y="2170"/>
                  </a:lnTo>
                  <a:lnTo>
                    <a:pt x="945" y="2178"/>
                  </a:lnTo>
                  <a:lnTo>
                    <a:pt x="946" y="2188"/>
                  </a:lnTo>
                  <a:lnTo>
                    <a:pt x="947" y="2196"/>
                  </a:lnTo>
                  <a:lnTo>
                    <a:pt x="948" y="2215"/>
                  </a:lnTo>
                  <a:lnTo>
                    <a:pt x="950" y="2232"/>
                  </a:lnTo>
                  <a:lnTo>
                    <a:pt x="950" y="2232"/>
                  </a:lnTo>
                  <a:lnTo>
                    <a:pt x="958" y="2233"/>
                  </a:lnTo>
                  <a:lnTo>
                    <a:pt x="967" y="2237"/>
                  </a:lnTo>
                  <a:lnTo>
                    <a:pt x="974" y="2240"/>
                  </a:lnTo>
                  <a:lnTo>
                    <a:pt x="981" y="2243"/>
                  </a:lnTo>
                  <a:lnTo>
                    <a:pt x="989" y="2246"/>
                  </a:lnTo>
                  <a:lnTo>
                    <a:pt x="998" y="2249"/>
                  </a:lnTo>
                  <a:lnTo>
                    <a:pt x="1006" y="2251"/>
                  </a:lnTo>
                  <a:lnTo>
                    <a:pt x="1017" y="2251"/>
                  </a:lnTo>
                  <a:lnTo>
                    <a:pt x="1023" y="2251"/>
                  </a:lnTo>
                  <a:lnTo>
                    <a:pt x="1028" y="2249"/>
                  </a:lnTo>
                  <a:lnTo>
                    <a:pt x="1034" y="2247"/>
                  </a:lnTo>
                  <a:lnTo>
                    <a:pt x="1041" y="2244"/>
                  </a:lnTo>
                  <a:lnTo>
                    <a:pt x="1046" y="2241"/>
                  </a:lnTo>
                  <a:lnTo>
                    <a:pt x="1050" y="2237"/>
                  </a:lnTo>
                  <a:lnTo>
                    <a:pt x="1054" y="2231"/>
                  </a:lnTo>
                  <a:lnTo>
                    <a:pt x="1056" y="2226"/>
                  </a:lnTo>
                  <a:lnTo>
                    <a:pt x="1057" y="2219"/>
                  </a:lnTo>
                  <a:lnTo>
                    <a:pt x="1057" y="2212"/>
                  </a:lnTo>
                  <a:lnTo>
                    <a:pt x="1056" y="2203"/>
                  </a:lnTo>
                  <a:lnTo>
                    <a:pt x="1054" y="2194"/>
                  </a:lnTo>
                  <a:lnTo>
                    <a:pt x="1052" y="2184"/>
                  </a:lnTo>
                  <a:lnTo>
                    <a:pt x="1050" y="2176"/>
                  </a:lnTo>
                  <a:lnTo>
                    <a:pt x="1049" y="2168"/>
                  </a:lnTo>
                  <a:lnTo>
                    <a:pt x="1049" y="2159"/>
                  </a:lnTo>
                  <a:lnTo>
                    <a:pt x="1051" y="2151"/>
                  </a:lnTo>
                  <a:lnTo>
                    <a:pt x="1055" y="2145"/>
                  </a:lnTo>
                  <a:lnTo>
                    <a:pt x="1059" y="2139"/>
                  </a:lnTo>
                  <a:lnTo>
                    <a:pt x="1065" y="2133"/>
                  </a:lnTo>
                  <a:lnTo>
                    <a:pt x="1072" y="2125"/>
                  </a:lnTo>
                  <a:lnTo>
                    <a:pt x="1078" y="2116"/>
                  </a:lnTo>
                  <a:lnTo>
                    <a:pt x="1085" y="2107"/>
                  </a:lnTo>
                  <a:lnTo>
                    <a:pt x="1092" y="2100"/>
                  </a:lnTo>
                  <a:lnTo>
                    <a:pt x="1119" y="2083"/>
                  </a:lnTo>
                  <a:lnTo>
                    <a:pt x="1157" y="2060"/>
                  </a:lnTo>
                  <a:lnTo>
                    <a:pt x="1178" y="2050"/>
                  </a:lnTo>
                  <a:lnTo>
                    <a:pt x="1198" y="2039"/>
                  </a:lnTo>
                  <a:lnTo>
                    <a:pt x="1216" y="2032"/>
                  </a:lnTo>
                  <a:lnTo>
                    <a:pt x="1230" y="2027"/>
                  </a:lnTo>
                  <a:lnTo>
                    <a:pt x="1257" y="2021"/>
                  </a:lnTo>
                  <a:lnTo>
                    <a:pt x="1287" y="2014"/>
                  </a:lnTo>
                  <a:lnTo>
                    <a:pt x="1302" y="2010"/>
                  </a:lnTo>
                  <a:lnTo>
                    <a:pt x="1317" y="2006"/>
                  </a:lnTo>
                  <a:lnTo>
                    <a:pt x="1331" y="2001"/>
                  </a:lnTo>
                  <a:lnTo>
                    <a:pt x="1345" y="1995"/>
                  </a:lnTo>
                  <a:lnTo>
                    <a:pt x="1358" y="1987"/>
                  </a:lnTo>
                  <a:lnTo>
                    <a:pt x="1368" y="1979"/>
                  </a:lnTo>
                  <a:lnTo>
                    <a:pt x="1373" y="1975"/>
                  </a:lnTo>
                  <a:lnTo>
                    <a:pt x="1377" y="1970"/>
                  </a:lnTo>
                  <a:lnTo>
                    <a:pt x="1381" y="1964"/>
                  </a:lnTo>
                  <a:lnTo>
                    <a:pt x="1385" y="1959"/>
                  </a:lnTo>
                  <a:lnTo>
                    <a:pt x="1387" y="1953"/>
                  </a:lnTo>
                  <a:lnTo>
                    <a:pt x="1389" y="1947"/>
                  </a:lnTo>
                  <a:lnTo>
                    <a:pt x="1390" y="1940"/>
                  </a:lnTo>
                  <a:lnTo>
                    <a:pt x="1391" y="1933"/>
                  </a:lnTo>
                  <a:lnTo>
                    <a:pt x="1390" y="1926"/>
                  </a:lnTo>
                  <a:lnTo>
                    <a:pt x="1389" y="1917"/>
                  </a:lnTo>
                  <a:lnTo>
                    <a:pt x="1387" y="1909"/>
                  </a:lnTo>
                  <a:lnTo>
                    <a:pt x="1385" y="1901"/>
                  </a:lnTo>
                  <a:lnTo>
                    <a:pt x="1373" y="1878"/>
                  </a:lnTo>
                  <a:lnTo>
                    <a:pt x="1362" y="1854"/>
                  </a:lnTo>
                  <a:lnTo>
                    <a:pt x="1361" y="1848"/>
                  </a:lnTo>
                  <a:lnTo>
                    <a:pt x="1361" y="1842"/>
                  </a:lnTo>
                  <a:lnTo>
                    <a:pt x="1362" y="1837"/>
                  </a:lnTo>
                  <a:lnTo>
                    <a:pt x="1364" y="1832"/>
                  </a:lnTo>
                  <a:lnTo>
                    <a:pt x="1367" y="1827"/>
                  </a:lnTo>
                  <a:lnTo>
                    <a:pt x="1372" y="1822"/>
                  </a:lnTo>
                  <a:lnTo>
                    <a:pt x="1378" y="1818"/>
                  </a:lnTo>
                  <a:lnTo>
                    <a:pt x="1388" y="1815"/>
                  </a:lnTo>
                  <a:lnTo>
                    <a:pt x="1421" y="1804"/>
                  </a:lnTo>
                  <a:lnTo>
                    <a:pt x="1454" y="1792"/>
                  </a:lnTo>
                  <a:lnTo>
                    <a:pt x="1487" y="1779"/>
                  </a:lnTo>
                  <a:lnTo>
                    <a:pt x="1519" y="1765"/>
                  </a:lnTo>
                  <a:lnTo>
                    <a:pt x="1551" y="1741"/>
                  </a:lnTo>
                  <a:lnTo>
                    <a:pt x="1551" y="1741"/>
                  </a:lnTo>
                  <a:lnTo>
                    <a:pt x="1550" y="1737"/>
                  </a:lnTo>
                  <a:lnTo>
                    <a:pt x="1548" y="1733"/>
                  </a:lnTo>
                  <a:lnTo>
                    <a:pt x="1546" y="1730"/>
                  </a:lnTo>
                  <a:lnTo>
                    <a:pt x="1543" y="1726"/>
                  </a:lnTo>
                  <a:lnTo>
                    <a:pt x="1540" y="1716"/>
                  </a:lnTo>
                  <a:lnTo>
                    <a:pt x="1535" y="1705"/>
                  </a:lnTo>
                  <a:lnTo>
                    <a:pt x="1530" y="1694"/>
                  </a:lnTo>
                  <a:lnTo>
                    <a:pt x="1522" y="1685"/>
                  </a:lnTo>
                  <a:lnTo>
                    <a:pt x="1508" y="1665"/>
                  </a:lnTo>
                  <a:lnTo>
                    <a:pt x="1491" y="1646"/>
                  </a:lnTo>
                  <a:lnTo>
                    <a:pt x="1473" y="1626"/>
                  </a:lnTo>
                  <a:lnTo>
                    <a:pt x="1458" y="1606"/>
                  </a:lnTo>
                  <a:lnTo>
                    <a:pt x="1451" y="1596"/>
                  </a:lnTo>
                  <a:lnTo>
                    <a:pt x="1444" y="1586"/>
                  </a:lnTo>
                  <a:lnTo>
                    <a:pt x="1439" y="1574"/>
                  </a:lnTo>
                  <a:lnTo>
                    <a:pt x="1435" y="1563"/>
                  </a:lnTo>
                  <a:lnTo>
                    <a:pt x="1427" y="1536"/>
                  </a:lnTo>
                  <a:lnTo>
                    <a:pt x="1422" y="1508"/>
                  </a:lnTo>
                  <a:lnTo>
                    <a:pt x="1416" y="1481"/>
                  </a:lnTo>
                  <a:lnTo>
                    <a:pt x="1410" y="1454"/>
                  </a:lnTo>
                  <a:lnTo>
                    <a:pt x="1407" y="1435"/>
                  </a:lnTo>
                  <a:lnTo>
                    <a:pt x="1401" y="1416"/>
                  </a:lnTo>
                  <a:lnTo>
                    <a:pt x="1396" y="1394"/>
                  </a:lnTo>
                  <a:lnTo>
                    <a:pt x="1391" y="1371"/>
                  </a:lnTo>
                  <a:lnTo>
                    <a:pt x="1387" y="1349"/>
                  </a:lnTo>
                  <a:lnTo>
                    <a:pt x="1384" y="1327"/>
                  </a:lnTo>
                  <a:lnTo>
                    <a:pt x="1383" y="1317"/>
                  </a:lnTo>
                  <a:lnTo>
                    <a:pt x="1383" y="1307"/>
                  </a:lnTo>
                  <a:lnTo>
                    <a:pt x="1383" y="1299"/>
                  </a:lnTo>
                  <a:lnTo>
                    <a:pt x="1385" y="1290"/>
                  </a:lnTo>
                  <a:lnTo>
                    <a:pt x="1396" y="1281"/>
                  </a:lnTo>
                  <a:lnTo>
                    <a:pt x="1408" y="1269"/>
                  </a:lnTo>
                  <a:lnTo>
                    <a:pt x="1420" y="1257"/>
                  </a:lnTo>
                  <a:lnTo>
                    <a:pt x="1433" y="1247"/>
                  </a:lnTo>
                  <a:lnTo>
                    <a:pt x="1433" y="1239"/>
                  </a:lnTo>
                  <a:lnTo>
                    <a:pt x="1432" y="1231"/>
                  </a:lnTo>
                  <a:lnTo>
                    <a:pt x="1431" y="1223"/>
                  </a:lnTo>
                  <a:lnTo>
                    <a:pt x="1428" y="1214"/>
                  </a:lnTo>
                  <a:lnTo>
                    <a:pt x="1424" y="1205"/>
                  </a:lnTo>
                  <a:lnTo>
                    <a:pt x="1420" y="1196"/>
                  </a:lnTo>
                  <a:lnTo>
                    <a:pt x="1416" y="1187"/>
                  </a:lnTo>
                  <a:lnTo>
                    <a:pt x="1411" y="1178"/>
                  </a:lnTo>
                  <a:lnTo>
                    <a:pt x="1399" y="1161"/>
                  </a:lnTo>
                  <a:lnTo>
                    <a:pt x="1387" y="1145"/>
                  </a:lnTo>
                  <a:lnTo>
                    <a:pt x="1374" y="1132"/>
                  </a:lnTo>
                  <a:lnTo>
                    <a:pt x="1362" y="1120"/>
                  </a:lnTo>
                  <a:lnTo>
                    <a:pt x="1358" y="1116"/>
                  </a:lnTo>
                  <a:lnTo>
                    <a:pt x="1353" y="1112"/>
                  </a:lnTo>
                  <a:lnTo>
                    <a:pt x="1349" y="1107"/>
                  </a:lnTo>
                  <a:lnTo>
                    <a:pt x="1346" y="1102"/>
                  </a:lnTo>
                  <a:lnTo>
                    <a:pt x="1341" y="1090"/>
                  </a:lnTo>
                  <a:lnTo>
                    <a:pt x="1336" y="1078"/>
                  </a:lnTo>
                  <a:lnTo>
                    <a:pt x="1331" y="1066"/>
                  </a:lnTo>
                  <a:lnTo>
                    <a:pt x="1325" y="1056"/>
                  </a:lnTo>
                  <a:lnTo>
                    <a:pt x="1322" y="1050"/>
                  </a:lnTo>
                  <a:lnTo>
                    <a:pt x="1319" y="1046"/>
                  </a:lnTo>
                  <a:lnTo>
                    <a:pt x="1315" y="1043"/>
                  </a:lnTo>
                  <a:lnTo>
                    <a:pt x="1311" y="1039"/>
                  </a:lnTo>
                  <a:lnTo>
                    <a:pt x="1301" y="1035"/>
                  </a:lnTo>
                  <a:lnTo>
                    <a:pt x="1292" y="1031"/>
                  </a:lnTo>
                  <a:lnTo>
                    <a:pt x="1282" y="1027"/>
                  </a:lnTo>
                  <a:lnTo>
                    <a:pt x="1274" y="1024"/>
                  </a:lnTo>
                  <a:lnTo>
                    <a:pt x="1257" y="1020"/>
                  </a:lnTo>
                  <a:lnTo>
                    <a:pt x="1243" y="1015"/>
                  </a:lnTo>
                  <a:lnTo>
                    <a:pt x="1237" y="1011"/>
                  </a:lnTo>
                  <a:lnTo>
                    <a:pt x="1230" y="1007"/>
                  </a:lnTo>
                  <a:lnTo>
                    <a:pt x="1225" y="1002"/>
                  </a:lnTo>
                  <a:lnTo>
                    <a:pt x="1221" y="995"/>
                  </a:lnTo>
                  <a:lnTo>
                    <a:pt x="1217" y="988"/>
                  </a:lnTo>
                  <a:lnTo>
                    <a:pt x="1215" y="978"/>
                  </a:lnTo>
                  <a:lnTo>
                    <a:pt x="1213" y="967"/>
                  </a:lnTo>
                  <a:lnTo>
                    <a:pt x="1213" y="954"/>
                  </a:lnTo>
                  <a:lnTo>
                    <a:pt x="1213" y="943"/>
                  </a:lnTo>
                  <a:lnTo>
                    <a:pt x="1214" y="934"/>
                  </a:lnTo>
                  <a:lnTo>
                    <a:pt x="1217" y="926"/>
                  </a:lnTo>
                  <a:lnTo>
                    <a:pt x="1221" y="920"/>
                  </a:lnTo>
                  <a:lnTo>
                    <a:pt x="1226" y="915"/>
                  </a:lnTo>
                  <a:lnTo>
                    <a:pt x="1232" y="911"/>
                  </a:lnTo>
                  <a:lnTo>
                    <a:pt x="1241" y="906"/>
                  </a:lnTo>
                  <a:lnTo>
                    <a:pt x="1251" y="903"/>
                  </a:lnTo>
                  <a:lnTo>
                    <a:pt x="1264" y="900"/>
                  </a:lnTo>
                  <a:lnTo>
                    <a:pt x="1274" y="897"/>
                  </a:lnTo>
                  <a:lnTo>
                    <a:pt x="1282" y="894"/>
                  </a:lnTo>
                  <a:lnTo>
                    <a:pt x="1291" y="890"/>
                  </a:lnTo>
                  <a:lnTo>
                    <a:pt x="1306" y="879"/>
                  </a:lnTo>
                  <a:lnTo>
                    <a:pt x="1325" y="865"/>
                  </a:lnTo>
                  <a:lnTo>
                    <a:pt x="1331" y="857"/>
                  </a:lnTo>
                  <a:lnTo>
                    <a:pt x="1337" y="850"/>
                  </a:lnTo>
                  <a:lnTo>
                    <a:pt x="1341" y="842"/>
                  </a:lnTo>
                  <a:lnTo>
                    <a:pt x="1344" y="832"/>
                  </a:lnTo>
                  <a:lnTo>
                    <a:pt x="1349" y="812"/>
                  </a:lnTo>
                  <a:lnTo>
                    <a:pt x="1352" y="790"/>
                  </a:lnTo>
                  <a:lnTo>
                    <a:pt x="1355" y="768"/>
                  </a:lnTo>
                  <a:lnTo>
                    <a:pt x="1358" y="746"/>
                  </a:lnTo>
                  <a:lnTo>
                    <a:pt x="1360" y="734"/>
                  </a:lnTo>
                  <a:lnTo>
                    <a:pt x="1361" y="725"/>
                  </a:lnTo>
                  <a:lnTo>
                    <a:pt x="1364" y="714"/>
                  </a:lnTo>
                  <a:lnTo>
                    <a:pt x="1366" y="705"/>
                  </a:lnTo>
                  <a:lnTo>
                    <a:pt x="1376" y="699"/>
                  </a:lnTo>
                  <a:lnTo>
                    <a:pt x="1389" y="689"/>
                  </a:lnTo>
                  <a:lnTo>
                    <a:pt x="1403" y="676"/>
                  </a:lnTo>
                  <a:lnTo>
                    <a:pt x="1417" y="661"/>
                  </a:lnTo>
                  <a:lnTo>
                    <a:pt x="1423" y="653"/>
                  </a:lnTo>
                  <a:lnTo>
                    <a:pt x="1428" y="646"/>
                  </a:lnTo>
                  <a:lnTo>
                    <a:pt x="1434" y="638"/>
                  </a:lnTo>
                  <a:lnTo>
                    <a:pt x="1437" y="630"/>
                  </a:lnTo>
                  <a:lnTo>
                    <a:pt x="1439" y="623"/>
                  </a:lnTo>
                  <a:lnTo>
                    <a:pt x="1439" y="616"/>
                  </a:lnTo>
                  <a:lnTo>
                    <a:pt x="1438" y="613"/>
                  </a:lnTo>
                  <a:lnTo>
                    <a:pt x="1437" y="610"/>
                  </a:lnTo>
                  <a:lnTo>
                    <a:pt x="1435" y="607"/>
                  </a:lnTo>
                  <a:lnTo>
                    <a:pt x="1433" y="605"/>
                  </a:lnTo>
                  <a:lnTo>
                    <a:pt x="1421" y="596"/>
                  </a:lnTo>
                  <a:lnTo>
                    <a:pt x="1410" y="586"/>
                  </a:lnTo>
                  <a:lnTo>
                    <a:pt x="1404" y="582"/>
                  </a:lnTo>
                  <a:lnTo>
                    <a:pt x="1400" y="577"/>
                  </a:lnTo>
                  <a:lnTo>
                    <a:pt x="1397" y="571"/>
                  </a:lnTo>
                  <a:lnTo>
                    <a:pt x="1394" y="562"/>
                  </a:lnTo>
                  <a:lnTo>
                    <a:pt x="1393" y="549"/>
                  </a:lnTo>
                  <a:lnTo>
                    <a:pt x="1393" y="531"/>
                  </a:lnTo>
                  <a:lnTo>
                    <a:pt x="1393" y="523"/>
                  </a:lnTo>
                  <a:lnTo>
                    <a:pt x="1393" y="514"/>
                  </a:lnTo>
                  <a:lnTo>
                    <a:pt x="1391" y="508"/>
                  </a:lnTo>
                  <a:lnTo>
                    <a:pt x="1389" y="503"/>
                  </a:lnTo>
                  <a:lnTo>
                    <a:pt x="1389" y="497"/>
                  </a:lnTo>
                  <a:lnTo>
                    <a:pt x="1388" y="492"/>
                  </a:lnTo>
                  <a:lnTo>
                    <a:pt x="1387" y="487"/>
                  </a:lnTo>
                  <a:lnTo>
                    <a:pt x="1385" y="482"/>
                  </a:lnTo>
                  <a:lnTo>
                    <a:pt x="1379" y="472"/>
                  </a:lnTo>
                  <a:lnTo>
                    <a:pt x="1374" y="463"/>
                  </a:lnTo>
                  <a:lnTo>
                    <a:pt x="1370" y="453"/>
                  </a:lnTo>
                  <a:lnTo>
                    <a:pt x="1367" y="441"/>
                  </a:lnTo>
                  <a:lnTo>
                    <a:pt x="1366" y="435"/>
                  </a:lnTo>
                  <a:lnTo>
                    <a:pt x="1366" y="429"/>
                  </a:lnTo>
                  <a:lnTo>
                    <a:pt x="1366" y="421"/>
                  </a:lnTo>
                  <a:lnTo>
                    <a:pt x="1368" y="414"/>
                  </a:lnTo>
                  <a:lnTo>
                    <a:pt x="1379" y="405"/>
                  </a:lnTo>
                  <a:lnTo>
                    <a:pt x="1391" y="393"/>
                  </a:lnTo>
                  <a:lnTo>
                    <a:pt x="1402" y="381"/>
                  </a:lnTo>
                  <a:lnTo>
                    <a:pt x="1414" y="368"/>
                  </a:lnTo>
                  <a:lnTo>
                    <a:pt x="1426" y="356"/>
                  </a:lnTo>
                  <a:lnTo>
                    <a:pt x="1438" y="344"/>
                  </a:lnTo>
                  <a:lnTo>
                    <a:pt x="1445" y="340"/>
                  </a:lnTo>
                  <a:lnTo>
                    <a:pt x="1451" y="336"/>
                  </a:lnTo>
                  <a:lnTo>
                    <a:pt x="1458" y="332"/>
                  </a:lnTo>
                  <a:lnTo>
                    <a:pt x="1465" y="330"/>
                  </a:lnTo>
                  <a:lnTo>
                    <a:pt x="1471" y="327"/>
                  </a:lnTo>
                  <a:lnTo>
                    <a:pt x="1476" y="328"/>
                  </a:lnTo>
                  <a:lnTo>
                    <a:pt x="1481" y="331"/>
                  </a:lnTo>
                  <a:lnTo>
                    <a:pt x="1485" y="334"/>
                  </a:lnTo>
                  <a:lnTo>
                    <a:pt x="1487" y="339"/>
                  </a:lnTo>
                  <a:lnTo>
                    <a:pt x="1490" y="344"/>
                  </a:lnTo>
                  <a:lnTo>
                    <a:pt x="1491" y="350"/>
                  </a:lnTo>
                  <a:lnTo>
                    <a:pt x="1493" y="358"/>
                  </a:lnTo>
                  <a:lnTo>
                    <a:pt x="1495" y="387"/>
                  </a:lnTo>
                  <a:lnTo>
                    <a:pt x="1496" y="408"/>
                  </a:lnTo>
                  <a:lnTo>
                    <a:pt x="1498" y="417"/>
                  </a:lnTo>
                  <a:lnTo>
                    <a:pt x="1503" y="427"/>
                  </a:lnTo>
                  <a:lnTo>
                    <a:pt x="1510" y="436"/>
                  </a:lnTo>
                  <a:lnTo>
                    <a:pt x="1517" y="446"/>
                  </a:lnTo>
                  <a:lnTo>
                    <a:pt x="1526" y="457"/>
                  </a:lnTo>
                  <a:lnTo>
                    <a:pt x="1536" y="468"/>
                  </a:lnTo>
                  <a:lnTo>
                    <a:pt x="1547" y="479"/>
                  </a:lnTo>
                  <a:lnTo>
                    <a:pt x="1559" y="489"/>
                  </a:lnTo>
                  <a:lnTo>
                    <a:pt x="1570" y="499"/>
                  </a:lnTo>
                  <a:lnTo>
                    <a:pt x="1583" y="508"/>
                  </a:lnTo>
                  <a:lnTo>
                    <a:pt x="1595" y="517"/>
                  </a:lnTo>
                  <a:lnTo>
                    <a:pt x="1607" y="525"/>
                  </a:lnTo>
                  <a:lnTo>
                    <a:pt x="1618" y="532"/>
                  </a:lnTo>
                  <a:lnTo>
                    <a:pt x="1630" y="537"/>
                  </a:lnTo>
                  <a:lnTo>
                    <a:pt x="1639" y="541"/>
                  </a:lnTo>
                  <a:lnTo>
                    <a:pt x="1648" y="544"/>
                  </a:lnTo>
                  <a:lnTo>
                    <a:pt x="1657" y="547"/>
                  </a:lnTo>
                  <a:lnTo>
                    <a:pt x="1667" y="548"/>
                  </a:lnTo>
                  <a:lnTo>
                    <a:pt x="1679" y="547"/>
                  </a:lnTo>
                  <a:lnTo>
                    <a:pt x="1691" y="545"/>
                  </a:lnTo>
                  <a:lnTo>
                    <a:pt x="1696" y="544"/>
                  </a:lnTo>
                  <a:lnTo>
                    <a:pt x="1702" y="542"/>
                  </a:lnTo>
                  <a:lnTo>
                    <a:pt x="1707" y="540"/>
                  </a:lnTo>
                  <a:lnTo>
                    <a:pt x="1711" y="537"/>
                  </a:lnTo>
                  <a:lnTo>
                    <a:pt x="1714" y="534"/>
                  </a:lnTo>
                  <a:lnTo>
                    <a:pt x="1717" y="530"/>
                  </a:lnTo>
                  <a:lnTo>
                    <a:pt x="1719" y="525"/>
                  </a:lnTo>
                  <a:lnTo>
                    <a:pt x="1720" y="519"/>
                  </a:lnTo>
                  <a:lnTo>
                    <a:pt x="1720" y="515"/>
                  </a:lnTo>
                  <a:lnTo>
                    <a:pt x="1719" y="512"/>
                  </a:lnTo>
                  <a:lnTo>
                    <a:pt x="1718" y="509"/>
                  </a:lnTo>
                  <a:lnTo>
                    <a:pt x="1716" y="507"/>
                  </a:lnTo>
                  <a:lnTo>
                    <a:pt x="1711" y="504"/>
                  </a:lnTo>
                  <a:lnTo>
                    <a:pt x="1705" y="502"/>
                  </a:lnTo>
                  <a:lnTo>
                    <a:pt x="1689" y="502"/>
                  </a:lnTo>
                  <a:lnTo>
                    <a:pt x="1676" y="502"/>
                  </a:lnTo>
                  <a:lnTo>
                    <a:pt x="1670" y="501"/>
                  </a:lnTo>
                  <a:lnTo>
                    <a:pt x="1665" y="499"/>
                  </a:lnTo>
                  <a:lnTo>
                    <a:pt x="1660" y="495"/>
                  </a:lnTo>
                  <a:lnTo>
                    <a:pt x="1655" y="491"/>
                  </a:lnTo>
                  <a:lnTo>
                    <a:pt x="1651" y="487"/>
                  </a:lnTo>
                  <a:lnTo>
                    <a:pt x="1645" y="482"/>
                  </a:lnTo>
                  <a:lnTo>
                    <a:pt x="1641" y="477"/>
                  </a:lnTo>
                  <a:lnTo>
                    <a:pt x="1638" y="471"/>
                  </a:lnTo>
                  <a:lnTo>
                    <a:pt x="1635" y="465"/>
                  </a:lnTo>
                  <a:lnTo>
                    <a:pt x="1632" y="459"/>
                  </a:lnTo>
                  <a:lnTo>
                    <a:pt x="1630" y="453"/>
                  </a:lnTo>
                  <a:lnTo>
                    <a:pt x="1629" y="446"/>
                  </a:lnTo>
                  <a:lnTo>
                    <a:pt x="1629" y="441"/>
                  </a:lnTo>
                  <a:lnTo>
                    <a:pt x="1630" y="435"/>
                  </a:lnTo>
                  <a:lnTo>
                    <a:pt x="1631" y="430"/>
                  </a:lnTo>
                  <a:lnTo>
                    <a:pt x="1634" y="426"/>
                  </a:lnTo>
                  <a:lnTo>
                    <a:pt x="1641" y="416"/>
                  </a:lnTo>
                  <a:lnTo>
                    <a:pt x="1651" y="409"/>
                  </a:lnTo>
                  <a:lnTo>
                    <a:pt x="1660" y="404"/>
                  </a:lnTo>
                  <a:lnTo>
                    <a:pt x="1669" y="400"/>
                  </a:lnTo>
                  <a:lnTo>
                    <a:pt x="1690" y="395"/>
                  </a:lnTo>
                  <a:lnTo>
                    <a:pt x="1711" y="392"/>
                  </a:lnTo>
                  <a:lnTo>
                    <a:pt x="1721" y="390"/>
                  </a:lnTo>
                  <a:lnTo>
                    <a:pt x="1732" y="388"/>
                  </a:lnTo>
                  <a:lnTo>
                    <a:pt x="1741" y="385"/>
                  </a:lnTo>
                  <a:lnTo>
                    <a:pt x="1751" y="381"/>
                  </a:lnTo>
                  <a:lnTo>
                    <a:pt x="1760" y="375"/>
                  </a:lnTo>
                  <a:lnTo>
                    <a:pt x="1768" y="368"/>
                  </a:lnTo>
                  <a:lnTo>
                    <a:pt x="1771" y="363"/>
                  </a:lnTo>
                  <a:lnTo>
                    <a:pt x="1776" y="359"/>
                  </a:lnTo>
                  <a:lnTo>
                    <a:pt x="1779" y="352"/>
                  </a:lnTo>
                  <a:lnTo>
                    <a:pt x="1782" y="346"/>
                  </a:lnTo>
                  <a:lnTo>
                    <a:pt x="1786" y="335"/>
                  </a:lnTo>
                  <a:lnTo>
                    <a:pt x="1788" y="323"/>
                  </a:lnTo>
                  <a:lnTo>
                    <a:pt x="1788" y="314"/>
                  </a:lnTo>
                  <a:lnTo>
                    <a:pt x="1786" y="304"/>
                  </a:lnTo>
                  <a:lnTo>
                    <a:pt x="1782" y="297"/>
                  </a:lnTo>
                  <a:lnTo>
                    <a:pt x="1777" y="290"/>
                  </a:lnTo>
                  <a:lnTo>
                    <a:pt x="1770" y="285"/>
                  </a:lnTo>
                  <a:lnTo>
                    <a:pt x="1763" y="278"/>
                  </a:lnTo>
                  <a:lnTo>
                    <a:pt x="1754" y="274"/>
                  </a:lnTo>
                  <a:lnTo>
                    <a:pt x="1745" y="270"/>
                  </a:lnTo>
                  <a:lnTo>
                    <a:pt x="1736" y="267"/>
                  </a:lnTo>
                  <a:lnTo>
                    <a:pt x="1726" y="264"/>
                  </a:lnTo>
                  <a:lnTo>
                    <a:pt x="1707" y="259"/>
                  </a:lnTo>
                  <a:lnTo>
                    <a:pt x="1689" y="253"/>
                  </a:lnTo>
                  <a:lnTo>
                    <a:pt x="1683" y="251"/>
                  </a:lnTo>
                  <a:lnTo>
                    <a:pt x="1677" y="248"/>
                  </a:lnTo>
                  <a:lnTo>
                    <a:pt x="1670" y="245"/>
                  </a:lnTo>
                  <a:lnTo>
                    <a:pt x="1663" y="241"/>
                  </a:lnTo>
                  <a:lnTo>
                    <a:pt x="1651" y="231"/>
                  </a:lnTo>
                  <a:lnTo>
                    <a:pt x="1637" y="225"/>
                  </a:lnTo>
                  <a:lnTo>
                    <a:pt x="1628" y="222"/>
                  </a:lnTo>
                  <a:lnTo>
                    <a:pt x="1617" y="220"/>
                  </a:lnTo>
                  <a:lnTo>
                    <a:pt x="1607" y="220"/>
                  </a:lnTo>
                  <a:lnTo>
                    <a:pt x="1597" y="220"/>
                  </a:lnTo>
                  <a:lnTo>
                    <a:pt x="1576" y="222"/>
                  </a:lnTo>
                  <a:lnTo>
                    <a:pt x="1556" y="223"/>
                  </a:lnTo>
                  <a:lnTo>
                    <a:pt x="1546" y="223"/>
                  </a:lnTo>
                  <a:lnTo>
                    <a:pt x="1537" y="222"/>
                  </a:lnTo>
                  <a:lnTo>
                    <a:pt x="1527" y="221"/>
                  </a:lnTo>
                  <a:lnTo>
                    <a:pt x="1518" y="218"/>
                  </a:lnTo>
                  <a:lnTo>
                    <a:pt x="1499" y="213"/>
                  </a:lnTo>
                  <a:lnTo>
                    <a:pt x="1481" y="204"/>
                  </a:lnTo>
                  <a:lnTo>
                    <a:pt x="1462" y="195"/>
                  </a:lnTo>
                  <a:lnTo>
                    <a:pt x="1444" y="183"/>
                  </a:lnTo>
                  <a:lnTo>
                    <a:pt x="1425" y="171"/>
                  </a:lnTo>
                  <a:lnTo>
                    <a:pt x="1408" y="157"/>
                  </a:lnTo>
                  <a:lnTo>
                    <a:pt x="1390" y="143"/>
                  </a:lnTo>
                  <a:lnTo>
                    <a:pt x="1373" y="128"/>
                  </a:lnTo>
                  <a:lnTo>
                    <a:pt x="1356" y="114"/>
                  </a:lnTo>
                  <a:lnTo>
                    <a:pt x="1341" y="99"/>
                  </a:lnTo>
                  <a:lnTo>
                    <a:pt x="1312" y="70"/>
                  </a:lnTo>
                  <a:lnTo>
                    <a:pt x="1285" y="44"/>
                  </a:lnTo>
                  <a:lnTo>
                    <a:pt x="1285" y="44"/>
                  </a:lnTo>
                  <a:lnTo>
                    <a:pt x="1277" y="45"/>
                  </a:lnTo>
                  <a:lnTo>
                    <a:pt x="1271" y="46"/>
                  </a:lnTo>
                  <a:lnTo>
                    <a:pt x="1265" y="46"/>
                  </a:lnTo>
                  <a:lnTo>
                    <a:pt x="1258" y="46"/>
                  </a:lnTo>
                  <a:lnTo>
                    <a:pt x="1246" y="46"/>
                  </a:lnTo>
                  <a:lnTo>
                    <a:pt x="1232" y="46"/>
                  </a:lnTo>
                  <a:lnTo>
                    <a:pt x="1226" y="47"/>
                  </a:lnTo>
                  <a:lnTo>
                    <a:pt x="1220" y="49"/>
                  </a:lnTo>
                  <a:lnTo>
                    <a:pt x="1215" y="51"/>
                  </a:lnTo>
                  <a:lnTo>
                    <a:pt x="1211" y="54"/>
                  </a:lnTo>
                  <a:lnTo>
                    <a:pt x="1201" y="60"/>
                  </a:lnTo>
                  <a:lnTo>
                    <a:pt x="1193" y="70"/>
                  </a:lnTo>
                  <a:lnTo>
                    <a:pt x="1192" y="77"/>
                  </a:lnTo>
                  <a:lnTo>
                    <a:pt x="1190" y="84"/>
                  </a:lnTo>
                  <a:lnTo>
                    <a:pt x="1187" y="91"/>
                  </a:lnTo>
                  <a:lnTo>
                    <a:pt x="1183" y="98"/>
                  </a:lnTo>
                  <a:lnTo>
                    <a:pt x="1176" y="111"/>
                  </a:lnTo>
                  <a:lnTo>
                    <a:pt x="1169" y="124"/>
                  </a:lnTo>
                  <a:lnTo>
                    <a:pt x="1160" y="128"/>
                  </a:lnTo>
                  <a:lnTo>
                    <a:pt x="1154" y="131"/>
                  </a:lnTo>
                  <a:lnTo>
                    <a:pt x="1146" y="133"/>
                  </a:lnTo>
                  <a:lnTo>
                    <a:pt x="1136" y="134"/>
                  </a:lnTo>
                  <a:lnTo>
                    <a:pt x="1121" y="134"/>
                  </a:lnTo>
                  <a:lnTo>
                    <a:pt x="1101" y="132"/>
                  </a:lnTo>
                  <a:lnTo>
                    <a:pt x="1092" y="131"/>
                  </a:lnTo>
                  <a:lnTo>
                    <a:pt x="1082" y="130"/>
                  </a:lnTo>
                  <a:lnTo>
                    <a:pt x="1075" y="128"/>
                  </a:lnTo>
                  <a:lnTo>
                    <a:pt x="1068" y="126"/>
                  </a:lnTo>
                  <a:lnTo>
                    <a:pt x="1053" y="124"/>
                  </a:lnTo>
                  <a:lnTo>
                    <a:pt x="1038" y="121"/>
                  </a:lnTo>
                  <a:lnTo>
                    <a:pt x="1024" y="118"/>
                  </a:lnTo>
                  <a:lnTo>
                    <a:pt x="1009" y="114"/>
                  </a:lnTo>
                  <a:lnTo>
                    <a:pt x="995" y="109"/>
                  </a:lnTo>
                  <a:lnTo>
                    <a:pt x="980" y="106"/>
                  </a:lnTo>
                  <a:lnTo>
                    <a:pt x="965" y="104"/>
                  </a:lnTo>
                  <a:lnTo>
                    <a:pt x="951" y="102"/>
                  </a:lnTo>
                  <a:lnTo>
                    <a:pt x="936" y="102"/>
                  </a:lnTo>
                  <a:lnTo>
                    <a:pt x="922" y="102"/>
                  </a:lnTo>
                  <a:lnTo>
                    <a:pt x="907" y="103"/>
                  </a:lnTo>
                  <a:lnTo>
                    <a:pt x="894" y="105"/>
                  </a:lnTo>
                  <a:lnTo>
                    <a:pt x="864" y="109"/>
                  </a:lnTo>
                  <a:lnTo>
                    <a:pt x="836" y="110"/>
                  </a:lnTo>
                  <a:lnTo>
                    <a:pt x="809" y="110"/>
                  </a:lnTo>
                  <a:lnTo>
                    <a:pt x="783" y="111"/>
                  </a:lnTo>
                  <a:lnTo>
                    <a:pt x="758" y="111"/>
                  </a:lnTo>
                  <a:lnTo>
                    <a:pt x="733" y="111"/>
                  </a:lnTo>
                  <a:lnTo>
                    <a:pt x="708" y="110"/>
                  </a:lnTo>
                  <a:lnTo>
                    <a:pt x="683" y="107"/>
                  </a:lnTo>
                  <a:lnTo>
                    <a:pt x="658" y="104"/>
                  </a:lnTo>
                  <a:lnTo>
                    <a:pt x="632" y="99"/>
                  </a:lnTo>
                  <a:lnTo>
                    <a:pt x="623" y="97"/>
                  </a:lnTo>
                  <a:lnTo>
                    <a:pt x="616" y="98"/>
                  </a:lnTo>
                  <a:lnTo>
                    <a:pt x="610" y="99"/>
                  </a:lnTo>
                  <a:lnTo>
                    <a:pt x="605" y="102"/>
                  </a:lnTo>
                  <a:lnTo>
                    <a:pt x="593" y="108"/>
                  </a:lnTo>
                  <a:lnTo>
                    <a:pt x="580" y="116"/>
                  </a:lnTo>
                  <a:lnTo>
                    <a:pt x="576" y="117"/>
                  </a:lnTo>
                  <a:lnTo>
                    <a:pt x="572" y="118"/>
                  </a:lnTo>
                  <a:lnTo>
                    <a:pt x="568" y="118"/>
                  </a:lnTo>
                  <a:lnTo>
                    <a:pt x="565" y="118"/>
                  </a:lnTo>
                  <a:lnTo>
                    <a:pt x="558" y="116"/>
                  </a:lnTo>
                  <a:lnTo>
                    <a:pt x="552" y="111"/>
                  </a:lnTo>
                  <a:lnTo>
                    <a:pt x="546" y="106"/>
                  </a:lnTo>
                  <a:lnTo>
                    <a:pt x="541" y="99"/>
                  </a:lnTo>
                  <a:lnTo>
                    <a:pt x="537" y="92"/>
                  </a:lnTo>
                  <a:lnTo>
                    <a:pt x="533" y="83"/>
                  </a:lnTo>
                  <a:lnTo>
                    <a:pt x="525" y="65"/>
                  </a:lnTo>
                  <a:lnTo>
                    <a:pt x="521" y="45"/>
                  </a:lnTo>
                  <a:lnTo>
                    <a:pt x="518" y="28"/>
                  </a:lnTo>
                  <a:lnTo>
                    <a:pt x="517" y="14"/>
                  </a:lnTo>
                  <a:lnTo>
                    <a:pt x="508" y="10"/>
                  </a:lnTo>
                  <a:lnTo>
                    <a:pt x="495" y="6"/>
                  </a:lnTo>
                  <a:lnTo>
                    <a:pt x="483" y="2"/>
                  </a:lnTo>
                  <a:lnTo>
                    <a:pt x="471" y="0"/>
                  </a:lnTo>
                  <a:lnTo>
                    <a:pt x="469" y="5"/>
                  </a:lnTo>
                  <a:lnTo>
                    <a:pt x="468" y="9"/>
                  </a:lnTo>
                  <a:lnTo>
                    <a:pt x="467" y="14"/>
                  </a:lnTo>
                  <a:lnTo>
                    <a:pt x="467" y="20"/>
                  </a:lnTo>
                  <a:lnTo>
                    <a:pt x="466" y="24"/>
                  </a:lnTo>
                  <a:lnTo>
                    <a:pt x="464" y="28"/>
                  </a:lnTo>
                  <a:lnTo>
                    <a:pt x="460" y="32"/>
                  </a:lnTo>
                  <a:lnTo>
                    <a:pt x="454" y="36"/>
                  </a:lnTo>
                  <a:lnTo>
                    <a:pt x="450" y="36"/>
                  </a:lnTo>
                  <a:lnTo>
                    <a:pt x="447" y="36"/>
                  </a:lnTo>
                  <a:lnTo>
                    <a:pt x="445" y="36"/>
                  </a:lnTo>
                  <a:lnTo>
                    <a:pt x="442" y="35"/>
                  </a:lnTo>
                  <a:lnTo>
                    <a:pt x="436" y="32"/>
                  </a:lnTo>
                  <a:lnTo>
                    <a:pt x="430" y="29"/>
                  </a:lnTo>
                  <a:lnTo>
                    <a:pt x="423" y="25"/>
                  </a:lnTo>
                  <a:lnTo>
                    <a:pt x="417" y="21"/>
                  </a:lnTo>
                  <a:lnTo>
                    <a:pt x="411" y="18"/>
                  </a:lnTo>
                  <a:lnTo>
                    <a:pt x="406" y="16"/>
                  </a:lnTo>
                  <a:lnTo>
                    <a:pt x="406" y="16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5" name="Freeform 132">
              <a:extLst>
                <a:ext uri="{FF2B5EF4-FFF2-40B4-BE49-F238E27FC236}">
                  <a16:creationId xmlns:a16="http://schemas.microsoft.com/office/drawing/2014/main" id="{EEAD4BBD-AA79-4413-ABCF-8E4E93275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6022" y="3960193"/>
              <a:ext cx="450683" cy="546426"/>
            </a:xfrm>
            <a:custGeom>
              <a:avLst/>
              <a:gdLst>
                <a:gd name="T0" fmla="*/ 406 w 1788"/>
                <a:gd name="T1" fmla="*/ 166 h 2251"/>
                <a:gd name="T2" fmla="*/ 336 w 1788"/>
                <a:gd name="T3" fmla="*/ 193 h 2251"/>
                <a:gd name="T4" fmla="*/ 339 w 1788"/>
                <a:gd name="T5" fmla="*/ 47 h 2251"/>
                <a:gd name="T6" fmla="*/ 238 w 1788"/>
                <a:gd name="T7" fmla="*/ 62 h 2251"/>
                <a:gd name="T8" fmla="*/ 199 w 1788"/>
                <a:gd name="T9" fmla="*/ 143 h 2251"/>
                <a:gd name="T10" fmla="*/ 133 w 1788"/>
                <a:gd name="T11" fmla="*/ 93 h 2251"/>
                <a:gd name="T12" fmla="*/ 88 w 1788"/>
                <a:gd name="T13" fmla="*/ 229 h 2251"/>
                <a:gd name="T14" fmla="*/ 62 w 1788"/>
                <a:gd name="T15" fmla="*/ 338 h 2251"/>
                <a:gd name="T16" fmla="*/ 5 w 1788"/>
                <a:gd name="T17" fmla="*/ 350 h 2251"/>
                <a:gd name="T18" fmla="*/ 57 w 1788"/>
                <a:gd name="T19" fmla="*/ 426 h 2251"/>
                <a:gd name="T20" fmla="*/ 153 w 1788"/>
                <a:gd name="T21" fmla="*/ 511 h 2251"/>
                <a:gd name="T22" fmla="*/ 243 w 1788"/>
                <a:gd name="T23" fmla="*/ 532 h 2251"/>
                <a:gd name="T24" fmla="*/ 342 w 1788"/>
                <a:gd name="T25" fmla="*/ 499 h 2251"/>
                <a:gd name="T26" fmla="*/ 500 w 1788"/>
                <a:gd name="T27" fmla="*/ 434 h 2251"/>
                <a:gd name="T28" fmla="*/ 591 w 1788"/>
                <a:gd name="T29" fmla="*/ 483 h 2251"/>
                <a:gd name="T30" fmla="*/ 678 w 1788"/>
                <a:gd name="T31" fmla="*/ 539 h 2251"/>
                <a:gd name="T32" fmla="*/ 707 w 1788"/>
                <a:gd name="T33" fmla="*/ 576 h 2251"/>
                <a:gd name="T34" fmla="*/ 608 w 1788"/>
                <a:gd name="T35" fmla="*/ 779 h 2251"/>
                <a:gd name="T36" fmla="*/ 521 w 1788"/>
                <a:gd name="T37" fmla="*/ 859 h 2251"/>
                <a:gd name="T38" fmla="*/ 531 w 1788"/>
                <a:gd name="T39" fmla="*/ 1156 h 2251"/>
                <a:gd name="T40" fmla="*/ 418 w 1788"/>
                <a:gd name="T41" fmla="*/ 1172 h 2251"/>
                <a:gd name="T42" fmla="*/ 361 w 1788"/>
                <a:gd name="T43" fmla="*/ 1356 h 2251"/>
                <a:gd name="T44" fmla="*/ 294 w 1788"/>
                <a:gd name="T45" fmla="*/ 1481 h 2251"/>
                <a:gd name="T46" fmla="*/ 286 w 1788"/>
                <a:gd name="T47" fmla="*/ 1675 h 2251"/>
                <a:gd name="T48" fmla="*/ 324 w 1788"/>
                <a:gd name="T49" fmla="*/ 1818 h 2251"/>
                <a:gd name="T50" fmla="*/ 366 w 1788"/>
                <a:gd name="T51" fmla="*/ 1997 h 2251"/>
                <a:gd name="T52" fmla="*/ 462 w 1788"/>
                <a:gd name="T53" fmla="*/ 1981 h 2251"/>
                <a:gd name="T54" fmla="*/ 536 w 1788"/>
                <a:gd name="T55" fmla="*/ 1822 h 2251"/>
                <a:gd name="T56" fmla="*/ 630 w 1788"/>
                <a:gd name="T57" fmla="*/ 2034 h 2251"/>
                <a:gd name="T58" fmla="*/ 714 w 1788"/>
                <a:gd name="T59" fmla="*/ 2102 h 2251"/>
                <a:gd name="T60" fmla="*/ 852 w 1788"/>
                <a:gd name="T61" fmla="*/ 2079 h 2251"/>
                <a:gd name="T62" fmla="*/ 948 w 1788"/>
                <a:gd name="T63" fmla="*/ 2215 h 2251"/>
                <a:gd name="T64" fmla="*/ 1041 w 1788"/>
                <a:gd name="T65" fmla="*/ 2244 h 2251"/>
                <a:gd name="T66" fmla="*/ 1055 w 1788"/>
                <a:gd name="T67" fmla="*/ 2145 h 2251"/>
                <a:gd name="T68" fmla="*/ 1287 w 1788"/>
                <a:gd name="T69" fmla="*/ 2014 h 2251"/>
                <a:gd name="T70" fmla="*/ 1391 w 1788"/>
                <a:gd name="T71" fmla="*/ 1933 h 2251"/>
                <a:gd name="T72" fmla="*/ 1388 w 1788"/>
                <a:gd name="T73" fmla="*/ 1815 h 2251"/>
                <a:gd name="T74" fmla="*/ 1522 w 1788"/>
                <a:gd name="T75" fmla="*/ 1685 h 2251"/>
                <a:gd name="T76" fmla="*/ 1401 w 1788"/>
                <a:gd name="T77" fmla="*/ 1416 h 2251"/>
                <a:gd name="T78" fmla="*/ 1432 w 1788"/>
                <a:gd name="T79" fmla="*/ 1231 h 2251"/>
                <a:gd name="T80" fmla="*/ 1346 w 1788"/>
                <a:gd name="T81" fmla="*/ 1102 h 2251"/>
                <a:gd name="T82" fmla="*/ 1243 w 1788"/>
                <a:gd name="T83" fmla="*/ 1015 h 2251"/>
                <a:gd name="T84" fmla="*/ 1232 w 1788"/>
                <a:gd name="T85" fmla="*/ 911 h 2251"/>
                <a:gd name="T86" fmla="*/ 1352 w 1788"/>
                <a:gd name="T87" fmla="*/ 790 h 2251"/>
                <a:gd name="T88" fmla="*/ 1437 w 1788"/>
                <a:gd name="T89" fmla="*/ 630 h 2251"/>
                <a:gd name="T90" fmla="*/ 1393 w 1788"/>
                <a:gd name="T91" fmla="*/ 531 h 2251"/>
                <a:gd name="T92" fmla="*/ 1366 w 1788"/>
                <a:gd name="T93" fmla="*/ 429 h 2251"/>
                <a:gd name="T94" fmla="*/ 1476 w 1788"/>
                <a:gd name="T95" fmla="*/ 328 h 2251"/>
                <a:gd name="T96" fmla="*/ 1536 w 1788"/>
                <a:gd name="T97" fmla="*/ 468 h 2251"/>
                <a:gd name="T98" fmla="*/ 1691 w 1788"/>
                <a:gd name="T99" fmla="*/ 545 h 2251"/>
                <a:gd name="T100" fmla="*/ 1705 w 1788"/>
                <a:gd name="T101" fmla="*/ 502 h 2251"/>
                <a:gd name="T102" fmla="*/ 1629 w 1788"/>
                <a:gd name="T103" fmla="*/ 446 h 2251"/>
                <a:gd name="T104" fmla="*/ 1751 w 1788"/>
                <a:gd name="T105" fmla="*/ 381 h 2251"/>
                <a:gd name="T106" fmla="*/ 1763 w 1788"/>
                <a:gd name="T107" fmla="*/ 278 h 2251"/>
                <a:gd name="T108" fmla="*/ 1617 w 1788"/>
                <a:gd name="T109" fmla="*/ 220 h 2251"/>
                <a:gd name="T110" fmla="*/ 1408 w 1788"/>
                <a:gd name="T111" fmla="*/ 157 h 2251"/>
                <a:gd name="T112" fmla="*/ 1226 w 1788"/>
                <a:gd name="T113" fmla="*/ 47 h 2251"/>
                <a:gd name="T114" fmla="*/ 1146 w 1788"/>
                <a:gd name="T115" fmla="*/ 133 h 2251"/>
                <a:gd name="T116" fmla="*/ 965 w 1788"/>
                <a:gd name="T117" fmla="*/ 104 h 2251"/>
                <a:gd name="T118" fmla="*/ 658 w 1788"/>
                <a:gd name="T119" fmla="*/ 104 h 2251"/>
                <a:gd name="T120" fmla="*/ 546 w 1788"/>
                <a:gd name="T121" fmla="*/ 106 h 2251"/>
                <a:gd name="T122" fmla="*/ 467 w 1788"/>
                <a:gd name="T123" fmla="*/ 14 h 2251"/>
                <a:gd name="T124" fmla="*/ 411 w 1788"/>
                <a:gd name="T125" fmla="*/ 18 h 2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88" h="2251">
                  <a:moveTo>
                    <a:pt x="406" y="16"/>
                  </a:moveTo>
                  <a:lnTo>
                    <a:pt x="402" y="20"/>
                  </a:lnTo>
                  <a:lnTo>
                    <a:pt x="400" y="26"/>
                  </a:lnTo>
                  <a:lnTo>
                    <a:pt x="399" y="33"/>
                  </a:lnTo>
                  <a:lnTo>
                    <a:pt x="399" y="42"/>
                  </a:lnTo>
                  <a:lnTo>
                    <a:pt x="401" y="60"/>
                  </a:lnTo>
                  <a:lnTo>
                    <a:pt x="403" y="80"/>
                  </a:lnTo>
                  <a:lnTo>
                    <a:pt x="407" y="101"/>
                  </a:lnTo>
                  <a:lnTo>
                    <a:pt x="410" y="122"/>
                  </a:lnTo>
                  <a:lnTo>
                    <a:pt x="410" y="131"/>
                  </a:lnTo>
                  <a:lnTo>
                    <a:pt x="411" y="141"/>
                  </a:lnTo>
                  <a:lnTo>
                    <a:pt x="410" y="149"/>
                  </a:lnTo>
                  <a:lnTo>
                    <a:pt x="409" y="156"/>
                  </a:lnTo>
                  <a:lnTo>
                    <a:pt x="406" y="166"/>
                  </a:lnTo>
                  <a:lnTo>
                    <a:pt x="401" y="176"/>
                  </a:lnTo>
                  <a:lnTo>
                    <a:pt x="395" y="188"/>
                  </a:lnTo>
                  <a:lnTo>
                    <a:pt x="387" y="198"/>
                  </a:lnTo>
                  <a:lnTo>
                    <a:pt x="383" y="203"/>
                  </a:lnTo>
                  <a:lnTo>
                    <a:pt x="378" y="207"/>
                  </a:lnTo>
                  <a:lnTo>
                    <a:pt x="373" y="211"/>
                  </a:lnTo>
                  <a:lnTo>
                    <a:pt x="369" y="214"/>
                  </a:lnTo>
                  <a:lnTo>
                    <a:pt x="364" y="215"/>
                  </a:lnTo>
                  <a:lnTo>
                    <a:pt x="359" y="215"/>
                  </a:lnTo>
                  <a:lnTo>
                    <a:pt x="353" y="214"/>
                  </a:lnTo>
                  <a:lnTo>
                    <a:pt x="348" y="212"/>
                  </a:lnTo>
                  <a:lnTo>
                    <a:pt x="343" y="206"/>
                  </a:lnTo>
                  <a:lnTo>
                    <a:pt x="339" y="200"/>
                  </a:lnTo>
                  <a:lnTo>
                    <a:pt x="336" y="193"/>
                  </a:lnTo>
                  <a:lnTo>
                    <a:pt x="335" y="186"/>
                  </a:lnTo>
                  <a:lnTo>
                    <a:pt x="335" y="177"/>
                  </a:lnTo>
                  <a:lnTo>
                    <a:pt x="335" y="168"/>
                  </a:lnTo>
                  <a:lnTo>
                    <a:pt x="337" y="159"/>
                  </a:lnTo>
                  <a:lnTo>
                    <a:pt x="338" y="150"/>
                  </a:lnTo>
                  <a:lnTo>
                    <a:pt x="343" y="130"/>
                  </a:lnTo>
                  <a:lnTo>
                    <a:pt x="346" y="111"/>
                  </a:lnTo>
                  <a:lnTo>
                    <a:pt x="348" y="102"/>
                  </a:lnTo>
                  <a:lnTo>
                    <a:pt x="348" y="93"/>
                  </a:lnTo>
                  <a:lnTo>
                    <a:pt x="348" y="84"/>
                  </a:lnTo>
                  <a:lnTo>
                    <a:pt x="347" y="76"/>
                  </a:lnTo>
                  <a:lnTo>
                    <a:pt x="344" y="65"/>
                  </a:lnTo>
                  <a:lnTo>
                    <a:pt x="342" y="55"/>
                  </a:lnTo>
                  <a:lnTo>
                    <a:pt x="339" y="47"/>
                  </a:lnTo>
                  <a:lnTo>
                    <a:pt x="336" y="42"/>
                  </a:lnTo>
                  <a:lnTo>
                    <a:pt x="334" y="41"/>
                  </a:lnTo>
                  <a:lnTo>
                    <a:pt x="332" y="40"/>
                  </a:lnTo>
                  <a:lnTo>
                    <a:pt x="328" y="40"/>
                  </a:lnTo>
                  <a:lnTo>
                    <a:pt x="325" y="40"/>
                  </a:lnTo>
                  <a:lnTo>
                    <a:pt x="317" y="43"/>
                  </a:lnTo>
                  <a:lnTo>
                    <a:pt x="307" y="50"/>
                  </a:lnTo>
                  <a:lnTo>
                    <a:pt x="300" y="53"/>
                  </a:lnTo>
                  <a:lnTo>
                    <a:pt x="290" y="55"/>
                  </a:lnTo>
                  <a:lnTo>
                    <a:pt x="277" y="56"/>
                  </a:lnTo>
                  <a:lnTo>
                    <a:pt x="265" y="57"/>
                  </a:lnTo>
                  <a:lnTo>
                    <a:pt x="252" y="59"/>
                  </a:lnTo>
                  <a:lnTo>
                    <a:pt x="242" y="61"/>
                  </a:lnTo>
                  <a:lnTo>
                    <a:pt x="238" y="62"/>
                  </a:lnTo>
                  <a:lnTo>
                    <a:pt x="235" y="65"/>
                  </a:lnTo>
                  <a:lnTo>
                    <a:pt x="232" y="67"/>
                  </a:lnTo>
                  <a:lnTo>
                    <a:pt x="231" y="69"/>
                  </a:lnTo>
                  <a:lnTo>
                    <a:pt x="229" y="72"/>
                  </a:lnTo>
                  <a:lnTo>
                    <a:pt x="226" y="76"/>
                  </a:lnTo>
                  <a:lnTo>
                    <a:pt x="224" y="80"/>
                  </a:lnTo>
                  <a:lnTo>
                    <a:pt x="222" y="85"/>
                  </a:lnTo>
                  <a:lnTo>
                    <a:pt x="219" y="99"/>
                  </a:lnTo>
                  <a:lnTo>
                    <a:pt x="215" y="113"/>
                  </a:lnTo>
                  <a:lnTo>
                    <a:pt x="213" y="120"/>
                  </a:lnTo>
                  <a:lnTo>
                    <a:pt x="210" y="126"/>
                  </a:lnTo>
                  <a:lnTo>
                    <a:pt x="206" y="132"/>
                  </a:lnTo>
                  <a:lnTo>
                    <a:pt x="203" y="138"/>
                  </a:lnTo>
                  <a:lnTo>
                    <a:pt x="199" y="143"/>
                  </a:lnTo>
                  <a:lnTo>
                    <a:pt x="194" y="146"/>
                  </a:lnTo>
                  <a:lnTo>
                    <a:pt x="189" y="149"/>
                  </a:lnTo>
                  <a:lnTo>
                    <a:pt x="182" y="150"/>
                  </a:lnTo>
                  <a:lnTo>
                    <a:pt x="177" y="150"/>
                  </a:lnTo>
                  <a:lnTo>
                    <a:pt x="172" y="148"/>
                  </a:lnTo>
                  <a:lnTo>
                    <a:pt x="168" y="146"/>
                  </a:lnTo>
                  <a:lnTo>
                    <a:pt x="165" y="142"/>
                  </a:lnTo>
                  <a:lnTo>
                    <a:pt x="158" y="132"/>
                  </a:lnTo>
                  <a:lnTo>
                    <a:pt x="154" y="122"/>
                  </a:lnTo>
                  <a:lnTo>
                    <a:pt x="149" y="111"/>
                  </a:lnTo>
                  <a:lnTo>
                    <a:pt x="144" y="101"/>
                  </a:lnTo>
                  <a:lnTo>
                    <a:pt x="141" y="98"/>
                  </a:lnTo>
                  <a:lnTo>
                    <a:pt x="138" y="95"/>
                  </a:lnTo>
                  <a:lnTo>
                    <a:pt x="133" y="93"/>
                  </a:lnTo>
                  <a:lnTo>
                    <a:pt x="129" y="92"/>
                  </a:lnTo>
                  <a:lnTo>
                    <a:pt x="119" y="103"/>
                  </a:lnTo>
                  <a:lnTo>
                    <a:pt x="108" y="115"/>
                  </a:lnTo>
                  <a:lnTo>
                    <a:pt x="99" y="127"/>
                  </a:lnTo>
                  <a:lnTo>
                    <a:pt x="92" y="140"/>
                  </a:lnTo>
                  <a:lnTo>
                    <a:pt x="89" y="147"/>
                  </a:lnTo>
                  <a:lnTo>
                    <a:pt x="85" y="153"/>
                  </a:lnTo>
                  <a:lnTo>
                    <a:pt x="83" y="161"/>
                  </a:lnTo>
                  <a:lnTo>
                    <a:pt x="82" y="168"/>
                  </a:lnTo>
                  <a:lnTo>
                    <a:pt x="81" y="175"/>
                  </a:lnTo>
                  <a:lnTo>
                    <a:pt x="80" y="182"/>
                  </a:lnTo>
                  <a:lnTo>
                    <a:pt x="81" y="191"/>
                  </a:lnTo>
                  <a:lnTo>
                    <a:pt x="82" y="198"/>
                  </a:lnTo>
                  <a:lnTo>
                    <a:pt x="88" y="229"/>
                  </a:lnTo>
                  <a:lnTo>
                    <a:pt x="95" y="276"/>
                  </a:lnTo>
                  <a:lnTo>
                    <a:pt x="96" y="288"/>
                  </a:lnTo>
                  <a:lnTo>
                    <a:pt x="97" y="299"/>
                  </a:lnTo>
                  <a:lnTo>
                    <a:pt x="97" y="311"/>
                  </a:lnTo>
                  <a:lnTo>
                    <a:pt x="96" y="321"/>
                  </a:lnTo>
                  <a:lnTo>
                    <a:pt x="95" y="330"/>
                  </a:lnTo>
                  <a:lnTo>
                    <a:pt x="93" y="338"/>
                  </a:lnTo>
                  <a:lnTo>
                    <a:pt x="89" y="344"/>
                  </a:lnTo>
                  <a:lnTo>
                    <a:pt x="84" y="347"/>
                  </a:lnTo>
                  <a:lnTo>
                    <a:pt x="82" y="348"/>
                  </a:lnTo>
                  <a:lnTo>
                    <a:pt x="79" y="348"/>
                  </a:lnTo>
                  <a:lnTo>
                    <a:pt x="75" y="346"/>
                  </a:lnTo>
                  <a:lnTo>
                    <a:pt x="71" y="344"/>
                  </a:lnTo>
                  <a:lnTo>
                    <a:pt x="62" y="338"/>
                  </a:lnTo>
                  <a:lnTo>
                    <a:pt x="51" y="331"/>
                  </a:lnTo>
                  <a:lnTo>
                    <a:pt x="40" y="322"/>
                  </a:lnTo>
                  <a:lnTo>
                    <a:pt x="28" y="315"/>
                  </a:lnTo>
                  <a:lnTo>
                    <a:pt x="23" y="312"/>
                  </a:lnTo>
                  <a:lnTo>
                    <a:pt x="18" y="310"/>
                  </a:lnTo>
                  <a:lnTo>
                    <a:pt x="13" y="308"/>
                  </a:lnTo>
                  <a:lnTo>
                    <a:pt x="8" y="308"/>
                  </a:lnTo>
                  <a:lnTo>
                    <a:pt x="5" y="309"/>
                  </a:lnTo>
                  <a:lnTo>
                    <a:pt x="3" y="310"/>
                  </a:lnTo>
                  <a:lnTo>
                    <a:pt x="1" y="313"/>
                  </a:lnTo>
                  <a:lnTo>
                    <a:pt x="0" y="317"/>
                  </a:lnTo>
                  <a:lnTo>
                    <a:pt x="0" y="327"/>
                  </a:lnTo>
                  <a:lnTo>
                    <a:pt x="2" y="339"/>
                  </a:lnTo>
                  <a:lnTo>
                    <a:pt x="5" y="350"/>
                  </a:lnTo>
                  <a:lnTo>
                    <a:pt x="8" y="361"/>
                  </a:lnTo>
                  <a:lnTo>
                    <a:pt x="13" y="370"/>
                  </a:lnTo>
                  <a:lnTo>
                    <a:pt x="16" y="374"/>
                  </a:lnTo>
                  <a:lnTo>
                    <a:pt x="18" y="380"/>
                  </a:lnTo>
                  <a:lnTo>
                    <a:pt x="20" y="385"/>
                  </a:lnTo>
                  <a:lnTo>
                    <a:pt x="23" y="390"/>
                  </a:lnTo>
                  <a:lnTo>
                    <a:pt x="27" y="395"/>
                  </a:lnTo>
                  <a:lnTo>
                    <a:pt x="30" y="402"/>
                  </a:lnTo>
                  <a:lnTo>
                    <a:pt x="33" y="409"/>
                  </a:lnTo>
                  <a:lnTo>
                    <a:pt x="35" y="416"/>
                  </a:lnTo>
                  <a:lnTo>
                    <a:pt x="36" y="426"/>
                  </a:lnTo>
                  <a:lnTo>
                    <a:pt x="36" y="426"/>
                  </a:lnTo>
                  <a:lnTo>
                    <a:pt x="47" y="426"/>
                  </a:lnTo>
                  <a:lnTo>
                    <a:pt x="57" y="426"/>
                  </a:lnTo>
                  <a:lnTo>
                    <a:pt x="68" y="428"/>
                  </a:lnTo>
                  <a:lnTo>
                    <a:pt x="77" y="430"/>
                  </a:lnTo>
                  <a:lnTo>
                    <a:pt x="87" y="433"/>
                  </a:lnTo>
                  <a:lnTo>
                    <a:pt x="96" y="437"/>
                  </a:lnTo>
                  <a:lnTo>
                    <a:pt x="104" y="441"/>
                  </a:lnTo>
                  <a:lnTo>
                    <a:pt x="113" y="446"/>
                  </a:lnTo>
                  <a:lnTo>
                    <a:pt x="120" y="453"/>
                  </a:lnTo>
                  <a:lnTo>
                    <a:pt x="126" y="459"/>
                  </a:lnTo>
                  <a:lnTo>
                    <a:pt x="132" y="466"/>
                  </a:lnTo>
                  <a:lnTo>
                    <a:pt x="139" y="473"/>
                  </a:lnTo>
                  <a:lnTo>
                    <a:pt x="143" y="482"/>
                  </a:lnTo>
                  <a:lnTo>
                    <a:pt x="147" y="491"/>
                  </a:lnTo>
                  <a:lnTo>
                    <a:pt x="151" y="501"/>
                  </a:lnTo>
                  <a:lnTo>
                    <a:pt x="153" y="511"/>
                  </a:lnTo>
                  <a:lnTo>
                    <a:pt x="156" y="520"/>
                  </a:lnTo>
                  <a:lnTo>
                    <a:pt x="160" y="528"/>
                  </a:lnTo>
                  <a:lnTo>
                    <a:pt x="163" y="534"/>
                  </a:lnTo>
                  <a:lnTo>
                    <a:pt x="167" y="540"/>
                  </a:lnTo>
                  <a:lnTo>
                    <a:pt x="172" y="544"/>
                  </a:lnTo>
                  <a:lnTo>
                    <a:pt x="176" y="548"/>
                  </a:lnTo>
                  <a:lnTo>
                    <a:pt x="182" y="550"/>
                  </a:lnTo>
                  <a:lnTo>
                    <a:pt x="188" y="551"/>
                  </a:lnTo>
                  <a:lnTo>
                    <a:pt x="194" y="552"/>
                  </a:lnTo>
                  <a:lnTo>
                    <a:pt x="200" y="551"/>
                  </a:lnTo>
                  <a:lnTo>
                    <a:pt x="207" y="550"/>
                  </a:lnTo>
                  <a:lnTo>
                    <a:pt x="214" y="548"/>
                  </a:lnTo>
                  <a:lnTo>
                    <a:pt x="228" y="541"/>
                  </a:lnTo>
                  <a:lnTo>
                    <a:pt x="243" y="532"/>
                  </a:lnTo>
                  <a:lnTo>
                    <a:pt x="263" y="515"/>
                  </a:lnTo>
                  <a:lnTo>
                    <a:pt x="276" y="501"/>
                  </a:lnTo>
                  <a:lnTo>
                    <a:pt x="279" y="499"/>
                  </a:lnTo>
                  <a:lnTo>
                    <a:pt x="284" y="496"/>
                  </a:lnTo>
                  <a:lnTo>
                    <a:pt x="288" y="495"/>
                  </a:lnTo>
                  <a:lnTo>
                    <a:pt x="293" y="494"/>
                  </a:lnTo>
                  <a:lnTo>
                    <a:pt x="298" y="494"/>
                  </a:lnTo>
                  <a:lnTo>
                    <a:pt x="305" y="494"/>
                  </a:lnTo>
                  <a:lnTo>
                    <a:pt x="313" y="495"/>
                  </a:lnTo>
                  <a:lnTo>
                    <a:pt x="321" y="497"/>
                  </a:lnTo>
                  <a:lnTo>
                    <a:pt x="327" y="500"/>
                  </a:lnTo>
                  <a:lnTo>
                    <a:pt x="333" y="500"/>
                  </a:lnTo>
                  <a:lnTo>
                    <a:pt x="338" y="500"/>
                  </a:lnTo>
                  <a:lnTo>
                    <a:pt x="342" y="499"/>
                  </a:lnTo>
                  <a:lnTo>
                    <a:pt x="351" y="495"/>
                  </a:lnTo>
                  <a:lnTo>
                    <a:pt x="360" y="490"/>
                  </a:lnTo>
                  <a:lnTo>
                    <a:pt x="375" y="479"/>
                  </a:lnTo>
                  <a:lnTo>
                    <a:pt x="393" y="468"/>
                  </a:lnTo>
                  <a:lnTo>
                    <a:pt x="408" y="463"/>
                  </a:lnTo>
                  <a:lnTo>
                    <a:pt x="421" y="460"/>
                  </a:lnTo>
                  <a:lnTo>
                    <a:pt x="435" y="459"/>
                  </a:lnTo>
                  <a:lnTo>
                    <a:pt x="448" y="457"/>
                  </a:lnTo>
                  <a:lnTo>
                    <a:pt x="461" y="455"/>
                  </a:lnTo>
                  <a:lnTo>
                    <a:pt x="474" y="451"/>
                  </a:lnTo>
                  <a:lnTo>
                    <a:pt x="481" y="447"/>
                  </a:lnTo>
                  <a:lnTo>
                    <a:pt x="487" y="444"/>
                  </a:lnTo>
                  <a:lnTo>
                    <a:pt x="494" y="439"/>
                  </a:lnTo>
                  <a:lnTo>
                    <a:pt x="500" y="434"/>
                  </a:lnTo>
                  <a:lnTo>
                    <a:pt x="508" y="429"/>
                  </a:lnTo>
                  <a:lnTo>
                    <a:pt x="518" y="421"/>
                  </a:lnTo>
                  <a:lnTo>
                    <a:pt x="532" y="413"/>
                  </a:lnTo>
                  <a:lnTo>
                    <a:pt x="546" y="406"/>
                  </a:lnTo>
                  <a:lnTo>
                    <a:pt x="561" y="399"/>
                  </a:lnTo>
                  <a:lnTo>
                    <a:pt x="574" y="395"/>
                  </a:lnTo>
                  <a:lnTo>
                    <a:pt x="581" y="394"/>
                  </a:lnTo>
                  <a:lnTo>
                    <a:pt x="586" y="394"/>
                  </a:lnTo>
                  <a:lnTo>
                    <a:pt x="591" y="395"/>
                  </a:lnTo>
                  <a:lnTo>
                    <a:pt x="594" y="398"/>
                  </a:lnTo>
                  <a:lnTo>
                    <a:pt x="594" y="419"/>
                  </a:lnTo>
                  <a:lnTo>
                    <a:pt x="594" y="439"/>
                  </a:lnTo>
                  <a:lnTo>
                    <a:pt x="593" y="460"/>
                  </a:lnTo>
                  <a:lnTo>
                    <a:pt x="591" y="483"/>
                  </a:lnTo>
                  <a:lnTo>
                    <a:pt x="588" y="502"/>
                  </a:lnTo>
                  <a:lnTo>
                    <a:pt x="587" y="515"/>
                  </a:lnTo>
                  <a:lnTo>
                    <a:pt x="587" y="521"/>
                  </a:lnTo>
                  <a:lnTo>
                    <a:pt x="588" y="526"/>
                  </a:lnTo>
                  <a:lnTo>
                    <a:pt x="590" y="530"/>
                  </a:lnTo>
                  <a:lnTo>
                    <a:pt x="592" y="533"/>
                  </a:lnTo>
                  <a:lnTo>
                    <a:pt x="595" y="535"/>
                  </a:lnTo>
                  <a:lnTo>
                    <a:pt x="600" y="537"/>
                  </a:lnTo>
                  <a:lnTo>
                    <a:pt x="605" y="539"/>
                  </a:lnTo>
                  <a:lnTo>
                    <a:pt x="611" y="539"/>
                  </a:lnTo>
                  <a:lnTo>
                    <a:pt x="626" y="540"/>
                  </a:lnTo>
                  <a:lnTo>
                    <a:pt x="646" y="541"/>
                  </a:lnTo>
                  <a:lnTo>
                    <a:pt x="659" y="540"/>
                  </a:lnTo>
                  <a:lnTo>
                    <a:pt x="678" y="539"/>
                  </a:lnTo>
                  <a:lnTo>
                    <a:pt x="686" y="539"/>
                  </a:lnTo>
                  <a:lnTo>
                    <a:pt x="694" y="540"/>
                  </a:lnTo>
                  <a:lnTo>
                    <a:pt x="698" y="540"/>
                  </a:lnTo>
                  <a:lnTo>
                    <a:pt x="700" y="541"/>
                  </a:lnTo>
                  <a:lnTo>
                    <a:pt x="701" y="543"/>
                  </a:lnTo>
                  <a:lnTo>
                    <a:pt x="702" y="545"/>
                  </a:lnTo>
                  <a:lnTo>
                    <a:pt x="705" y="548"/>
                  </a:lnTo>
                  <a:lnTo>
                    <a:pt x="708" y="550"/>
                  </a:lnTo>
                  <a:lnTo>
                    <a:pt x="709" y="554"/>
                  </a:lnTo>
                  <a:lnTo>
                    <a:pt x="710" y="557"/>
                  </a:lnTo>
                  <a:lnTo>
                    <a:pt x="710" y="561"/>
                  </a:lnTo>
                  <a:lnTo>
                    <a:pt x="710" y="566"/>
                  </a:lnTo>
                  <a:lnTo>
                    <a:pt x="708" y="571"/>
                  </a:lnTo>
                  <a:lnTo>
                    <a:pt x="707" y="576"/>
                  </a:lnTo>
                  <a:lnTo>
                    <a:pt x="702" y="587"/>
                  </a:lnTo>
                  <a:lnTo>
                    <a:pt x="694" y="600"/>
                  </a:lnTo>
                  <a:lnTo>
                    <a:pt x="686" y="612"/>
                  </a:lnTo>
                  <a:lnTo>
                    <a:pt x="677" y="626"/>
                  </a:lnTo>
                  <a:lnTo>
                    <a:pt x="657" y="652"/>
                  </a:lnTo>
                  <a:lnTo>
                    <a:pt x="638" y="675"/>
                  </a:lnTo>
                  <a:lnTo>
                    <a:pt x="625" y="694"/>
                  </a:lnTo>
                  <a:lnTo>
                    <a:pt x="617" y="705"/>
                  </a:lnTo>
                  <a:lnTo>
                    <a:pt x="614" y="717"/>
                  </a:lnTo>
                  <a:lnTo>
                    <a:pt x="612" y="729"/>
                  </a:lnTo>
                  <a:lnTo>
                    <a:pt x="611" y="742"/>
                  </a:lnTo>
                  <a:lnTo>
                    <a:pt x="610" y="754"/>
                  </a:lnTo>
                  <a:lnTo>
                    <a:pt x="609" y="767"/>
                  </a:lnTo>
                  <a:lnTo>
                    <a:pt x="608" y="779"/>
                  </a:lnTo>
                  <a:lnTo>
                    <a:pt x="606" y="792"/>
                  </a:lnTo>
                  <a:lnTo>
                    <a:pt x="603" y="804"/>
                  </a:lnTo>
                  <a:lnTo>
                    <a:pt x="601" y="810"/>
                  </a:lnTo>
                  <a:lnTo>
                    <a:pt x="597" y="816"/>
                  </a:lnTo>
                  <a:lnTo>
                    <a:pt x="594" y="820"/>
                  </a:lnTo>
                  <a:lnTo>
                    <a:pt x="590" y="824"/>
                  </a:lnTo>
                  <a:lnTo>
                    <a:pt x="585" y="827"/>
                  </a:lnTo>
                  <a:lnTo>
                    <a:pt x="581" y="830"/>
                  </a:lnTo>
                  <a:lnTo>
                    <a:pt x="576" y="832"/>
                  </a:lnTo>
                  <a:lnTo>
                    <a:pt x="569" y="834"/>
                  </a:lnTo>
                  <a:lnTo>
                    <a:pt x="546" y="840"/>
                  </a:lnTo>
                  <a:lnTo>
                    <a:pt x="523" y="843"/>
                  </a:lnTo>
                  <a:lnTo>
                    <a:pt x="522" y="851"/>
                  </a:lnTo>
                  <a:lnTo>
                    <a:pt x="521" y="859"/>
                  </a:lnTo>
                  <a:lnTo>
                    <a:pt x="520" y="869"/>
                  </a:lnTo>
                  <a:lnTo>
                    <a:pt x="520" y="879"/>
                  </a:lnTo>
                  <a:lnTo>
                    <a:pt x="521" y="900"/>
                  </a:lnTo>
                  <a:lnTo>
                    <a:pt x="523" y="922"/>
                  </a:lnTo>
                  <a:lnTo>
                    <a:pt x="527" y="945"/>
                  </a:lnTo>
                  <a:lnTo>
                    <a:pt x="529" y="967"/>
                  </a:lnTo>
                  <a:lnTo>
                    <a:pt x="531" y="987"/>
                  </a:lnTo>
                  <a:lnTo>
                    <a:pt x="532" y="1006"/>
                  </a:lnTo>
                  <a:lnTo>
                    <a:pt x="533" y="1042"/>
                  </a:lnTo>
                  <a:lnTo>
                    <a:pt x="534" y="1082"/>
                  </a:lnTo>
                  <a:lnTo>
                    <a:pt x="535" y="1102"/>
                  </a:lnTo>
                  <a:lnTo>
                    <a:pt x="534" y="1120"/>
                  </a:lnTo>
                  <a:lnTo>
                    <a:pt x="533" y="1139"/>
                  </a:lnTo>
                  <a:lnTo>
                    <a:pt x="531" y="1156"/>
                  </a:lnTo>
                  <a:lnTo>
                    <a:pt x="527" y="1158"/>
                  </a:lnTo>
                  <a:lnTo>
                    <a:pt x="522" y="1159"/>
                  </a:lnTo>
                  <a:lnTo>
                    <a:pt x="518" y="1159"/>
                  </a:lnTo>
                  <a:lnTo>
                    <a:pt x="513" y="1160"/>
                  </a:lnTo>
                  <a:lnTo>
                    <a:pt x="504" y="1160"/>
                  </a:lnTo>
                  <a:lnTo>
                    <a:pt x="494" y="1159"/>
                  </a:lnTo>
                  <a:lnTo>
                    <a:pt x="478" y="1159"/>
                  </a:lnTo>
                  <a:lnTo>
                    <a:pt x="456" y="1159"/>
                  </a:lnTo>
                  <a:lnTo>
                    <a:pt x="444" y="1160"/>
                  </a:lnTo>
                  <a:lnTo>
                    <a:pt x="434" y="1161"/>
                  </a:lnTo>
                  <a:lnTo>
                    <a:pt x="425" y="1162"/>
                  </a:lnTo>
                  <a:lnTo>
                    <a:pt x="421" y="1165"/>
                  </a:lnTo>
                  <a:lnTo>
                    <a:pt x="419" y="1168"/>
                  </a:lnTo>
                  <a:lnTo>
                    <a:pt x="418" y="1172"/>
                  </a:lnTo>
                  <a:lnTo>
                    <a:pt x="417" y="1179"/>
                  </a:lnTo>
                  <a:lnTo>
                    <a:pt x="416" y="1187"/>
                  </a:lnTo>
                  <a:lnTo>
                    <a:pt x="415" y="1207"/>
                  </a:lnTo>
                  <a:lnTo>
                    <a:pt x="414" y="1229"/>
                  </a:lnTo>
                  <a:lnTo>
                    <a:pt x="413" y="1252"/>
                  </a:lnTo>
                  <a:lnTo>
                    <a:pt x="411" y="1274"/>
                  </a:lnTo>
                  <a:lnTo>
                    <a:pt x="410" y="1283"/>
                  </a:lnTo>
                  <a:lnTo>
                    <a:pt x="408" y="1291"/>
                  </a:lnTo>
                  <a:lnTo>
                    <a:pt x="407" y="1300"/>
                  </a:lnTo>
                  <a:lnTo>
                    <a:pt x="405" y="1305"/>
                  </a:lnTo>
                  <a:lnTo>
                    <a:pt x="397" y="1316"/>
                  </a:lnTo>
                  <a:lnTo>
                    <a:pt x="388" y="1330"/>
                  </a:lnTo>
                  <a:lnTo>
                    <a:pt x="375" y="1343"/>
                  </a:lnTo>
                  <a:lnTo>
                    <a:pt x="361" y="1356"/>
                  </a:lnTo>
                  <a:lnTo>
                    <a:pt x="346" y="1368"/>
                  </a:lnTo>
                  <a:lnTo>
                    <a:pt x="331" y="1377"/>
                  </a:lnTo>
                  <a:lnTo>
                    <a:pt x="323" y="1381"/>
                  </a:lnTo>
                  <a:lnTo>
                    <a:pt x="316" y="1384"/>
                  </a:lnTo>
                  <a:lnTo>
                    <a:pt x="310" y="1386"/>
                  </a:lnTo>
                  <a:lnTo>
                    <a:pt x="303" y="1387"/>
                  </a:lnTo>
                  <a:lnTo>
                    <a:pt x="298" y="1397"/>
                  </a:lnTo>
                  <a:lnTo>
                    <a:pt x="294" y="1407"/>
                  </a:lnTo>
                  <a:lnTo>
                    <a:pt x="291" y="1419"/>
                  </a:lnTo>
                  <a:lnTo>
                    <a:pt x="290" y="1430"/>
                  </a:lnTo>
                  <a:lnTo>
                    <a:pt x="290" y="1443"/>
                  </a:lnTo>
                  <a:lnTo>
                    <a:pt x="291" y="1455"/>
                  </a:lnTo>
                  <a:lnTo>
                    <a:pt x="292" y="1468"/>
                  </a:lnTo>
                  <a:lnTo>
                    <a:pt x="294" y="1481"/>
                  </a:lnTo>
                  <a:lnTo>
                    <a:pt x="298" y="1507"/>
                  </a:lnTo>
                  <a:lnTo>
                    <a:pt x="300" y="1533"/>
                  </a:lnTo>
                  <a:lnTo>
                    <a:pt x="301" y="1546"/>
                  </a:lnTo>
                  <a:lnTo>
                    <a:pt x="300" y="1558"/>
                  </a:lnTo>
                  <a:lnTo>
                    <a:pt x="298" y="1571"/>
                  </a:lnTo>
                  <a:lnTo>
                    <a:pt x="295" y="1582"/>
                  </a:lnTo>
                  <a:lnTo>
                    <a:pt x="287" y="1605"/>
                  </a:lnTo>
                  <a:lnTo>
                    <a:pt x="279" y="1629"/>
                  </a:lnTo>
                  <a:lnTo>
                    <a:pt x="278" y="1641"/>
                  </a:lnTo>
                  <a:lnTo>
                    <a:pt x="278" y="1652"/>
                  </a:lnTo>
                  <a:lnTo>
                    <a:pt x="279" y="1659"/>
                  </a:lnTo>
                  <a:lnTo>
                    <a:pt x="280" y="1664"/>
                  </a:lnTo>
                  <a:lnTo>
                    <a:pt x="283" y="1670"/>
                  </a:lnTo>
                  <a:lnTo>
                    <a:pt x="286" y="1675"/>
                  </a:lnTo>
                  <a:lnTo>
                    <a:pt x="291" y="1687"/>
                  </a:lnTo>
                  <a:lnTo>
                    <a:pt x="293" y="1698"/>
                  </a:lnTo>
                  <a:lnTo>
                    <a:pt x="295" y="1709"/>
                  </a:lnTo>
                  <a:lnTo>
                    <a:pt x="295" y="1720"/>
                  </a:lnTo>
                  <a:lnTo>
                    <a:pt x="296" y="1732"/>
                  </a:lnTo>
                  <a:lnTo>
                    <a:pt x="297" y="1743"/>
                  </a:lnTo>
                  <a:lnTo>
                    <a:pt x="300" y="1754"/>
                  </a:lnTo>
                  <a:lnTo>
                    <a:pt x="304" y="1766"/>
                  </a:lnTo>
                  <a:lnTo>
                    <a:pt x="314" y="1777"/>
                  </a:lnTo>
                  <a:lnTo>
                    <a:pt x="320" y="1786"/>
                  </a:lnTo>
                  <a:lnTo>
                    <a:pt x="324" y="1794"/>
                  </a:lnTo>
                  <a:lnTo>
                    <a:pt x="325" y="1802"/>
                  </a:lnTo>
                  <a:lnTo>
                    <a:pt x="325" y="1810"/>
                  </a:lnTo>
                  <a:lnTo>
                    <a:pt x="324" y="1818"/>
                  </a:lnTo>
                  <a:lnTo>
                    <a:pt x="321" y="1829"/>
                  </a:lnTo>
                  <a:lnTo>
                    <a:pt x="318" y="1840"/>
                  </a:lnTo>
                  <a:lnTo>
                    <a:pt x="315" y="1853"/>
                  </a:lnTo>
                  <a:lnTo>
                    <a:pt x="315" y="1866"/>
                  </a:lnTo>
                  <a:lnTo>
                    <a:pt x="315" y="1866"/>
                  </a:lnTo>
                  <a:lnTo>
                    <a:pt x="326" y="1894"/>
                  </a:lnTo>
                  <a:lnTo>
                    <a:pt x="339" y="1924"/>
                  </a:lnTo>
                  <a:lnTo>
                    <a:pt x="345" y="1938"/>
                  </a:lnTo>
                  <a:lnTo>
                    <a:pt x="351" y="1953"/>
                  </a:lnTo>
                  <a:lnTo>
                    <a:pt x="356" y="1967"/>
                  </a:lnTo>
                  <a:lnTo>
                    <a:pt x="360" y="1982"/>
                  </a:lnTo>
                  <a:lnTo>
                    <a:pt x="362" y="1987"/>
                  </a:lnTo>
                  <a:lnTo>
                    <a:pt x="364" y="1992"/>
                  </a:lnTo>
                  <a:lnTo>
                    <a:pt x="366" y="1997"/>
                  </a:lnTo>
                  <a:lnTo>
                    <a:pt x="369" y="2000"/>
                  </a:lnTo>
                  <a:lnTo>
                    <a:pt x="372" y="2004"/>
                  </a:lnTo>
                  <a:lnTo>
                    <a:pt x="375" y="2006"/>
                  </a:lnTo>
                  <a:lnTo>
                    <a:pt x="378" y="2008"/>
                  </a:lnTo>
                  <a:lnTo>
                    <a:pt x="383" y="2010"/>
                  </a:lnTo>
                  <a:lnTo>
                    <a:pt x="391" y="2012"/>
                  </a:lnTo>
                  <a:lnTo>
                    <a:pt x="400" y="2012"/>
                  </a:lnTo>
                  <a:lnTo>
                    <a:pt x="410" y="2011"/>
                  </a:lnTo>
                  <a:lnTo>
                    <a:pt x="419" y="2008"/>
                  </a:lnTo>
                  <a:lnTo>
                    <a:pt x="430" y="2005"/>
                  </a:lnTo>
                  <a:lnTo>
                    <a:pt x="438" y="2000"/>
                  </a:lnTo>
                  <a:lnTo>
                    <a:pt x="447" y="1995"/>
                  </a:lnTo>
                  <a:lnTo>
                    <a:pt x="455" y="1988"/>
                  </a:lnTo>
                  <a:lnTo>
                    <a:pt x="462" y="1981"/>
                  </a:lnTo>
                  <a:lnTo>
                    <a:pt x="467" y="1975"/>
                  </a:lnTo>
                  <a:lnTo>
                    <a:pt x="471" y="1967"/>
                  </a:lnTo>
                  <a:lnTo>
                    <a:pt x="473" y="1959"/>
                  </a:lnTo>
                  <a:lnTo>
                    <a:pt x="478" y="1940"/>
                  </a:lnTo>
                  <a:lnTo>
                    <a:pt x="483" y="1922"/>
                  </a:lnTo>
                  <a:lnTo>
                    <a:pt x="488" y="1903"/>
                  </a:lnTo>
                  <a:lnTo>
                    <a:pt x="494" y="1883"/>
                  </a:lnTo>
                  <a:lnTo>
                    <a:pt x="500" y="1864"/>
                  </a:lnTo>
                  <a:lnTo>
                    <a:pt x="507" y="1845"/>
                  </a:lnTo>
                  <a:lnTo>
                    <a:pt x="511" y="1827"/>
                  </a:lnTo>
                  <a:lnTo>
                    <a:pt x="514" y="1809"/>
                  </a:lnTo>
                  <a:lnTo>
                    <a:pt x="517" y="1808"/>
                  </a:lnTo>
                  <a:lnTo>
                    <a:pt x="520" y="1807"/>
                  </a:lnTo>
                  <a:lnTo>
                    <a:pt x="536" y="1822"/>
                  </a:lnTo>
                  <a:lnTo>
                    <a:pt x="549" y="1836"/>
                  </a:lnTo>
                  <a:lnTo>
                    <a:pt x="562" y="1850"/>
                  </a:lnTo>
                  <a:lnTo>
                    <a:pt x="572" y="1864"/>
                  </a:lnTo>
                  <a:lnTo>
                    <a:pt x="583" y="1879"/>
                  </a:lnTo>
                  <a:lnTo>
                    <a:pt x="591" y="1895"/>
                  </a:lnTo>
                  <a:lnTo>
                    <a:pt x="594" y="1905"/>
                  </a:lnTo>
                  <a:lnTo>
                    <a:pt x="597" y="1914"/>
                  </a:lnTo>
                  <a:lnTo>
                    <a:pt x="601" y="1925"/>
                  </a:lnTo>
                  <a:lnTo>
                    <a:pt x="603" y="1936"/>
                  </a:lnTo>
                  <a:lnTo>
                    <a:pt x="607" y="1954"/>
                  </a:lnTo>
                  <a:lnTo>
                    <a:pt x="614" y="1982"/>
                  </a:lnTo>
                  <a:lnTo>
                    <a:pt x="618" y="1999"/>
                  </a:lnTo>
                  <a:lnTo>
                    <a:pt x="623" y="2016"/>
                  </a:lnTo>
                  <a:lnTo>
                    <a:pt x="630" y="2034"/>
                  </a:lnTo>
                  <a:lnTo>
                    <a:pt x="636" y="2051"/>
                  </a:lnTo>
                  <a:lnTo>
                    <a:pt x="643" y="2068"/>
                  </a:lnTo>
                  <a:lnTo>
                    <a:pt x="651" y="2082"/>
                  </a:lnTo>
                  <a:lnTo>
                    <a:pt x="659" y="2095"/>
                  </a:lnTo>
                  <a:lnTo>
                    <a:pt x="667" y="2105"/>
                  </a:lnTo>
                  <a:lnTo>
                    <a:pt x="671" y="2109"/>
                  </a:lnTo>
                  <a:lnTo>
                    <a:pt x="677" y="2112"/>
                  </a:lnTo>
                  <a:lnTo>
                    <a:pt x="681" y="2115"/>
                  </a:lnTo>
                  <a:lnTo>
                    <a:pt x="686" y="2116"/>
                  </a:lnTo>
                  <a:lnTo>
                    <a:pt x="691" y="2116"/>
                  </a:lnTo>
                  <a:lnTo>
                    <a:pt x="695" y="2115"/>
                  </a:lnTo>
                  <a:lnTo>
                    <a:pt x="701" y="2111"/>
                  </a:lnTo>
                  <a:lnTo>
                    <a:pt x="706" y="2108"/>
                  </a:lnTo>
                  <a:lnTo>
                    <a:pt x="714" y="2102"/>
                  </a:lnTo>
                  <a:lnTo>
                    <a:pt x="726" y="2094"/>
                  </a:lnTo>
                  <a:lnTo>
                    <a:pt x="737" y="2086"/>
                  </a:lnTo>
                  <a:lnTo>
                    <a:pt x="751" y="2079"/>
                  </a:lnTo>
                  <a:lnTo>
                    <a:pt x="763" y="2072"/>
                  </a:lnTo>
                  <a:lnTo>
                    <a:pt x="777" y="2067"/>
                  </a:lnTo>
                  <a:lnTo>
                    <a:pt x="788" y="2062"/>
                  </a:lnTo>
                  <a:lnTo>
                    <a:pt x="799" y="2061"/>
                  </a:lnTo>
                  <a:lnTo>
                    <a:pt x="808" y="2062"/>
                  </a:lnTo>
                  <a:lnTo>
                    <a:pt x="817" y="2063"/>
                  </a:lnTo>
                  <a:lnTo>
                    <a:pt x="826" y="2065"/>
                  </a:lnTo>
                  <a:lnTo>
                    <a:pt x="833" y="2068"/>
                  </a:lnTo>
                  <a:lnTo>
                    <a:pt x="839" y="2071"/>
                  </a:lnTo>
                  <a:lnTo>
                    <a:pt x="847" y="2075"/>
                  </a:lnTo>
                  <a:lnTo>
                    <a:pt x="852" y="2079"/>
                  </a:lnTo>
                  <a:lnTo>
                    <a:pt x="858" y="2084"/>
                  </a:lnTo>
                  <a:lnTo>
                    <a:pt x="880" y="2105"/>
                  </a:lnTo>
                  <a:lnTo>
                    <a:pt x="905" y="2126"/>
                  </a:lnTo>
                  <a:lnTo>
                    <a:pt x="910" y="2129"/>
                  </a:lnTo>
                  <a:lnTo>
                    <a:pt x="915" y="2133"/>
                  </a:lnTo>
                  <a:lnTo>
                    <a:pt x="920" y="2137"/>
                  </a:lnTo>
                  <a:lnTo>
                    <a:pt x="924" y="2142"/>
                  </a:lnTo>
                  <a:lnTo>
                    <a:pt x="932" y="2151"/>
                  </a:lnTo>
                  <a:lnTo>
                    <a:pt x="940" y="2160"/>
                  </a:lnTo>
                  <a:lnTo>
                    <a:pt x="944" y="2170"/>
                  </a:lnTo>
                  <a:lnTo>
                    <a:pt x="945" y="2178"/>
                  </a:lnTo>
                  <a:lnTo>
                    <a:pt x="946" y="2188"/>
                  </a:lnTo>
                  <a:lnTo>
                    <a:pt x="947" y="2196"/>
                  </a:lnTo>
                  <a:lnTo>
                    <a:pt x="948" y="2215"/>
                  </a:lnTo>
                  <a:lnTo>
                    <a:pt x="950" y="2232"/>
                  </a:lnTo>
                  <a:lnTo>
                    <a:pt x="950" y="2232"/>
                  </a:lnTo>
                  <a:lnTo>
                    <a:pt x="958" y="2233"/>
                  </a:lnTo>
                  <a:lnTo>
                    <a:pt x="967" y="2237"/>
                  </a:lnTo>
                  <a:lnTo>
                    <a:pt x="974" y="2240"/>
                  </a:lnTo>
                  <a:lnTo>
                    <a:pt x="981" y="2243"/>
                  </a:lnTo>
                  <a:lnTo>
                    <a:pt x="989" y="2246"/>
                  </a:lnTo>
                  <a:lnTo>
                    <a:pt x="998" y="2249"/>
                  </a:lnTo>
                  <a:lnTo>
                    <a:pt x="1006" y="2251"/>
                  </a:lnTo>
                  <a:lnTo>
                    <a:pt x="1017" y="2251"/>
                  </a:lnTo>
                  <a:lnTo>
                    <a:pt x="1023" y="2251"/>
                  </a:lnTo>
                  <a:lnTo>
                    <a:pt x="1028" y="2249"/>
                  </a:lnTo>
                  <a:lnTo>
                    <a:pt x="1034" y="2247"/>
                  </a:lnTo>
                  <a:lnTo>
                    <a:pt x="1041" y="2244"/>
                  </a:lnTo>
                  <a:lnTo>
                    <a:pt x="1046" y="2241"/>
                  </a:lnTo>
                  <a:lnTo>
                    <a:pt x="1050" y="2237"/>
                  </a:lnTo>
                  <a:lnTo>
                    <a:pt x="1054" y="2231"/>
                  </a:lnTo>
                  <a:lnTo>
                    <a:pt x="1056" y="2226"/>
                  </a:lnTo>
                  <a:lnTo>
                    <a:pt x="1057" y="2219"/>
                  </a:lnTo>
                  <a:lnTo>
                    <a:pt x="1057" y="2212"/>
                  </a:lnTo>
                  <a:lnTo>
                    <a:pt x="1056" y="2203"/>
                  </a:lnTo>
                  <a:lnTo>
                    <a:pt x="1054" y="2194"/>
                  </a:lnTo>
                  <a:lnTo>
                    <a:pt x="1052" y="2184"/>
                  </a:lnTo>
                  <a:lnTo>
                    <a:pt x="1050" y="2176"/>
                  </a:lnTo>
                  <a:lnTo>
                    <a:pt x="1049" y="2168"/>
                  </a:lnTo>
                  <a:lnTo>
                    <a:pt x="1049" y="2159"/>
                  </a:lnTo>
                  <a:lnTo>
                    <a:pt x="1051" y="2151"/>
                  </a:lnTo>
                  <a:lnTo>
                    <a:pt x="1055" y="2145"/>
                  </a:lnTo>
                  <a:lnTo>
                    <a:pt x="1059" y="2139"/>
                  </a:lnTo>
                  <a:lnTo>
                    <a:pt x="1065" y="2133"/>
                  </a:lnTo>
                  <a:lnTo>
                    <a:pt x="1072" y="2125"/>
                  </a:lnTo>
                  <a:lnTo>
                    <a:pt x="1078" y="2116"/>
                  </a:lnTo>
                  <a:lnTo>
                    <a:pt x="1085" y="2107"/>
                  </a:lnTo>
                  <a:lnTo>
                    <a:pt x="1092" y="2100"/>
                  </a:lnTo>
                  <a:lnTo>
                    <a:pt x="1119" y="2083"/>
                  </a:lnTo>
                  <a:lnTo>
                    <a:pt x="1157" y="2060"/>
                  </a:lnTo>
                  <a:lnTo>
                    <a:pt x="1178" y="2050"/>
                  </a:lnTo>
                  <a:lnTo>
                    <a:pt x="1198" y="2039"/>
                  </a:lnTo>
                  <a:lnTo>
                    <a:pt x="1216" y="2032"/>
                  </a:lnTo>
                  <a:lnTo>
                    <a:pt x="1230" y="2027"/>
                  </a:lnTo>
                  <a:lnTo>
                    <a:pt x="1257" y="2021"/>
                  </a:lnTo>
                  <a:lnTo>
                    <a:pt x="1287" y="2014"/>
                  </a:lnTo>
                  <a:lnTo>
                    <a:pt x="1302" y="2010"/>
                  </a:lnTo>
                  <a:lnTo>
                    <a:pt x="1317" y="2006"/>
                  </a:lnTo>
                  <a:lnTo>
                    <a:pt x="1331" y="2001"/>
                  </a:lnTo>
                  <a:lnTo>
                    <a:pt x="1345" y="1995"/>
                  </a:lnTo>
                  <a:lnTo>
                    <a:pt x="1358" y="1987"/>
                  </a:lnTo>
                  <a:lnTo>
                    <a:pt x="1368" y="1979"/>
                  </a:lnTo>
                  <a:lnTo>
                    <a:pt x="1373" y="1975"/>
                  </a:lnTo>
                  <a:lnTo>
                    <a:pt x="1377" y="1970"/>
                  </a:lnTo>
                  <a:lnTo>
                    <a:pt x="1381" y="1964"/>
                  </a:lnTo>
                  <a:lnTo>
                    <a:pt x="1385" y="1959"/>
                  </a:lnTo>
                  <a:lnTo>
                    <a:pt x="1387" y="1953"/>
                  </a:lnTo>
                  <a:lnTo>
                    <a:pt x="1389" y="1947"/>
                  </a:lnTo>
                  <a:lnTo>
                    <a:pt x="1390" y="1940"/>
                  </a:lnTo>
                  <a:lnTo>
                    <a:pt x="1391" y="1933"/>
                  </a:lnTo>
                  <a:lnTo>
                    <a:pt x="1390" y="1926"/>
                  </a:lnTo>
                  <a:lnTo>
                    <a:pt x="1389" y="1917"/>
                  </a:lnTo>
                  <a:lnTo>
                    <a:pt x="1387" y="1909"/>
                  </a:lnTo>
                  <a:lnTo>
                    <a:pt x="1385" y="1901"/>
                  </a:lnTo>
                  <a:lnTo>
                    <a:pt x="1373" y="1878"/>
                  </a:lnTo>
                  <a:lnTo>
                    <a:pt x="1362" y="1854"/>
                  </a:lnTo>
                  <a:lnTo>
                    <a:pt x="1361" y="1848"/>
                  </a:lnTo>
                  <a:lnTo>
                    <a:pt x="1361" y="1842"/>
                  </a:lnTo>
                  <a:lnTo>
                    <a:pt x="1362" y="1837"/>
                  </a:lnTo>
                  <a:lnTo>
                    <a:pt x="1364" y="1832"/>
                  </a:lnTo>
                  <a:lnTo>
                    <a:pt x="1367" y="1827"/>
                  </a:lnTo>
                  <a:lnTo>
                    <a:pt x="1372" y="1822"/>
                  </a:lnTo>
                  <a:lnTo>
                    <a:pt x="1378" y="1818"/>
                  </a:lnTo>
                  <a:lnTo>
                    <a:pt x="1388" y="1815"/>
                  </a:lnTo>
                  <a:lnTo>
                    <a:pt x="1421" y="1804"/>
                  </a:lnTo>
                  <a:lnTo>
                    <a:pt x="1454" y="1792"/>
                  </a:lnTo>
                  <a:lnTo>
                    <a:pt x="1487" y="1779"/>
                  </a:lnTo>
                  <a:lnTo>
                    <a:pt x="1519" y="1765"/>
                  </a:lnTo>
                  <a:lnTo>
                    <a:pt x="1551" y="1741"/>
                  </a:lnTo>
                  <a:lnTo>
                    <a:pt x="1551" y="1741"/>
                  </a:lnTo>
                  <a:lnTo>
                    <a:pt x="1550" y="1737"/>
                  </a:lnTo>
                  <a:lnTo>
                    <a:pt x="1548" y="1733"/>
                  </a:lnTo>
                  <a:lnTo>
                    <a:pt x="1546" y="1730"/>
                  </a:lnTo>
                  <a:lnTo>
                    <a:pt x="1543" y="1726"/>
                  </a:lnTo>
                  <a:lnTo>
                    <a:pt x="1540" y="1716"/>
                  </a:lnTo>
                  <a:lnTo>
                    <a:pt x="1535" y="1705"/>
                  </a:lnTo>
                  <a:lnTo>
                    <a:pt x="1530" y="1694"/>
                  </a:lnTo>
                  <a:lnTo>
                    <a:pt x="1522" y="1685"/>
                  </a:lnTo>
                  <a:lnTo>
                    <a:pt x="1508" y="1665"/>
                  </a:lnTo>
                  <a:lnTo>
                    <a:pt x="1491" y="1646"/>
                  </a:lnTo>
                  <a:lnTo>
                    <a:pt x="1473" y="1626"/>
                  </a:lnTo>
                  <a:lnTo>
                    <a:pt x="1458" y="1606"/>
                  </a:lnTo>
                  <a:lnTo>
                    <a:pt x="1451" y="1596"/>
                  </a:lnTo>
                  <a:lnTo>
                    <a:pt x="1444" y="1586"/>
                  </a:lnTo>
                  <a:lnTo>
                    <a:pt x="1439" y="1574"/>
                  </a:lnTo>
                  <a:lnTo>
                    <a:pt x="1435" y="1563"/>
                  </a:lnTo>
                  <a:lnTo>
                    <a:pt x="1427" y="1536"/>
                  </a:lnTo>
                  <a:lnTo>
                    <a:pt x="1422" y="1508"/>
                  </a:lnTo>
                  <a:lnTo>
                    <a:pt x="1416" y="1481"/>
                  </a:lnTo>
                  <a:lnTo>
                    <a:pt x="1410" y="1454"/>
                  </a:lnTo>
                  <a:lnTo>
                    <a:pt x="1407" y="1435"/>
                  </a:lnTo>
                  <a:lnTo>
                    <a:pt x="1401" y="1416"/>
                  </a:lnTo>
                  <a:lnTo>
                    <a:pt x="1396" y="1394"/>
                  </a:lnTo>
                  <a:lnTo>
                    <a:pt x="1391" y="1371"/>
                  </a:lnTo>
                  <a:lnTo>
                    <a:pt x="1387" y="1349"/>
                  </a:lnTo>
                  <a:lnTo>
                    <a:pt x="1384" y="1327"/>
                  </a:lnTo>
                  <a:lnTo>
                    <a:pt x="1383" y="1317"/>
                  </a:lnTo>
                  <a:lnTo>
                    <a:pt x="1383" y="1307"/>
                  </a:lnTo>
                  <a:lnTo>
                    <a:pt x="1383" y="1299"/>
                  </a:lnTo>
                  <a:lnTo>
                    <a:pt x="1385" y="1290"/>
                  </a:lnTo>
                  <a:lnTo>
                    <a:pt x="1396" y="1281"/>
                  </a:lnTo>
                  <a:lnTo>
                    <a:pt x="1408" y="1269"/>
                  </a:lnTo>
                  <a:lnTo>
                    <a:pt x="1420" y="1257"/>
                  </a:lnTo>
                  <a:lnTo>
                    <a:pt x="1433" y="1247"/>
                  </a:lnTo>
                  <a:lnTo>
                    <a:pt x="1433" y="1239"/>
                  </a:lnTo>
                  <a:lnTo>
                    <a:pt x="1432" y="1231"/>
                  </a:lnTo>
                  <a:lnTo>
                    <a:pt x="1431" y="1223"/>
                  </a:lnTo>
                  <a:lnTo>
                    <a:pt x="1428" y="1214"/>
                  </a:lnTo>
                  <a:lnTo>
                    <a:pt x="1424" y="1205"/>
                  </a:lnTo>
                  <a:lnTo>
                    <a:pt x="1420" y="1196"/>
                  </a:lnTo>
                  <a:lnTo>
                    <a:pt x="1416" y="1187"/>
                  </a:lnTo>
                  <a:lnTo>
                    <a:pt x="1411" y="1178"/>
                  </a:lnTo>
                  <a:lnTo>
                    <a:pt x="1399" y="1161"/>
                  </a:lnTo>
                  <a:lnTo>
                    <a:pt x="1387" y="1145"/>
                  </a:lnTo>
                  <a:lnTo>
                    <a:pt x="1374" y="1132"/>
                  </a:lnTo>
                  <a:lnTo>
                    <a:pt x="1362" y="1120"/>
                  </a:lnTo>
                  <a:lnTo>
                    <a:pt x="1358" y="1116"/>
                  </a:lnTo>
                  <a:lnTo>
                    <a:pt x="1353" y="1112"/>
                  </a:lnTo>
                  <a:lnTo>
                    <a:pt x="1349" y="1107"/>
                  </a:lnTo>
                  <a:lnTo>
                    <a:pt x="1346" y="1102"/>
                  </a:lnTo>
                  <a:lnTo>
                    <a:pt x="1341" y="1090"/>
                  </a:lnTo>
                  <a:lnTo>
                    <a:pt x="1336" y="1078"/>
                  </a:lnTo>
                  <a:lnTo>
                    <a:pt x="1331" y="1066"/>
                  </a:lnTo>
                  <a:lnTo>
                    <a:pt x="1325" y="1056"/>
                  </a:lnTo>
                  <a:lnTo>
                    <a:pt x="1322" y="1050"/>
                  </a:lnTo>
                  <a:lnTo>
                    <a:pt x="1319" y="1046"/>
                  </a:lnTo>
                  <a:lnTo>
                    <a:pt x="1315" y="1043"/>
                  </a:lnTo>
                  <a:lnTo>
                    <a:pt x="1311" y="1039"/>
                  </a:lnTo>
                  <a:lnTo>
                    <a:pt x="1301" y="1035"/>
                  </a:lnTo>
                  <a:lnTo>
                    <a:pt x="1292" y="1031"/>
                  </a:lnTo>
                  <a:lnTo>
                    <a:pt x="1282" y="1027"/>
                  </a:lnTo>
                  <a:lnTo>
                    <a:pt x="1274" y="1024"/>
                  </a:lnTo>
                  <a:lnTo>
                    <a:pt x="1257" y="1020"/>
                  </a:lnTo>
                  <a:lnTo>
                    <a:pt x="1243" y="1015"/>
                  </a:lnTo>
                  <a:lnTo>
                    <a:pt x="1237" y="1011"/>
                  </a:lnTo>
                  <a:lnTo>
                    <a:pt x="1230" y="1007"/>
                  </a:lnTo>
                  <a:lnTo>
                    <a:pt x="1225" y="1002"/>
                  </a:lnTo>
                  <a:lnTo>
                    <a:pt x="1221" y="995"/>
                  </a:lnTo>
                  <a:lnTo>
                    <a:pt x="1217" y="988"/>
                  </a:lnTo>
                  <a:lnTo>
                    <a:pt x="1215" y="978"/>
                  </a:lnTo>
                  <a:lnTo>
                    <a:pt x="1213" y="967"/>
                  </a:lnTo>
                  <a:lnTo>
                    <a:pt x="1213" y="954"/>
                  </a:lnTo>
                  <a:lnTo>
                    <a:pt x="1213" y="943"/>
                  </a:lnTo>
                  <a:lnTo>
                    <a:pt x="1214" y="934"/>
                  </a:lnTo>
                  <a:lnTo>
                    <a:pt x="1217" y="926"/>
                  </a:lnTo>
                  <a:lnTo>
                    <a:pt x="1221" y="920"/>
                  </a:lnTo>
                  <a:lnTo>
                    <a:pt x="1226" y="915"/>
                  </a:lnTo>
                  <a:lnTo>
                    <a:pt x="1232" y="911"/>
                  </a:lnTo>
                  <a:lnTo>
                    <a:pt x="1241" y="906"/>
                  </a:lnTo>
                  <a:lnTo>
                    <a:pt x="1251" y="903"/>
                  </a:lnTo>
                  <a:lnTo>
                    <a:pt x="1264" y="900"/>
                  </a:lnTo>
                  <a:lnTo>
                    <a:pt x="1274" y="897"/>
                  </a:lnTo>
                  <a:lnTo>
                    <a:pt x="1282" y="894"/>
                  </a:lnTo>
                  <a:lnTo>
                    <a:pt x="1291" y="890"/>
                  </a:lnTo>
                  <a:lnTo>
                    <a:pt x="1306" y="879"/>
                  </a:lnTo>
                  <a:lnTo>
                    <a:pt x="1325" y="865"/>
                  </a:lnTo>
                  <a:lnTo>
                    <a:pt x="1331" y="857"/>
                  </a:lnTo>
                  <a:lnTo>
                    <a:pt x="1337" y="850"/>
                  </a:lnTo>
                  <a:lnTo>
                    <a:pt x="1341" y="842"/>
                  </a:lnTo>
                  <a:lnTo>
                    <a:pt x="1344" y="832"/>
                  </a:lnTo>
                  <a:lnTo>
                    <a:pt x="1349" y="812"/>
                  </a:lnTo>
                  <a:lnTo>
                    <a:pt x="1352" y="790"/>
                  </a:lnTo>
                  <a:lnTo>
                    <a:pt x="1355" y="768"/>
                  </a:lnTo>
                  <a:lnTo>
                    <a:pt x="1358" y="746"/>
                  </a:lnTo>
                  <a:lnTo>
                    <a:pt x="1360" y="734"/>
                  </a:lnTo>
                  <a:lnTo>
                    <a:pt x="1361" y="725"/>
                  </a:lnTo>
                  <a:lnTo>
                    <a:pt x="1364" y="714"/>
                  </a:lnTo>
                  <a:lnTo>
                    <a:pt x="1366" y="705"/>
                  </a:lnTo>
                  <a:lnTo>
                    <a:pt x="1376" y="699"/>
                  </a:lnTo>
                  <a:lnTo>
                    <a:pt x="1389" y="689"/>
                  </a:lnTo>
                  <a:lnTo>
                    <a:pt x="1403" y="676"/>
                  </a:lnTo>
                  <a:lnTo>
                    <a:pt x="1417" y="661"/>
                  </a:lnTo>
                  <a:lnTo>
                    <a:pt x="1423" y="653"/>
                  </a:lnTo>
                  <a:lnTo>
                    <a:pt x="1428" y="646"/>
                  </a:lnTo>
                  <a:lnTo>
                    <a:pt x="1434" y="638"/>
                  </a:lnTo>
                  <a:lnTo>
                    <a:pt x="1437" y="630"/>
                  </a:lnTo>
                  <a:lnTo>
                    <a:pt x="1439" y="623"/>
                  </a:lnTo>
                  <a:lnTo>
                    <a:pt x="1439" y="616"/>
                  </a:lnTo>
                  <a:lnTo>
                    <a:pt x="1438" y="613"/>
                  </a:lnTo>
                  <a:lnTo>
                    <a:pt x="1437" y="610"/>
                  </a:lnTo>
                  <a:lnTo>
                    <a:pt x="1435" y="607"/>
                  </a:lnTo>
                  <a:lnTo>
                    <a:pt x="1433" y="605"/>
                  </a:lnTo>
                  <a:lnTo>
                    <a:pt x="1421" y="596"/>
                  </a:lnTo>
                  <a:lnTo>
                    <a:pt x="1410" y="586"/>
                  </a:lnTo>
                  <a:lnTo>
                    <a:pt x="1404" y="582"/>
                  </a:lnTo>
                  <a:lnTo>
                    <a:pt x="1400" y="577"/>
                  </a:lnTo>
                  <a:lnTo>
                    <a:pt x="1397" y="571"/>
                  </a:lnTo>
                  <a:lnTo>
                    <a:pt x="1394" y="562"/>
                  </a:lnTo>
                  <a:lnTo>
                    <a:pt x="1393" y="549"/>
                  </a:lnTo>
                  <a:lnTo>
                    <a:pt x="1393" y="531"/>
                  </a:lnTo>
                  <a:lnTo>
                    <a:pt x="1393" y="523"/>
                  </a:lnTo>
                  <a:lnTo>
                    <a:pt x="1393" y="514"/>
                  </a:lnTo>
                  <a:lnTo>
                    <a:pt x="1391" y="508"/>
                  </a:lnTo>
                  <a:lnTo>
                    <a:pt x="1389" y="503"/>
                  </a:lnTo>
                  <a:lnTo>
                    <a:pt x="1389" y="497"/>
                  </a:lnTo>
                  <a:lnTo>
                    <a:pt x="1388" y="492"/>
                  </a:lnTo>
                  <a:lnTo>
                    <a:pt x="1387" y="487"/>
                  </a:lnTo>
                  <a:lnTo>
                    <a:pt x="1385" y="482"/>
                  </a:lnTo>
                  <a:lnTo>
                    <a:pt x="1379" y="472"/>
                  </a:lnTo>
                  <a:lnTo>
                    <a:pt x="1374" y="463"/>
                  </a:lnTo>
                  <a:lnTo>
                    <a:pt x="1370" y="453"/>
                  </a:lnTo>
                  <a:lnTo>
                    <a:pt x="1367" y="441"/>
                  </a:lnTo>
                  <a:lnTo>
                    <a:pt x="1366" y="435"/>
                  </a:lnTo>
                  <a:lnTo>
                    <a:pt x="1366" y="429"/>
                  </a:lnTo>
                  <a:lnTo>
                    <a:pt x="1366" y="421"/>
                  </a:lnTo>
                  <a:lnTo>
                    <a:pt x="1368" y="414"/>
                  </a:lnTo>
                  <a:lnTo>
                    <a:pt x="1379" y="405"/>
                  </a:lnTo>
                  <a:lnTo>
                    <a:pt x="1391" y="393"/>
                  </a:lnTo>
                  <a:lnTo>
                    <a:pt x="1402" y="381"/>
                  </a:lnTo>
                  <a:lnTo>
                    <a:pt x="1414" y="368"/>
                  </a:lnTo>
                  <a:lnTo>
                    <a:pt x="1426" y="356"/>
                  </a:lnTo>
                  <a:lnTo>
                    <a:pt x="1438" y="344"/>
                  </a:lnTo>
                  <a:lnTo>
                    <a:pt x="1445" y="340"/>
                  </a:lnTo>
                  <a:lnTo>
                    <a:pt x="1451" y="336"/>
                  </a:lnTo>
                  <a:lnTo>
                    <a:pt x="1458" y="332"/>
                  </a:lnTo>
                  <a:lnTo>
                    <a:pt x="1465" y="330"/>
                  </a:lnTo>
                  <a:lnTo>
                    <a:pt x="1471" y="327"/>
                  </a:lnTo>
                  <a:lnTo>
                    <a:pt x="1476" y="328"/>
                  </a:lnTo>
                  <a:lnTo>
                    <a:pt x="1481" y="331"/>
                  </a:lnTo>
                  <a:lnTo>
                    <a:pt x="1485" y="334"/>
                  </a:lnTo>
                  <a:lnTo>
                    <a:pt x="1487" y="339"/>
                  </a:lnTo>
                  <a:lnTo>
                    <a:pt x="1490" y="344"/>
                  </a:lnTo>
                  <a:lnTo>
                    <a:pt x="1491" y="350"/>
                  </a:lnTo>
                  <a:lnTo>
                    <a:pt x="1493" y="358"/>
                  </a:lnTo>
                  <a:lnTo>
                    <a:pt x="1495" y="387"/>
                  </a:lnTo>
                  <a:lnTo>
                    <a:pt x="1496" y="408"/>
                  </a:lnTo>
                  <a:lnTo>
                    <a:pt x="1498" y="417"/>
                  </a:lnTo>
                  <a:lnTo>
                    <a:pt x="1503" y="427"/>
                  </a:lnTo>
                  <a:lnTo>
                    <a:pt x="1510" y="436"/>
                  </a:lnTo>
                  <a:lnTo>
                    <a:pt x="1517" y="446"/>
                  </a:lnTo>
                  <a:lnTo>
                    <a:pt x="1526" y="457"/>
                  </a:lnTo>
                  <a:lnTo>
                    <a:pt x="1536" y="468"/>
                  </a:lnTo>
                  <a:lnTo>
                    <a:pt x="1547" y="479"/>
                  </a:lnTo>
                  <a:lnTo>
                    <a:pt x="1559" y="489"/>
                  </a:lnTo>
                  <a:lnTo>
                    <a:pt x="1570" y="499"/>
                  </a:lnTo>
                  <a:lnTo>
                    <a:pt x="1583" y="508"/>
                  </a:lnTo>
                  <a:lnTo>
                    <a:pt x="1595" y="517"/>
                  </a:lnTo>
                  <a:lnTo>
                    <a:pt x="1607" y="525"/>
                  </a:lnTo>
                  <a:lnTo>
                    <a:pt x="1618" y="532"/>
                  </a:lnTo>
                  <a:lnTo>
                    <a:pt x="1630" y="537"/>
                  </a:lnTo>
                  <a:lnTo>
                    <a:pt x="1639" y="541"/>
                  </a:lnTo>
                  <a:lnTo>
                    <a:pt x="1648" y="544"/>
                  </a:lnTo>
                  <a:lnTo>
                    <a:pt x="1657" y="547"/>
                  </a:lnTo>
                  <a:lnTo>
                    <a:pt x="1667" y="548"/>
                  </a:lnTo>
                  <a:lnTo>
                    <a:pt x="1679" y="547"/>
                  </a:lnTo>
                  <a:lnTo>
                    <a:pt x="1691" y="545"/>
                  </a:lnTo>
                  <a:lnTo>
                    <a:pt x="1696" y="544"/>
                  </a:lnTo>
                  <a:lnTo>
                    <a:pt x="1702" y="542"/>
                  </a:lnTo>
                  <a:lnTo>
                    <a:pt x="1707" y="540"/>
                  </a:lnTo>
                  <a:lnTo>
                    <a:pt x="1711" y="537"/>
                  </a:lnTo>
                  <a:lnTo>
                    <a:pt x="1714" y="534"/>
                  </a:lnTo>
                  <a:lnTo>
                    <a:pt x="1717" y="530"/>
                  </a:lnTo>
                  <a:lnTo>
                    <a:pt x="1719" y="525"/>
                  </a:lnTo>
                  <a:lnTo>
                    <a:pt x="1720" y="519"/>
                  </a:lnTo>
                  <a:lnTo>
                    <a:pt x="1720" y="515"/>
                  </a:lnTo>
                  <a:lnTo>
                    <a:pt x="1719" y="512"/>
                  </a:lnTo>
                  <a:lnTo>
                    <a:pt x="1718" y="509"/>
                  </a:lnTo>
                  <a:lnTo>
                    <a:pt x="1716" y="507"/>
                  </a:lnTo>
                  <a:lnTo>
                    <a:pt x="1711" y="504"/>
                  </a:lnTo>
                  <a:lnTo>
                    <a:pt x="1705" y="502"/>
                  </a:lnTo>
                  <a:lnTo>
                    <a:pt x="1689" y="502"/>
                  </a:lnTo>
                  <a:lnTo>
                    <a:pt x="1676" y="502"/>
                  </a:lnTo>
                  <a:lnTo>
                    <a:pt x="1670" y="501"/>
                  </a:lnTo>
                  <a:lnTo>
                    <a:pt x="1665" y="499"/>
                  </a:lnTo>
                  <a:lnTo>
                    <a:pt x="1660" y="495"/>
                  </a:lnTo>
                  <a:lnTo>
                    <a:pt x="1655" y="491"/>
                  </a:lnTo>
                  <a:lnTo>
                    <a:pt x="1651" y="487"/>
                  </a:lnTo>
                  <a:lnTo>
                    <a:pt x="1645" y="482"/>
                  </a:lnTo>
                  <a:lnTo>
                    <a:pt x="1641" y="477"/>
                  </a:lnTo>
                  <a:lnTo>
                    <a:pt x="1638" y="471"/>
                  </a:lnTo>
                  <a:lnTo>
                    <a:pt x="1635" y="465"/>
                  </a:lnTo>
                  <a:lnTo>
                    <a:pt x="1632" y="459"/>
                  </a:lnTo>
                  <a:lnTo>
                    <a:pt x="1630" y="453"/>
                  </a:lnTo>
                  <a:lnTo>
                    <a:pt x="1629" y="446"/>
                  </a:lnTo>
                  <a:lnTo>
                    <a:pt x="1629" y="441"/>
                  </a:lnTo>
                  <a:lnTo>
                    <a:pt x="1630" y="435"/>
                  </a:lnTo>
                  <a:lnTo>
                    <a:pt x="1631" y="430"/>
                  </a:lnTo>
                  <a:lnTo>
                    <a:pt x="1634" y="426"/>
                  </a:lnTo>
                  <a:lnTo>
                    <a:pt x="1641" y="416"/>
                  </a:lnTo>
                  <a:lnTo>
                    <a:pt x="1651" y="409"/>
                  </a:lnTo>
                  <a:lnTo>
                    <a:pt x="1660" y="404"/>
                  </a:lnTo>
                  <a:lnTo>
                    <a:pt x="1669" y="400"/>
                  </a:lnTo>
                  <a:lnTo>
                    <a:pt x="1690" y="395"/>
                  </a:lnTo>
                  <a:lnTo>
                    <a:pt x="1711" y="392"/>
                  </a:lnTo>
                  <a:lnTo>
                    <a:pt x="1721" y="390"/>
                  </a:lnTo>
                  <a:lnTo>
                    <a:pt x="1732" y="388"/>
                  </a:lnTo>
                  <a:lnTo>
                    <a:pt x="1741" y="385"/>
                  </a:lnTo>
                  <a:lnTo>
                    <a:pt x="1751" y="381"/>
                  </a:lnTo>
                  <a:lnTo>
                    <a:pt x="1760" y="375"/>
                  </a:lnTo>
                  <a:lnTo>
                    <a:pt x="1768" y="368"/>
                  </a:lnTo>
                  <a:lnTo>
                    <a:pt x="1771" y="363"/>
                  </a:lnTo>
                  <a:lnTo>
                    <a:pt x="1776" y="359"/>
                  </a:lnTo>
                  <a:lnTo>
                    <a:pt x="1779" y="352"/>
                  </a:lnTo>
                  <a:lnTo>
                    <a:pt x="1782" y="346"/>
                  </a:lnTo>
                  <a:lnTo>
                    <a:pt x="1786" y="335"/>
                  </a:lnTo>
                  <a:lnTo>
                    <a:pt x="1788" y="323"/>
                  </a:lnTo>
                  <a:lnTo>
                    <a:pt x="1788" y="314"/>
                  </a:lnTo>
                  <a:lnTo>
                    <a:pt x="1786" y="304"/>
                  </a:lnTo>
                  <a:lnTo>
                    <a:pt x="1782" y="297"/>
                  </a:lnTo>
                  <a:lnTo>
                    <a:pt x="1777" y="290"/>
                  </a:lnTo>
                  <a:lnTo>
                    <a:pt x="1770" y="285"/>
                  </a:lnTo>
                  <a:lnTo>
                    <a:pt x="1763" y="278"/>
                  </a:lnTo>
                  <a:lnTo>
                    <a:pt x="1754" y="274"/>
                  </a:lnTo>
                  <a:lnTo>
                    <a:pt x="1745" y="270"/>
                  </a:lnTo>
                  <a:lnTo>
                    <a:pt x="1736" y="267"/>
                  </a:lnTo>
                  <a:lnTo>
                    <a:pt x="1726" y="264"/>
                  </a:lnTo>
                  <a:lnTo>
                    <a:pt x="1707" y="259"/>
                  </a:lnTo>
                  <a:lnTo>
                    <a:pt x="1689" y="253"/>
                  </a:lnTo>
                  <a:lnTo>
                    <a:pt x="1683" y="251"/>
                  </a:lnTo>
                  <a:lnTo>
                    <a:pt x="1677" y="248"/>
                  </a:lnTo>
                  <a:lnTo>
                    <a:pt x="1670" y="245"/>
                  </a:lnTo>
                  <a:lnTo>
                    <a:pt x="1663" y="241"/>
                  </a:lnTo>
                  <a:lnTo>
                    <a:pt x="1651" y="231"/>
                  </a:lnTo>
                  <a:lnTo>
                    <a:pt x="1637" y="225"/>
                  </a:lnTo>
                  <a:lnTo>
                    <a:pt x="1628" y="222"/>
                  </a:lnTo>
                  <a:lnTo>
                    <a:pt x="1617" y="220"/>
                  </a:lnTo>
                  <a:lnTo>
                    <a:pt x="1607" y="220"/>
                  </a:lnTo>
                  <a:lnTo>
                    <a:pt x="1597" y="220"/>
                  </a:lnTo>
                  <a:lnTo>
                    <a:pt x="1576" y="222"/>
                  </a:lnTo>
                  <a:lnTo>
                    <a:pt x="1556" y="223"/>
                  </a:lnTo>
                  <a:lnTo>
                    <a:pt x="1546" y="223"/>
                  </a:lnTo>
                  <a:lnTo>
                    <a:pt x="1537" y="222"/>
                  </a:lnTo>
                  <a:lnTo>
                    <a:pt x="1527" y="221"/>
                  </a:lnTo>
                  <a:lnTo>
                    <a:pt x="1518" y="218"/>
                  </a:lnTo>
                  <a:lnTo>
                    <a:pt x="1499" y="213"/>
                  </a:lnTo>
                  <a:lnTo>
                    <a:pt x="1481" y="204"/>
                  </a:lnTo>
                  <a:lnTo>
                    <a:pt x="1462" y="195"/>
                  </a:lnTo>
                  <a:lnTo>
                    <a:pt x="1444" y="183"/>
                  </a:lnTo>
                  <a:lnTo>
                    <a:pt x="1425" y="171"/>
                  </a:lnTo>
                  <a:lnTo>
                    <a:pt x="1408" y="157"/>
                  </a:lnTo>
                  <a:lnTo>
                    <a:pt x="1390" y="143"/>
                  </a:lnTo>
                  <a:lnTo>
                    <a:pt x="1373" y="128"/>
                  </a:lnTo>
                  <a:lnTo>
                    <a:pt x="1356" y="114"/>
                  </a:lnTo>
                  <a:lnTo>
                    <a:pt x="1341" y="99"/>
                  </a:lnTo>
                  <a:lnTo>
                    <a:pt x="1312" y="70"/>
                  </a:lnTo>
                  <a:lnTo>
                    <a:pt x="1285" y="44"/>
                  </a:lnTo>
                  <a:lnTo>
                    <a:pt x="1285" y="44"/>
                  </a:lnTo>
                  <a:lnTo>
                    <a:pt x="1277" y="45"/>
                  </a:lnTo>
                  <a:lnTo>
                    <a:pt x="1271" y="46"/>
                  </a:lnTo>
                  <a:lnTo>
                    <a:pt x="1265" y="46"/>
                  </a:lnTo>
                  <a:lnTo>
                    <a:pt x="1258" y="46"/>
                  </a:lnTo>
                  <a:lnTo>
                    <a:pt x="1246" y="46"/>
                  </a:lnTo>
                  <a:lnTo>
                    <a:pt x="1232" y="46"/>
                  </a:lnTo>
                  <a:lnTo>
                    <a:pt x="1226" y="47"/>
                  </a:lnTo>
                  <a:lnTo>
                    <a:pt x="1220" y="49"/>
                  </a:lnTo>
                  <a:lnTo>
                    <a:pt x="1215" y="51"/>
                  </a:lnTo>
                  <a:lnTo>
                    <a:pt x="1211" y="54"/>
                  </a:lnTo>
                  <a:lnTo>
                    <a:pt x="1201" y="60"/>
                  </a:lnTo>
                  <a:lnTo>
                    <a:pt x="1193" y="70"/>
                  </a:lnTo>
                  <a:lnTo>
                    <a:pt x="1192" y="77"/>
                  </a:lnTo>
                  <a:lnTo>
                    <a:pt x="1190" y="84"/>
                  </a:lnTo>
                  <a:lnTo>
                    <a:pt x="1187" y="91"/>
                  </a:lnTo>
                  <a:lnTo>
                    <a:pt x="1183" y="98"/>
                  </a:lnTo>
                  <a:lnTo>
                    <a:pt x="1176" y="111"/>
                  </a:lnTo>
                  <a:lnTo>
                    <a:pt x="1169" y="124"/>
                  </a:lnTo>
                  <a:lnTo>
                    <a:pt x="1160" y="128"/>
                  </a:lnTo>
                  <a:lnTo>
                    <a:pt x="1154" y="131"/>
                  </a:lnTo>
                  <a:lnTo>
                    <a:pt x="1146" y="133"/>
                  </a:lnTo>
                  <a:lnTo>
                    <a:pt x="1136" y="134"/>
                  </a:lnTo>
                  <a:lnTo>
                    <a:pt x="1121" y="134"/>
                  </a:lnTo>
                  <a:lnTo>
                    <a:pt x="1101" y="132"/>
                  </a:lnTo>
                  <a:lnTo>
                    <a:pt x="1092" y="131"/>
                  </a:lnTo>
                  <a:lnTo>
                    <a:pt x="1082" y="130"/>
                  </a:lnTo>
                  <a:lnTo>
                    <a:pt x="1075" y="128"/>
                  </a:lnTo>
                  <a:lnTo>
                    <a:pt x="1068" y="126"/>
                  </a:lnTo>
                  <a:lnTo>
                    <a:pt x="1053" y="124"/>
                  </a:lnTo>
                  <a:lnTo>
                    <a:pt x="1038" y="121"/>
                  </a:lnTo>
                  <a:lnTo>
                    <a:pt x="1024" y="118"/>
                  </a:lnTo>
                  <a:lnTo>
                    <a:pt x="1009" y="114"/>
                  </a:lnTo>
                  <a:lnTo>
                    <a:pt x="995" y="109"/>
                  </a:lnTo>
                  <a:lnTo>
                    <a:pt x="980" y="106"/>
                  </a:lnTo>
                  <a:lnTo>
                    <a:pt x="965" y="104"/>
                  </a:lnTo>
                  <a:lnTo>
                    <a:pt x="951" y="102"/>
                  </a:lnTo>
                  <a:lnTo>
                    <a:pt x="936" y="102"/>
                  </a:lnTo>
                  <a:lnTo>
                    <a:pt x="922" y="102"/>
                  </a:lnTo>
                  <a:lnTo>
                    <a:pt x="907" y="103"/>
                  </a:lnTo>
                  <a:lnTo>
                    <a:pt x="894" y="105"/>
                  </a:lnTo>
                  <a:lnTo>
                    <a:pt x="864" y="109"/>
                  </a:lnTo>
                  <a:lnTo>
                    <a:pt x="836" y="110"/>
                  </a:lnTo>
                  <a:lnTo>
                    <a:pt x="809" y="110"/>
                  </a:lnTo>
                  <a:lnTo>
                    <a:pt x="783" y="111"/>
                  </a:lnTo>
                  <a:lnTo>
                    <a:pt x="758" y="111"/>
                  </a:lnTo>
                  <a:lnTo>
                    <a:pt x="733" y="111"/>
                  </a:lnTo>
                  <a:lnTo>
                    <a:pt x="708" y="110"/>
                  </a:lnTo>
                  <a:lnTo>
                    <a:pt x="683" y="107"/>
                  </a:lnTo>
                  <a:lnTo>
                    <a:pt x="658" y="104"/>
                  </a:lnTo>
                  <a:lnTo>
                    <a:pt x="632" y="99"/>
                  </a:lnTo>
                  <a:lnTo>
                    <a:pt x="623" y="97"/>
                  </a:lnTo>
                  <a:lnTo>
                    <a:pt x="616" y="98"/>
                  </a:lnTo>
                  <a:lnTo>
                    <a:pt x="610" y="99"/>
                  </a:lnTo>
                  <a:lnTo>
                    <a:pt x="605" y="102"/>
                  </a:lnTo>
                  <a:lnTo>
                    <a:pt x="593" y="108"/>
                  </a:lnTo>
                  <a:lnTo>
                    <a:pt x="580" y="116"/>
                  </a:lnTo>
                  <a:lnTo>
                    <a:pt x="576" y="117"/>
                  </a:lnTo>
                  <a:lnTo>
                    <a:pt x="572" y="118"/>
                  </a:lnTo>
                  <a:lnTo>
                    <a:pt x="568" y="118"/>
                  </a:lnTo>
                  <a:lnTo>
                    <a:pt x="565" y="118"/>
                  </a:lnTo>
                  <a:lnTo>
                    <a:pt x="558" y="116"/>
                  </a:lnTo>
                  <a:lnTo>
                    <a:pt x="552" y="111"/>
                  </a:lnTo>
                  <a:lnTo>
                    <a:pt x="546" y="106"/>
                  </a:lnTo>
                  <a:lnTo>
                    <a:pt x="541" y="99"/>
                  </a:lnTo>
                  <a:lnTo>
                    <a:pt x="537" y="92"/>
                  </a:lnTo>
                  <a:lnTo>
                    <a:pt x="533" y="83"/>
                  </a:lnTo>
                  <a:lnTo>
                    <a:pt x="525" y="65"/>
                  </a:lnTo>
                  <a:lnTo>
                    <a:pt x="521" y="45"/>
                  </a:lnTo>
                  <a:lnTo>
                    <a:pt x="518" y="28"/>
                  </a:lnTo>
                  <a:lnTo>
                    <a:pt x="517" y="14"/>
                  </a:lnTo>
                  <a:lnTo>
                    <a:pt x="508" y="10"/>
                  </a:lnTo>
                  <a:lnTo>
                    <a:pt x="495" y="6"/>
                  </a:lnTo>
                  <a:lnTo>
                    <a:pt x="483" y="2"/>
                  </a:lnTo>
                  <a:lnTo>
                    <a:pt x="471" y="0"/>
                  </a:lnTo>
                  <a:lnTo>
                    <a:pt x="469" y="5"/>
                  </a:lnTo>
                  <a:lnTo>
                    <a:pt x="468" y="9"/>
                  </a:lnTo>
                  <a:lnTo>
                    <a:pt x="467" y="14"/>
                  </a:lnTo>
                  <a:lnTo>
                    <a:pt x="467" y="20"/>
                  </a:lnTo>
                  <a:lnTo>
                    <a:pt x="466" y="24"/>
                  </a:lnTo>
                  <a:lnTo>
                    <a:pt x="464" y="28"/>
                  </a:lnTo>
                  <a:lnTo>
                    <a:pt x="460" y="32"/>
                  </a:lnTo>
                  <a:lnTo>
                    <a:pt x="454" y="36"/>
                  </a:lnTo>
                  <a:lnTo>
                    <a:pt x="450" y="36"/>
                  </a:lnTo>
                  <a:lnTo>
                    <a:pt x="447" y="36"/>
                  </a:lnTo>
                  <a:lnTo>
                    <a:pt x="445" y="36"/>
                  </a:lnTo>
                  <a:lnTo>
                    <a:pt x="442" y="35"/>
                  </a:lnTo>
                  <a:lnTo>
                    <a:pt x="436" y="32"/>
                  </a:lnTo>
                  <a:lnTo>
                    <a:pt x="430" y="29"/>
                  </a:lnTo>
                  <a:lnTo>
                    <a:pt x="423" y="25"/>
                  </a:lnTo>
                  <a:lnTo>
                    <a:pt x="417" y="21"/>
                  </a:lnTo>
                  <a:lnTo>
                    <a:pt x="411" y="18"/>
                  </a:lnTo>
                  <a:lnTo>
                    <a:pt x="406" y="16"/>
                  </a:lnTo>
                  <a:lnTo>
                    <a:pt x="406" y="16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6" name="Freeform 133">
              <a:extLst>
                <a:ext uri="{FF2B5EF4-FFF2-40B4-BE49-F238E27FC236}">
                  <a16:creationId xmlns:a16="http://schemas.microsoft.com/office/drawing/2014/main" id="{7546E65D-4C82-49AD-84DB-12B5E800C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952" y="4054907"/>
              <a:ext cx="503438" cy="371569"/>
            </a:xfrm>
            <a:custGeom>
              <a:avLst/>
              <a:gdLst>
                <a:gd name="T0" fmla="*/ 1271 w 2003"/>
                <a:gd name="T1" fmla="*/ 142 h 1530"/>
                <a:gd name="T2" fmla="*/ 1196 w 2003"/>
                <a:gd name="T3" fmla="*/ 74 h 1530"/>
                <a:gd name="T4" fmla="*/ 1131 w 2003"/>
                <a:gd name="T5" fmla="*/ 69 h 1530"/>
                <a:gd name="T6" fmla="*/ 1060 w 2003"/>
                <a:gd name="T7" fmla="*/ 137 h 1530"/>
                <a:gd name="T8" fmla="*/ 911 w 2003"/>
                <a:gd name="T9" fmla="*/ 89 h 1530"/>
                <a:gd name="T10" fmla="*/ 866 w 2003"/>
                <a:gd name="T11" fmla="*/ 136 h 1530"/>
                <a:gd name="T12" fmla="*/ 830 w 2003"/>
                <a:gd name="T13" fmla="*/ 207 h 1530"/>
                <a:gd name="T14" fmla="*/ 786 w 2003"/>
                <a:gd name="T15" fmla="*/ 185 h 1530"/>
                <a:gd name="T16" fmla="*/ 736 w 2003"/>
                <a:gd name="T17" fmla="*/ 67 h 1530"/>
                <a:gd name="T18" fmla="*/ 658 w 2003"/>
                <a:gd name="T19" fmla="*/ 135 h 1530"/>
                <a:gd name="T20" fmla="*/ 576 w 2003"/>
                <a:gd name="T21" fmla="*/ 149 h 1530"/>
                <a:gd name="T22" fmla="*/ 467 w 2003"/>
                <a:gd name="T23" fmla="*/ 175 h 1530"/>
                <a:gd name="T24" fmla="*/ 382 w 2003"/>
                <a:gd name="T25" fmla="*/ 191 h 1530"/>
                <a:gd name="T26" fmla="*/ 252 w 2003"/>
                <a:gd name="T27" fmla="*/ 210 h 1530"/>
                <a:gd name="T28" fmla="*/ 260 w 2003"/>
                <a:gd name="T29" fmla="*/ 325 h 1530"/>
                <a:gd name="T30" fmla="*/ 167 w 2003"/>
                <a:gd name="T31" fmla="*/ 413 h 1530"/>
                <a:gd name="T32" fmla="*/ 163 w 2003"/>
                <a:gd name="T33" fmla="*/ 509 h 1530"/>
                <a:gd name="T34" fmla="*/ 65 w 2003"/>
                <a:gd name="T35" fmla="*/ 520 h 1530"/>
                <a:gd name="T36" fmla="*/ 5 w 2003"/>
                <a:gd name="T37" fmla="*/ 515 h 1530"/>
                <a:gd name="T38" fmla="*/ 12 w 2003"/>
                <a:gd name="T39" fmla="*/ 672 h 1530"/>
                <a:gd name="T40" fmla="*/ 136 w 2003"/>
                <a:gd name="T41" fmla="*/ 703 h 1530"/>
                <a:gd name="T42" fmla="*/ 215 w 2003"/>
                <a:gd name="T43" fmla="*/ 743 h 1530"/>
                <a:gd name="T44" fmla="*/ 240 w 2003"/>
                <a:gd name="T45" fmla="*/ 816 h 1530"/>
                <a:gd name="T46" fmla="*/ 332 w 2003"/>
                <a:gd name="T47" fmla="*/ 892 h 1530"/>
                <a:gd name="T48" fmla="*/ 397 w 2003"/>
                <a:gd name="T49" fmla="*/ 971 h 1530"/>
                <a:gd name="T50" fmla="*/ 387 w 2003"/>
                <a:gd name="T51" fmla="*/ 1066 h 1530"/>
                <a:gd name="T52" fmla="*/ 314 w 2003"/>
                <a:gd name="T53" fmla="*/ 1194 h 1530"/>
                <a:gd name="T54" fmla="*/ 210 w 2003"/>
                <a:gd name="T55" fmla="*/ 1313 h 1530"/>
                <a:gd name="T56" fmla="*/ 330 w 2003"/>
                <a:gd name="T57" fmla="*/ 1399 h 1530"/>
                <a:gd name="T58" fmla="*/ 406 w 2003"/>
                <a:gd name="T59" fmla="*/ 1526 h 1530"/>
                <a:gd name="T60" fmla="*/ 562 w 2003"/>
                <a:gd name="T61" fmla="*/ 1495 h 1530"/>
                <a:gd name="T62" fmla="*/ 746 w 2003"/>
                <a:gd name="T63" fmla="*/ 1468 h 1530"/>
                <a:gd name="T64" fmla="*/ 783 w 2003"/>
                <a:gd name="T65" fmla="*/ 1439 h 1530"/>
                <a:gd name="T66" fmla="*/ 874 w 2003"/>
                <a:gd name="T67" fmla="*/ 1308 h 1530"/>
                <a:gd name="T68" fmla="*/ 948 w 2003"/>
                <a:gd name="T69" fmla="*/ 1258 h 1530"/>
                <a:gd name="T70" fmla="*/ 1067 w 2003"/>
                <a:gd name="T71" fmla="*/ 1371 h 1530"/>
                <a:gd name="T72" fmla="*/ 1157 w 2003"/>
                <a:gd name="T73" fmla="*/ 1364 h 1530"/>
                <a:gd name="T74" fmla="*/ 1277 w 2003"/>
                <a:gd name="T75" fmla="*/ 1312 h 1530"/>
                <a:gd name="T76" fmla="*/ 1389 w 2003"/>
                <a:gd name="T77" fmla="*/ 1302 h 1530"/>
                <a:gd name="T78" fmla="*/ 1438 w 2003"/>
                <a:gd name="T79" fmla="*/ 1388 h 1530"/>
                <a:gd name="T80" fmla="*/ 1466 w 2003"/>
                <a:gd name="T81" fmla="*/ 1467 h 1530"/>
                <a:gd name="T82" fmla="*/ 1608 w 2003"/>
                <a:gd name="T83" fmla="*/ 1472 h 1530"/>
                <a:gd name="T84" fmla="*/ 1593 w 2003"/>
                <a:gd name="T85" fmla="*/ 1360 h 1530"/>
                <a:gd name="T86" fmla="*/ 1571 w 2003"/>
                <a:gd name="T87" fmla="*/ 1258 h 1530"/>
                <a:gd name="T88" fmla="*/ 1585 w 2003"/>
                <a:gd name="T89" fmla="*/ 1074 h 1530"/>
                <a:gd name="T90" fmla="*/ 1624 w 2003"/>
                <a:gd name="T91" fmla="*/ 983 h 1530"/>
                <a:gd name="T92" fmla="*/ 1706 w 2003"/>
                <a:gd name="T93" fmla="*/ 858 h 1530"/>
                <a:gd name="T94" fmla="*/ 1749 w 2003"/>
                <a:gd name="T95" fmla="*/ 765 h 1530"/>
                <a:gd name="T96" fmla="*/ 1828 w 2003"/>
                <a:gd name="T97" fmla="*/ 708 h 1530"/>
                <a:gd name="T98" fmla="*/ 1814 w 2003"/>
                <a:gd name="T99" fmla="*/ 465 h 1530"/>
                <a:gd name="T100" fmla="*/ 1894 w 2003"/>
                <a:gd name="T101" fmla="*/ 416 h 1530"/>
                <a:gd name="T102" fmla="*/ 1931 w 2003"/>
                <a:gd name="T103" fmla="*/ 281 h 1530"/>
                <a:gd name="T104" fmla="*/ 2002 w 2003"/>
                <a:gd name="T105" fmla="*/ 160 h 1530"/>
                <a:gd name="T106" fmla="*/ 1939 w 2003"/>
                <a:gd name="T107" fmla="*/ 147 h 1530"/>
                <a:gd name="T108" fmla="*/ 1881 w 2003"/>
                <a:gd name="T109" fmla="*/ 108 h 1530"/>
                <a:gd name="T110" fmla="*/ 1839 w 2003"/>
                <a:gd name="T111" fmla="*/ 12 h 1530"/>
                <a:gd name="T112" fmla="*/ 1728 w 2003"/>
                <a:gd name="T113" fmla="*/ 65 h 1530"/>
                <a:gd name="T114" fmla="*/ 1614 w 2003"/>
                <a:gd name="T115" fmla="*/ 103 h 1530"/>
                <a:gd name="T116" fmla="*/ 1521 w 2003"/>
                <a:gd name="T117" fmla="*/ 147 h 1530"/>
                <a:gd name="T118" fmla="*/ 1453 w 2003"/>
                <a:gd name="T119" fmla="*/ 134 h 1530"/>
                <a:gd name="T120" fmla="*/ 1397 w 2003"/>
                <a:gd name="T121" fmla="*/ 47 h 1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03" h="1530">
                  <a:moveTo>
                    <a:pt x="1329" y="32"/>
                  </a:moveTo>
                  <a:lnTo>
                    <a:pt x="1326" y="42"/>
                  </a:lnTo>
                  <a:lnTo>
                    <a:pt x="1321" y="57"/>
                  </a:lnTo>
                  <a:lnTo>
                    <a:pt x="1314" y="74"/>
                  </a:lnTo>
                  <a:lnTo>
                    <a:pt x="1306" y="93"/>
                  </a:lnTo>
                  <a:lnTo>
                    <a:pt x="1297" y="111"/>
                  </a:lnTo>
                  <a:lnTo>
                    <a:pt x="1288" y="125"/>
                  </a:lnTo>
                  <a:lnTo>
                    <a:pt x="1284" y="132"/>
                  </a:lnTo>
                  <a:lnTo>
                    <a:pt x="1279" y="137"/>
                  </a:lnTo>
                  <a:lnTo>
                    <a:pt x="1275" y="141"/>
                  </a:lnTo>
                  <a:lnTo>
                    <a:pt x="1271" y="142"/>
                  </a:lnTo>
                  <a:lnTo>
                    <a:pt x="1264" y="144"/>
                  </a:lnTo>
                  <a:lnTo>
                    <a:pt x="1256" y="143"/>
                  </a:lnTo>
                  <a:lnTo>
                    <a:pt x="1249" y="141"/>
                  </a:lnTo>
                  <a:lnTo>
                    <a:pt x="1242" y="138"/>
                  </a:lnTo>
                  <a:lnTo>
                    <a:pt x="1236" y="133"/>
                  </a:lnTo>
                  <a:lnTo>
                    <a:pt x="1229" y="127"/>
                  </a:lnTo>
                  <a:lnTo>
                    <a:pt x="1225" y="121"/>
                  </a:lnTo>
                  <a:lnTo>
                    <a:pt x="1221" y="115"/>
                  </a:lnTo>
                  <a:lnTo>
                    <a:pt x="1212" y="99"/>
                  </a:lnTo>
                  <a:lnTo>
                    <a:pt x="1204" y="86"/>
                  </a:lnTo>
                  <a:lnTo>
                    <a:pt x="1196" y="74"/>
                  </a:lnTo>
                  <a:lnTo>
                    <a:pt x="1185" y="60"/>
                  </a:lnTo>
                  <a:lnTo>
                    <a:pt x="1169" y="55"/>
                  </a:lnTo>
                  <a:lnTo>
                    <a:pt x="1152" y="51"/>
                  </a:lnTo>
                  <a:lnTo>
                    <a:pt x="1148" y="51"/>
                  </a:lnTo>
                  <a:lnTo>
                    <a:pt x="1145" y="51"/>
                  </a:lnTo>
                  <a:lnTo>
                    <a:pt x="1141" y="52"/>
                  </a:lnTo>
                  <a:lnTo>
                    <a:pt x="1139" y="53"/>
                  </a:lnTo>
                  <a:lnTo>
                    <a:pt x="1136" y="55"/>
                  </a:lnTo>
                  <a:lnTo>
                    <a:pt x="1133" y="60"/>
                  </a:lnTo>
                  <a:lnTo>
                    <a:pt x="1132" y="64"/>
                  </a:lnTo>
                  <a:lnTo>
                    <a:pt x="1131" y="69"/>
                  </a:lnTo>
                  <a:lnTo>
                    <a:pt x="1129" y="79"/>
                  </a:lnTo>
                  <a:lnTo>
                    <a:pt x="1126" y="90"/>
                  </a:lnTo>
                  <a:lnTo>
                    <a:pt x="1122" y="100"/>
                  </a:lnTo>
                  <a:lnTo>
                    <a:pt x="1116" y="110"/>
                  </a:lnTo>
                  <a:lnTo>
                    <a:pt x="1109" y="119"/>
                  </a:lnTo>
                  <a:lnTo>
                    <a:pt x="1101" y="126"/>
                  </a:lnTo>
                  <a:lnTo>
                    <a:pt x="1093" y="133"/>
                  </a:lnTo>
                  <a:lnTo>
                    <a:pt x="1083" y="138"/>
                  </a:lnTo>
                  <a:lnTo>
                    <a:pt x="1076" y="139"/>
                  </a:lnTo>
                  <a:lnTo>
                    <a:pt x="1068" y="139"/>
                  </a:lnTo>
                  <a:lnTo>
                    <a:pt x="1060" y="137"/>
                  </a:lnTo>
                  <a:lnTo>
                    <a:pt x="1053" y="134"/>
                  </a:lnTo>
                  <a:lnTo>
                    <a:pt x="1040" y="125"/>
                  </a:lnTo>
                  <a:lnTo>
                    <a:pt x="1026" y="117"/>
                  </a:lnTo>
                  <a:lnTo>
                    <a:pt x="1014" y="111"/>
                  </a:lnTo>
                  <a:lnTo>
                    <a:pt x="1000" y="105"/>
                  </a:lnTo>
                  <a:lnTo>
                    <a:pt x="985" y="99"/>
                  </a:lnTo>
                  <a:lnTo>
                    <a:pt x="972" y="96"/>
                  </a:lnTo>
                  <a:lnTo>
                    <a:pt x="957" y="93"/>
                  </a:lnTo>
                  <a:lnTo>
                    <a:pt x="943" y="91"/>
                  </a:lnTo>
                  <a:lnTo>
                    <a:pt x="927" y="90"/>
                  </a:lnTo>
                  <a:lnTo>
                    <a:pt x="911" y="89"/>
                  </a:lnTo>
                  <a:lnTo>
                    <a:pt x="905" y="89"/>
                  </a:lnTo>
                  <a:lnTo>
                    <a:pt x="900" y="89"/>
                  </a:lnTo>
                  <a:lnTo>
                    <a:pt x="895" y="91"/>
                  </a:lnTo>
                  <a:lnTo>
                    <a:pt x="889" y="92"/>
                  </a:lnTo>
                  <a:lnTo>
                    <a:pt x="885" y="95"/>
                  </a:lnTo>
                  <a:lnTo>
                    <a:pt x="882" y="98"/>
                  </a:lnTo>
                  <a:lnTo>
                    <a:pt x="879" y="101"/>
                  </a:lnTo>
                  <a:lnTo>
                    <a:pt x="876" y="106"/>
                  </a:lnTo>
                  <a:lnTo>
                    <a:pt x="872" y="114"/>
                  </a:lnTo>
                  <a:lnTo>
                    <a:pt x="869" y="124"/>
                  </a:lnTo>
                  <a:lnTo>
                    <a:pt x="866" y="136"/>
                  </a:lnTo>
                  <a:lnTo>
                    <a:pt x="863" y="147"/>
                  </a:lnTo>
                  <a:lnTo>
                    <a:pt x="861" y="159"/>
                  </a:lnTo>
                  <a:lnTo>
                    <a:pt x="858" y="169"/>
                  </a:lnTo>
                  <a:lnTo>
                    <a:pt x="855" y="180"/>
                  </a:lnTo>
                  <a:lnTo>
                    <a:pt x="852" y="189"/>
                  </a:lnTo>
                  <a:lnTo>
                    <a:pt x="849" y="193"/>
                  </a:lnTo>
                  <a:lnTo>
                    <a:pt x="847" y="197"/>
                  </a:lnTo>
                  <a:lnTo>
                    <a:pt x="843" y="201"/>
                  </a:lnTo>
                  <a:lnTo>
                    <a:pt x="839" y="204"/>
                  </a:lnTo>
                  <a:lnTo>
                    <a:pt x="835" y="206"/>
                  </a:lnTo>
                  <a:lnTo>
                    <a:pt x="830" y="207"/>
                  </a:lnTo>
                  <a:lnTo>
                    <a:pt x="825" y="209"/>
                  </a:lnTo>
                  <a:lnTo>
                    <a:pt x="820" y="209"/>
                  </a:lnTo>
                  <a:lnTo>
                    <a:pt x="812" y="209"/>
                  </a:lnTo>
                  <a:lnTo>
                    <a:pt x="807" y="208"/>
                  </a:lnTo>
                  <a:lnTo>
                    <a:pt x="802" y="207"/>
                  </a:lnTo>
                  <a:lnTo>
                    <a:pt x="798" y="205"/>
                  </a:lnTo>
                  <a:lnTo>
                    <a:pt x="795" y="203"/>
                  </a:lnTo>
                  <a:lnTo>
                    <a:pt x="793" y="199"/>
                  </a:lnTo>
                  <a:lnTo>
                    <a:pt x="789" y="196"/>
                  </a:lnTo>
                  <a:lnTo>
                    <a:pt x="788" y="193"/>
                  </a:lnTo>
                  <a:lnTo>
                    <a:pt x="786" y="185"/>
                  </a:lnTo>
                  <a:lnTo>
                    <a:pt x="785" y="175"/>
                  </a:lnTo>
                  <a:lnTo>
                    <a:pt x="784" y="165"/>
                  </a:lnTo>
                  <a:lnTo>
                    <a:pt x="784" y="154"/>
                  </a:lnTo>
                  <a:lnTo>
                    <a:pt x="781" y="69"/>
                  </a:lnTo>
                  <a:lnTo>
                    <a:pt x="777" y="66"/>
                  </a:lnTo>
                  <a:lnTo>
                    <a:pt x="773" y="64"/>
                  </a:lnTo>
                  <a:lnTo>
                    <a:pt x="770" y="63"/>
                  </a:lnTo>
                  <a:lnTo>
                    <a:pt x="765" y="62"/>
                  </a:lnTo>
                  <a:lnTo>
                    <a:pt x="756" y="62"/>
                  </a:lnTo>
                  <a:lnTo>
                    <a:pt x="747" y="62"/>
                  </a:lnTo>
                  <a:lnTo>
                    <a:pt x="736" y="67"/>
                  </a:lnTo>
                  <a:lnTo>
                    <a:pt x="728" y="73"/>
                  </a:lnTo>
                  <a:lnTo>
                    <a:pt x="722" y="76"/>
                  </a:lnTo>
                  <a:lnTo>
                    <a:pt x="714" y="83"/>
                  </a:lnTo>
                  <a:lnTo>
                    <a:pt x="707" y="90"/>
                  </a:lnTo>
                  <a:lnTo>
                    <a:pt x="700" y="99"/>
                  </a:lnTo>
                  <a:lnTo>
                    <a:pt x="691" y="108"/>
                  </a:lnTo>
                  <a:lnTo>
                    <a:pt x="684" y="117"/>
                  </a:lnTo>
                  <a:lnTo>
                    <a:pt x="677" y="124"/>
                  </a:lnTo>
                  <a:lnTo>
                    <a:pt x="669" y="130"/>
                  </a:lnTo>
                  <a:lnTo>
                    <a:pt x="664" y="133"/>
                  </a:lnTo>
                  <a:lnTo>
                    <a:pt x="658" y="135"/>
                  </a:lnTo>
                  <a:lnTo>
                    <a:pt x="653" y="137"/>
                  </a:lnTo>
                  <a:lnTo>
                    <a:pt x="648" y="138"/>
                  </a:lnTo>
                  <a:lnTo>
                    <a:pt x="637" y="139"/>
                  </a:lnTo>
                  <a:lnTo>
                    <a:pt x="627" y="138"/>
                  </a:lnTo>
                  <a:lnTo>
                    <a:pt x="616" y="137"/>
                  </a:lnTo>
                  <a:lnTo>
                    <a:pt x="607" y="136"/>
                  </a:lnTo>
                  <a:lnTo>
                    <a:pt x="596" y="137"/>
                  </a:lnTo>
                  <a:lnTo>
                    <a:pt x="587" y="138"/>
                  </a:lnTo>
                  <a:lnTo>
                    <a:pt x="583" y="141"/>
                  </a:lnTo>
                  <a:lnTo>
                    <a:pt x="579" y="145"/>
                  </a:lnTo>
                  <a:lnTo>
                    <a:pt x="576" y="149"/>
                  </a:lnTo>
                  <a:lnTo>
                    <a:pt x="573" y="156"/>
                  </a:lnTo>
                  <a:lnTo>
                    <a:pt x="569" y="161"/>
                  </a:lnTo>
                  <a:lnTo>
                    <a:pt x="565" y="167"/>
                  </a:lnTo>
                  <a:lnTo>
                    <a:pt x="560" y="171"/>
                  </a:lnTo>
                  <a:lnTo>
                    <a:pt x="554" y="175"/>
                  </a:lnTo>
                  <a:lnTo>
                    <a:pt x="543" y="180"/>
                  </a:lnTo>
                  <a:lnTo>
                    <a:pt x="532" y="183"/>
                  </a:lnTo>
                  <a:lnTo>
                    <a:pt x="521" y="184"/>
                  </a:lnTo>
                  <a:lnTo>
                    <a:pt x="511" y="184"/>
                  </a:lnTo>
                  <a:lnTo>
                    <a:pt x="490" y="181"/>
                  </a:lnTo>
                  <a:lnTo>
                    <a:pt x="467" y="175"/>
                  </a:lnTo>
                  <a:lnTo>
                    <a:pt x="443" y="168"/>
                  </a:lnTo>
                  <a:lnTo>
                    <a:pt x="424" y="162"/>
                  </a:lnTo>
                  <a:lnTo>
                    <a:pt x="420" y="162"/>
                  </a:lnTo>
                  <a:lnTo>
                    <a:pt x="416" y="162"/>
                  </a:lnTo>
                  <a:lnTo>
                    <a:pt x="413" y="163"/>
                  </a:lnTo>
                  <a:lnTo>
                    <a:pt x="409" y="165"/>
                  </a:lnTo>
                  <a:lnTo>
                    <a:pt x="405" y="168"/>
                  </a:lnTo>
                  <a:lnTo>
                    <a:pt x="399" y="171"/>
                  </a:lnTo>
                  <a:lnTo>
                    <a:pt x="395" y="177"/>
                  </a:lnTo>
                  <a:lnTo>
                    <a:pt x="390" y="182"/>
                  </a:lnTo>
                  <a:lnTo>
                    <a:pt x="382" y="191"/>
                  </a:lnTo>
                  <a:lnTo>
                    <a:pt x="374" y="198"/>
                  </a:lnTo>
                  <a:lnTo>
                    <a:pt x="366" y="204"/>
                  </a:lnTo>
                  <a:lnTo>
                    <a:pt x="358" y="208"/>
                  </a:lnTo>
                  <a:lnTo>
                    <a:pt x="350" y="211"/>
                  </a:lnTo>
                  <a:lnTo>
                    <a:pt x="342" y="213"/>
                  </a:lnTo>
                  <a:lnTo>
                    <a:pt x="334" y="213"/>
                  </a:lnTo>
                  <a:lnTo>
                    <a:pt x="325" y="213"/>
                  </a:lnTo>
                  <a:lnTo>
                    <a:pt x="291" y="209"/>
                  </a:lnTo>
                  <a:lnTo>
                    <a:pt x="253" y="205"/>
                  </a:lnTo>
                  <a:lnTo>
                    <a:pt x="252" y="207"/>
                  </a:lnTo>
                  <a:lnTo>
                    <a:pt x="252" y="210"/>
                  </a:lnTo>
                  <a:lnTo>
                    <a:pt x="252" y="215"/>
                  </a:lnTo>
                  <a:lnTo>
                    <a:pt x="253" y="221"/>
                  </a:lnTo>
                  <a:lnTo>
                    <a:pt x="257" y="236"/>
                  </a:lnTo>
                  <a:lnTo>
                    <a:pt x="260" y="253"/>
                  </a:lnTo>
                  <a:lnTo>
                    <a:pt x="264" y="270"/>
                  </a:lnTo>
                  <a:lnTo>
                    <a:pt x="267" y="286"/>
                  </a:lnTo>
                  <a:lnTo>
                    <a:pt x="269" y="301"/>
                  </a:lnTo>
                  <a:lnTo>
                    <a:pt x="268" y="311"/>
                  </a:lnTo>
                  <a:lnTo>
                    <a:pt x="266" y="315"/>
                  </a:lnTo>
                  <a:lnTo>
                    <a:pt x="264" y="320"/>
                  </a:lnTo>
                  <a:lnTo>
                    <a:pt x="260" y="325"/>
                  </a:lnTo>
                  <a:lnTo>
                    <a:pt x="255" y="329"/>
                  </a:lnTo>
                  <a:lnTo>
                    <a:pt x="243" y="335"/>
                  </a:lnTo>
                  <a:lnTo>
                    <a:pt x="229" y="341"/>
                  </a:lnTo>
                  <a:lnTo>
                    <a:pt x="200" y="351"/>
                  </a:lnTo>
                  <a:lnTo>
                    <a:pt x="176" y="357"/>
                  </a:lnTo>
                  <a:lnTo>
                    <a:pt x="172" y="370"/>
                  </a:lnTo>
                  <a:lnTo>
                    <a:pt x="168" y="380"/>
                  </a:lnTo>
                  <a:lnTo>
                    <a:pt x="166" y="388"/>
                  </a:lnTo>
                  <a:lnTo>
                    <a:pt x="165" y="397"/>
                  </a:lnTo>
                  <a:lnTo>
                    <a:pt x="165" y="405"/>
                  </a:lnTo>
                  <a:lnTo>
                    <a:pt x="167" y="413"/>
                  </a:lnTo>
                  <a:lnTo>
                    <a:pt x="169" y="424"/>
                  </a:lnTo>
                  <a:lnTo>
                    <a:pt x="173" y="436"/>
                  </a:lnTo>
                  <a:lnTo>
                    <a:pt x="177" y="450"/>
                  </a:lnTo>
                  <a:lnTo>
                    <a:pt x="180" y="464"/>
                  </a:lnTo>
                  <a:lnTo>
                    <a:pt x="182" y="471"/>
                  </a:lnTo>
                  <a:lnTo>
                    <a:pt x="182" y="478"/>
                  </a:lnTo>
                  <a:lnTo>
                    <a:pt x="180" y="485"/>
                  </a:lnTo>
                  <a:lnTo>
                    <a:pt x="178" y="492"/>
                  </a:lnTo>
                  <a:lnTo>
                    <a:pt x="175" y="498"/>
                  </a:lnTo>
                  <a:lnTo>
                    <a:pt x="170" y="504"/>
                  </a:lnTo>
                  <a:lnTo>
                    <a:pt x="163" y="509"/>
                  </a:lnTo>
                  <a:lnTo>
                    <a:pt x="155" y="515"/>
                  </a:lnTo>
                  <a:lnTo>
                    <a:pt x="147" y="519"/>
                  </a:lnTo>
                  <a:lnTo>
                    <a:pt x="139" y="522"/>
                  </a:lnTo>
                  <a:lnTo>
                    <a:pt x="129" y="525"/>
                  </a:lnTo>
                  <a:lnTo>
                    <a:pt x="119" y="527"/>
                  </a:lnTo>
                  <a:lnTo>
                    <a:pt x="110" y="528"/>
                  </a:lnTo>
                  <a:lnTo>
                    <a:pt x="99" y="528"/>
                  </a:lnTo>
                  <a:lnTo>
                    <a:pt x="90" y="527"/>
                  </a:lnTo>
                  <a:lnTo>
                    <a:pt x="81" y="526"/>
                  </a:lnTo>
                  <a:lnTo>
                    <a:pt x="73" y="523"/>
                  </a:lnTo>
                  <a:lnTo>
                    <a:pt x="65" y="520"/>
                  </a:lnTo>
                  <a:lnTo>
                    <a:pt x="58" y="515"/>
                  </a:lnTo>
                  <a:lnTo>
                    <a:pt x="53" y="509"/>
                  </a:lnTo>
                  <a:lnTo>
                    <a:pt x="43" y="505"/>
                  </a:lnTo>
                  <a:lnTo>
                    <a:pt x="33" y="502"/>
                  </a:lnTo>
                  <a:lnTo>
                    <a:pt x="29" y="500"/>
                  </a:lnTo>
                  <a:lnTo>
                    <a:pt x="24" y="500"/>
                  </a:lnTo>
                  <a:lnTo>
                    <a:pt x="19" y="501"/>
                  </a:lnTo>
                  <a:lnTo>
                    <a:pt x="13" y="505"/>
                  </a:lnTo>
                  <a:lnTo>
                    <a:pt x="11" y="507"/>
                  </a:lnTo>
                  <a:lnTo>
                    <a:pt x="7" y="510"/>
                  </a:lnTo>
                  <a:lnTo>
                    <a:pt x="5" y="515"/>
                  </a:lnTo>
                  <a:lnTo>
                    <a:pt x="4" y="519"/>
                  </a:lnTo>
                  <a:lnTo>
                    <a:pt x="1" y="528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5"/>
                  </a:lnTo>
                  <a:lnTo>
                    <a:pt x="2" y="578"/>
                  </a:lnTo>
                  <a:lnTo>
                    <a:pt x="4" y="593"/>
                  </a:lnTo>
                  <a:lnTo>
                    <a:pt x="8" y="621"/>
                  </a:lnTo>
                  <a:lnTo>
                    <a:pt x="12" y="648"/>
                  </a:lnTo>
                  <a:lnTo>
                    <a:pt x="13" y="661"/>
                  </a:lnTo>
                  <a:lnTo>
                    <a:pt x="12" y="672"/>
                  </a:lnTo>
                  <a:lnTo>
                    <a:pt x="11" y="681"/>
                  </a:lnTo>
                  <a:lnTo>
                    <a:pt x="8" y="690"/>
                  </a:lnTo>
                  <a:lnTo>
                    <a:pt x="4" y="691"/>
                  </a:lnTo>
                  <a:lnTo>
                    <a:pt x="35" y="691"/>
                  </a:lnTo>
                  <a:lnTo>
                    <a:pt x="70" y="692"/>
                  </a:lnTo>
                  <a:lnTo>
                    <a:pt x="88" y="693"/>
                  </a:lnTo>
                  <a:lnTo>
                    <a:pt x="105" y="695"/>
                  </a:lnTo>
                  <a:lnTo>
                    <a:pt x="114" y="696"/>
                  </a:lnTo>
                  <a:lnTo>
                    <a:pt x="121" y="698"/>
                  </a:lnTo>
                  <a:lnTo>
                    <a:pt x="128" y="700"/>
                  </a:lnTo>
                  <a:lnTo>
                    <a:pt x="136" y="703"/>
                  </a:lnTo>
                  <a:lnTo>
                    <a:pt x="141" y="706"/>
                  </a:lnTo>
                  <a:lnTo>
                    <a:pt x="145" y="711"/>
                  </a:lnTo>
                  <a:lnTo>
                    <a:pt x="148" y="715"/>
                  </a:lnTo>
                  <a:lnTo>
                    <a:pt x="151" y="719"/>
                  </a:lnTo>
                  <a:lnTo>
                    <a:pt x="158" y="727"/>
                  </a:lnTo>
                  <a:lnTo>
                    <a:pt x="166" y="736"/>
                  </a:lnTo>
                  <a:lnTo>
                    <a:pt x="173" y="739"/>
                  </a:lnTo>
                  <a:lnTo>
                    <a:pt x="183" y="740"/>
                  </a:lnTo>
                  <a:lnTo>
                    <a:pt x="193" y="741"/>
                  </a:lnTo>
                  <a:lnTo>
                    <a:pt x="204" y="742"/>
                  </a:lnTo>
                  <a:lnTo>
                    <a:pt x="215" y="743"/>
                  </a:lnTo>
                  <a:lnTo>
                    <a:pt x="223" y="744"/>
                  </a:lnTo>
                  <a:lnTo>
                    <a:pt x="227" y="745"/>
                  </a:lnTo>
                  <a:lnTo>
                    <a:pt x="231" y="747"/>
                  </a:lnTo>
                  <a:lnTo>
                    <a:pt x="233" y="749"/>
                  </a:lnTo>
                  <a:lnTo>
                    <a:pt x="234" y="751"/>
                  </a:lnTo>
                  <a:lnTo>
                    <a:pt x="236" y="764"/>
                  </a:lnTo>
                  <a:lnTo>
                    <a:pt x="237" y="775"/>
                  </a:lnTo>
                  <a:lnTo>
                    <a:pt x="237" y="786"/>
                  </a:lnTo>
                  <a:lnTo>
                    <a:pt x="237" y="796"/>
                  </a:lnTo>
                  <a:lnTo>
                    <a:pt x="238" y="806"/>
                  </a:lnTo>
                  <a:lnTo>
                    <a:pt x="240" y="816"/>
                  </a:lnTo>
                  <a:lnTo>
                    <a:pt x="242" y="821"/>
                  </a:lnTo>
                  <a:lnTo>
                    <a:pt x="245" y="826"/>
                  </a:lnTo>
                  <a:lnTo>
                    <a:pt x="249" y="832"/>
                  </a:lnTo>
                  <a:lnTo>
                    <a:pt x="255" y="837"/>
                  </a:lnTo>
                  <a:lnTo>
                    <a:pt x="264" y="845"/>
                  </a:lnTo>
                  <a:lnTo>
                    <a:pt x="276" y="853"/>
                  </a:lnTo>
                  <a:lnTo>
                    <a:pt x="290" y="860"/>
                  </a:lnTo>
                  <a:lnTo>
                    <a:pt x="304" y="868"/>
                  </a:lnTo>
                  <a:lnTo>
                    <a:pt x="316" y="878"/>
                  </a:lnTo>
                  <a:lnTo>
                    <a:pt x="327" y="887"/>
                  </a:lnTo>
                  <a:lnTo>
                    <a:pt x="332" y="892"/>
                  </a:lnTo>
                  <a:lnTo>
                    <a:pt x="336" y="897"/>
                  </a:lnTo>
                  <a:lnTo>
                    <a:pt x="338" y="903"/>
                  </a:lnTo>
                  <a:lnTo>
                    <a:pt x="339" y="909"/>
                  </a:lnTo>
                  <a:lnTo>
                    <a:pt x="347" y="916"/>
                  </a:lnTo>
                  <a:lnTo>
                    <a:pt x="356" y="927"/>
                  </a:lnTo>
                  <a:lnTo>
                    <a:pt x="365" y="937"/>
                  </a:lnTo>
                  <a:lnTo>
                    <a:pt x="374" y="946"/>
                  </a:lnTo>
                  <a:lnTo>
                    <a:pt x="382" y="953"/>
                  </a:lnTo>
                  <a:lnTo>
                    <a:pt x="388" y="959"/>
                  </a:lnTo>
                  <a:lnTo>
                    <a:pt x="393" y="965"/>
                  </a:lnTo>
                  <a:lnTo>
                    <a:pt x="397" y="971"/>
                  </a:lnTo>
                  <a:lnTo>
                    <a:pt x="407" y="984"/>
                  </a:lnTo>
                  <a:lnTo>
                    <a:pt x="416" y="999"/>
                  </a:lnTo>
                  <a:lnTo>
                    <a:pt x="416" y="1007"/>
                  </a:lnTo>
                  <a:lnTo>
                    <a:pt x="415" y="1015"/>
                  </a:lnTo>
                  <a:lnTo>
                    <a:pt x="413" y="1023"/>
                  </a:lnTo>
                  <a:lnTo>
                    <a:pt x="411" y="1030"/>
                  </a:lnTo>
                  <a:lnTo>
                    <a:pt x="408" y="1037"/>
                  </a:lnTo>
                  <a:lnTo>
                    <a:pt x="405" y="1043"/>
                  </a:lnTo>
                  <a:lnTo>
                    <a:pt x="402" y="1050"/>
                  </a:lnTo>
                  <a:lnTo>
                    <a:pt x="396" y="1055"/>
                  </a:lnTo>
                  <a:lnTo>
                    <a:pt x="387" y="1066"/>
                  </a:lnTo>
                  <a:lnTo>
                    <a:pt x="377" y="1076"/>
                  </a:lnTo>
                  <a:lnTo>
                    <a:pt x="365" y="1086"/>
                  </a:lnTo>
                  <a:lnTo>
                    <a:pt x="354" y="1098"/>
                  </a:lnTo>
                  <a:lnTo>
                    <a:pt x="343" y="1108"/>
                  </a:lnTo>
                  <a:lnTo>
                    <a:pt x="336" y="1116"/>
                  </a:lnTo>
                  <a:lnTo>
                    <a:pt x="332" y="1125"/>
                  </a:lnTo>
                  <a:lnTo>
                    <a:pt x="330" y="1133"/>
                  </a:lnTo>
                  <a:lnTo>
                    <a:pt x="326" y="1152"/>
                  </a:lnTo>
                  <a:lnTo>
                    <a:pt x="322" y="1177"/>
                  </a:lnTo>
                  <a:lnTo>
                    <a:pt x="319" y="1185"/>
                  </a:lnTo>
                  <a:lnTo>
                    <a:pt x="314" y="1194"/>
                  </a:lnTo>
                  <a:lnTo>
                    <a:pt x="308" y="1202"/>
                  </a:lnTo>
                  <a:lnTo>
                    <a:pt x="299" y="1210"/>
                  </a:lnTo>
                  <a:lnTo>
                    <a:pt x="281" y="1226"/>
                  </a:lnTo>
                  <a:lnTo>
                    <a:pt x="261" y="1243"/>
                  </a:lnTo>
                  <a:lnTo>
                    <a:pt x="241" y="1258"/>
                  </a:lnTo>
                  <a:lnTo>
                    <a:pt x="224" y="1275"/>
                  </a:lnTo>
                  <a:lnTo>
                    <a:pt x="218" y="1282"/>
                  </a:lnTo>
                  <a:lnTo>
                    <a:pt x="213" y="1291"/>
                  </a:lnTo>
                  <a:lnTo>
                    <a:pt x="210" y="1299"/>
                  </a:lnTo>
                  <a:lnTo>
                    <a:pt x="208" y="1307"/>
                  </a:lnTo>
                  <a:lnTo>
                    <a:pt x="210" y="1313"/>
                  </a:lnTo>
                  <a:lnTo>
                    <a:pt x="214" y="1320"/>
                  </a:lnTo>
                  <a:lnTo>
                    <a:pt x="220" y="1328"/>
                  </a:lnTo>
                  <a:lnTo>
                    <a:pt x="227" y="1338"/>
                  </a:lnTo>
                  <a:lnTo>
                    <a:pt x="243" y="1355"/>
                  </a:lnTo>
                  <a:lnTo>
                    <a:pt x="253" y="1367"/>
                  </a:lnTo>
                  <a:lnTo>
                    <a:pt x="261" y="1373"/>
                  </a:lnTo>
                  <a:lnTo>
                    <a:pt x="269" y="1378"/>
                  </a:lnTo>
                  <a:lnTo>
                    <a:pt x="278" y="1384"/>
                  </a:lnTo>
                  <a:lnTo>
                    <a:pt x="289" y="1388"/>
                  </a:lnTo>
                  <a:lnTo>
                    <a:pt x="310" y="1394"/>
                  </a:lnTo>
                  <a:lnTo>
                    <a:pt x="330" y="1399"/>
                  </a:lnTo>
                  <a:lnTo>
                    <a:pt x="333" y="1408"/>
                  </a:lnTo>
                  <a:lnTo>
                    <a:pt x="334" y="1414"/>
                  </a:lnTo>
                  <a:lnTo>
                    <a:pt x="333" y="1421"/>
                  </a:lnTo>
                  <a:lnTo>
                    <a:pt x="331" y="1428"/>
                  </a:lnTo>
                  <a:lnTo>
                    <a:pt x="329" y="1435"/>
                  </a:lnTo>
                  <a:lnTo>
                    <a:pt x="326" y="1442"/>
                  </a:lnTo>
                  <a:lnTo>
                    <a:pt x="324" y="1449"/>
                  </a:lnTo>
                  <a:lnTo>
                    <a:pt x="324" y="1458"/>
                  </a:lnTo>
                  <a:lnTo>
                    <a:pt x="388" y="1530"/>
                  </a:lnTo>
                  <a:lnTo>
                    <a:pt x="397" y="1529"/>
                  </a:lnTo>
                  <a:lnTo>
                    <a:pt x="406" y="1526"/>
                  </a:lnTo>
                  <a:lnTo>
                    <a:pt x="413" y="1523"/>
                  </a:lnTo>
                  <a:lnTo>
                    <a:pt x="419" y="1519"/>
                  </a:lnTo>
                  <a:lnTo>
                    <a:pt x="424" y="1515"/>
                  </a:lnTo>
                  <a:lnTo>
                    <a:pt x="432" y="1510"/>
                  </a:lnTo>
                  <a:lnTo>
                    <a:pt x="438" y="1506"/>
                  </a:lnTo>
                  <a:lnTo>
                    <a:pt x="446" y="1502"/>
                  </a:lnTo>
                  <a:lnTo>
                    <a:pt x="465" y="1497"/>
                  </a:lnTo>
                  <a:lnTo>
                    <a:pt x="484" y="1494"/>
                  </a:lnTo>
                  <a:lnTo>
                    <a:pt x="504" y="1493"/>
                  </a:lnTo>
                  <a:lnTo>
                    <a:pt x="522" y="1493"/>
                  </a:lnTo>
                  <a:lnTo>
                    <a:pt x="562" y="1495"/>
                  </a:lnTo>
                  <a:lnTo>
                    <a:pt x="600" y="1498"/>
                  </a:lnTo>
                  <a:lnTo>
                    <a:pt x="620" y="1499"/>
                  </a:lnTo>
                  <a:lnTo>
                    <a:pt x="639" y="1498"/>
                  </a:lnTo>
                  <a:lnTo>
                    <a:pt x="656" y="1497"/>
                  </a:lnTo>
                  <a:lnTo>
                    <a:pt x="673" y="1496"/>
                  </a:lnTo>
                  <a:lnTo>
                    <a:pt x="705" y="1490"/>
                  </a:lnTo>
                  <a:lnTo>
                    <a:pt x="742" y="1483"/>
                  </a:lnTo>
                  <a:lnTo>
                    <a:pt x="742" y="1483"/>
                  </a:lnTo>
                  <a:lnTo>
                    <a:pt x="745" y="1477"/>
                  </a:lnTo>
                  <a:lnTo>
                    <a:pt x="746" y="1472"/>
                  </a:lnTo>
                  <a:lnTo>
                    <a:pt x="746" y="1468"/>
                  </a:lnTo>
                  <a:lnTo>
                    <a:pt x="746" y="1463"/>
                  </a:lnTo>
                  <a:lnTo>
                    <a:pt x="746" y="1459"/>
                  </a:lnTo>
                  <a:lnTo>
                    <a:pt x="747" y="1454"/>
                  </a:lnTo>
                  <a:lnTo>
                    <a:pt x="749" y="1450"/>
                  </a:lnTo>
                  <a:lnTo>
                    <a:pt x="754" y="1445"/>
                  </a:lnTo>
                  <a:lnTo>
                    <a:pt x="756" y="1443"/>
                  </a:lnTo>
                  <a:lnTo>
                    <a:pt x="760" y="1442"/>
                  </a:lnTo>
                  <a:lnTo>
                    <a:pt x="763" y="1441"/>
                  </a:lnTo>
                  <a:lnTo>
                    <a:pt x="767" y="1440"/>
                  </a:lnTo>
                  <a:lnTo>
                    <a:pt x="776" y="1440"/>
                  </a:lnTo>
                  <a:lnTo>
                    <a:pt x="783" y="1439"/>
                  </a:lnTo>
                  <a:lnTo>
                    <a:pt x="794" y="1437"/>
                  </a:lnTo>
                  <a:lnTo>
                    <a:pt x="802" y="1434"/>
                  </a:lnTo>
                  <a:lnTo>
                    <a:pt x="810" y="1429"/>
                  </a:lnTo>
                  <a:lnTo>
                    <a:pt x="818" y="1425"/>
                  </a:lnTo>
                  <a:lnTo>
                    <a:pt x="824" y="1419"/>
                  </a:lnTo>
                  <a:lnTo>
                    <a:pt x="829" y="1413"/>
                  </a:lnTo>
                  <a:lnTo>
                    <a:pt x="834" y="1407"/>
                  </a:lnTo>
                  <a:lnTo>
                    <a:pt x="839" y="1399"/>
                  </a:lnTo>
                  <a:lnTo>
                    <a:pt x="853" y="1367"/>
                  </a:lnTo>
                  <a:lnTo>
                    <a:pt x="866" y="1333"/>
                  </a:lnTo>
                  <a:lnTo>
                    <a:pt x="874" y="1308"/>
                  </a:lnTo>
                  <a:lnTo>
                    <a:pt x="885" y="1276"/>
                  </a:lnTo>
                  <a:lnTo>
                    <a:pt x="888" y="1268"/>
                  </a:lnTo>
                  <a:lnTo>
                    <a:pt x="893" y="1260"/>
                  </a:lnTo>
                  <a:lnTo>
                    <a:pt x="897" y="1254"/>
                  </a:lnTo>
                  <a:lnTo>
                    <a:pt x="901" y="1248"/>
                  </a:lnTo>
                  <a:lnTo>
                    <a:pt x="906" y="1244"/>
                  </a:lnTo>
                  <a:lnTo>
                    <a:pt x="911" y="1240"/>
                  </a:lnTo>
                  <a:lnTo>
                    <a:pt x="918" y="1237"/>
                  </a:lnTo>
                  <a:lnTo>
                    <a:pt x="924" y="1236"/>
                  </a:lnTo>
                  <a:lnTo>
                    <a:pt x="934" y="1247"/>
                  </a:lnTo>
                  <a:lnTo>
                    <a:pt x="948" y="1258"/>
                  </a:lnTo>
                  <a:lnTo>
                    <a:pt x="964" y="1270"/>
                  </a:lnTo>
                  <a:lnTo>
                    <a:pt x="976" y="1279"/>
                  </a:lnTo>
                  <a:lnTo>
                    <a:pt x="985" y="1289"/>
                  </a:lnTo>
                  <a:lnTo>
                    <a:pt x="997" y="1300"/>
                  </a:lnTo>
                  <a:lnTo>
                    <a:pt x="1009" y="1315"/>
                  </a:lnTo>
                  <a:lnTo>
                    <a:pt x="1023" y="1329"/>
                  </a:lnTo>
                  <a:lnTo>
                    <a:pt x="1036" y="1344"/>
                  </a:lnTo>
                  <a:lnTo>
                    <a:pt x="1049" y="1356"/>
                  </a:lnTo>
                  <a:lnTo>
                    <a:pt x="1055" y="1363"/>
                  </a:lnTo>
                  <a:lnTo>
                    <a:pt x="1062" y="1368"/>
                  </a:lnTo>
                  <a:lnTo>
                    <a:pt x="1067" y="1371"/>
                  </a:lnTo>
                  <a:lnTo>
                    <a:pt x="1072" y="1374"/>
                  </a:lnTo>
                  <a:lnTo>
                    <a:pt x="1077" y="1376"/>
                  </a:lnTo>
                  <a:lnTo>
                    <a:pt x="1082" y="1377"/>
                  </a:lnTo>
                  <a:lnTo>
                    <a:pt x="1088" y="1377"/>
                  </a:lnTo>
                  <a:lnTo>
                    <a:pt x="1093" y="1377"/>
                  </a:lnTo>
                  <a:lnTo>
                    <a:pt x="1103" y="1376"/>
                  </a:lnTo>
                  <a:lnTo>
                    <a:pt x="1114" y="1373"/>
                  </a:lnTo>
                  <a:lnTo>
                    <a:pt x="1125" y="1370"/>
                  </a:lnTo>
                  <a:lnTo>
                    <a:pt x="1137" y="1367"/>
                  </a:lnTo>
                  <a:lnTo>
                    <a:pt x="1147" y="1365"/>
                  </a:lnTo>
                  <a:lnTo>
                    <a:pt x="1157" y="1364"/>
                  </a:lnTo>
                  <a:lnTo>
                    <a:pt x="1176" y="1364"/>
                  </a:lnTo>
                  <a:lnTo>
                    <a:pt x="1192" y="1362"/>
                  </a:lnTo>
                  <a:lnTo>
                    <a:pt x="1199" y="1361"/>
                  </a:lnTo>
                  <a:lnTo>
                    <a:pt x="1206" y="1357"/>
                  </a:lnTo>
                  <a:lnTo>
                    <a:pt x="1215" y="1354"/>
                  </a:lnTo>
                  <a:lnTo>
                    <a:pt x="1223" y="1351"/>
                  </a:lnTo>
                  <a:lnTo>
                    <a:pt x="1233" y="1346"/>
                  </a:lnTo>
                  <a:lnTo>
                    <a:pt x="1241" y="1341"/>
                  </a:lnTo>
                  <a:lnTo>
                    <a:pt x="1249" y="1335"/>
                  </a:lnTo>
                  <a:lnTo>
                    <a:pt x="1259" y="1327"/>
                  </a:lnTo>
                  <a:lnTo>
                    <a:pt x="1277" y="1312"/>
                  </a:lnTo>
                  <a:lnTo>
                    <a:pt x="1297" y="1296"/>
                  </a:lnTo>
                  <a:lnTo>
                    <a:pt x="1317" y="1281"/>
                  </a:lnTo>
                  <a:lnTo>
                    <a:pt x="1337" y="1269"/>
                  </a:lnTo>
                  <a:lnTo>
                    <a:pt x="1347" y="1264"/>
                  </a:lnTo>
                  <a:lnTo>
                    <a:pt x="1357" y="1259"/>
                  </a:lnTo>
                  <a:lnTo>
                    <a:pt x="1367" y="1257"/>
                  </a:lnTo>
                  <a:lnTo>
                    <a:pt x="1376" y="1256"/>
                  </a:lnTo>
                  <a:lnTo>
                    <a:pt x="1381" y="1267"/>
                  </a:lnTo>
                  <a:lnTo>
                    <a:pt x="1384" y="1278"/>
                  </a:lnTo>
                  <a:lnTo>
                    <a:pt x="1387" y="1290"/>
                  </a:lnTo>
                  <a:lnTo>
                    <a:pt x="1389" y="1302"/>
                  </a:lnTo>
                  <a:lnTo>
                    <a:pt x="1391" y="1315"/>
                  </a:lnTo>
                  <a:lnTo>
                    <a:pt x="1395" y="1326"/>
                  </a:lnTo>
                  <a:lnTo>
                    <a:pt x="1397" y="1331"/>
                  </a:lnTo>
                  <a:lnTo>
                    <a:pt x="1400" y="1337"/>
                  </a:lnTo>
                  <a:lnTo>
                    <a:pt x="1404" y="1341"/>
                  </a:lnTo>
                  <a:lnTo>
                    <a:pt x="1407" y="1345"/>
                  </a:lnTo>
                  <a:lnTo>
                    <a:pt x="1414" y="1351"/>
                  </a:lnTo>
                  <a:lnTo>
                    <a:pt x="1420" y="1359"/>
                  </a:lnTo>
                  <a:lnTo>
                    <a:pt x="1425" y="1366"/>
                  </a:lnTo>
                  <a:lnTo>
                    <a:pt x="1430" y="1372"/>
                  </a:lnTo>
                  <a:lnTo>
                    <a:pt x="1438" y="1388"/>
                  </a:lnTo>
                  <a:lnTo>
                    <a:pt x="1444" y="1405"/>
                  </a:lnTo>
                  <a:lnTo>
                    <a:pt x="1447" y="1417"/>
                  </a:lnTo>
                  <a:lnTo>
                    <a:pt x="1450" y="1431"/>
                  </a:lnTo>
                  <a:lnTo>
                    <a:pt x="1451" y="1437"/>
                  </a:lnTo>
                  <a:lnTo>
                    <a:pt x="1454" y="1443"/>
                  </a:lnTo>
                  <a:lnTo>
                    <a:pt x="1457" y="1448"/>
                  </a:lnTo>
                  <a:lnTo>
                    <a:pt x="1460" y="1453"/>
                  </a:lnTo>
                  <a:lnTo>
                    <a:pt x="1460" y="1458"/>
                  </a:lnTo>
                  <a:lnTo>
                    <a:pt x="1461" y="1461"/>
                  </a:lnTo>
                  <a:lnTo>
                    <a:pt x="1463" y="1464"/>
                  </a:lnTo>
                  <a:lnTo>
                    <a:pt x="1466" y="1467"/>
                  </a:lnTo>
                  <a:lnTo>
                    <a:pt x="1473" y="1470"/>
                  </a:lnTo>
                  <a:lnTo>
                    <a:pt x="1483" y="1472"/>
                  </a:lnTo>
                  <a:lnTo>
                    <a:pt x="1492" y="1473"/>
                  </a:lnTo>
                  <a:lnTo>
                    <a:pt x="1502" y="1473"/>
                  </a:lnTo>
                  <a:lnTo>
                    <a:pt x="1511" y="1472"/>
                  </a:lnTo>
                  <a:lnTo>
                    <a:pt x="1517" y="1471"/>
                  </a:lnTo>
                  <a:lnTo>
                    <a:pt x="1540" y="1469"/>
                  </a:lnTo>
                  <a:lnTo>
                    <a:pt x="1563" y="1469"/>
                  </a:lnTo>
                  <a:lnTo>
                    <a:pt x="1586" y="1471"/>
                  </a:lnTo>
                  <a:lnTo>
                    <a:pt x="1608" y="1472"/>
                  </a:lnTo>
                  <a:lnTo>
                    <a:pt x="1608" y="1472"/>
                  </a:lnTo>
                  <a:lnTo>
                    <a:pt x="1608" y="1459"/>
                  </a:lnTo>
                  <a:lnTo>
                    <a:pt x="1611" y="1446"/>
                  </a:lnTo>
                  <a:lnTo>
                    <a:pt x="1614" y="1435"/>
                  </a:lnTo>
                  <a:lnTo>
                    <a:pt x="1617" y="1424"/>
                  </a:lnTo>
                  <a:lnTo>
                    <a:pt x="1618" y="1416"/>
                  </a:lnTo>
                  <a:lnTo>
                    <a:pt x="1618" y="1408"/>
                  </a:lnTo>
                  <a:lnTo>
                    <a:pt x="1617" y="1400"/>
                  </a:lnTo>
                  <a:lnTo>
                    <a:pt x="1613" y="1392"/>
                  </a:lnTo>
                  <a:lnTo>
                    <a:pt x="1607" y="1383"/>
                  </a:lnTo>
                  <a:lnTo>
                    <a:pt x="1597" y="1372"/>
                  </a:lnTo>
                  <a:lnTo>
                    <a:pt x="1593" y="1360"/>
                  </a:lnTo>
                  <a:lnTo>
                    <a:pt x="1590" y="1349"/>
                  </a:lnTo>
                  <a:lnTo>
                    <a:pt x="1589" y="1338"/>
                  </a:lnTo>
                  <a:lnTo>
                    <a:pt x="1588" y="1326"/>
                  </a:lnTo>
                  <a:lnTo>
                    <a:pt x="1588" y="1315"/>
                  </a:lnTo>
                  <a:lnTo>
                    <a:pt x="1586" y="1304"/>
                  </a:lnTo>
                  <a:lnTo>
                    <a:pt x="1584" y="1293"/>
                  </a:lnTo>
                  <a:lnTo>
                    <a:pt x="1579" y="1281"/>
                  </a:lnTo>
                  <a:lnTo>
                    <a:pt x="1576" y="1276"/>
                  </a:lnTo>
                  <a:lnTo>
                    <a:pt x="1573" y="1270"/>
                  </a:lnTo>
                  <a:lnTo>
                    <a:pt x="1572" y="1265"/>
                  </a:lnTo>
                  <a:lnTo>
                    <a:pt x="1571" y="1258"/>
                  </a:lnTo>
                  <a:lnTo>
                    <a:pt x="1571" y="1247"/>
                  </a:lnTo>
                  <a:lnTo>
                    <a:pt x="1572" y="1235"/>
                  </a:lnTo>
                  <a:lnTo>
                    <a:pt x="1580" y="1211"/>
                  </a:lnTo>
                  <a:lnTo>
                    <a:pt x="1588" y="1188"/>
                  </a:lnTo>
                  <a:lnTo>
                    <a:pt x="1591" y="1177"/>
                  </a:lnTo>
                  <a:lnTo>
                    <a:pt x="1593" y="1164"/>
                  </a:lnTo>
                  <a:lnTo>
                    <a:pt x="1594" y="1152"/>
                  </a:lnTo>
                  <a:lnTo>
                    <a:pt x="1593" y="1139"/>
                  </a:lnTo>
                  <a:lnTo>
                    <a:pt x="1591" y="1113"/>
                  </a:lnTo>
                  <a:lnTo>
                    <a:pt x="1587" y="1087"/>
                  </a:lnTo>
                  <a:lnTo>
                    <a:pt x="1585" y="1074"/>
                  </a:lnTo>
                  <a:lnTo>
                    <a:pt x="1584" y="1061"/>
                  </a:lnTo>
                  <a:lnTo>
                    <a:pt x="1583" y="1049"/>
                  </a:lnTo>
                  <a:lnTo>
                    <a:pt x="1583" y="1036"/>
                  </a:lnTo>
                  <a:lnTo>
                    <a:pt x="1584" y="1025"/>
                  </a:lnTo>
                  <a:lnTo>
                    <a:pt x="1587" y="1013"/>
                  </a:lnTo>
                  <a:lnTo>
                    <a:pt x="1591" y="1003"/>
                  </a:lnTo>
                  <a:lnTo>
                    <a:pt x="1596" y="993"/>
                  </a:lnTo>
                  <a:lnTo>
                    <a:pt x="1603" y="992"/>
                  </a:lnTo>
                  <a:lnTo>
                    <a:pt x="1609" y="990"/>
                  </a:lnTo>
                  <a:lnTo>
                    <a:pt x="1616" y="987"/>
                  </a:lnTo>
                  <a:lnTo>
                    <a:pt x="1624" y="983"/>
                  </a:lnTo>
                  <a:lnTo>
                    <a:pt x="1639" y="974"/>
                  </a:lnTo>
                  <a:lnTo>
                    <a:pt x="1654" y="962"/>
                  </a:lnTo>
                  <a:lnTo>
                    <a:pt x="1668" y="949"/>
                  </a:lnTo>
                  <a:lnTo>
                    <a:pt x="1681" y="936"/>
                  </a:lnTo>
                  <a:lnTo>
                    <a:pt x="1690" y="922"/>
                  </a:lnTo>
                  <a:lnTo>
                    <a:pt x="1698" y="911"/>
                  </a:lnTo>
                  <a:lnTo>
                    <a:pt x="1700" y="906"/>
                  </a:lnTo>
                  <a:lnTo>
                    <a:pt x="1701" y="897"/>
                  </a:lnTo>
                  <a:lnTo>
                    <a:pt x="1703" y="889"/>
                  </a:lnTo>
                  <a:lnTo>
                    <a:pt x="1704" y="880"/>
                  </a:lnTo>
                  <a:lnTo>
                    <a:pt x="1706" y="858"/>
                  </a:lnTo>
                  <a:lnTo>
                    <a:pt x="1707" y="835"/>
                  </a:lnTo>
                  <a:lnTo>
                    <a:pt x="1708" y="813"/>
                  </a:lnTo>
                  <a:lnTo>
                    <a:pt x="1709" y="793"/>
                  </a:lnTo>
                  <a:lnTo>
                    <a:pt x="1710" y="785"/>
                  </a:lnTo>
                  <a:lnTo>
                    <a:pt x="1711" y="778"/>
                  </a:lnTo>
                  <a:lnTo>
                    <a:pt x="1712" y="774"/>
                  </a:lnTo>
                  <a:lnTo>
                    <a:pt x="1714" y="771"/>
                  </a:lnTo>
                  <a:lnTo>
                    <a:pt x="1718" y="768"/>
                  </a:lnTo>
                  <a:lnTo>
                    <a:pt x="1727" y="767"/>
                  </a:lnTo>
                  <a:lnTo>
                    <a:pt x="1737" y="766"/>
                  </a:lnTo>
                  <a:lnTo>
                    <a:pt x="1749" y="765"/>
                  </a:lnTo>
                  <a:lnTo>
                    <a:pt x="1771" y="765"/>
                  </a:lnTo>
                  <a:lnTo>
                    <a:pt x="1787" y="765"/>
                  </a:lnTo>
                  <a:lnTo>
                    <a:pt x="1797" y="766"/>
                  </a:lnTo>
                  <a:lnTo>
                    <a:pt x="1806" y="766"/>
                  </a:lnTo>
                  <a:lnTo>
                    <a:pt x="1811" y="765"/>
                  </a:lnTo>
                  <a:lnTo>
                    <a:pt x="1815" y="765"/>
                  </a:lnTo>
                  <a:lnTo>
                    <a:pt x="1820" y="764"/>
                  </a:lnTo>
                  <a:lnTo>
                    <a:pt x="1824" y="762"/>
                  </a:lnTo>
                  <a:lnTo>
                    <a:pt x="1826" y="745"/>
                  </a:lnTo>
                  <a:lnTo>
                    <a:pt x="1827" y="726"/>
                  </a:lnTo>
                  <a:lnTo>
                    <a:pt x="1828" y="708"/>
                  </a:lnTo>
                  <a:lnTo>
                    <a:pt x="1827" y="688"/>
                  </a:lnTo>
                  <a:lnTo>
                    <a:pt x="1826" y="648"/>
                  </a:lnTo>
                  <a:lnTo>
                    <a:pt x="1825" y="612"/>
                  </a:lnTo>
                  <a:lnTo>
                    <a:pt x="1824" y="593"/>
                  </a:lnTo>
                  <a:lnTo>
                    <a:pt x="1822" y="573"/>
                  </a:lnTo>
                  <a:lnTo>
                    <a:pt x="1820" y="551"/>
                  </a:lnTo>
                  <a:lnTo>
                    <a:pt x="1816" y="528"/>
                  </a:lnTo>
                  <a:lnTo>
                    <a:pt x="1814" y="506"/>
                  </a:lnTo>
                  <a:lnTo>
                    <a:pt x="1813" y="485"/>
                  </a:lnTo>
                  <a:lnTo>
                    <a:pt x="1813" y="475"/>
                  </a:lnTo>
                  <a:lnTo>
                    <a:pt x="1814" y="465"/>
                  </a:lnTo>
                  <a:lnTo>
                    <a:pt x="1815" y="457"/>
                  </a:lnTo>
                  <a:lnTo>
                    <a:pt x="1816" y="449"/>
                  </a:lnTo>
                  <a:lnTo>
                    <a:pt x="1839" y="446"/>
                  </a:lnTo>
                  <a:lnTo>
                    <a:pt x="1862" y="440"/>
                  </a:lnTo>
                  <a:lnTo>
                    <a:pt x="1869" y="438"/>
                  </a:lnTo>
                  <a:lnTo>
                    <a:pt x="1874" y="436"/>
                  </a:lnTo>
                  <a:lnTo>
                    <a:pt x="1878" y="433"/>
                  </a:lnTo>
                  <a:lnTo>
                    <a:pt x="1883" y="430"/>
                  </a:lnTo>
                  <a:lnTo>
                    <a:pt x="1887" y="426"/>
                  </a:lnTo>
                  <a:lnTo>
                    <a:pt x="1890" y="422"/>
                  </a:lnTo>
                  <a:lnTo>
                    <a:pt x="1894" y="416"/>
                  </a:lnTo>
                  <a:lnTo>
                    <a:pt x="1896" y="410"/>
                  </a:lnTo>
                  <a:lnTo>
                    <a:pt x="1899" y="398"/>
                  </a:lnTo>
                  <a:lnTo>
                    <a:pt x="1901" y="385"/>
                  </a:lnTo>
                  <a:lnTo>
                    <a:pt x="1902" y="373"/>
                  </a:lnTo>
                  <a:lnTo>
                    <a:pt x="1903" y="360"/>
                  </a:lnTo>
                  <a:lnTo>
                    <a:pt x="1904" y="348"/>
                  </a:lnTo>
                  <a:lnTo>
                    <a:pt x="1905" y="335"/>
                  </a:lnTo>
                  <a:lnTo>
                    <a:pt x="1907" y="323"/>
                  </a:lnTo>
                  <a:lnTo>
                    <a:pt x="1910" y="311"/>
                  </a:lnTo>
                  <a:lnTo>
                    <a:pt x="1918" y="300"/>
                  </a:lnTo>
                  <a:lnTo>
                    <a:pt x="1931" y="281"/>
                  </a:lnTo>
                  <a:lnTo>
                    <a:pt x="1950" y="258"/>
                  </a:lnTo>
                  <a:lnTo>
                    <a:pt x="1970" y="232"/>
                  </a:lnTo>
                  <a:lnTo>
                    <a:pt x="1979" y="218"/>
                  </a:lnTo>
                  <a:lnTo>
                    <a:pt x="1987" y="206"/>
                  </a:lnTo>
                  <a:lnTo>
                    <a:pt x="1995" y="193"/>
                  </a:lnTo>
                  <a:lnTo>
                    <a:pt x="2000" y="182"/>
                  </a:lnTo>
                  <a:lnTo>
                    <a:pt x="2001" y="177"/>
                  </a:lnTo>
                  <a:lnTo>
                    <a:pt x="2003" y="172"/>
                  </a:lnTo>
                  <a:lnTo>
                    <a:pt x="2003" y="167"/>
                  </a:lnTo>
                  <a:lnTo>
                    <a:pt x="2003" y="163"/>
                  </a:lnTo>
                  <a:lnTo>
                    <a:pt x="2002" y="160"/>
                  </a:lnTo>
                  <a:lnTo>
                    <a:pt x="2001" y="156"/>
                  </a:lnTo>
                  <a:lnTo>
                    <a:pt x="1998" y="154"/>
                  </a:lnTo>
                  <a:lnTo>
                    <a:pt x="1995" y="151"/>
                  </a:lnTo>
                  <a:lnTo>
                    <a:pt x="1994" y="149"/>
                  </a:lnTo>
                  <a:lnTo>
                    <a:pt x="1993" y="147"/>
                  </a:lnTo>
                  <a:lnTo>
                    <a:pt x="1991" y="146"/>
                  </a:lnTo>
                  <a:lnTo>
                    <a:pt x="1987" y="146"/>
                  </a:lnTo>
                  <a:lnTo>
                    <a:pt x="1979" y="145"/>
                  </a:lnTo>
                  <a:lnTo>
                    <a:pt x="1971" y="145"/>
                  </a:lnTo>
                  <a:lnTo>
                    <a:pt x="1952" y="146"/>
                  </a:lnTo>
                  <a:lnTo>
                    <a:pt x="1939" y="147"/>
                  </a:lnTo>
                  <a:lnTo>
                    <a:pt x="1919" y="146"/>
                  </a:lnTo>
                  <a:lnTo>
                    <a:pt x="1904" y="145"/>
                  </a:lnTo>
                  <a:lnTo>
                    <a:pt x="1898" y="145"/>
                  </a:lnTo>
                  <a:lnTo>
                    <a:pt x="1893" y="143"/>
                  </a:lnTo>
                  <a:lnTo>
                    <a:pt x="1888" y="141"/>
                  </a:lnTo>
                  <a:lnTo>
                    <a:pt x="1885" y="139"/>
                  </a:lnTo>
                  <a:lnTo>
                    <a:pt x="1883" y="136"/>
                  </a:lnTo>
                  <a:lnTo>
                    <a:pt x="1881" y="132"/>
                  </a:lnTo>
                  <a:lnTo>
                    <a:pt x="1880" y="127"/>
                  </a:lnTo>
                  <a:lnTo>
                    <a:pt x="1880" y="121"/>
                  </a:lnTo>
                  <a:lnTo>
                    <a:pt x="1881" y="108"/>
                  </a:lnTo>
                  <a:lnTo>
                    <a:pt x="1884" y="89"/>
                  </a:lnTo>
                  <a:lnTo>
                    <a:pt x="1886" y="66"/>
                  </a:lnTo>
                  <a:lnTo>
                    <a:pt x="1887" y="45"/>
                  </a:lnTo>
                  <a:lnTo>
                    <a:pt x="1887" y="25"/>
                  </a:lnTo>
                  <a:lnTo>
                    <a:pt x="1887" y="4"/>
                  </a:lnTo>
                  <a:lnTo>
                    <a:pt x="1884" y="1"/>
                  </a:lnTo>
                  <a:lnTo>
                    <a:pt x="1879" y="0"/>
                  </a:lnTo>
                  <a:lnTo>
                    <a:pt x="1874" y="0"/>
                  </a:lnTo>
                  <a:lnTo>
                    <a:pt x="1867" y="1"/>
                  </a:lnTo>
                  <a:lnTo>
                    <a:pt x="1854" y="5"/>
                  </a:lnTo>
                  <a:lnTo>
                    <a:pt x="1839" y="12"/>
                  </a:lnTo>
                  <a:lnTo>
                    <a:pt x="1825" y="19"/>
                  </a:lnTo>
                  <a:lnTo>
                    <a:pt x="1811" y="27"/>
                  </a:lnTo>
                  <a:lnTo>
                    <a:pt x="1801" y="35"/>
                  </a:lnTo>
                  <a:lnTo>
                    <a:pt x="1793" y="40"/>
                  </a:lnTo>
                  <a:lnTo>
                    <a:pt x="1787" y="45"/>
                  </a:lnTo>
                  <a:lnTo>
                    <a:pt x="1780" y="50"/>
                  </a:lnTo>
                  <a:lnTo>
                    <a:pt x="1774" y="53"/>
                  </a:lnTo>
                  <a:lnTo>
                    <a:pt x="1767" y="57"/>
                  </a:lnTo>
                  <a:lnTo>
                    <a:pt x="1754" y="61"/>
                  </a:lnTo>
                  <a:lnTo>
                    <a:pt x="1741" y="63"/>
                  </a:lnTo>
                  <a:lnTo>
                    <a:pt x="1728" y="65"/>
                  </a:lnTo>
                  <a:lnTo>
                    <a:pt x="1714" y="66"/>
                  </a:lnTo>
                  <a:lnTo>
                    <a:pt x="1701" y="69"/>
                  </a:lnTo>
                  <a:lnTo>
                    <a:pt x="1686" y="74"/>
                  </a:lnTo>
                  <a:lnTo>
                    <a:pt x="1668" y="85"/>
                  </a:lnTo>
                  <a:lnTo>
                    <a:pt x="1653" y="96"/>
                  </a:lnTo>
                  <a:lnTo>
                    <a:pt x="1644" y="101"/>
                  </a:lnTo>
                  <a:lnTo>
                    <a:pt x="1635" y="105"/>
                  </a:lnTo>
                  <a:lnTo>
                    <a:pt x="1631" y="106"/>
                  </a:lnTo>
                  <a:lnTo>
                    <a:pt x="1626" y="106"/>
                  </a:lnTo>
                  <a:lnTo>
                    <a:pt x="1620" y="106"/>
                  </a:lnTo>
                  <a:lnTo>
                    <a:pt x="1614" y="103"/>
                  </a:lnTo>
                  <a:lnTo>
                    <a:pt x="1606" y="101"/>
                  </a:lnTo>
                  <a:lnTo>
                    <a:pt x="1598" y="100"/>
                  </a:lnTo>
                  <a:lnTo>
                    <a:pt x="1591" y="100"/>
                  </a:lnTo>
                  <a:lnTo>
                    <a:pt x="1586" y="100"/>
                  </a:lnTo>
                  <a:lnTo>
                    <a:pt x="1581" y="101"/>
                  </a:lnTo>
                  <a:lnTo>
                    <a:pt x="1577" y="102"/>
                  </a:lnTo>
                  <a:lnTo>
                    <a:pt x="1572" y="105"/>
                  </a:lnTo>
                  <a:lnTo>
                    <a:pt x="1569" y="107"/>
                  </a:lnTo>
                  <a:lnTo>
                    <a:pt x="1556" y="121"/>
                  </a:lnTo>
                  <a:lnTo>
                    <a:pt x="1536" y="138"/>
                  </a:lnTo>
                  <a:lnTo>
                    <a:pt x="1521" y="147"/>
                  </a:lnTo>
                  <a:lnTo>
                    <a:pt x="1507" y="154"/>
                  </a:lnTo>
                  <a:lnTo>
                    <a:pt x="1500" y="156"/>
                  </a:lnTo>
                  <a:lnTo>
                    <a:pt x="1493" y="157"/>
                  </a:lnTo>
                  <a:lnTo>
                    <a:pt x="1487" y="158"/>
                  </a:lnTo>
                  <a:lnTo>
                    <a:pt x="1481" y="157"/>
                  </a:lnTo>
                  <a:lnTo>
                    <a:pt x="1475" y="156"/>
                  </a:lnTo>
                  <a:lnTo>
                    <a:pt x="1469" y="154"/>
                  </a:lnTo>
                  <a:lnTo>
                    <a:pt x="1465" y="150"/>
                  </a:lnTo>
                  <a:lnTo>
                    <a:pt x="1460" y="146"/>
                  </a:lnTo>
                  <a:lnTo>
                    <a:pt x="1456" y="140"/>
                  </a:lnTo>
                  <a:lnTo>
                    <a:pt x="1453" y="134"/>
                  </a:lnTo>
                  <a:lnTo>
                    <a:pt x="1449" y="126"/>
                  </a:lnTo>
                  <a:lnTo>
                    <a:pt x="1446" y="117"/>
                  </a:lnTo>
                  <a:lnTo>
                    <a:pt x="1444" y="107"/>
                  </a:lnTo>
                  <a:lnTo>
                    <a:pt x="1440" y="97"/>
                  </a:lnTo>
                  <a:lnTo>
                    <a:pt x="1436" y="88"/>
                  </a:lnTo>
                  <a:lnTo>
                    <a:pt x="1432" y="79"/>
                  </a:lnTo>
                  <a:lnTo>
                    <a:pt x="1425" y="72"/>
                  </a:lnTo>
                  <a:lnTo>
                    <a:pt x="1419" y="65"/>
                  </a:lnTo>
                  <a:lnTo>
                    <a:pt x="1413" y="59"/>
                  </a:lnTo>
                  <a:lnTo>
                    <a:pt x="1406" y="52"/>
                  </a:lnTo>
                  <a:lnTo>
                    <a:pt x="1397" y="47"/>
                  </a:lnTo>
                  <a:lnTo>
                    <a:pt x="1389" y="43"/>
                  </a:lnTo>
                  <a:lnTo>
                    <a:pt x="1380" y="39"/>
                  </a:lnTo>
                  <a:lnTo>
                    <a:pt x="1370" y="36"/>
                  </a:lnTo>
                  <a:lnTo>
                    <a:pt x="1361" y="34"/>
                  </a:lnTo>
                  <a:lnTo>
                    <a:pt x="1350" y="32"/>
                  </a:lnTo>
                  <a:lnTo>
                    <a:pt x="1340" y="32"/>
                  </a:lnTo>
                  <a:lnTo>
                    <a:pt x="1329" y="32"/>
                  </a:lnTo>
                  <a:lnTo>
                    <a:pt x="1329" y="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7" name="Freeform 134">
              <a:extLst>
                <a:ext uri="{FF2B5EF4-FFF2-40B4-BE49-F238E27FC236}">
                  <a16:creationId xmlns:a16="http://schemas.microsoft.com/office/drawing/2014/main" id="{2D4F57D8-BAD3-41E8-A881-35FC909A9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952" y="4054907"/>
              <a:ext cx="503438" cy="371569"/>
            </a:xfrm>
            <a:custGeom>
              <a:avLst/>
              <a:gdLst>
                <a:gd name="T0" fmla="*/ 1271 w 2003"/>
                <a:gd name="T1" fmla="*/ 142 h 1530"/>
                <a:gd name="T2" fmla="*/ 1196 w 2003"/>
                <a:gd name="T3" fmla="*/ 74 h 1530"/>
                <a:gd name="T4" fmla="*/ 1131 w 2003"/>
                <a:gd name="T5" fmla="*/ 69 h 1530"/>
                <a:gd name="T6" fmla="*/ 1060 w 2003"/>
                <a:gd name="T7" fmla="*/ 137 h 1530"/>
                <a:gd name="T8" fmla="*/ 911 w 2003"/>
                <a:gd name="T9" fmla="*/ 89 h 1530"/>
                <a:gd name="T10" fmla="*/ 866 w 2003"/>
                <a:gd name="T11" fmla="*/ 136 h 1530"/>
                <a:gd name="T12" fmla="*/ 830 w 2003"/>
                <a:gd name="T13" fmla="*/ 207 h 1530"/>
                <a:gd name="T14" fmla="*/ 786 w 2003"/>
                <a:gd name="T15" fmla="*/ 185 h 1530"/>
                <a:gd name="T16" fmla="*/ 736 w 2003"/>
                <a:gd name="T17" fmla="*/ 67 h 1530"/>
                <a:gd name="T18" fmla="*/ 658 w 2003"/>
                <a:gd name="T19" fmla="*/ 135 h 1530"/>
                <a:gd name="T20" fmla="*/ 576 w 2003"/>
                <a:gd name="T21" fmla="*/ 149 h 1530"/>
                <a:gd name="T22" fmla="*/ 467 w 2003"/>
                <a:gd name="T23" fmla="*/ 175 h 1530"/>
                <a:gd name="T24" fmla="*/ 382 w 2003"/>
                <a:gd name="T25" fmla="*/ 191 h 1530"/>
                <a:gd name="T26" fmla="*/ 252 w 2003"/>
                <a:gd name="T27" fmla="*/ 210 h 1530"/>
                <a:gd name="T28" fmla="*/ 260 w 2003"/>
                <a:gd name="T29" fmla="*/ 325 h 1530"/>
                <a:gd name="T30" fmla="*/ 167 w 2003"/>
                <a:gd name="T31" fmla="*/ 413 h 1530"/>
                <a:gd name="T32" fmla="*/ 163 w 2003"/>
                <a:gd name="T33" fmla="*/ 509 h 1530"/>
                <a:gd name="T34" fmla="*/ 65 w 2003"/>
                <a:gd name="T35" fmla="*/ 520 h 1530"/>
                <a:gd name="T36" fmla="*/ 5 w 2003"/>
                <a:gd name="T37" fmla="*/ 515 h 1530"/>
                <a:gd name="T38" fmla="*/ 12 w 2003"/>
                <a:gd name="T39" fmla="*/ 672 h 1530"/>
                <a:gd name="T40" fmla="*/ 136 w 2003"/>
                <a:gd name="T41" fmla="*/ 703 h 1530"/>
                <a:gd name="T42" fmla="*/ 215 w 2003"/>
                <a:gd name="T43" fmla="*/ 743 h 1530"/>
                <a:gd name="T44" fmla="*/ 240 w 2003"/>
                <a:gd name="T45" fmla="*/ 816 h 1530"/>
                <a:gd name="T46" fmla="*/ 332 w 2003"/>
                <a:gd name="T47" fmla="*/ 892 h 1530"/>
                <a:gd name="T48" fmla="*/ 397 w 2003"/>
                <a:gd name="T49" fmla="*/ 971 h 1530"/>
                <a:gd name="T50" fmla="*/ 387 w 2003"/>
                <a:gd name="T51" fmla="*/ 1066 h 1530"/>
                <a:gd name="T52" fmla="*/ 314 w 2003"/>
                <a:gd name="T53" fmla="*/ 1194 h 1530"/>
                <a:gd name="T54" fmla="*/ 210 w 2003"/>
                <a:gd name="T55" fmla="*/ 1313 h 1530"/>
                <a:gd name="T56" fmla="*/ 330 w 2003"/>
                <a:gd name="T57" fmla="*/ 1399 h 1530"/>
                <a:gd name="T58" fmla="*/ 406 w 2003"/>
                <a:gd name="T59" fmla="*/ 1526 h 1530"/>
                <a:gd name="T60" fmla="*/ 562 w 2003"/>
                <a:gd name="T61" fmla="*/ 1495 h 1530"/>
                <a:gd name="T62" fmla="*/ 746 w 2003"/>
                <a:gd name="T63" fmla="*/ 1468 h 1530"/>
                <a:gd name="T64" fmla="*/ 783 w 2003"/>
                <a:gd name="T65" fmla="*/ 1439 h 1530"/>
                <a:gd name="T66" fmla="*/ 874 w 2003"/>
                <a:gd name="T67" fmla="*/ 1308 h 1530"/>
                <a:gd name="T68" fmla="*/ 948 w 2003"/>
                <a:gd name="T69" fmla="*/ 1258 h 1530"/>
                <a:gd name="T70" fmla="*/ 1067 w 2003"/>
                <a:gd name="T71" fmla="*/ 1371 h 1530"/>
                <a:gd name="T72" fmla="*/ 1157 w 2003"/>
                <a:gd name="T73" fmla="*/ 1364 h 1530"/>
                <a:gd name="T74" fmla="*/ 1277 w 2003"/>
                <a:gd name="T75" fmla="*/ 1312 h 1530"/>
                <a:gd name="T76" fmla="*/ 1389 w 2003"/>
                <a:gd name="T77" fmla="*/ 1302 h 1530"/>
                <a:gd name="T78" fmla="*/ 1438 w 2003"/>
                <a:gd name="T79" fmla="*/ 1388 h 1530"/>
                <a:gd name="T80" fmla="*/ 1466 w 2003"/>
                <a:gd name="T81" fmla="*/ 1467 h 1530"/>
                <a:gd name="T82" fmla="*/ 1608 w 2003"/>
                <a:gd name="T83" fmla="*/ 1472 h 1530"/>
                <a:gd name="T84" fmla="*/ 1593 w 2003"/>
                <a:gd name="T85" fmla="*/ 1360 h 1530"/>
                <a:gd name="T86" fmla="*/ 1571 w 2003"/>
                <a:gd name="T87" fmla="*/ 1258 h 1530"/>
                <a:gd name="T88" fmla="*/ 1585 w 2003"/>
                <a:gd name="T89" fmla="*/ 1074 h 1530"/>
                <a:gd name="T90" fmla="*/ 1624 w 2003"/>
                <a:gd name="T91" fmla="*/ 983 h 1530"/>
                <a:gd name="T92" fmla="*/ 1706 w 2003"/>
                <a:gd name="T93" fmla="*/ 858 h 1530"/>
                <a:gd name="T94" fmla="*/ 1749 w 2003"/>
                <a:gd name="T95" fmla="*/ 765 h 1530"/>
                <a:gd name="T96" fmla="*/ 1828 w 2003"/>
                <a:gd name="T97" fmla="*/ 708 h 1530"/>
                <a:gd name="T98" fmla="*/ 1814 w 2003"/>
                <a:gd name="T99" fmla="*/ 465 h 1530"/>
                <a:gd name="T100" fmla="*/ 1894 w 2003"/>
                <a:gd name="T101" fmla="*/ 416 h 1530"/>
                <a:gd name="T102" fmla="*/ 1931 w 2003"/>
                <a:gd name="T103" fmla="*/ 281 h 1530"/>
                <a:gd name="T104" fmla="*/ 2002 w 2003"/>
                <a:gd name="T105" fmla="*/ 160 h 1530"/>
                <a:gd name="T106" fmla="*/ 1939 w 2003"/>
                <a:gd name="T107" fmla="*/ 147 h 1530"/>
                <a:gd name="T108" fmla="*/ 1881 w 2003"/>
                <a:gd name="T109" fmla="*/ 108 h 1530"/>
                <a:gd name="T110" fmla="*/ 1839 w 2003"/>
                <a:gd name="T111" fmla="*/ 12 h 1530"/>
                <a:gd name="T112" fmla="*/ 1728 w 2003"/>
                <a:gd name="T113" fmla="*/ 65 h 1530"/>
                <a:gd name="T114" fmla="*/ 1614 w 2003"/>
                <a:gd name="T115" fmla="*/ 103 h 1530"/>
                <a:gd name="T116" fmla="*/ 1521 w 2003"/>
                <a:gd name="T117" fmla="*/ 147 h 1530"/>
                <a:gd name="T118" fmla="*/ 1453 w 2003"/>
                <a:gd name="T119" fmla="*/ 134 h 1530"/>
                <a:gd name="T120" fmla="*/ 1397 w 2003"/>
                <a:gd name="T121" fmla="*/ 47 h 1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03" h="1530">
                  <a:moveTo>
                    <a:pt x="1329" y="32"/>
                  </a:moveTo>
                  <a:lnTo>
                    <a:pt x="1326" y="42"/>
                  </a:lnTo>
                  <a:lnTo>
                    <a:pt x="1321" y="57"/>
                  </a:lnTo>
                  <a:lnTo>
                    <a:pt x="1314" y="74"/>
                  </a:lnTo>
                  <a:lnTo>
                    <a:pt x="1306" y="93"/>
                  </a:lnTo>
                  <a:lnTo>
                    <a:pt x="1297" y="111"/>
                  </a:lnTo>
                  <a:lnTo>
                    <a:pt x="1288" y="125"/>
                  </a:lnTo>
                  <a:lnTo>
                    <a:pt x="1284" y="132"/>
                  </a:lnTo>
                  <a:lnTo>
                    <a:pt x="1279" y="137"/>
                  </a:lnTo>
                  <a:lnTo>
                    <a:pt x="1275" y="141"/>
                  </a:lnTo>
                  <a:lnTo>
                    <a:pt x="1271" y="142"/>
                  </a:lnTo>
                  <a:lnTo>
                    <a:pt x="1264" y="144"/>
                  </a:lnTo>
                  <a:lnTo>
                    <a:pt x="1256" y="143"/>
                  </a:lnTo>
                  <a:lnTo>
                    <a:pt x="1249" y="141"/>
                  </a:lnTo>
                  <a:lnTo>
                    <a:pt x="1242" y="138"/>
                  </a:lnTo>
                  <a:lnTo>
                    <a:pt x="1236" y="133"/>
                  </a:lnTo>
                  <a:lnTo>
                    <a:pt x="1229" y="127"/>
                  </a:lnTo>
                  <a:lnTo>
                    <a:pt x="1225" y="121"/>
                  </a:lnTo>
                  <a:lnTo>
                    <a:pt x="1221" y="115"/>
                  </a:lnTo>
                  <a:lnTo>
                    <a:pt x="1212" y="99"/>
                  </a:lnTo>
                  <a:lnTo>
                    <a:pt x="1204" y="86"/>
                  </a:lnTo>
                  <a:lnTo>
                    <a:pt x="1196" y="74"/>
                  </a:lnTo>
                  <a:lnTo>
                    <a:pt x="1185" y="60"/>
                  </a:lnTo>
                  <a:lnTo>
                    <a:pt x="1169" y="55"/>
                  </a:lnTo>
                  <a:lnTo>
                    <a:pt x="1152" y="51"/>
                  </a:lnTo>
                  <a:lnTo>
                    <a:pt x="1148" y="51"/>
                  </a:lnTo>
                  <a:lnTo>
                    <a:pt x="1145" y="51"/>
                  </a:lnTo>
                  <a:lnTo>
                    <a:pt x="1141" y="52"/>
                  </a:lnTo>
                  <a:lnTo>
                    <a:pt x="1139" y="53"/>
                  </a:lnTo>
                  <a:lnTo>
                    <a:pt x="1136" y="55"/>
                  </a:lnTo>
                  <a:lnTo>
                    <a:pt x="1133" y="60"/>
                  </a:lnTo>
                  <a:lnTo>
                    <a:pt x="1132" y="64"/>
                  </a:lnTo>
                  <a:lnTo>
                    <a:pt x="1131" y="69"/>
                  </a:lnTo>
                  <a:lnTo>
                    <a:pt x="1129" y="79"/>
                  </a:lnTo>
                  <a:lnTo>
                    <a:pt x="1126" y="90"/>
                  </a:lnTo>
                  <a:lnTo>
                    <a:pt x="1122" y="100"/>
                  </a:lnTo>
                  <a:lnTo>
                    <a:pt x="1116" y="110"/>
                  </a:lnTo>
                  <a:lnTo>
                    <a:pt x="1109" y="119"/>
                  </a:lnTo>
                  <a:lnTo>
                    <a:pt x="1101" y="126"/>
                  </a:lnTo>
                  <a:lnTo>
                    <a:pt x="1093" y="133"/>
                  </a:lnTo>
                  <a:lnTo>
                    <a:pt x="1083" y="138"/>
                  </a:lnTo>
                  <a:lnTo>
                    <a:pt x="1076" y="139"/>
                  </a:lnTo>
                  <a:lnTo>
                    <a:pt x="1068" y="139"/>
                  </a:lnTo>
                  <a:lnTo>
                    <a:pt x="1060" y="137"/>
                  </a:lnTo>
                  <a:lnTo>
                    <a:pt x="1053" y="134"/>
                  </a:lnTo>
                  <a:lnTo>
                    <a:pt x="1040" y="125"/>
                  </a:lnTo>
                  <a:lnTo>
                    <a:pt x="1026" y="117"/>
                  </a:lnTo>
                  <a:lnTo>
                    <a:pt x="1014" y="111"/>
                  </a:lnTo>
                  <a:lnTo>
                    <a:pt x="1000" y="105"/>
                  </a:lnTo>
                  <a:lnTo>
                    <a:pt x="985" y="99"/>
                  </a:lnTo>
                  <a:lnTo>
                    <a:pt x="972" y="96"/>
                  </a:lnTo>
                  <a:lnTo>
                    <a:pt x="957" y="93"/>
                  </a:lnTo>
                  <a:lnTo>
                    <a:pt x="943" y="91"/>
                  </a:lnTo>
                  <a:lnTo>
                    <a:pt x="927" y="90"/>
                  </a:lnTo>
                  <a:lnTo>
                    <a:pt x="911" y="89"/>
                  </a:lnTo>
                  <a:lnTo>
                    <a:pt x="905" y="89"/>
                  </a:lnTo>
                  <a:lnTo>
                    <a:pt x="900" y="89"/>
                  </a:lnTo>
                  <a:lnTo>
                    <a:pt x="895" y="91"/>
                  </a:lnTo>
                  <a:lnTo>
                    <a:pt x="889" y="92"/>
                  </a:lnTo>
                  <a:lnTo>
                    <a:pt x="885" y="95"/>
                  </a:lnTo>
                  <a:lnTo>
                    <a:pt x="882" y="98"/>
                  </a:lnTo>
                  <a:lnTo>
                    <a:pt x="879" y="101"/>
                  </a:lnTo>
                  <a:lnTo>
                    <a:pt x="876" y="106"/>
                  </a:lnTo>
                  <a:lnTo>
                    <a:pt x="872" y="114"/>
                  </a:lnTo>
                  <a:lnTo>
                    <a:pt x="869" y="124"/>
                  </a:lnTo>
                  <a:lnTo>
                    <a:pt x="866" y="136"/>
                  </a:lnTo>
                  <a:lnTo>
                    <a:pt x="863" y="147"/>
                  </a:lnTo>
                  <a:lnTo>
                    <a:pt x="861" y="159"/>
                  </a:lnTo>
                  <a:lnTo>
                    <a:pt x="858" y="169"/>
                  </a:lnTo>
                  <a:lnTo>
                    <a:pt x="855" y="180"/>
                  </a:lnTo>
                  <a:lnTo>
                    <a:pt x="852" y="189"/>
                  </a:lnTo>
                  <a:lnTo>
                    <a:pt x="849" y="193"/>
                  </a:lnTo>
                  <a:lnTo>
                    <a:pt x="847" y="197"/>
                  </a:lnTo>
                  <a:lnTo>
                    <a:pt x="843" y="201"/>
                  </a:lnTo>
                  <a:lnTo>
                    <a:pt x="839" y="204"/>
                  </a:lnTo>
                  <a:lnTo>
                    <a:pt x="835" y="206"/>
                  </a:lnTo>
                  <a:lnTo>
                    <a:pt x="830" y="207"/>
                  </a:lnTo>
                  <a:lnTo>
                    <a:pt x="825" y="209"/>
                  </a:lnTo>
                  <a:lnTo>
                    <a:pt x="820" y="209"/>
                  </a:lnTo>
                  <a:lnTo>
                    <a:pt x="812" y="209"/>
                  </a:lnTo>
                  <a:lnTo>
                    <a:pt x="807" y="208"/>
                  </a:lnTo>
                  <a:lnTo>
                    <a:pt x="802" y="207"/>
                  </a:lnTo>
                  <a:lnTo>
                    <a:pt x="798" y="205"/>
                  </a:lnTo>
                  <a:lnTo>
                    <a:pt x="795" y="203"/>
                  </a:lnTo>
                  <a:lnTo>
                    <a:pt x="793" y="199"/>
                  </a:lnTo>
                  <a:lnTo>
                    <a:pt x="789" y="196"/>
                  </a:lnTo>
                  <a:lnTo>
                    <a:pt x="788" y="193"/>
                  </a:lnTo>
                  <a:lnTo>
                    <a:pt x="786" y="185"/>
                  </a:lnTo>
                  <a:lnTo>
                    <a:pt x="785" y="175"/>
                  </a:lnTo>
                  <a:lnTo>
                    <a:pt x="784" y="165"/>
                  </a:lnTo>
                  <a:lnTo>
                    <a:pt x="784" y="154"/>
                  </a:lnTo>
                  <a:lnTo>
                    <a:pt x="781" y="69"/>
                  </a:lnTo>
                  <a:lnTo>
                    <a:pt x="777" y="66"/>
                  </a:lnTo>
                  <a:lnTo>
                    <a:pt x="773" y="64"/>
                  </a:lnTo>
                  <a:lnTo>
                    <a:pt x="770" y="63"/>
                  </a:lnTo>
                  <a:lnTo>
                    <a:pt x="765" y="62"/>
                  </a:lnTo>
                  <a:lnTo>
                    <a:pt x="756" y="62"/>
                  </a:lnTo>
                  <a:lnTo>
                    <a:pt x="747" y="62"/>
                  </a:lnTo>
                  <a:lnTo>
                    <a:pt x="736" y="67"/>
                  </a:lnTo>
                  <a:lnTo>
                    <a:pt x="728" y="73"/>
                  </a:lnTo>
                  <a:lnTo>
                    <a:pt x="722" y="76"/>
                  </a:lnTo>
                  <a:lnTo>
                    <a:pt x="714" y="83"/>
                  </a:lnTo>
                  <a:lnTo>
                    <a:pt x="707" y="90"/>
                  </a:lnTo>
                  <a:lnTo>
                    <a:pt x="700" y="99"/>
                  </a:lnTo>
                  <a:lnTo>
                    <a:pt x="691" y="108"/>
                  </a:lnTo>
                  <a:lnTo>
                    <a:pt x="684" y="117"/>
                  </a:lnTo>
                  <a:lnTo>
                    <a:pt x="677" y="124"/>
                  </a:lnTo>
                  <a:lnTo>
                    <a:pt x="669" y="130"/>
                  </a:lnTo>
                  <a:lnTo>
                    <a:pt x="664" y="133"/>
                  </a:lnTo>
                  <a:lnTo>
                    <a:pt x="658" y="135"/>
                  </a:lnTo>
                  <a:lnTo>
                    <a:pt x="653" y="137"/>
                  </a:lnTo>
                  <a:lnTo>
                    <a:pt x="648" y="138"/>
                  </a:lnTo>
                  <a:lnTo>
                    <a:pt x="637" y="139"/>
                  </a:lnTo>
                  <a:lnTo>
                    <a:pt x="627" y="138"/>
                  </a:lnTo>
                  <a:lnTo>
                    <a:pt x="616" y="137"/>
                  </a:lnTo>
                  <a:lnTo>
                    <a:pt x="607" y="136"/>
                  </a:lnTo>
                  <a:lnTo>
                    <a:pt x="596" y="137"/>
                  </a:lnTo>
                  <a:lnTo>
                    <a:pt x="587" y="138"/>
                  </a:lnTo>
                  <a:lnTo>
                    <a:pt x="583" y="141"/>
                  </a:lnTo>
                  <a:lnTo>
                    <a:pt x="579" y="145"/>
                  </a:lnTo>
                  <a:lnTo>
                    <a:pt x="576" y="149"/>
                  </a:lnTo>
                  <a:lnTo>
                    <a:pt x="573" y="156"/>
                  </a:lnTo>
                  <a:lnTo>
                    <a:pt x="569" y="161"/>
                  </a:lnTo>
                  <a:lnTo>
                    <a:pt x="565" y="167"/>
                  </a:lnTo>
                  <a:lnTo>
                    <a:pt x="560" y="171"/>
                  </a:lnTo>
                  <a:lnTo>
                    <a:pt x="554" y="175"/>
                  </a:lnTo>
                  <a:lnTo>
                    <a:pt x="543" y="180"/>
                  </a:lnTo>
                  <a:lnTo>
                    <a:pt x="532" y="183"/>
                  </a:lnTo>
                  <a:lnTo>
                    <a:pt x="521" y="184"/>
                  </a:lnTo>
                  <a:lnTo>
                    <a:pt x="511" y="184"/>
                  </a:lnTo>
                  <a:lnTo>
                    <a:pt x="490" y="181"/>
                  </a:lnTo>
                  <a:lnTo>
                    <a:pt x="467" y="175"/>
                  </a:lnTo>
                  <a:lnTo>
                    <a:pt x="443" y="168"/>
                  </a:lnTo>
                  <a:lnTo>
                    <a:pt x="424" y="162"/>
                  </a:lnTo>
                  <a:lnTo>
                    <a:pt x="420" y="162"/>
                  </a:lnTo>
                  <a:lnTo>
                    <a:pt x="416" y="162"/>
                  </a:lnTo>
                  <a:lnTo>
                    <a:pt x="413" y="163"/>
                  </a:lnTo>
                  <a:lnTo>
                    <a:pt x="409" y="165"/>
                  </a:lnTo>
                  <a:lnTo>
                    <a:pt x="405" y="168"/>
                  </a:lnTo>
                  <a:lnTo>
                    <a:pt x="399" y="171"/>
                  </a:lnTo>
                  <a:lnTo>
                    <a:pt x="395" y="177"/>
                  </a:lnTo>
                  <a:lnTo>
                    <a:pt x="390" y="182"/>
                  </a:lnTo>
                  <a:lnTo>
                    <a:pt x="382" y="191"/>
                  </a:lnTo>
                  <a:lnTo>
                    <a:pt x="374" y="198"/>
                  </a:lnTo>
                  <a:lnTo>
                    <a:pt x="366" y="204"/>
                  </a:lnTo>
                  <a:lnTo>
                    <a:pt x="358" y="208"/>
                  </a:lnTo>
                  <a:lnTo>
                    <a:pt x="350" y="211"/>
                  </a:lnTo>
                  <a:lnTo>
                    <a:pt x="342" y="213"/>
                  </a:lnTo>
                  <a:lnTo>
                    <a:pt x="334" y="213"/>
                  </a:lnTo>
                  <a:lnTo>
                    <a:pt x="325" y="213"/>
                  </a:lnTo>
                  <a:lnTo>
                    <a:pt x="291" y="209"/>
                  </a:lnTo>
                  <a:lnTo>
                    <a:pt x="253" y="205"/>
                  </a:lnTo>
                  <a:lnTo>
                    <a:pt x="252" y="207"/>
                  </a:lnTo>
                  <a:lnTo>
                    <a:pt x="252" y="210"/>
                  </a:lnTo>
                  <a:lnTo>
                    <a:pt x="252" y="215"/>
                  </a:lnTo>
                  <a:lnTo>
                    <a:pt x="253" y="221"/>
                  </a:lnTo>
                  <a:lnTo>
                    <a:pt x="257" y="236"/>
                  </a:lnTo>
                  <a:lnTo>
                    <a:pt x="260" y="253"/>
                  </a:lnTo>
                  <a:lnTo>
                    <a:pt x="264" y="270"/>
                  </a:lnTo>
                  <a:lnTo>
                    <a:pt x="267" y="286"/>
                  </a:lnTo>
                  <a:lnTo>
                    <a:pt x="269" y="301"/>
                  </a:lnTo>
                  <a:lnTo>
                    <a:pt x="268" y="311"/>
                  </a:lnTo>
                  <a:lnTo>
                    <a:pt x="266" y="315"/>
                  </a:lnTo>
                  <a:lnTo>
                    <a:pt x="264" y="320"/>
                  </a:lnTo>
                  <a:lnTo>
                    <a:pt x="260" y="325"/>
                  </a:lnTo>
                  <a:lnTo>
                    <a:pt x="255" y="329"/>
                  </a:lnTo>
                  <a:lnTo>
                    <a:pt x="243" y="335"/>
                  </a:lnTo>
                  <a:lnTo>
                    <a:pt x="229" y="341"/>
                  </a:lnTo>
                  <a:lnTo>
                    <a:pt x="200" y="351"/>
                  </a:lnTo>
                  <a:lnTo>
                    <a:pt x="176" y="357"/>
                  </a:lnTo>
                  <a:lnTo>
                    <a:pt x="172" y="370"/>
                  </a:lnTo>
                  <a:lnTo>
                    <a:pt x="168" y="380"/>
                  </a:lnTo>
                  <a:lnTo>
                    <a:pt x="166" y="388"/>
                  </a:lnTo>
                  <a:lnTo>
                    <a:pt x="165" y="397"/>
                  </a:lnTo>
                  <a:lnTo>
                    <a:pt x="165" y="405"/>
                  </a:lnTo>
                  <a:lnTo>
                    <a:pt x="167" y="413"/>
                  </a:lnTo>
                  <a:lnTo>
                    <a:pt x="169" y="424"/>
                  </a:lnTo>
                  <a:lnTo>
                    <a:pt x="173" y="436"/>
                  </a:lnTo>
                  <a:lnTo>
                    <a:pt x="177" y="450"/>
                  </a:lnTo>
                  <a:lnTo>
                    <a:pt x="180" y="464"/>
                  </a:lnTo>
                  <a:lnTo>
                    <a:pt x="182" y="471"/>
                  </a:lnTo>
                  <a:lnTo>
                    <a:pt x="182" y="478"/>
                  </a:lnTo>
                  <a:lnTo>
                    <a:pt x="180" y="485"/>
                  </a:lnTo>
                  <a:lnTo>
                    <a:pt x="178" y="492"/>
                  </a:lnTo>
                  <a:lnTo>
                    <a:pt x="175" y="498"/>
                  </a:lnTo>
                  <a:lnTo>
                    <a:pt x="170" y="504"/>
                  </a:lnTo>
                  <a:lnTo>
                    <a:pt x="163" y="509"/>
                  </a:lnTo>
                  <a:lnTo>
                    <a:pt x="155" y="515"/>
                  </a:lnTo>
                  <a:lnTo>
                    <a:pt x="147" y="519"/>
                  </a:lnTo>
                  <a:lnTo>
                    <a:pt x="139" y="522"/>
                  </a:lnTo>
                  <a:lnTo>
                    <a:pt x="129" y="525"/>
                  </a:lnTo>
                  <a:lnTo>
                    <a:pt x="119" y="527"/>
                  </a:lnTo>
                  <a:lnTo>
                    <a:pt x="110" y="528"/>
                  </a:lnTo>
                  <a:lnTo>
                    <a:pt x="99" y="528"/>
                  </a:lnTo>
                  <a:lnTo>
                    <a:pt x="90" y="527"/>
                  </a:lnTo>
                  <a:lnTo>
                    <a:pt x="81" y="526"/>
                  </a:lnTo>
                  <a:lnTo>
                    <a:pt x="73" y="523"/>
                  </a:lnTo>
                  <a:lnTo>
                    <a:pt x="65" y="520"/>
                  </a:lnTo>
                  <a:lnTo>
                    <a:pt x="58" y="515"/>
                  </a:lnTo>
                  <a:lnTo>
                    <a:pt x="53" y="509"/>
                  </a:lnTo>
                  <a:lnTo>
                    <a:pt x="43" y="505"/>
                  </a:lnTo>
                  <a:lnTo>
                    <a:pt x="33" y="502"/>
                  </a:lnTo>
                  <a:lnTo>
                    <a:pt x="29" y="500"/>
                  </a:lnTo>
                  <a:lnTo>
                    <a:pt x="24" y="500"/>
                  </a:lnTo>
                  <a:lnTo>
                    <a:pt x="19" y="501"/>
                  </a:lnTo>
                  <a:lnTo>
                    <a:pt x="13" y="505"/>
                  </a:lnTo>
                  <a:lnTo>
                    <a:pt x="11" y="507"/>
                  </a:lnTo>
                  <a:lnTo>
                    <a:pt x="7" y="510"/>
                  </a:lnTo>
                  <a:lnTo>
                    <a:pt x="5" y="515"/>
                  </a:lnTo>
                  <a:lnTo>
                    <a:pt x="4" y="519"/>
                  </a:lnTo>
                  <a:lnTo>
                    <a:pt x="1" y="528"/>
                  </a:lnTo>
                  <a:lnTo>
                    <a:pt x="0" y="539"/>
                  </a:lnTo>
                  <a:lnTo>
                    <a:pt x="0" y="551"/>
                  </a:lnTo>
                  <a:lnTo>
                    <a:pt x="1" y="565"/>
                  </a:lnTo>
                  <a:lnTo>
                    <a:pt x="2" y="578"/>
                  </a:lnTo>
                  <a:lnTo>
                    <a:pt x="4" y="593"/>
                  </a:lnTo>
                  <a:lnTo>
                    <a:pt x="8" y="621"/>
                  </a:lnTo>
                  <a:lnTo>
                    <a:pt x="12" y="648"/>
                  </a:lnTo>
                  <a:lnTo>
                    <a:pt x="13" y="661"/>
                  </a:lnTo>
                  <a:lnTo>
                    <a:pt x="12" y="672"/>
                  </a:lnTo>
                  <a:lnTo>
                    <a:pt x="11" y="681"/>
                  </a:lnTo>
                  <a:lnTo>
                    <a:pt x="8" y="690"/>
                  </a:lnTo>
                  <a:lnTo>
                    <a:pt x="4" y="691"/>
                  </a:lnTo>
                  <a:lnTo>
                    <a:pt x="35" y="691"/>
                  </a:lnTo>
                  <a:lnTo>
                    <a:pt x="70" y="692"/>
                  </a:lnTo>
                  <a:lnTo>
                    <a:pt x="88" y="693"/>
                  </a:lnTo>
                  <a:lnTo>
                    <a:pt x="105" y="695"/>
                  </a:lnTo>
                  <a:lnTo>
                    <a:pt x="114" y="696"/>
                  </a:lnTo>
                  <a:lnTo>
                    <a:pt x="121" y="698"/>
                  </a:lnTo>
                  <a:lnTo>
                    <a:pt x="128" y="700"/>
                  </a:lnTo>
                  <a:lnTo>
                    <a:pt x="136" y="703"/>
                  </a:lnTo>
                  <a:lnTo>
                    <a:pt x="141" y="706"/>
                  </a:lnTo>
                  <a:lnTo>
                    <a:pt x="145" y="711"/>
                  </a:lnTo>
                  <a:lnTo>
                    <a:pt x="148" y="715"/>
                  </a:lnTo>
                  <a:lnTo>
                    <a:pt x="151" y="719"/>
                  </a:lnTo>
                  <a:lnTo>
                    <a:pt x="158" y="727"/>
                  </a:lnTo>
                  <a:lnTo>
                    <a:pt x="166" y="736"/>
                  </a:lnTo>
                  <a:lnTo>
                    <a:pt x="173" y="739"/>
                  </a:lnTo>
                  <a:lnTo>
                    <a:pt x="183" y="740"/>
                  </a:lnTo>
                  <a:lnTo>
                    <a:pt x="193" y="741"/>
                  </a:lnTo>
                  <a:lnTo>
                    <a:pt x="204" y="742"/>
                  </a:lnTo>
                  <a:lnTo>
                    <a:pt x="215" y="743"/>
                  </a:lnTo>
                  <a:lnTo>
                    <a:pt x="223" y="744"/>
                  </a:lnTo>
                  <a:lnTo>
                    <a:pt x="227" y="745"/>
                  </a:lnTo>
                  <a:lnTo>
                    <a:pt x="231" y="747"/>
                  </a:lnTo>
                  <a:lnTo>
                    <a:pt x="233" y="749"/>
                  </a:lnTo>
                  <a:lnTo>
                    <a:pt x="234" y="751"/>
                  </a:lnTo>
                  <a:lnTo>
                    <a:pt x="236" y="764"/>
                  </a:lnTo>
                  <a:lnTo>
                    <a:pt x="237" y="775"/>
                  </a:lnTo>
                  <a:lnTo>
                    <a:pt x="237" y="786"/>
                  </a:lnTo>
                  <a:lnTo>
                    <a:pt x="237" y="796"/>
                  </a:lnTo>
                  <a:lnTo>
                    <a:pt x="238" y="806"/>
                  </a:lnTo>
                  <a:lnTo>
                    <a:pt x="240" y="816"/>
                  </a:lnTo>
                  <a:lnTo>
                    <a:pt x="242" y="821"/>
                  </a:lnTo>
                  <a:lnTo>
                    <a:pt x="245" y="826"/>
                  </a:lnTo>
                  <a:lnTo>
                    <a:pt x="249" y="832"/>
                  </a:lnTo>
                  <a:lnTo>
                    <a:pt x="255" y="837"/>
                  </a:lnTo>
                  <a:lnTo>
                    <a:pt x="264" y="845"/>
                  </a:lnTo>
                  <a:lnTo>
                    <a:pt x="276" y="853"/>
                  </a:lnTo>
                  <a:lnTo>
                    <a:pt x="290" y="860"/>
                  </a:lnTo>
                  <a:lnTo>
                    <a:pt x="304" y="868"/>
                  </a:lnTo>
                  <a:lnTo>
                    <a:pt x="316" y="878"/>
                  </a:lnTo>
                  <a:lnTo>
                    <a:pt x="327" y="887"/>
                  </a:lnTo>
                  <a:lnTo>
                    <a:pt x="332" y="892"/>
                  </a:lnTo>
                  <a:lnTo>
                    <a:pt x="336" y="897"/>
                  </a:lnTo>
                  <a:lnTo>
                    <a:pt x="338" y="903"/>
                  </a:lnTo>
                  <a:lnTo>
                    <a:pt x="339" y="909"/>
                  </a:lnTo>
                  <a:lnTo>
                    <a:pt x="347" y="916"/>
                  </a:lnTo>
                  <a:lnTo>
                    <a:pt x="356" y="927"/>
                  </a:lnTo>
                  <a:lnTo>
                    <a:pt x="365" y="937"/>
                  </a:lnTo>
                  <a:lnTo>
                    <a:pt x="374" y="946"/>
                  </a:lnTo>
                  <a:lnTo>
                    <a:pt x="382" y="953"/>
                  </a:lnTo>
                  <a:lnTo>
                    <a:pt x="388" y="959"/>
                  </a:lnTo>
                  <a:lnTo>
                    <a:pt x="393" y="965"/>
                  </a:lnTo>
                  <a:lnTo>
                    <a:pt x="397" y="971"/>
                  </a:lnTo>
                  <a:lnTo>
                    <a:pt x="407" y="984"/>
                  </a:lnTo>
                  <a:lnTo>
                    <a:pt x="416" y="999"/>
                  </a:lnTo>
                  <a:lnTo>
                    <a:pt x="416" y="1007"/>
                  </a:lnTo>
                  <a:lnTo>
                    <a:pt x="415" y="1015"/>
                  </a:lnTo>
                  <a:lnTo>
                    <a:pt x="413" y="1023"/>
                  </a:lnTo>
                  <a:lnTo>
                    <a:pt x="411" y="1030"/>
                  </a:lnTo>
                  <a:lnTo>
                    <a:pt x="408" y="1037"/>
                  </a:lnTo>
                  <a:lnTo>
                    <a:pt x="405" y="1043"/>
                  </a:lnTo>
                  <a:lnTo>
                    <a:pt x="402" y="1050"/>
                  </a:lnTo>
                  <a:lnTo>
                    <a:pt x="396" y="1055"/>
                  </a:lnTo>
                  <a:lnTo>
                    <a:pt x="387" y="1066"/>
                  </a:lnTo>
                  <a:lnTo>
                    <a:pt x="377" y="1076"/>
                  </a:lnTo>
                  <a:lnTo>
                    <a:pt x="365" y="1086"/>
                  </a:lnTo>
                  <a:lnTo>
                    <a:pt x="354" y="1098"/>
                  </a:lnTo>
                  <a:lnTo>
                    <a:pt x="343" y="1108"/>
                  </a:lnTo>
                  <a:lnTo>
                    <a:pt x="336" y="1116"/>
                  </a:lnTo>
                  <a:lnTo>
                    <a:pt x="332" y="1125"/>
                  </a:lnTo>
                  <a:lnTo>
                    <a:pt x="330" y="1133"/>
                  </a:lnTo>
                  <a:lnTo>
                    <a:pt x="326" y="1152"/>
                  </a:lnTo>
                  <a:lnTo>
                    <a:pt x="322" y="1177"/>
                  </a:lnTo>
                  <a:lnTo>
                    <a:pt x="319" y="1185"/>
                  </a:lnTo>
                  <a:lnTo>
                    <a:pt x="314" y="1194"/>
                  </a:lnTo>
                  <a:lnTo>
                    <a:pt x="308" y="1202"/>
                  </a:lnTo>
                  <a:lnTo>
                    <a:pt x="299" y="1210"/>
                  </a:lnTo>
                  <a:lnTo>
                    <a:pt x="281" y="1226"/>
                  </a:lnTo>
                  <a:lnTo>
                    <a:pt x="261" y="1243"/>
                  </a:lnTo>
                  <a:lnTo>
                    <a:pt x="241" y="1258"/>
                  </a:lnTo>
                  <a:lnTo>
                    <a:pt x="224" y="1275"/>
                  </a:lnTo>
                  <a:lnTo>
                    <a:pt x="218" y="1282"/>
                  </a:lnTo>
                  <a:lnTo>
                    <a:pt x="213" y="1291"/>
                  </a:lnTo>
                  <a:lnTo>
                    <a:pt x="210" y="1299"/>
                  </a:lnTo>
                  <a:lnTo>
                    <a:pt x="208" y="1307"/>
                  </a:lnTo>
                  <a:lnTo>
                    <a:pt x="210" y="1313"/>
                  </a:lnTo>
                  <a:lnTo>
                    <a:pt x="214" y="1320"/>
                  </a:lnTo>
                  <a:lnTo>
                    <a:pt x="220" y="1328"/>
                  </a:lnTo>
                  <a:lnTo>
                    <a:pt x="227" y="1338"/>
                  </a:lnTo>
                  <a:lnTo>
                    <a:pt x="243" y="1355"/>
                  </a:lnTo>
                  <a:lnTo>
                    <a:pt x="253" y="1367"/>
                  </a:lnTo>
                  <a:lnTo>
                    <a:pt x="261" y="1373"/>
                  </a:lnTo>
                  <a:lnTo>
                    <a:pt x="269" y="1378"/>
                  </a:lnTo>
                  <a:lnTo>
                    <a:pt x="278" y="1384"/>
                  </a:lnTo>
                  <a:lnTo>
                    <a:pt x="289" y="1388"/>
                  </a:lnTo>
                  <a:lnTo>
                    <a:pt x="310" y="1394"/>
                  </a:lnTo>
                  <a:lnTo>
                    <a:pt x="330" y="1399"/>
                  </a:lnTo>
                  <a:lnTo>
                    <a:pt x="333" y="1408"/>
                  </a:lnTo>
                  <a:lnTo>
                    <a:pt x="334" y="1414"/>
                  </a:lnTo>
                  <a:lnTo>
                    <a:pt x="333" y="1421"/>
                  </a:lnTo>
                  <a:lnTo>
                    <a:pt x="331" y="1428"/>
                  </a:lnTo>
                  <a:lnTo>
                    <a:pt x="329" y="1435"/>
                  </a:lnTo>
                  <a:lnTo>
                    <a:pt x="326" y="1442"/>
                  </a:lnTo>
                  <a:lnTo>
                    <a:pt x="324" y="1449"/>
                  </a:lnTo>
                  <a:lnTo>
                    <a:pt x="324" y="1458"/>
                  </a:lnTo>
                  <a:lnTo>
                    <a:pt x="388" y="1530"/>
                  </a:lnTo>
                  <a:lnTo>
                    <a:pt x="397" y="1529"/>
                  </a:lnTo>
                  <a:lnTo>
                    <a:pt x="406" y="1526"/>
                  </a:lnTo>
                  <a:lnTo>
                    <a:pt x="413" y="1523"/>
                  </a:lnTo>
                  <a:lnTo>
                    <a:pt x="419" y="1519"/>
                  </a:lnTo>
                  <a:lnTo>
                    <a:pt x="424" y="1515"/>
                  </a:lnTo>
                  <a:lnTo>
                    <a:pt x="432" y="1510"/>
                  </a:lnTo>
                  <a:lnTo>
                    <a:pt x="438" y="1506"/>
                  </a:lnTo>
                  <a:lnTo>
                    <a:pt x="446" y="1502"/>
                  </a:lnTo>
                  <a:lnTo>
                    <a:pt x="465" y="1497"/>
                  </a:lnTo>
                  <a:lnTo>
                    <a:pt x="484" y="1494"/>
                  </a:lnTo>
                  <a:lnTo>
                    <a:pt x="504" y="1493"/>
                  </a:lnTo>
                  <a:lnTo>
                    <a:pt x="522" y="1493"/>
                  </a:lnTo>
                  <a:lnTo>
                    <a:pt x="562" y="1495"/>
                  </a:lnTo>
                  <a:lnTo>
                    <a:pt x="600" y="1498"/>
                  </a:lnTo>
                  <a:lnTo>
                    <a:pt x="620" y="1499"/>
                  </a:lnTo>
                  <a:lnTo>
                    <a:pt x="639" y="1498"/>
                  </a:lnTo>
                  <a:lnTo>
                    <a:pt x="656" y="1497"/>
                  </a:lnTo>
                  <a:lnTo>
                    <a:pt x="673" y="1496"/>
                  </a:lnTo>
                  <a:lnTo>
                    <a:pt x="705" y="1490"/>
                  </a:lnTo>
                  <a:lnTo>
                    <a:pt x="742" y="1483"/>
                  </a:lnTo>
                  <a:lnTo>
                    <a:pt x="742" y="1483"/>
                  </a:lnTo>
                  <a:lnTo>
                    <a:pt x="745" y="1477"/>
                  </a:lnTo>
                  <a:lnTo>
                    <a:pt x="746" y="1472"/>
                  </a:lnTo>
                  <a:lnTo>
                    <a:pt x="746" y="1468"/>
                  </a:lnTo>
                  <a:lnTo>
                    <a:pt x="746" y="1463"/>
                  </a:lnTo>
                  <a:lnTo>
                    <a:pt x="746" y="1459"/>
                  </a:lnTo>
                  <a:lnTo>
                    <a:pt x="747" y="1454"/>
                  </a:lnTo>
                  <a:lnTo>
                    <a:pt x="749" y="1450"/>
                  </a:lnTo>
                  <a:lnTo>
                    <a:pt x="754" y="1445"/>
                  </a:lnTo>
                  <a:lnTo>
                    <a:pt x="756" y="1443"/>
                  </a:lnTo>
                  <a:lnTo>
                    <a:pt x="760" y="1442"/>
                  </a:lnTo>
                  <a:lnTo>
                    <a:pt x="763" y="1441"/>
                  </a:lnTo>
                  <a:lnTo>
                    <a:pt x="767" y="1440"/>
                  </a:lnTo>
                  <a:lnTo>
                    <a:pt x="776" y="1440"/>
                  </a:lnTo>
                  <a:lnTo>
                    <a:pt x="783" y="1439"/>
                  </a:lnTo>
                  <a:lnTo>
                    <a:pt x="794" y="1437"/>
                  </a:lnTo>
                  <a:lnTo>
                    <a:pt x="802" y="1434"/>
                  </a:lnTo>
                  <a:lnTo>
                    <a:pt x="810" y="1429"/>
                  </a:lnTo>
                  <a:lnTo>
                    <a:pt x="818" y="1425"/>
                  </a:lnTo>
                  <a:lnTo>
                    <a:pt x="824" y="1419"/>
                  </a:lnTo>
                  <a:lnTo>
                    <a:pt x="829" y="1413"/>
                  </a:lnTo>
                  <a:lnTo>
                    <a:pt x="834" y="1407"/>
                  </a:lnTo>
                  <a:lnTo>
                    <a:pt x="839" y="1399"/>
                  </a:lnTo>
                  <a:lnTo>
                    <a:pt x="853" y="1367"/>
                  </a:lnTo>
                  <a:lnTo>
                    <a:pt x="866" y="1333"/>
                  </a:lnTo>
                  <a:lnTo>
                    <a:pt x="874" y="1308"/>
                  </a:lnTo>
                  <a:lnTo>
                    <a:pt x="885" y="1276"/>
                  </a:lnTo>
                  <a:lnTo>
                    <a:pt x="888" y="1268"/>
                  </a:lnTo>
                  <a:lnTo>
                    <a:pt x="893" y="1260"/>
                  </a:lnTo>
                  <a:lnTo>
                    <a:pt x="897" y="1254"/>
                  </a:lnTo>
                  <a:lnTo>
                    <a:pt x="901" y="1248"/>
                  </a:lnTo>
                  <a:lnTo>
                    <a:pt x="906" y="1244"/>
                  </a:lnTo>
                  <a:lnTo>
                    <a:pt x="911" y="1240"/>
                  </a:lnTo>
                  <a:lnTo>
                    <a:pt x="918" y="1237"/>
                  </a:lnTo>
                  <a:lnTo>
                    <a:pt x="924" y="1236"/>
                  </a:lnTo>
                  <a:lnTo>
                    <a:pt x="934" y="1247"/>
                  </a:lnTo>
                  <a:lnTo>
                    <a:pt x="948" y="1258"/>
                  </a:lnTo>
                  <a:lnTo>
                    <a:pt x="964" y="1270"/>
                  </a:lnTo>
                  <a:lnTo>
                    <a:pt x="976" y="1279"/>
                  </a:lnTo>
                  <a:lnTo>
                    <a:pt x="985" y="1289"/>
                  </a:lnTo>
                  <a:lnTo>
                    <a:pt x="997" y="1300"/>
                  </a:lnTo>
                  <a:lnTo>
                    <a:pt x="1009" y="1315"/>
                  </a:lnTo>
                  <a:lnTo>
                    <a:pt x="1023" y="1329"/>
                  </a:lnTo>
                  <a:lnTo>
                    <a:pt x="1036" y="1344"/>
                  </a:lnTo>
                  <a:lnTo>
                    <a:pt x="1049" y="1356"/>
                  </a:lnTo>
                  <a:lnTo>
                    <a:pt x="1055" y="1363"/>
                  </a:lnTo>
                  <a:lnTo>
                    <a:pt x="1062" y="1368"/>
                  </a:lnTo>
                  <a:lnTo>
                    <a:pt x="1067" y="1371"/>
                  </a:lnTo>
                  <a:lnTo>
                    <a:pt x="1072" y="1374"/>
                  </a:lnTo>
                  <a:lnTo>
                    <a:pt x="1077" y="1376"/>
                  </a:lnTo>
                  <a:lnTo>
                    <a:pt x="1082" y="1377"/>
                  </a:lnTo>
                  <a:lnTo>
                    <a:pt x="1088" y="1377"/>
                  </a:lnTo>
                  <a:lnTo>
                    <a:pt x="1093" y="1377"/>
                  </a:lnTo>
                  <a:lnTo>
                    <a:pt x="1103" y="1376"/>
                  </a:lnTo>
                  <a:lnTo>
                    <a:pt x="1114" y="1373"/>
                  </a:lnTo>
                  <a:lnTo>
                    <a:pt x="1125" y="1370"/>
                  </a:lnTo>
                  <a:lnTo>
                    <a:pt x="1137" y="1367"/>
                  </a:lnTo>
                  <a:lnTo>
                    <a:pt x="1147" y="1365"/>
                  </a:lnTo>
                  <a:lnTo>
                    <a:pt x="1157" y="1364"/>
                  </a:lnTo>
                  <a:lnTo>
                    <a:pt x="1176" y="1364"/>
                  </a:lnTo>
                  <a:lnTo>
                    <a:pt x="1192" y="1362"/>
                  </a:lnTo>
                  <a:lnTo>
                    <a:pt x="1199" y="1361"/>
                  </a:lnTo>
                  <a:lnTo>
                    <a:pt x="1206" y="1357"/>
                  </a:lnTo>
                  <a:lnTo>
                    <a:pt x="1215" y="1354"/>
                  </a:lnTo>
                  <a:lnTo>
                    <a:pt x="1223" y="1351"/>
                  </a:lnTo>
                  <a:lnTo>
                    <a:pt x="1233" y="1346"/>
                  </a:lnTo>
                  <a:lnTo>
                    <a:pt x="1241" y="1341"/>
                  </a:lnTo>
                  <a:lnTo>
                    <a:pt x="1249" y="1335"/>
                  </a:lnTo>
                  <a:lnTo>
                    <a:pt x="1259" y="1327"/>
                  </a:lnTo>
                  <a:lnTo>
                    <a:pt x="1277" y="1312"/>
                  </a:lnTo>
                  <a:lnTo>
                    <a:pt x="1297" y="1296"/>
                  </a:lnTo>
                  <a:lnTo>
                    <a:pt x="1317" y="1281"/>
                  </a:lnTo>
                  <a:lnTo>
                    <a:pt x="1337" y="1269"/>
                  </a:lnTo>
                  <a:lnTo>
                    <a:pt x="1347" y="1264"/>
                  </a:lnTo>
                  <a:lnTo>
                    <a:pt x="1357" y="1259"/>
                  </a:lnTo>
                  <a:lnTo>
                    <a:pt x="1367" y="1257"/>
                  </a:lnTo>
                  <a:lnTo>
                    <a:pt x="1376" y="1256"/>
                  </a:lnTo>
                  <a:lnTo>
                    <a:pt x="1381" y="1267"/>
                  </a:lnTo>
                  <a:lnTo>
                    <a:pt x="1384" y="1278"/>
                  </a:lnTo>
                  <a:lnTo>
                    <a:pt x="1387" y="1290"/>
                  </a:lnTo>
                  <a:lnTo>
                    <a:pt x="1389" y="1302"/>
                  </a:lnTo>
                  <a:lnTo>
                    <a:pt x="1391" y="1315"/>
                  </a:lnTo>
                  <a:lnTo>
                    <a:pt x="1395" y="1326"/>
                  </a:lnTo>
                  <a:lnTo>
                    <a:pt x="1397" y="1331"/>
                  </a:lnTo>
                  <a:lnTo>
                    <a:pt x="1400" y="1337"/>
                  </a:lnTo>
                  <a:lnTo>
                    <a:pt x="1404" y="1341"/>
                  </a:lnTo>
                  <a:lnTo>
                    <a:pt x="1407" y="1345"/>
                  </a:lnTo>
                  <a:lnTo>
                    <a:pt x="1414" y="1351"/>
                  </a:lnTo>
                  <a:lnTo>
                    <a:pt x="1420" y="1359"/>
                  </a:lnTo>
                  <a:lnTo>
                    <a:pt x="1425" y="1366"/>
                  </a:lnTo>
                  <a:lnTo>
                    <a:pt x="1430" y="1372"/>
                  </a:lnTo>
                  <a:lnTo>
                    <a:pt x="1438" y="1388"/>
                  </a:lnTo>
                  <a:lnTo>
                    <a:pt x="1444" y="1405"/>
                  </a:lnTo>
                  <a:lnTo>
                    <a:pt x="1447" y="1417"/>
                  </a:lnTo>
                  <a:lnTo>
                    <a:pt x="1450" y="1431"/>
                  </a:lnTo>
                  <a:lnTo>
                    <a:pt x="1451" y="1437"/>
                  </a:lnTo>
                  <a:lnTo>
                    <a:pt x="1454" y="1443"/>
                  </a:lnTo>
                  <a:lnTo>
                    <a:pt x="1457" y="1448"/>
                  </a:lnTo>
                  <a:lnTo>
                    <a:pt x="1460" y="1453"/>
                  </a:lnTo>
                  <a:lnTo>
                    <a:pt x="1460" y="1458"/>
                  </a:lnTo>
                  <a:lnTo>
                    <a:pt x="1461" y="1461"/>
                  </a:lnTo>
                  <a:lnTo>
                    <a:pt x="1463" y="1464"/>
                  </a:lnTo>
                  <a:lnTo>
                    <a:pt x="1466" y="1467"/>
                  </a:lnTo>
                  <a:lnTo>
                    <a:pt x="1473" y="1470"/>
                  </a:lnTo>
                  <a:lnTo>
                    <a:pt x="1483" y="1472"/>
                  </a:lnTo>
                  <a:lnTo>
                    <a:pt x="1492" y="1473"/>
                  </a:lnTo>
                  <a:lnTo>
                    <a:pt x="1502" y="1473"/>
                  </a:lnTo>
                  <a:lnTo>
                    <a:pt x="1511" y="1472"/>
                  </a:lnTo>
                  <a:lnTo>
                    <a:pt x="1517" y="1471"/>
                  </a:lnTo>
                  <a:lnTo>
                    <a:pt x="1540" y="1469"/>
                  </a:lnTo>
                  <a:lnTo>
                    <a:pt x="1563" y="1469"/>
                  </a:lnTo>
                  <a:lnTo>
                    <a:pt x="1586" y="1471"/>
                  </a:lnTo>
                  <a:lnTo>
                    <a:pt x="1608" y="1472"/>
                  </a:lnTo>
                  <a:lnTo>
                    <a:pt x="1608" y="1472"/>
                  </a:lnTo>
                  <a:lnTo>
                    <a:pt x="1608" y="1459"/>
                  </a:lnTo>
                  <a:lnTo>
                    <a:pt x="1611" y="1446"/>
                  </a:lnTo>
                  <a:lnTo>
                    <a:pt x="1614" y="1435"/>
                  </a:lnTo>
                  <a:lnTo>
                    <a:pt x="1617" y="1424"/>
                  </a:lnTo>
                  <a:lnTo>
                    <a:pt x="1618" y="1416"/>
                  </a:lnTo>
                  <a:lnTo>
                    <a:pt x="1618" y="1408"/>
                  </a:lnTo>
                  <a:lnTo>
                    <a:pt x="1617" y="1400"/>
                  </a:lnTo>
                  <a:lnTo>
                    <a:pt x="1613" y="1392"/>
                  </a:lnTo>
                  <a:lnTo>
                    <a:pt x="1607" y="1383"/>
                  </a:lnTo>
                  <a:lnTo>
                    <a:pt x="1597" y="1372"/>
                  </a:lnTo>
                  <a:lnTo>
                    <a:pt x="1593" y="1360"/>
                  </a:lnTo>
                  <a:lnTo>
                    <a:pt x="1590" y="1349"/>
                  </a:lnTo>
                  <a:lnTo>
                    <a:pt x="1589" y="1338"/>
                  </a:lnTo>
                  <a:lnTo>
                    <a:pt x="1588" y="1326"/>
                  </a:lnTo>
                  <a:lnTo>
                    <a:pt x="1588" y="1315"/>
                  </a:lnTo>
                  <a:lnTo>
                    <a:pt x="1586" y="1304"/>
                  </a:lnTo>
                  <a:lnTo>
                    <a:pt x="1584" y="1293"/>
                  </a:lnTo>
                  <a:lnTo>
                    <a:pt x="1579" y="1281"/>
                  </a:lnTo>
                  <a:lnTo>
                    <a:pt x="1576" y="1276"/>
                  </a:lnTo>
                  <a:lnTo>
                    <a:pt x="1573" y="1270"/>
                  </a:lnTo>
                  <a:lnTo>
                    <a:pt x="1572" y="1265"/>
                  </a:lnTo>
                  <a:lnTo>
                    <a:pt x="1571" y="1258"/>
                  </a:lnTo>
                  <a:lnTo>
                    <a:pt x="1571" y="1247"/>
                  </a:lnTo>
                  <a:lnTo>
                    <a:pt x="1572" y="1235"/>
                  </a:lnTo>
                  <a:lnTo>
                    <a:pt x="1580" y="1211"/>
                  </a:lnTo>
                  <a:lnTo>
                    <a:pt x="1588" y="1188"/>
                  </a:lnTo>
                  <a:lnTo>
                    <a:pt x="1591" y="1177"/>
                  </a:lnTo>
                  <a:lnTo>
                    <a:pt x="1593" y="1164"/>
                  </a:lnTo>
                  <a:lnTo>
                    <a:pt x="1594" y="1152"/>
                  </a:lnTo>
                  <a:lnTo>
                    <a:pt x="1593" y="1139"/>
                  </a:lnTo>
                  <a:lnTo>
                    <a:pt x="1591" y="1113"/>
                  </a:lnTo>
                  <a:lnTo>
                    <a:pt x="1587" y="1087"/>
                  </a:lnTo>
                  <a:lnTo>
                    <a:pt x="1585" y="1074"/>
                  </a:lnTo>
                  <a:lnTo>
                    <a:pt x="1584" y="1061"/>
                  </a:lnTo>
                  <a:lnTo>
                    <a:pt x="1583" y="1049"/>
                  </a:lnTo>
                  <a:lnTo>
                    <a:pt x="1583" y="1036"/>
                  </a:lnTo>
                  <a:lnTo>
                    <a:pt x="1584" y="1025"/>
                  </a:lnTo>
                  <a:lnTo>
                    <a:pt x="1587" y="1013"/>
                  </a:lnTo>
                  <a:lnTo>
                    <a:pt x="1591" y="1003"/>
                  </a:lnTo>
                  <a:lnTo>
                    <a:pt x="1596" y="993"/>
                  </a:lnTo>
                  <a:lnTo>
                    <a:pt x="1603" y="992"/>
                  </a:lnTo>
                  <a:lnTo>
                    <a:pt x="1609" y="990"/>
                  </a:lnTo>
                  <a:lnTo>
                    <a:pt x="1616" y="987"/>
                  </a:lnTo>
                  <a:lnTo>
                    <a:pt x="1624" y="983"/>
                  </a:lnTo>
                  <a:lnTo>
                    <a:pt x="1639" y="974"/>
                  </a:lnTo>
                  <a:lnTo>
                    <a:pt x="1654" y="962"/>
                  </a:lnTo>
                  <a:lnTo>
                    <a:pt x="1668" y="949"/>
                  </a:lnTo>
                  <a:lnTo>
                    <a:pt x="1681" y="936"/>
                  </a:lnTo>
                  <a:lnTo>
                    <a:pt x="1690" y="922"/>
                  </a:lnTo>
                  <a:lnTo>
                    <a:pt x="1698" y="911"/>
                  </a:lnTo>
                  <a:lnTo>
                    <a:pt x="1700" y="906"/>
                  </a:lnTo>
                  <a:lnTo>
                    <a:pt x="1701" y="897"/>
                  </a:lnTo>
                  <a:lnTo>
                    <a:pt x="1703" y="889"/>
                  </a:lnTo>
                  <a:lnTo>
                    <a:pt x="1704" y="880"/>
                  </a:lnTo>
                  <a:lnTo>
                    <a:pt x="1706" y="858"/>
                  </a:lnTo>
                  <a:lnTo>
                    <a:pt x="1707" y="835"/>
                  </a:lnTo>
                  <a:lnTo>
                    <a:pt x="1708" y="813"/>
                  </a:lnTo>
                  <a:lnTo>
                    <a:pt x="1709" y="793"/>
                  </a:lnTo>
                  <a:lnTo>
                    <a:pt x="1710" y="785"/>
                  </a:lnTo>
                  <a:lnTo>
                    <a:pt x="1711" y="778"/>
                  </a:lnTo>
                  <a:lnTo>
                    <a:pt x="1712" y="774"/>
                  </a:lnTo>
                  <a:lnTo>
                    <a:pt x="1714" y="771"/>
                  </a:lnTo>
                  <a:lnTo>
                    <a:pt x="1718" y="768"/>
                  </a:lnTo>
                  <a:lnTo>
                    <a:pt x="1727" y="767"/>
                  </a:lnTo>
                  <a:lnTo>
                    <a:pt x="1737" y="766"/>
                  </a:lnTo>
                  <a:lnTo>
                    <a:pt x="1749" y="765"/>
                  </a:lnTo>
                  <a:lnTo>
                    <a:pt x="1771" y="765"/>
                  </a:lnTo>
                  <a:lnTo>
                    <a:pt x="1787" y="765"/>
                  </a:lnTo>
                  <a:lnTo>
                    <a:pt x="1797" y="766"/>
                  </a:lnTo>
                  <a:lnTo>
                    <a:pt x="1806" y="766"/>
                  </a:lnTo>
                  <a:lnTo>
                    <a:pt x="1811" y="765"/>
                  </a:lnTo>
                  <a:lnTo>
                    <a:pt x="1815" y="765"/>
                  </a:lnTo>
                  <a:lnTo>
                    <a:pt x="1820" y="764"/>
                  </a:lnTo>
                  <a:lnTo>
                    <a:pt x="1824" y="762"/>
                  </a:lnTo>
                  <a:lnTo>
                    <a:pt x="1826" y="745"/>
                  </a:lnTo>
                  <a:lnTo>
                    <a:pt x="1827" y="726"/>
                  </a:lnTo>
                  <a:lnTo>
                    <a:pt x="1828" y="708"/>
                  </a:lnTo>
                  <a:lnTo>
                    <a:pt x="1827" y="688"/>
                  </a:lnTo>
                  <a:lnTo>
                    <a:pt x="1826" y="648"/>
                  </a:lnTo>
                  <a:lnTo>
                    <a:pt x="1825" y="612"/>
                  </a:lnTo>
                  <a:lnTo>
                    <a:pt x="1824" y="593"/>
                  </a:lnTo>
                  <a:lnTo>
                    <a:pt x="1822" y="573"/>
                  </a:lnTo>
                  <a:lnTo>
                    <a:pt x="1820" y="551"/>
                  </a:lnTo>
                  <a:lnTo>
                    <a:pt x="1816" y="528"/>
                  </a:lnTo>
                  <a:lnTo>
                    <a:pt x="1814" y="506"/>
                  </a:lnTo>
                  <a:lnTo>
                    <a:pt x="1813" y="485"/>
                  </a:lnTo>
                  <a:lnTo>
                    <a:pt x="1813" y="475"/>
                  </a:lnTo>
                  <a:lnTo>
                    <a:pt x="1814" y="465"/>
                  </a:lnTo>
                  <a:lnTo>
                    <a:pt x="1815" y="457"/>
                  </a:lnTo>
                  <a:lnTo>
                    <a:pt x="1816" y="449"/>
                  </a:lnTo>
                  <a:lnTo>
                    <a:pt x="1839" y="446"/>
                  </a:lnTo>
                  <a:lnTo>
                    <a:pt x="1862" y="440"/>
                  </a:lnTo>
                  <a:lnTo>
                    <a:pt x="1869" y="438"/>
                  </a:lnTo>
                  <a:lnTo>
                    <a:pt x="1874" y="436"/>
                  </a:lnTo>
                  <a:lnTo>
                    <a:pt x="1878" y="433"/>
                  </a:lnTo>
                  <a:lnTo>
                    <a:pt x="1883" y="430"/>
                  </a:lnTo>
                  <a:lnTo>
                    <a:pt x="1887" y="426"/>
                  </a:lnTo>
                  <a:lnTo>
                    <a:pt x="1890" y="422"/>
                  </a:lnTo>
                  <a:lnTo>
                    <a:pt x="1894" y="416"/>
                  </a:lnTo>
                  <a:lnTo>
                    <a:pt x="1896" y="410"/>
                  </a:lnTo>
                  <a:lnTo>
                    <a:pt x="1899" y="398"/>
                  </a:lnTo>
                  <a:lnTo>
                    <a:pt x="1901" y="385"/>
                  </a:lnTo>
                  <a:lnTo>
                    <a:pt x="1902" y="373"/>
                  </a:lnTo>
                  <a:lnTo>
                    <a:pt x="1903" y="360"/>
                  </a:lnTo>
                  <a:lnTo>
                    <a:pt x="1904" y="348"/>
                  </a:lnTo>
                  <a:lnTo>
                    <a:pt x="1905" y="335"/>
                  </a:lnTo>
                  <a:lnTo>
                    <a:pt x="1907" y="323"/>
                  </a:lnTo>
                  <a:lnTo>
                    <a:pt x="1910" y="311"/>
                  </a:lnTo>
                  <a:lnTo>
                    <a:pt x="1918" y="300"/>
                  </a:lnTo>
                  <a:lnTo>
                    <a:pt x="1931" y="281"/>
                  </a:lnTo>
                  <a:lnTo>
                    <a:pt x="1950" y="258"/>
                  </a:lnTo>
                  <a:lnTo>
                    <a:pt x="1970" y="232"/>
                  </a:lnTo>
                  <a:lnTo>
                    <a:pt x="1979" y="218"/>
                  </a:lnTo>
                  <a:lnTo>
                    <a:pt x="1987" y="206"/>
                  </a:lnTo>
                  <a:lnTo>
                    <a:pt x="1995" y="193"/>
                  </a:lnTo>
                  <a:lnTo>
                    <a:pt x="2000" y="182"/>
                  </a:lnTo>
                  <a:lnTo>
                    <a:pt x="2001" y="177"/>
                  </a:lnTo>
                  <a:lnTo>
                    <a:pt x="2003" y="172"/>
                  </a:lnTo>
                  <a:lnTo>
                    <a:pt x="2003" y="167"/>
                  </a:lnTo>
                  <a:lnTo>
                    <a:pt x="2003" y="163"/>
                  </a:lnTo>
                  <a:lnTo>
                    <a:pt x="2002" y="160"/>
                  </a:lnTo>
                  <a:lnTo>
                    <a:pt x="2001" y="156"/>
                  </a:lnTo>
                  <a:lnTo>
                    <a:pt x="1998" y="154"/>
                  </a:lnTo>
                  <a:lnTo>
                    <a:pt x="1995" y="151"/>
                  </a:lnTo>
                  <a:lnTo>
                    <a:pt x="1994" y="149"/>
                  </a:lnTo>
                  <a:lnTo>
                    <a:pt x="1993" y="147"/>
                  </a:lnTo>
                  <a:lnTo>
                    <a:pt x="1991" y="146"/>
                  </a:lnTo>
                  <a:lnTo>
                    <a:pt x="1987" y="146"/>
                  </a:lnTo>
                  <a:lnTo>
                    <a:pt x="1979" y="145"/>
                  </a:lnTo>
                  <a:lnTo>
                    <a:pt x="1971" y="145"/>
                  </a:lnTo>
                  <a:lnTo>
                    <a:pt x="1952" y="146"/>
                  </a:lnTo>
                  <a:lnTo>
                    <a:pt x="1939" y="147"/>
                  </a:lnTo>
                  <a:lnTo>
                    <a:pt x="1919" y="146"/>
                  </a:lnTo>
                  <a:lnTo>
                    <a:pt x="1904" y="145"/>
                  </a:lnTo>
                  <a:lnTo>
                    <a:pt x="1898" y="145"/>
                  </a:lnTo>
                  <a:lnTo>
                    <a:pt x="1893" y="143"/>
                  </a:lnTo>
                  <a:lnTo>
                    <a:pt x="1888" y="141"/>
                  </a:lnTo>
                  <a:lnTo>
                    <a:pt x="1885" y="139"/>
                  </a:lnTo>
                  <a:lnTo>
                    <a:pt x="1883" y="136"/>
                  </a:lnTo>
                  <a:lnTo>
                    <a:pt x="1881" y="132"/>
                  </a:lnTo>
                  <a:lnTo>
                    <a:pt x="1880" y="127"/>
                  </a:lnTo>
                  <a:lnTo>
                    <a:pt x="1880" y="121"/>
                  </a:lnTo>
                  <a:lnTo>
                    <a:pt x="1881" y="108"/>
                  </a:lnTo>
                  <a:lnTo>
                    <a:pt x="1884" y="89"/>
                  </a:lnTo>
                  <a:lnTo>
                    <a:pt x="1886" y="66"/>
                  </a:lnTo>
                  <a:lnTo>
                    <a:pt x="1887" y="45"/>
                  </a:lnTo>
                  <a:lnTo>
                    <a:pt x="1887" y="25"/>
                  </a:lnTo>
                  <a:lnTo>
                    <a:pt x="1887" y="4"/>
                  </a:lnTo>
                  <a:lnTo>
                    <a:pt x="1884" y="1"/>
                  </a:lnTo>
                  <a:lnTo>
                    <a:pt x="1879" y="0"/>
                  </a:lnTo>
                  <a:lnTo>
                    <a:pt x="1874" y="0"/>
                  </a:lnTo>
                  <a:lnTo>
                    <a:pt x="1867" y="1"/>
                  </a:lnTo>
                  <a:lnTo>
                    <a:pt x="1854" y="5"/>
                  </a:lnTo>
                  <a:lnTo>
                    <a:pt x="1839" y="12"/>
                  </a:lnTo>
                  <a:lnTo>
                    <a:pt x="1825" y="19"/>
                  </a:lnTo>
                  <a:lnTo>
                    <a:pt x="1811" y="27"/>
                  </a:lnTo>
                  <a:lnTo>
                    <a:pt x="1801" y="35"/>
                  </a:lnTo>
                  <a:lnTo>
                    <a:pt x="1793" y="40"/>
                  </a:lnTo>
                  <a:lnTo>
                    <a:pt x="1787" y="45"/>
                  </a:lnTo>
                  <a:lnTo>
                    <a:pt x="1780" y="50"/>
                  </a:lnTo>
                  <a:lnTo>
                    <a:pt x="1774" y="53"/>
                  </a:lnTo>
                  <a:lnTo>
                    <a:pt x="1767" y="57"/>
                  </a:lnTo>
                  <a:lnTo>
                    <a:pt x="1754" y="61"/>
                  </a:lnTo>
                  <a:lnTo>
                    <a:pt x="1741" y="63"/>
                  </a:lnTo>
                  <a:lnTo>
                    <a:pt x="1728" y="65"/>
                  </a:lnTo>
                  <a:lnTo>
                    <a:pt x="1714" y="66"/>
                  </a:lnTo>
                  <a:lnTo>
                    <a:pt x="1701" y="69"/>
                  </a:lnTo>
                  <a:lnTo>
                    <a:pt x="1686" y="74"/>
                  </a:lnTo>
                  <a:lnTo>
                    <a:pt x="1668" y="85"/>
                  </a:lnTo>
                  <a:lnTo>
                    <a:pt x="1653" y="96"/>
                  </a:lnTo>
                  <a:lnTo>
                    <a:pt x="1644" y="101"/>
                  </a:lnTo>
                  <a:lnTo>
                    <a:pt x="1635" y="105"/>
                  </a:lnTo>
                  <a:lnTo>
                    <a:pt x="1631" y="106"/>
                  </a:lnTo>
                  <a:lnTo>
                    <a:pt x="1626" y="106"/>
                  </a:lnTo>
                  <a:lnTo>
                    <a:pt x="1620" y="106"/>
                  </a:lnTo>
                  <a:lnTo>
                    <a:pt x="1614" y="103"/>
                  </a:lnTo>
                  <a:lnTo>
                    <a:pt x="1606" y="101"/>
                  </a:lnTo>
                  <a:lnTo>
                    <a:pt x="1598" y="100"/>
                  </a:lnTo>
                  <a:lnTo>
                    <a:pt x="1591" y="100"/>
                  </a:lnTo>
                  <a:lnTo>
                    <a:pt x="1586" y="100"/>
                  </a:lnTo>
                  <a:lnTo>
                    <a:pt x="1581" y="101"/>
                  </a:lnTo>
                  <a:lnTo>
                    <a:pt x="1577" y="102"/>
                  </a:lnTo>
                  <a:lnTo>
                    <a:pt x="1572" y="105"/>
                  </a:lnTo>
                  <a:lnTo>
                    <a:pt x="1569" y="107"/>
                  </a:lnTo>
                  <a:lnTo>
                    <a:pt x="1556" y="121"/>
                  </a:lnTo>
                  <a:lnTo>
                    <a:pt x="1536" y="138"/>
                  </a:lnTo>
                  <a:lnTo>
                    <a:pt x="1521" y="147"/>
                  </a:lnTo>
                  <a:lnTo>
                    <a:pt x="1507" y="154"/>
                  </a:lnTo>
                  <a:lnTo>
                    <a:pt x="1500" y="156"/>
                  </a:lnTo>
                  <a:lnTo>
                    <a:pt x="1493" y="157"/>
                  </a:lnTo>
                  <a:lnTo>
                    <a:pt x="1487" y="158"/>
                  </a:lnTo>
                  <a:lnTo>
                    <a:pt x="1481" y="157"/>
                  </a:lnTo>
                  <a:lnTo>
                    <a:pt x="1475" y="156"/>
                  </a:lnTo>
                  <a:lnTo>
                    <a:pt x="1469" y="154"/>
                  </a:lnTo>
                  <a:lnTo>
                    <a:pt x="1465" y="150"/>
                  </a:lnTo>
                  <a:lnTo>
                    <a:pt x="1460" y="146"/>
                  </a:lnTo>
                  <a:lnTo>
                    <a:pt x="1456" y="140"/>
                  </a:lnTo>
                  <a:lnTo>
                    <a:pt x="1453" y="134"/>
                  </a:lnTo>
                  <a:lnTo>
                    <a:pt x="1449" y="126"/>
                  </a:lnTo>
                  <a:lnTo>
                    <a:pt x="1446" y="117"/>
                  </a:lnTo>
                  <a:lnTo>
                    <a:pt x="1444" y="107"/>
                  </a:lnTo>
                  <a:lnTo>
                    <a:pt x="1440" y="97"/>
                  </a:lnTo>
                  <a:lnTo>
                    <a:pt x="1436" y="88"/>
                  </a:lnTo>
                  <a:lnTo>
                    <a:pt x="1432" y="79"/>
                  </a:lnTo>
                  <a:lnTo>
                    <a:pt x="1425" y="72"/>
                  </a:lnTo>
                  <a:lnTo>
                    <a:pt x="1419" y="65"/>
                  </a:lnTo>
                  <a:lnTo>
                    <a:pt x="1413" y="59"/>
                  </a:lnTo>
                  <a:lnTo>
                    <a:pt x="1406" y="52"/>
                  </a:lnTo>
                  <a:lnTo>
                    <a:pt x="1397" y="47"/>
                  </a:lnTo>
                  <a:lnTo>
                    <a:pt x="1389" y="43"/>
                  </a:lnTo>
                  <a:lnTo>
                    <a:pt x="1380" y="39"/>
                  </a:lnTo>
                  <a:lnTo>
                    <a:pt x="1370" y="36"/>
                  </a:lnTo>
                  <a:lnTo>
                    <a:pt x="1361" y="34"/>
                  </a:lnTo>
                  <a:lnTo>
                    <a:pt x="1350" y="32"/>
                  </a:lnTo>
                  <a:lnTo>
                    <a:pt x="1340" y="32"/>
                  </a:lnTo>
                  <a:lnTo>
                    <a:pt x="1329" y="32"/>
                  </a:lnTo>
                  <a:lnTo>
                    <a:pt x="1329" y="32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8" name="Freeform 135">
              <a:extLst>
                <a:ext uri="{FF2B5EF4-FFF2-40B4-BE49-F238E27FC236}">
                  <a16:creationId xmlns:a16="http://schemas.microsoft.com/office/drawing/2014/main" id="{B18A91AC-2F36-49AD-BE49-6EF3DE98D1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219" y="3445825"/>
              <a:ext cx="779274" cy="546426"/>
            </a:xfrm>
            <a:custGeom>
              <a:avLst/>
              <a:gdLst>
                <a:gd name="T0" fmla="*/ 890 w 3106"/>
                <a:gd name="T1" fmla="*/ 104 h 2251"/>
                <a:gd name="T2" fmla="*/ 690 w 3106"/>
                <a:gd name="T3" fmla="*/ 128 h 2251"/>
                <a:gd name="T4" fmla="*/ 660 w 3106"/>
                <a:gd name="T5" fmla="*/ 327 h 2251"/>
                <a:gd name="T6" fmla="*/ 517 w 3106"/>
                <a:gd name="T7" fmla="*/ 332 h 2251"/>
                <a:gd name="T8" fmla="*/ 386 w 3106"/>
                <a:gd name="T9" fmla="*/ 496 h 2251"/>
                <a:gd name="T10" fmla="*/ 249 w 3106"/>
                <a:gd name="T11" fmla="*/ 563 h 2251"/>
                <a:gd name="T12" fmla="*/ 5 w 3106"/>
                <a:gd name="T13" fmla="*/ 577 h 2251"/>
                <a:gd name="T14" fmla="*/ 68 w 3106"/>
                <a:gd name="T15" fmla="*/ 714 h 2251"/>
                <a:gd name="T16" fmla="*/ 243 w 3106"/>
                <a:gd name="T17" fmla="*/ 783 h 2251"/>
                <a:gd name="T18" fmla="*/ 133 w 3106"/>
                <a:gd name="T19" fmla="*/ 951 h 2251"/>
                <a:gd name="T20" fmla="*/ 210 w 3106"/>
                <a:gd name="T21" fmla="*/ 1018 h 2251"/>
                <a:gd name="T22" fmla="*/ 379 w 3106"/>
                <a:gd name="T23" fmla="*/ 1055 h 2251"/>
                <a:gd name="T24" fmla="*/ 528 w 3106"/>
                <a:gd name="T25" fmla="*/ 1157 h 2251"/>
                <a:gd name="T26" fmla="*/ 576 w 3106"/>
                <a:gd name="T27" fmla="*/ 1292 h 2251"/>
                <a:gd name="T28" fmla="*/ 709 w 3106"/>
                <a:gd name="T29" fmla="*/ 1345 h 2251"/>
                <a:gd name="T30" fmla="*/ 719 w 3106"/>
                <a:gd name="T31" fmla="*/ 1542 h 2251"/>
                <a:gd name="T32" fmla="*/ 907 w 3106"/>
                <a:gd name="T33" fmla="*/ 1555 h 2251"/>
                <a:gd name="T34" fmla="*/ 1051 w 3106"/>
                <a:gd name="T35" fmla="*/ 1606 h 2251"/>
                <a:gd name="T36" fmla="*/ 1035 w 3106"/>
                <a:gd name="T37" fmla="*/ 1705 h 2251"/>
                <a:gd name="T38" fmla="*/ 1077 w 3106"/>
                <a:gd name="T39" fmla="*/ 1805 h 2251"/>
                <a:gd name="T40" fmla="*/ 1037 w 3106"/>
                <a:gd name="T41" fmla="*/ 1969 h 2251"/>
                <a:gd name="T42" fmla="*/ 1125 w 3106"/>
                <a:gd name="T43" fmla="*/ 2149 h 2251"/>
                <a:gd name="T44" fmla="*/ 1206 w 3106"/>
                <a:gd name="T45" fmla="*/ 2216 h 2251"/>
                <a:gd name="T46" fmla="*/ 1373 w 3106"/>
                <a:gd name="T47" fmla="*/ 2227 h 2251"/>
                <a:gd name="T48" fmla="*/ 1703 w 3106"/>
                <a:gd name="T49" fmla="*/ 2238 h 2251"/>
                <a:gd name="T50" fmla="*/ 1857 w 3106"/>
                <a:gd name="T51" fmla="*/ 2194 h 2251"/>
                <a:gd name="T52" fmla="*/ 1953 w 3106"/>
                <a:gd name="T53" fmla="*/ 2136 h 2251"/>
                <a:gd name="T54" fmla="*/ 1893 w 3106"/>
                <a:gd name="T55" fmla="*/ 2077 h 2251"/>
                <a:gd name="T56" fmla="*/ 1823 w 3106"/>
                <a:gd name="T57" fmla="*/ 2043 h 2251"/>
                <a:gd name="T58" fmla="*/ 2074 w 3106"/>
                <a:gd name="T59" fmla="*/ 2006 h 2251"/>
                <a:gd name="T60" fmla="*/ 2180 w 3106"/>
                <a:gd name="T61" fmla="*/ 2127 h 2251"/>
                <a:gd name="T62" fmla="*/ 2299 w 3106"/>
                <a:gd name="T63" fmla="*/ 2117 h 2251"/>
                <a:gd name="T64" fmla="*/ 2378 w 3106"/>
                <a:gd name="T65" fmla="*/ 1826 h 2251"/>
                <a:gd name="T66" fmla="*/ 2526 w 3106"/>
                <a:gd name="T67" fmla="*/ 1876 h 2251"/>
                <a:gd name="T68" fmla="*/ 2531 w 3106"/>
                <a:gd name="T69" fmla="*/ 2071 h 2251"/>
                <a:gd name="T70" fmla="*/ 2740 w 3106"/>
                <a:gd name="T71" fmla="*/ 2025 h 2251"/>
                <a:gd name="T72" fmla="*/ 2887 w 3106"/>
                <a:gd name="T73" fmla="*/ 1981 h 2251"/>
                <a:gd name="T74" fmla="*/ 3001 w 3106"/>
                <a:gd name="T75" fmla="*/ 2019 h 2251"/>
                <a:gd name="T76" fmla="*/ 3101 w 3106"/>
                <a:gd name="T77" fmla="*/ 1995 h 2251"/>
                <a:gd name="T78" fmla="*/ 3041 w 3106"/>
                <a:gd name="T79" fmla="*/ 1866 h 2251"/>
                <a:gd name="T80" fmla="*/ 2989 w 3106"/>
                <a:gd name="T81" fmla="*/ 1687 h 2251"/>
                <a:gd name="T82" fmla="*/ 2990 w 3106"/>
                <a:gd name="T83" fmla="*/ 1655 h 2251"/>
                <a:gd name="T84" fmla="*/ 2987 w 3106"/>
                <a:gd name="T85" fmla="*/ 1590 h 2251"/>
                <a:gd name="T86" fmla="*/ 2896 w 3106"/>
                <a:gd name="T87" fmla="*/ 1584 h 2251"/>
                <a:gd name="T88" fmla="*/ 2848 w 3106"/>
                <a:gd name="T89" fmla="*/ 1450 h 2251"/>
                <a:gd name="T90" fmla="*/ 2590 w 3106"/>
                <a:gd name="T91" fmla="*/ 1407 h 2251"/>
                <a:gd name="T92" fmla="*/ 2458 w 3106"/>
                <a:gd name="T93" fmla="*/ 1314 h 2251"/>
                <a:gd name="T94" fmla="*/ 2359 w 3106"/>
                <a:gd name="T95" fmla="*/ 1131 h 2251"/>
                <a:gd name="T96" fmla="*/ 2038 w 3106"/>
                <a:gd name="T97" fmla="*/ 1028 h 2251"/>
                <a:gd name="T98" fmla="*/ 1821 w 3106"/>
                <a:gd name="T99" fmla="*/ 1017 h 2251"/>
                <a:gd name="T100" fmla="*/ 1443 w 3106"/>
                <a:gd name="T101" fmla="*/ 754 h 2251"/>
                <a:gd name="T102" fmla="*/ 1305 w 3106"/>
                <a:gd name="T103" fmla="*/ 836 h 2251"/>
                <a:gd name="T104" fmla="*/ 1243 w 3106"/>
                <a:gd name="T105" fmla="*/ 700 h 2251"/>
                <a:gd name="T106" fmla="*/ 1040 w 3106"/>
                <a:gd name="T107" fmla="*/ 818 h 2251"/>
                <a:gd name="T108" fmla="*/ 1067 w 3106"/>
                <a:gd name="T109" fmla="*/ 679 h 2251"/>
                <a:gd name="T110" fmla="*/ 1127 w 3106"/>
                <a:gd name="T111" fmla="*/ 559 h 2251"/>
                <a:gd name="T112" fmla="*/ 1120 w 3106"/>
                <a:gd name="T113" fmla="*/ 474 h 2251"/>
                <a:gd name="T114" fmla="*/ 1095 w 3106"/>
                <a:gd name="T115" fmla="*/ 353 h 2251"/>
                <a:gd name="T116" fmla="*/ 1058 w 3106"/>
                <a:gd name="T117" fmla="*/ 219 h 2251"/>
                <a:gd name="T118" fmla="*/ 1173 w 3106"/>
                <a:gd name="T119" fmla="*/ 100 h 2251"/>
                <a:gd name="T120" fmla="*/ 964 w 3106"/>
                <a:gd name="T121" fmla="*/ 1 h 2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06" h="2251">
                  <a:moveTo>
                    <a:pt x="954" y="3"/>
                  </a:moveTo>
                  <a:lnTo>
                    <a:pt x="943" y="5"/>
                  </a:lnTo>
                  <a:lnTo>
                    <a:pt x="932" y="7"/>
                  </a:lnTo>
                  <a:lnTo>
                    <a:pt x="921" y="8"/>
                  </a:lnTo>
                  <a:lnTo>
                    <a:pt x="912" y="11"/>
                  </a:lnTo>
                  <a:lnTo>
                    <a:pt x="909" y="16"/>
                  </a:lnTo>
                  <a:lnTo>
                    <a:pt x="907" y="21"/>
                  </a:lnTo>
                  <a:lnTo>
                    <a:pt x="906" y="27"/>
                  </a:lnTo>
                  <a:lnTo>
                    <a:pt x="905" y="32"/>
                  </a:lnTo>
                  <a:lnTo>
                    <a:pt x="904" y="45"/>
                  </a:lnTo>
                  <a:lnTo>
                    <a:pt x="904" y="57"/>
                  </a:lnTo>
                  <a:lnTo>
                    <a:pt x="903" y="69"/>
                  </a:lnTo>
                  <a:lnTo>
                    <a:pt x="901" y="81"/>
                  </a:lnTo>
                  <a:lnTo>
                    <a:pt x="900" y="88"/>
                  </a:lnTo>
                  <a:lnTo>
                    <a:pt x="897" y="93"/>
                  </a:lnTo>
                  <a:lnTo>
                    <a:pt x="894" y="99"/>
                  </a:lnTo>
                  <a:lnTo>
                    <a:pt x="890" y="104"/>
                  </a:lnTo>
                  <a:lnTo>
                    <a:pt x="887" y="109"/>
                  </a:lnTo>
                  <a:lnTo>
                    <a:pt x="883" y="112"/>
                  </a:lnTo>
                  <a:lnTo>
                    <a:pt x="879" y="115"/>
                  </a:lnTo>
                  <a:lnTo>
                    <a:pt x="874" y="117"/>
                  </a:lnTo>
                  <a:lnTo>
                    <a:pt x="864" y="121"/>
                  </a:lnTo>
                  <a:lnTo>
                    <a:pt x="853" y="123"/>
                  </a:lnTo>
                  <a:lnTo>
                    <a:pt x="841" y="124"/>
                  </a:lnTo>
                  <a:lnTo>
                    <a:pt x="829" y="124"/>
                  </a:lnTo>
                  <a:lnTo>
                    <a:pt x="815" y="124"/>
                  </a:lnTo>
                  <a:lnTo>
                    <a:pt x="802" y="122"/>
                  </a:lnTo>
                  <a:lnTo>
                    <a:pt x="774" y="119"/>
                  </a:lnTo>
                  <a:lnTo>
                    <a:pt x="747" y="117"/>
                  </a:lnTo>
                  <a:lnTo>
                    <a:pt x="735" y="117"/>
                  </a:lnTo>
                  <a:lnTo>
                    <a:pt x="722" y="118"/>
                  </a:lnTo>
                  <a:lnTo>
                    <a:pt x="711" y="120"/>
                  </a:lnTo>
                  <a:lnTo>
                    <a:pt x="700" y="123"/>
                  </a:lnTo>
                  <a:lnTo>
                    <a:pt x="690" y="128"/>
                  </a:lnTo>
                  <a:lnTo>
                    <a:pt x="683" y="134"/>
                  </a:lnTo>
                  <a:lnTo>
                    <a:pt x="676" y="141"/>
                  </a:lnTo>
                  <a:lnTo>
                    <a:pt x="671" y="148"/>
                  </a:lnTo>
                  <a:lnTo>
                    <a:pt x="668" y="157"/>
                  </a:lnTo>
                  <a:lnTo>
                    <a:pt x="666" y="165"/>
                  </a:lnTo>
                  <a:lnTo>
                    <a:pt x="665" y="174"/>
                  </a:lnTo>
                  <a:lnTo>
                    <a:pt x="665" y="184"/>
                  </a:lnTo>
                  <a:lnTo>
                    <a:pt x="669" y="223"/>
                  </a:lnTo>
                  <a:lnTo>
                    <a:pt x="673" y="264"/>
                  </a:lnTo>
                  <a:lnTo>
                    <a:pt x="673" y="270"/>
                  </a:lnTo>
                  <a:lnTo>
                    <a:pt x="673" y="278"/>
                  </a:lnTo>
                  <a:lnTo>
                    <a:pt x="672" y="285"/>
                  </a:lnTo>
                  <a:lnTo>
                    <a:pt x="671" y="293"/>
                  </a:lnTo>
                  <a:lnTo>
                    <a:pt x="669" y="302"/>
                  </a:lnTo>
                  <a:lnTo>
                    <a:pt x="666" y="310"/>
                  </a:lnTo>
                  <a:lnTo>
                    <a:pt x="663" y="318"/>
                  </a:lnTo>
                  <a:lnTo>
                    <a:pt x="660" y="327"/>
                  </a:lnTo>
                  <a:lnTo>
                    <a:pt x="656" y="335"/>
                  </a:lnTo>
                  <a:lnTo>
                    <a:pt x="650" y="341"/>
                  </a:lnTo>
                  <a:lnTo>
                    <a:pt x="645" y="349"/>
                  </a:lnTo>
                  <a:lnTo>
                    <a:pt x="639" y="354"/>
                  </a:lnTo>
                  <a:lnTo>
                    <a:pt x="633" y="359"/>
                  </a:lnTo>
                  <a:lnTo>
                    <a:pt x="626" y="362"/>
                  </a:lnTo>
                  <a:lnTo>
                    <a:pt x="619" y="364"/>
                  </a:lnTo>
                  <a:lnTo>
                    <a:pt x="612" y="365"/>
                  </a:lnTo>
                  <a:lnTo>
                    <a:pt x="602" y="364"/>
                  </a:lnTo>
                  <a:lnTo>
                    <a:pt x="594" y="363"/>
                  </a:lnTo>
                  <a:lnTo>
                    <a:pt x="585" y="360"/>
                  </a:lnTo>
                  <a:lnTo>
                    <a:pt x="576" y="357"/>
                  </a:lnTo>
                  <a:lnTo>
                    <a:pt x="560" y="350"/>
                  </a:lnTo>
                  <a:lnTo>
                    <a:pt x="543" y="341"/>
                  </a:lnTo>
                  <a:lnTo>
                    <a:pt x="534" y="338"/>
                  </a:lnTo>
                  <a:lnTo>
                    <a:pt x="525" y="335"/>
                  </a:lnTo>
                  <a:lnTo>
                    <a:pt x="517" y="332"/>
                  </a:lnTo>
                  <a:lnTo>
                    <a:pt x="508" y="331"/>
                  </a:lnTo>
                  <a:lnTo>
                    <a:pt x="498" y="331"/>
                  </a:lnTo>
                  <a:lnTo>
                    <a:pt x="489" y="332"/>
                  </a:lnTo>
                  <a:lnTo>
                    <a:pt x="479" y="334"/>
                  </a:lnTo>
                  <a:lnTo>
                    <a:pt x="469" y="338"/>
                  </a:lnTo>
                  <a:lnTo>
                    <a:pt x="449" y="349"/>
                  </a:lnTo>
                  <a:lnTo>
                    <a:pt x="434" y="358"/>
                  </a:lnTo>
                  <a:lnTo>
                    <a:pt x="421" y="367"/>
                  </a:lnTo>
                  <a:lnTo>
                    <a:pt x="411" y="378"/>
                  </a:lnTo>
                  <a:lnTo>
                    <a:pt x="403" y="387"/>
                  </a:lnTo>
                  <a:lnTo>
                    <a:pt x="398" y="398"/>
                  </a:lnTo>
                  <a:lnTo>
                    <a:pt x="395" y="407"/>
                  </a:lnTo>
                  <a:lnTo>
                    <a:pt x="393" y="418"/>
                  </a:lnTo>
                  <a:lnTo>
                    <a:pt x="391" y="440"/>
                  </a:lnTo>
                  <a:lnTo>
                    <a:pt x="390" y="466"/>
                  </a:lnTo>
                  <a:lnTo>
                    <a:pt x="388" y="480"/>
                  </a:lnTo>
                  <a:lnTo>
                    <a:pt x="386" y="496"/>
                  </a:lnTo>
                  <a:lnTo>
                    <a:pt x="381" y="511"/>
                  </a:lnTo>
                  <a:lnTo>
                    <a:pt x="375" y="529"/>
                  </a:lnTo>
                  <a:lnTo>
                    <a:pt x="372" y="536"/>
                  </a:lnTo>
                  <a:lnTo>
                    <a:pt x="369" y="543"/>
                  </a:lnTo>
                  <a:lnTo>
                    <a:pt x="365" y="549"/>
                  </a:lnTo>
                  <a:lnTo>
                    <a:pt x="361" y="554"/>
                  </a:lnTo>
                  <a:lnTo>
                    <a:pt x="356" y="559"/>
                  </a:lnTo>
                  <a:lnTo>
                    <a:pt x="351" y="562"/>
                  </a:lnTo>
                  <a:lnTo>
                    <a:pt x="346" y="566"/>
                  </a:lnTo>
                  <a:lnTo>
                    <a:pt x="341" y="569"/>
                  </a:lnTo>
                  <a:lnTo>
                    <a:pt x="329" y="573"/>
                  </a:lnTo>
                  <a:lnTo>
                    <a:pt x="318" y="574"/>
                  </a:lnTo>
                  <a:lnTo>
                    <a:pt x="304" y="575"/>
                  </a:lnTo>
                  <a:lnTo>
                    <a:pt x="292" y="573"/>
                  </a:lnTo>
                  <a:lnTo>
                    <a:pt x="277" y="571"/>
                  </a:lnTo>
                  <a:lnTo>
                    <a:pt x="264" y="568"/>
                  </a:lnTo>
                  <a:lnTo>
                    <a:pt x="249" y="563"/>
                  </a:lnTo>
                  <a:lnTo>
                    <a:pt x="235" y="559"/>
                  </a:lnTo>
                  <a:lnTo>
                    <a:pt x="207" y="551"/>
                  </a:lnTo>
                  <a:lnTo>
                    <a:pt x="181" y="545"/>
                  </a:lnTo>
                  <a:lnTo>
                    <a:pt x="162" y="542"/>
                  </a:lnTo>
                  <a:lnTo>
                    <a:pt x="141" y="541"/>
                  </a:lnTo>
                  <a:lnTo>
                    <a:pt x="118" y="539"/>
                  </a:lnTo>
                  <a:lnTo>
                    <a:pt x="95" y="542"/>
                  </a:lnTo>
                  <a:lnTo>
                    <a:pt x="82" y="543"/>
                  </a:lnTo>
                  <a:lnTo>
                    <a:pt x="71" y="545"/>
                  </a:lnTo>
                  <a:lnTo>
                    <a:pt x="60" y="547"/>
                  </a:lnTo>
                  <a:lnTo>
                    <a:pt x="50" y="550"/>
                  </a:lnTo>
                  <a:lnTo>
                    <a:pt x="39" y="553"/>
                  </a:lnTo>
                  <a:lnTo>
                    <a:pt x="30" y="557"/>
                  </a:lnTo>
                  <a:lnTo>
                    <a:pt x="21" y="562"/>
                  </a:lnTo>
                  <a:lnTo>
                    <a:pt x="13" y="568"/>
                  </a:lnTo>
                  <a:lnTo>
                    <a:pt x="8" y="572"/>
                  </a:lnTo>
                  <a:lnTo>
                    <a:pt x="5" y="577"/>
                  </a:lnTo>
                  <a:lnTo>
                    <a:pt x="2" y="581"/>
                  </a:lnTo>
                  <a:lnTo>
                    <a:pt x="1" y="587"/>
                  </a:lnTo>
                  <a:lnTo>
                    <a:pt x="0" y="593"/>
                  </a:lnTo>
                  <a:lnTo>
                    <a:pt x="0" y="598"/>
                  </a:lnTo>
                  <a:lnTo>
                    <a:pt x="1" y="604"/>
                  </a:lnTo>
                  <a:lnTo>
                    <a:pt x="2" y="610"/>
                  </a:lnTo>
                  <a:lnTo>
                    <a:pt x="9" y="634"/>
                  </a:lnTo>
                  <a:lnTo>
                    <a:pt x="14" y="656"/>
                  </a:lnTo>
                  <a:lnTo>
                    <a:pt x="15" y="667"/>
                  </a:lnTo>
                  <a:lnTo>
                    <a:pt x="19" y="675"/>
                  </a:lnTo>
                  <a:lnTo>
                    <a:pt x="23" y="682"/>
                  </a:lnTo>
                  <a:lnTo>
                    <a:pt x="27" y="689"/>
                  </a:lnTo>
                  <a:lnTo>
                    <a:pt x="33" y="694"/>
                  </a:lnTo>
                  <a:lnTo>
                    <a:pt x="39" y="698"/>
                  </a:lnTo>
                  <a:lnTo>
                    <a:pt x="46" y="702"/>
                  </a:lnTo>
                  <a:lnTo>
                    <a:pt x="53" y="706"/>
                  </a:lnTo>
                  <a:lnTo>
                    <a:pt x="68" y="714"/>
                  </a:lnTo>
                  <a:lnTo>
                    <a:pt x="82" y="722"/>
                  </a:lnTo>
                  <a:lnTo>
                    <a:pt x="88" y="727"/>
                  </a:lnTo>
                  <a:lnTo>
                    <a:pt x="95" y="732"/>
                  </a:lnTo>
                  <a:lnTo>
                    <a:pt x="101" y="740"/>
                  </a:lnTo>
                  <a:lnTo>
                    <a:pt x="105" y="749"/>
                  </a:lnTo>
                  <a:lnTo>
                    <a:pt x="109" y="754"/>
                  </a:lnTo>
                  <a:lnTo>
                    <a:pt x="113" y="759"/>
                  </a:lnTo>
                  <a:lnTo>
                    <a:pt x="120" y="763"/>
                  </a:lnTo>
                  <a:lnTo>
                    <a:pt x="128" y="766"/>
                  </a:lnTo>
                  <a:lnTo>
                    <a:pt x="136" y="768"/>
                  </a:lnTo>
                  <a:lnTo>
                    <a:pt x="146" y="770"/>
                  </a:lnTo>
                  <a:lnTo>
                    <a:pt x="155" y="772"/>
                  </a:lnTo>
                  <a:lnTo>
                    <a:pt x="166" y="773"/>
                  </a:lnTo>
                  <a:lnTo>
                    <a:pt x="205" y="776"/>
                  </a:lnTo>
                  <a:lnTo>
                    <a:pt x="236" y="776"/>
                  </a:lnTo>
                  <a:lnTo>
                    <a:pt x="240" y="779"/>
                  </a:lnTo>
                  <a:lnTo>
                    <a:pt x="243" y="783"/>
                  </a:lnTo>
                  <a:lnTo>
                    <a:pt x="245" y="786"/>
                  </a:lnTo>
                  <a:lnTo>
                    <a:pt x="246" y="789"/>
                  </a:lnTo>
                  <a:lnTo>
                    <a:pt x="247" y="795"/>
                  </a:lnTo>
                  <a:lnTo>
                    <a:pt x="246" y="801"/>
                  </a:lnTo>
                  <a:lnTo>
                    <a:pt x="244" y="808"/>
                  </a:lnTo>
                  <a:lnTo>
                    <a:pt x="240" y="815"/>
                  </a:lnTo>
                  <a:lnTo>
                    <a:pt x="234" y="821"/>
                  </a:lnTo>
                  <a:lnTo>
                    <a:pt x="228" y="827"/>
                  </a:lnTo>
                  <a:lnTo>
                    <a:pt x="214" y="839"/>
                  </a:lnTo>
                  <a:lnTo>
                    <a:pt x="198" y="849"/>
                  </a:lnTo>
                  <a:lnTo>
                    <a:pt x="184" y="859"/>
                  </a:lnTo>
                  <a:lnTo>
                    <a:pt x="174" y="864"/>
                  </a:lnTo>
                  <a:lnTo>
                    <a:pt x="156" y="891"/>
                  </a:lnTo>
                  <a:lnTo>
                    <a:pt x="143" y="912"/>
                  </a:lnTo>
                  <a:lnTo>
                    <a:pt x="138" y="922"/>
                  </a:lnTo>
                  <a:lnTo>
                    <a:pt x="135" y="935"/>
                  </a:lnTo>
                  <a:lnTo>
                    <a:pt x="133" y="951"/>
                  </a:lnTo>
                  <a:lnTo>
                    <a:pt x="132" y="970"/>
                  </a:lnTo>
                  <a:lnTo>
                    <a:pt x="130" y="986"/>
                  </a:lnTo>
                  <a:lnTo>
                    <a:pt x="128" y="1009"/>
                  </a:lnTo>
                  <a:lnTo>
                    <a:pt x="128" y="1020"/>
                  </a:lnTo>
                  <a:lnTo>
                    <a:pt x="130" y="1030"/>
                  </a:lnTo>
                  <a:lnTo>
                    <a:pt x="132" y="1033"/>
                  </a:lnTo>
                  <a:lnTo>
                    <a:pt x="135" y="1036"/>
                  </a:lnTo>
                  <a:lnTo>
                    <a:pt x="138" y="1037"/>
                  </a:lnTo>
                  <a:lnTo>
                    <a:pt x="143" y="1038"/>
                  </a:lnTo>
                  <a:lnTo>
                    <a:pt x="151" y="1038"/>
                  </a:lnTo>
                  <a:lnTo>
                    <a:pt x="158" y="1037"/>
                  </a:lnTo>
                  <a:lnTo>
                    <a:pt x="166" y="1035"/>
                  </a:lnTo>
                  <a:lnTo>
                    <a:pt x="172" y="1033"/>
                  </a:lnTo>
                  <a:lnTo>
                    <a:pt x="185" y="1028"/>
                  </a:lnTo>
                  <a:lnTo>
                    <a:pt x="198" y="1022"/>
                  </a:lnTo>
                  <a:lnTo>
                    <a:pt x="204" y="1020"/>
                  </a:lnTo>
                  <a:lnTo>
                    <a:pt x="210" y="1018"/>
                  </a:lnTo>
                  <a:lnTo>
                    <a:pt x="218" y="1017"/>
                  </a:lnTo>
                  <a:lnTo>
                    <a:pt x="225" y="1017"/>
                  </a:lnTo>
                  <a:lnTo>
                    <a:pt x="233" y="1017"/>
                  </a:lnTo>
                  <a:lnTo>
                    <a:pt x="242" y="1018"/>
                  </a:lnTo>
                  <a:lnTo>
                    <a:pt x="251" y="1020"/>
                  </a:lnTo>
                  <a:lnTo>
                    <a:pt x="260" y="1025"/>
                  </a:lnTo>
                  <a:lnTo>
                    <a:pt x="274" y="1029"/>
                  </a:lnTo>
                  <a:lnTo>
                    <a:pt x="289" y="1032"/>
                  </a:lnTo>
                  <a:lnTo>
                    <a:pt x="303" y="1033"/>
                  </a:lnTo>
                  <a:lnTo>
                    <a:pt x="319" y="1034"/>
                  </a:lnTo>
                  <a:lnTo>
                    <a:pt x="334" y="1034"/>
                  </a:lnTo>
                  <a:lnTo>
                    <a:pt x="350" y="1035"/>
                  </a:lnTo>
                  <a:lnTo>
                    <a:pt x="365" y="1036"/>
                  </a:lnTo>
                  <a:lnTo>
                    <a:pt x="378" y="1039"/>
                  </a:lnTo>
                  <a:lnTo>
                    <a:pt x="379" y="1043"/>
                  </a:lnTo>
                  <a:lnTo>
                    <a:pt x="380" y="1049"/>
                  </a:lnTo>
                  <a:lnTo>
                    <a:pt x="379" y="1055"/>
                  </a:lnTo>
                  <a:lnTo>
                    <a:pt x="378" y="1061"/>
                  </a:lnTo>
                  <a:lnTo>
                    <a:pt x="375" y="1077"/>
                  </a:lnTo>
                  <a:lnTo>
                    <a:pt x="372" y="1093"/>
                  </a:lnTo>
                  <a:lnTo>
                    <a:pt x="368" y="1109"/>
                  </a:lnTo>
                  <a:lnTo>
                    <a:pt x="366" y="1123"/>
                  </a:lnTo>
                  <a:lnTo>
                    <a:pt x="365" y="1128"/>
                  </a:lnTo>
                  <a:lnTo>
                    <a:pt x="366" y="1132"/>
                  </a:lnTo>
                  <a:lnTo>
                    <a:pt x="367" y="1135"/>
                  </a:lnTo>
                  <a:lnTo>
                    <a:pt x="369" y="1136"/>
                  </a:lnTo>
                  <a:lnTo>
                    <a:pt x="373" y="1139"/>
                  </a:lnTo>
                  <a:lnTo>
                    <a:pt x="381" y="1141"/>
                  </a:lnTo>
                  <a:lnTo>
                    <a:pt x="393" y="1142"/>
                  </a:lnTo>
                  <a:lnTo>
                    <a:pt x="407" y="1144"/>
                  </a:lnTo>
                  <a:lnTo>
                    <a:pt x="435" y="1146"/>
                  </a:lnTo>
                  <a:lnTo>
                    <a:pt x="451" y="1147"/>
                  </a:lnTo>
                  <a:lnTo>
                    <a:pt x="483" y="1150"/>
                  </a:lnTo>
                  <a:lnTo>
                    <a:pt x="528" y="1157"/>
                  </a:lnTo>
                  <a:lnTo>
                    <a:pt x="540" y="1160"/>
                  </a:lnTo>
                  <a:lnTo>
                    <a:pt x="551" y="1163"/>
                  </a:lnTo>
                  <a:lnTo>
                    <a:pt x="562" y="1166"/>
                  </a:lnTo>
                  <a:lnTo>
                    <a:pt x="570" y="1170"/>
                  </a:lnTo>
                  <a:lnTo>
                    <a:pt x="578" y="1174"/>
                  </a:lnTo>
                  <a:lnTo>
                    <a:pt x="584" y="1178"/>
                  </a:lnTo>
                  <a:lnTo>
                    <a:pt x="586" y="1181"/>
                  </a:lnTo>
                  <a:lnTo>
                    <a:pt x="588" y="1183"/>
                  </a:lnTo>
                  <a:lnTo>
                    <a:pt x="589" y="1185"/>
                  </a:lnTo>
                  <a:lnTo>
                    <a:pt x="589" y="1188"/>
                  </a:lnTo>
                  <a:lnTo>
                    <a:pt x="589" y="1203"/>
                  </a:lnTo>
                  <a:lnTo>
                    <a:pt x="588" y="1217"/>
                  </a:lnTo>
                  <a:lnTo>
                    <a:pt x="586" y="1230"/>
                  </a:lnTo>
                  <a:lnTo>
                    <a:pt x="584" y="1243"/>
                  </a:lnTo>
                  <a:lnTo>
                    <a:pt x="578" y="1265"/>
                  </a:lnTo>
                  <a:lnTo>
                    <a:pt x="576" y="1283"/>
                  </a:lnTo>
                  <a:lnTo>
                    <a:pt x="576" y="1292"/>
                  </a:lnTo>
                  <a:lnTo>
                    <a:pt x="578" y="1298"/>
                  </a:lnTo>
                  <a:lnTo>
                    <a:pt x="579" y="1301"/>
                  </a:lnTo>
                  <a:lnTo>
                    <a:pt x="583" y="1304"/>
                  </a:lnTo>
                  <a:lnTo>
                    <a:pt x="585" y="1307"/>
                  </a:lnTo>
                  <a:lnTo>
                    <a:pt x="588" y="1309"/>
                  </a:lnTo>
                  <a:lnTo>
                    <a:pt x="597" y="1314"/>
                  </a:lnTo>
                  <a:lnTo>
                    <a:pt x="609" y="1317"/>
                  </a:lnTo>
                  <a:lnTo>
                    <a:pt x="623" y="1319"/>
                  </a:lnTo>
                  <a:lnTo>
                    <a:pt x="642" y="1321"/>
                  </a:lnTo>
                  <a:lnTo>
                    <a:pt x="661" y="1322"/>
                  </a:lnTo>
                  <a:lnTo>
                    <a:pt x="676" y="1324"/>
                  </a:lnTo>
                  <a:lnTo>
                    <a:pt x="688" y="1328"/>
                  </a:lnTo>
                  <a:lnTo>
                    <a:pt x="697" y="1332"/>
                  </a:lnTo>
                  <a:lnTo>
                    <a:pt x="701" y="1335"/>
                  </a:lnTo>
                  <a:lnTo>
                    <a:pt x="705" y="1339"/>
                  </a:lnTo>
                  <a:lnTo>
                    <a:pt x="707" y="1342"/>
                  </a:lnTo>
                  <a:lnTo>
                    <a:pt x="709" y="1345"/>
                  </a:lnTo>
                  <a:lnTo>
                    <a:pt x="712" y="1353"/>
                  </a:lnTo>
                  <a:lnTo>
                    <a:pt x="713" y="1362"/>
                  </a:lnTo>
                  <a:lnTo>
                    <a:pt x="713" y="1371"/>
                  </a:lnTo>
                  <a:lnTo>
                    <a:pt x="712" y="1380"/>
                  </a:lnTo>
                  <a:lnTo>
                    <a:pt x="710" y="1391"/>
                  </a:lnTo>
                  <a:lnTo>
                    <a:pt x="708" y="1402"/>
                  </a:lnTo>
                  <a:lnTo>
                    <a:pt x="706" y="1415"/>
                  </a:lnTo>
                  <a:lnTo>
                    <a:pt x="704" y="1426"/>
                  </a:lnTo>
                  <a:lnTo>
                    <a:pt x="703" y="1440"/>
                  </a:lnTo>
                  <a:lnTo>
                    <a:pt x="701" y="1452"/>
                  </a:lnTo>
                  <a:lnTo>
                    <a:pt x="701" y="1472"/>
                  </a:lnTo>
                  <a:lnTo>
                    <a:pt x="703" y="1499"/>
                  </a:lnTo>
                  <a:lnTo>
                    <a:pt x="704" y="1514"/>
                  </a:lnTo>
                  <a:lnTo>
                    <a:pt x="706" y="1525"/>
                  </a:lnTo>
                  <a:lnTo>
                    <a:pt x="708" y="1536"/>
                  </a:lnTo>
                  <a:lnTo>
                    <a:pt x="711" y="1542"/>
                  </a:lnTo>
                  <a:lnTo>
                    <a:pt x="719" y="1542"/>
                  </a:lnTo>
                  <a:lnTo>
                    <a:pt x="727" y="1540"/>
                  </a:lnTo>
                  <a:lnTo>
                    <a:pt x="735" y="1538"/>
                  </a:lnTo>
                  <a:lnTo>
                    <a:pt x="742" y="1535"/>
                  </a:lnTo>
                  <a:lnTo>
                    <a:pt x="759" y="1527"/>
                  </a:lnTo>
                  <a:lnTo>
                    <a:pt x="776" y="1518"/>
                  </a:lnTo>
                  <a:lnTo>
                    <a:pt x="792" y="1510"/>
                  </a:lnTo>
                  <a:lnTo>
                    <a:pt x="809" y="1501"/>
                  </a:lnTo>
                  <a:lnTo>
                    <a:pt x="817" y="1499"/>
                  </a:lnTo>
                  <a:lnTo>
                    <a:pt x="826" y="1496"/>
                  </a:lnTo>
                  <a:lnTo>
                    <a:pt x="834" y="1495"/>
                  </a:lnTo>
                  <a:lnTo>
                    <a:pt x="843" y="1494"/>
                  </a:lnTo>
                  <a:lnTo>
                    <a:pt x="859" y="1513"/>
                  </a:lnTo>
                  <a:lnTo>
                    <a:pt x="876" y="1534"/>
                  </a:lnTo>
                  <a:lnTo>
                    <a:pt x="885" y="1543"/>
                  </a:lnTo>
                  <a:lnTo>
                    <a:pt x="895" y="1550"/>
                  </a:lnTo>
                  <a:lnTo>
                    <a:pt x="901" y="1552"/>
                  </a:lnTo>
                  <a:lnTo>
                    <a:pt x="907" y="1555"/>
                  </a:lnTo>
                  <a:lnTo>
                    <a:pt x="913" y="1557"/>
                  </a:lnTo>
                  <a:lnTo>
                    <a:pt x="920" y="1557"/>
                  </a:lnTo>
                  <a:lnTo>
                    <a:pt x="943" y="1554"/>
                  </a:lnTo>
                  <a:lnTo>
                    <a:pt x="983" y="1545"/>
                  </a:lnTo>
                  <a:lnTo>
                    <a:pt x="1004" y="1540"/>
                  </a:lnTo>
                  <a:lnTo>
                    <a:pt x="1022" y="1536"/>
                  </a:lnTo>
                  <a:lnTo>
                    <a:pt x="1034" y="1533"/>
                  </a:lnTo>
                  <a:lnTo>
                    <a:pt x="1040" y="1530"/>
                  </a:lnTo>
                  <a:lnTo>
                    <a:pt x="1041" y="1531"/>
                  </a:lnTo>
                  <a:lnTo>
                    <a:pt x="1043" y="1533"/>
                  </a:lnTo>
                  <a:lnTo>
                    <a:pt x="1045" y="1535"/>
                  </a:lnTo>
                  <a:lnTo>
                    <a:pt x="1045" y="1539"/>
                  </a:lnTo>
                  <a:lnTo>
                    <a:pt x="1046" y="1549"/>
                  </a:lnTo>
                  <a:lnTo>
                    <a:pt x="1046" y="1562"/>
                  </a:lnTo>
                  <a:lnTo>
                    <a:pt x="1046" y="1586"/>
                  </a:lnTo>
                  <a:lnTo>
                    <a:pt x="1045" y="1600"/>
                  </a:lnTo>
                  <a:lnTo>
                    <a:pt x="1051" y="1606"/>
                  </a:lnTo>
                  <a:lnTo>
                    <a:pt x="1057" y="1610"/>
                  </a:lnTo>
                  <a:lnTo>
                    <a:pt x="1062" y="1615"/>
                  </a:lnTo>
                  <a:lnTo>
                    <a:pt x="1066" y="1621"/>
                  </a:lnTo>
                  <a:lnTo>
                    <a:pt x="1071" y="1628"/>
                  </a:lnTo>
                  <a:lnTo>
                    <a:pt x="1075" y="1633"/>
                  </a:lnTo>
                  <a:lnTo>
                    <a:pt x="1077" y="1639"/>
                  </a:lnTo>
                  <a:lnTo>
                    <a:pt x="1079" y="1645"/>
                  </a:lnTo>
                  <a:lnTo>
                    <a:pt x="1080" y="1652"/>
                  </a:lnTo>
                  <a:lnTo>
                    <a:pt x="1080" y="1658"/>
                  </a:lnTo>
                  <a:lnTo>
                    <a:pt x="1079" y="1664"/>
                  </a:lnTo>
                  <a:lnTo>
                    <a:pt x="1077" y="1670"/>
                  </a:lnTo>
                  <a:lnTo>
                    <a:pt x="1074" y="1677"/>
                  </a:lnTo>
                  <a:lnTo>
                    <a:pt x="1068" y="1682"/>
                  </a:lnTo>
                  <a:lnTo>
                    <a:pt x="1062" y="1687"/>
                  </a:lnTo>
                  <a:lnTo>
                    <a:pt x="1054" y="1691"/>
                  </a:lnTo>
                  <a:lnTo>
                    <a:pt x="1043" y="1697"/>
                  </a:lnTo>
                  <a:lnTo>
                    <a:pt x="1035" y="1705"/>
                  </a:lnTo>
                  <a:lnTo>
                    <a:pt x="1032" y="1709"/>
                  </a:lnTo>
                  <a:lnTo>
                    <a:pt x="1029" y="1712"/>
                  </a:lnTo>
                  <a:lnTo>
                    <a:pt x="1027" y="1716"/>
                  </a:lnTo>
                  <a:lnTo>
                    <a:pt x="1026" y="1720"/>
                  </a:lnTo>
                  <a:lnTo>
                    <a:pt x="1025" y="1726"/>
                  </a:lnTo>
                  <a:lnTo>
                    <a:pt x="1025" y="1730"/>
                  </a:lnTo>
                  <a:lnTo>
                    <a:pt x="1026" y="1734"/>
                  </a:lnTo>
                  <a:lnTo>
                    <a:pt x="1027" y="1739"/>
                  </a:lnTo>
                  <a:lnTo>
                    <a:pt x="1030" y="1743"/>
                  </a:lnTo>
                  <a:lnTo>
                    <a:pt x="1033" y="1749"/>
                  </a:lnTo>
                  <a:lnTo>
                    <a:pt x="1037" y="1753"/>
                  </a:lnTo>
                  <a:lnTo>
                    <a:pt x="1042" y="1758"/>
                  </a:lnTo>
                  <a:lnTo>
                    <a:pt x="1056" y="1770"/>
                  </a:lnTo>
                  <a:lnTo>
                    <a:pt x="1065" y="1781"/>
                  </a:lnTo>
                  <a:lnTo>
                    <a:pt x="1073" y="1790"/>
                  </a:lnTo>
                  <a:lnTo>
                    <a:pt x="1076" y="1798"/>
                  </a:lnTo>
                  <a:lnTo>
                    <a:pt x="1077" y="1805"/>
                  </a:lnTo>
                  <a:lnTo>
                    <a:pt x="1077" y="1810"/>
                  </a:lnTo>
                  <a:lnTo>
                    <a:pt x="1074" y="1815"/>
                  </a:lnTo>
                  <a:lnTo>
                    <a:pt x="1071" y="1821"/>
                  </a:lnTo>
                  <a:lnTo>
                    <a:pt x="1060" y="1830"/>
                  </a:lnTo>
                  <a:lnTo>
                    <a:pt x="1051" y="1840"/>
                  </a:lnTo>
                  <a:lnTo>
                    <a:pt x="1047" y="1847"/>
                  </a:lnTo>
                  <a:lnTo>
                    <a:pt x="1043" y="1854"/>
                  </a:lnTo>
                  <a:lnTo>
                    <a:pt x="1042" y="1862"/>
                  </a:lnTo>
                  <a:lnTo>
                    <a:pt x="1042" y="1872"/>
                  </a:lnTo>
                  <a:lnTo>
                    <a:pt x="1047" y="1886"/>
                  </a:lnTo>
                  <a:lnTo>
                    <a:pt x="1051" y="1901"/>
                  </a:lnTo>
                  <a:lnTo>
                    <a:pt x="1053" y="1908"/>
                  </a:lnTo>
                  <a:lnTo>
                    <a:pt x="1054" y="1916"/>
                  </a:lnTo>
                  <a:lnTo>
                    <a:pt x="1054" y="1923"/>
                  </a:lnTo>
                  <a:lnTo>
                    <a:pt x="1052" y="1931"/>
                  </a:lnTo>
                  <a:lnTo>
                    <a:pt x="1046" y="1951"/>
                  </a:lnTo>
                  <a:lnTo>
                    <a:pt x="1037" y="1969"/>
                  </a:lnTo>
                  <a:lnTo>
                    <a:pt x="1034" y="1977"/>
                  </a:lnTo>
                  <a:lnTo>
                    <a:pt x="1031" y="1986"/>
                  </a:lnTo>
                  <a:lnTo>
                    <a:pt x="1030" y="1997"/>
                  </a:lnTo>
                  <a:lnTo>
                    <a:pt x="1030" y="2009"/>
                  </a:lnTo>
                  <a:lnTo>
                    <a:pt x="1071" y="2133"/>
                  </a:lnTo>
                  <a:lnTo>
                    <a:pt x="1071" y="2133"/>
                  </a:lnTo>
                  <a:lnTo>
                    <a:pt x="1076" y="2135"/>
                  </a:lnTo>
                  <a:lnTo>
                    <a:pt x="1082" y="2138"/>
                  </a:lnTo>
                  <a:lnTo>
                    <a:pt x="1088" y="2142"/>
                  </a:lnTo>
                  <a:lnTo>
                    <a:pt x="1095" y="2146"/>
                  </a:lnTo>
                  <a:lnTo>
                    <a:pt x="1101" y="2149"/>
                  </a:lnTo>
                  <a:lnTo>
                    <a:pt x="1107" y="2152"/>
                  </a:lnTo>
                  <a:lnTo>
                    <a:pt x="1110" y="2153"/>
                  </a:lnTo>
                  <a:lnTo>
                    <a:pt x="1112" y="2153"/>
                  </a:lnTo>
                  <a:lnTo>
                    <a:pt x="1115" y="2153"/>
                  </a:lnTo>
                  <a:lnTo>
                    <a:pt x="1119" y="2153"/>
                  </a:lnTo>
                  <a:lnTo>
                    <a:pt x="1125" y="2149"/>
                  </a:lnTo>
                  <a:lnTo>
                    <a:pt x="1129" y="2145"/>
                  </a:lnTo>
                  <a:lnTo>
                    <a:pt x="1131" y="2141"/>
                  </a:lnTo>
                  <a:lnTo>
                    <a:pt x="1132" y="2137"/>
                  </a:lnTo>
                  <a:lnTo>
                    <a:pt x="1132" y="2131"/>
                  </a:lnTo>
                  <a:lnTo>
                    <a:pt x="1133" y="2126"/>
                  </a:lnTo>
                  <a:lnTo>
                    <a:pt x="1134" y="2122"/>
                  </a:lnTo>
                  <a:lnTo>
                    <a:pt x="1136" y="2117"/>
                  </a:lnTo>
                  <a:lnTo>
                    <a:pt x="1148" y="2119"/>
                  </a:lnTo>
                  <a:lnTo>
                    <a:pt x="1160" y="2123"/>
                  </a:lnTo>
                  <a:lnTo>
                    <a:pt x="1173" y="2127"/>
                  </a:lnTo>
                  <a:lnTo>
                    <a:pt x="1182" y="2131"/>
                  </a:lnTo>
                  <a:lnTo>
                    <a:pt x="1183" y="2145"/>
                  </a:lnTo>
                  <a:lnTo>
                    <a:pt x="1186" y="2162"/>
                  </a:lnTo>
                  <a:lnTo>
                    <a:pt x="1190" y="2182"/>
                  </a:lnTo>
                  <a:lnTo>
                    <a:pt x="1198" y="2200"/>
                  </a:lnTo>
                  <a:lnTo>
                    <a:pt x="1202" y="2209"/>
                  </a:lnTo>
                  <a:lnTo>
                    <a:pt x="1206" y="2216"/>
                  </a:lnTo>
                  <a:lnTo>
                    <a:pt x="1211" y="2223"/>
                  </a:lnTo>
                  <a:lnTo>
                    <a:pt x="1217" y="2228"/>
                  </a:lnTo>
                  <a:lnTo>
                    <a:pt x="1223" y="2233"/>
                  </a:lnTo>
                  <a:lnTo>
                    <a:pt x="1230" y="2235"/>
                  </a:lnTo>
                  <a:lnTo>
                    <a:pt x="1233" y="2235"/>
                  </a:lnTo>
                  <a:lnTo>
                    <a:pt x="1237" y="2235"/>
                  </a:lnTo>
                  <a:lnTo>
                    <a:pt x="1241" y="2234"/>
                  </a:lnTo>
                  <a:lnTo>
                    <a:pt x="1245" y="2233"/>
                  </a:lnTo>
                  <a:lnTo>
                    <a:pt x="1258" y="2225"/>
                  </a:lnTo>
                  <a:lnTo>
                    <a:pt x="1270" y="2219"/>
                  </a:lnTo>
                  <a:lnTo>
                    <a:pt x="1275" y="2216"/>
                  </a:lnTo>
                  <a:lnTo>
                    <a:pt x="1281" y="2215"/>
                  </a:lnTo>
                  <a:lnTo>
                    <a:pt x="1288" y="2214"/>
                  </a:lnTo>
                  <a:lnTo>
                    <a:pt x="1297" y="2216"/>
                  </a:lnTo>
                  <a:lnTo>
                    <a:pt x="1323" y="2221"/>
                  </a:lnTo>
                  <a:lnTo>
                    <a:pt x="1348" y="2224"/>
                  </a:lnTo>
                  <a:lnTo>
                    <a:pt x="1373" y="2227"/>
                  </a:lnTo>
                  <a:lnTo>
                    <a:pt x="1398" y="2228"/>
                  </a:lnTo>
                  <a:lnTo>
                    <a:pt x="1423" y="2228"/>
                  </a:lnTo>
                  <a:lnTo>
                    <a:pt x="1448" y="2228"/>
                  </a:lnTo>
                  <a:lnTo>
                    <a:pt x="1474" y="2227"/>
                  </a:lnTo>
                  <a:lnTo>
                    <a:pt x="1501" y="2227"/>
                  </a:lnTo>
                  <a:lnTo>
                    <a:pt x="1529" y="2226"/>
                  </a:lnTo>
                  <a:lnTo>
                    <a:pt x="1559" y="2222"/>
                  </a:lnTo>
                  <a:lnTo>
                    <a:pt x="1572" y="2220"/>
                  </a:lnTo>
                  <a:lnTo>
                    <a:pt x="1587" y="2219"/>
                  </a:lnTo>
                  <a:lnTo>
                    <a:pt x="1601" y="2219"/>
                  </a:lnTo>
                  <a:lnTo>
                    <a:pt x="1616" y="2219"/>
                  </a:lnTo>
                  <a:lnTo>
                    <a:pt x="1630" y="2221"/>
                  </a:lnTo>
                  <a:lnTo>
                    <a:pt x="1645" y="2223"/>
                  </a:lnTo>
                  <a:lnTo>
                    <a:pt x="1660" y="2226"/>
                  </a:lnTo>
                  <a:lnTo>
                    <a:pt x="1674" y="2231"/>
                  </a:lnTo>
                  <a:lnTo>
                    <a:pt x="1689" y="2235"/>
                  </a:lnTo>
                  <a:lnTo>
                    <a:pt x="1703" y="2238"/>
                  </a:lnTo>
                  <a:lnTo>
                    <a:pt x="1718" y="2241"/>
                  </a:lnTo>
                  <a:lnTo>
                    <a:pt x="1733" y="2243"/>
                  </a:lnTo>
                  <a:lnTo>
                    <a:pt x="1740" y="2245"/>
                  </a:lnTo>
                  <a:lnTo>
                    <a:pt x="1747" y="2247"/>
                  </a:lnTo>
                  <a:lnTo>
                    <a:pt x="1757" y="2248"/>
                  </a:lnTo>
                  <a:lnTo>
                    <a:pt x="1766" y="2249"/>
                  </a:lnTo>
                  <a:lnTo>
                    <a:pt x="1786" y="2251"/>
                  </a:lnTo>
                  <a:lnTo>
                    <a:pt x="1801" y="2251"/>
                  </a:lnTo>
                  <a:lnTo>
                    <a:pt x="1811" y="2250"/>
                  </a:lnTo>
                  <a:lnTo>
                    <a:pt x="1819" y="2248"/>
                  </a:lnTo>
                  <a:lnTo>
                    <a:pt x="1825" y="2245"/>
                  </a:lnTo>
                  <a:lnTo>
                    <a:pt x="1834" y="2241"/>
                  </a:lnTo>
                  <a:lnTo>
                    <a:pt x="1841" y="2228"/>
                  </a:lnTo>
                  <a:lnTo>
                    <a:pt x="1848" y="2215"/>
                  </a:lnTo>
                  <a:lnTo>
                    <a:pt x="1852" y="2208"/>
                  </a:lnTo>
                  <a:lnTo>
                    <a:pt x="1855" y="2201"/>
                  </a:lnTo>
                  <a:lnTo>
                    <a:pt x="1857" y="2194"/>
                  </a:lnTo>
                  <a:lnTo>
                    <a:pt x="1858" y="2187"/>
                  </a:lnTo>
                  <a:lnTo>
                    <a:pt x="1866" y="2177"/>
                  </a:lnTo>
                  <a:lnTo>
                    <a:pt x="1876" y="2171"/>
                  </a:lnTo>
                  <a:lnTo>
                    <a:pt x="1880" y="2168"/>
                  </a:lnTo>
                  <a:lnTo>
                    <a:pt x="1885" y="2166"/>
                  </a:lnTo>
                  <a:lnTo>
                    <a:pt x="1891" y="2164"/>
                  </a:lnTo>
                  <a:lnTo>
                    <a:pt x="1897" y="2163"/>
                  </a:lnTo>
                  <a:lnTo>
                    <a:pt x="1911" y="2163"/>
                  </a:lnTo>
                  <a:lnTo>
                    <a:pt x="1923" y="2163"/>
                  </a:lnTo>
                  <a:lnTo>
                    <a:pt x="1930" y="2163"/>
                  </a:lnTo>
                  <a:lnTo>
                    <a:pt x="1936" y="2163"/>
                  </a:lnTo>
                  <a:lnTo>
                    <a:pt x="1942" y="2162"/>
                  </a:lnTo>
                  <a:lnTo>
                    <a:pt x="1950" y="2161"/>
                  </a:lnTo>
                  <a:lnTo>
                    <a:pt x="1950" y="2161"/>
                  </a:lnTo>
                  <a:lnTo>
                    <a:pt x="1951" y="2152"/>
                  </a:lnTo>
                  <a:lnTo>
                    <a:pt x="1952" y="2144"/>
                  </a:lnTo>
                  <a:lnTo>
                    <a:pt x="1953" y="2136"/>
                  </a:lnTo>
                  <a:lnTo>
                    <a:pt x="1952" y="2128"/>
                  </a:lnTo>
                  <a:lnTo>
                    <a:pt x="1951" y="2121"/>
                  </a:lnTo>
                  <a:lnTo>
                    <a:pt x="1947" y="2115"/>
                  </a:lnTo>
                  <a:lnTo>
                    <a:pt x="1943" y="2107"/>
                  </a:lnTo>
                  <a:lnTo>
                    <a:pt x="1937" y="2102"/>
                  </a:lnTo>
                  <a:lnTo>
                    <a:pt x="1932" y="2099"/>
                  </a:lnTo>
                  <a:lnTo>
                    <a:pt x="1928" y="2098"/>
                  </a:lnTo>
                  <a:lnTo>
                    <a:pt x="1923" y="2098"/>
                  </a:lnTo>
                  <a:lnTo>
                    <a:pt x="1919" y="2099"/>
                  </a:lnTo>
                  <a:lnTo>
                    <a:pt x="1915" y="2098"/>
                  </a:lnTo>
                  <a:lnTo>
                    <a:pt x="1911" y="2097"/>
                  </a:lnTo>
                  <a:lnTo>
                    <a:pt x="1907" y="2093"/>
                  </a:lnTo>
                  <a:lnTo>
                    <a:pt x="1903" y="2085"/>
                  </a:lnTo>
                  <a:lnTo>
                    <a:pt x="1901" y="2081"/>
                  </a:lnTo>
                  <a:lnTo>
                    <a:pt x="1898" y="2079"/>
                  </a:lnTo>
                  <a:lnTo>
                    <a:pt x="1896" y="2077"/>
                  </a:lnTo>
                  <a:lnTo>
                    <a:pt x="1893" y="2077"/>
                  </a:lnTo>
                  <a:lnTo>
                    <a:pt x="1886" y="2078"/>
                  </a:lnTo>
                  <a:lnTo>
                    <a:pt x="1879" y="2081"/>
                  </a:lnTo>
                  <a:lnTo>
                    <a:pt x="1870" y="2086"/>
                  </a:lnTo>
                  <a:lnTo>
                    <a:pt x="1862" y="2089"/>
                  </a:lnTo>
                  <a:lnTo>
                    <a:pt x="1855" y="2093"/>
                  </a:lnTo>
                  <a:lnTo>
                    <a:pt x="1847" y="2094"/>
                  </a:lnTo>
                  <a:lnTo>
                    <a:pt x="1832" y="2094"/>
                  </a:lnTo>
                  <a:lnTo>
                    <a:pt x="1812" y="2091"/>
                  </a:lnTo>
                  <a:lnTo>
                    <a:pt x="1803" y="2089"/>
                  </a:lnTo>
                  <a:lnTo>
                    <a:pt x="1793" y="2087"/>
                  </a:lnTo>
                  <a:lnTo>
                    <a:pt x="1786" y="2083"/>
                  </a:lnTo>
                  <a:lnTo>
                    <a:pt x="1780" y="2080"/>
                  </a:lnTo>
                  <a:lnTo>
                    <a:pt x="1783" y="2076"/>
                  </a:lnTo>
                  <a:lnTo>
                    <a:pt x="1789" y="2069"/>
                  </a:lnTo>
                  <a:lnTo>
                    <a:pt x="1799" y="2061"/>
                  </a:lnTo>
                  <a:lnTo>
                    <a:pt x="1812" y="2051"/>
                  </a:lnTo>
                  <a:lnTo>
                    <a:pt x="1823" y="2043"/>
                  </a:lnTo>
                  <a:lnTo>
                    <a:pt x="1836" y="2034"/>
                  </a:lnTo>
                  <a:lnTo>
                    <a:pt x="1845" y="2029"/>
                  </a:lnTo>
                  <a:lnTo>
                    <a:pt x="1852" y="2026"/>
                  </a:lnTo>
                  <a:lnTo>
                    <a:pt x="1862" y="2023"/>
                  </a:lnTo>
                  <a:lnTo>
                    <a:pt x="1872" y="2022"/>
                  </a:lnTo>
                  <a:lnTo>
                    <a:pt x="1883" y="2022"/>
                  </a:lnTo>
                  <a:lnTo>
                    <a:pt x="1892" y="2023"/>
                  </a:lnTo>
                  <a:lnTo>
                    <a:pt x="1903" y="2024"/>
                  </a:lnTo>
                  <a:lnTo>
                    <a:pt x="1913" y="2024"/>
                  </a:lnTo>
                  <a:lnTo>
                    <a:pt x="1923" y="2023"/>
                  </a:lnTo>
                  <a:lnTo>
                    <a:pt x="1935" y="2022"/>
                  </a:lnTo>
                  <a:lnTo>
                    <a:pt x="1960" y="2016"/>
                  </a:lnTo>
                  <a:lnTo>
                    <a:pt x="1983" y="2011"/>
                  </a:lnTo>
                  <a:lnTo>
                    <a:pt x="2006" y="2008"/>
                  </a:lnTo>
                  <a:lnTo>
                    <a:pt x="2029" y="2006"/>
                  </a:lnTo>
                  <a:lnTo>
                    <a:pt x="2051" y="2005"/>
                  </a:lnTo>
                  <a:lnTo>
                    <a:pt x="2074" y="2006"/>
                  </a:lnTo>
                  <a:lnTo>
                    <a:pt x="2097" y="2010"/>
                  </a:lnTo>
                  <a:lnTo>
                    <a:pt x="2122" y="2016"/>
                  </a:lnTo>
                  <a:lnTo>
                    <a:pt x="2129" y="2018"/>
                  </a:lnTo>
                  <a:lnTo>
                    <a:pt x="2134" y="2020"/>
                  </a:lnTo>
                  <a:lnTo>
                    <a:pt x="2139" y="2023"/>
                  </a:lnTo>
                  <a:lnTo>
                    <a:pt x="2143" y="2025"/>
                  </a:lnTo>
                  <a:lnTo>
                    <a:pt x="2147" y="2028"/>
                  </a:lnTo>
                  <a:lnTo>
                    <a:pt x="2149" y="2031"/>
                  </a:lnTo>
                  <a:lnTo>
                    <a:pt x="2151" y="2034"/>
                  </a:lnTo>
                  <a:lnTo>
                    <a:pt x="2152" y="2039"/>
                  </a:lnTo>
                  <a:lnTo>
                    <a:pt x="2155" y="2056"/>
                  </a:lnTo>
                  <a:lnTo>
                    <a:pt x="2158" y="2080"/>
                  </a:lnTo>
                  <a:lnTo>
                    <a:pt x="2160" y="2090"/>
                  </a:lnTo>
                  <a:lnTo>
                    <a:pt x="2164" y="2099"/>
                  </a:lnTo>
                  <a:lnTo>
                    <a:pt x="2168" y="2109"/>
                  </a:lnTo>
                  <a:lnTo>
                    <a:pt x="2174" y="2118"/>
                  </a:lnTo>
                  <a:lnTo>
                    <a:pt x="2180" y="2127"/>
                  </a:lnTo>
                  <a:lnTo>
                    <a:pt x="2187" y="2136"/>
                  </a:lnTo>
                  <a:lnTo>
                    <a:pt x="2195" y="2144"/>
                  </a:lnTo>
                  <a:lnTo>
                    <a:pt x="2203" y="2150"/>
                  </a:lnTo>
                  <a:lnTo>
                    <a:pt x="2211" y="2157"/>
                  </a:lnTo>
                  <a:lnTo>
                    <a:pt x="2220" y="2162"/>
                  </a:lnTo>
                  <a:lnTo>
                    <a:pt x="2229" y="2165"/>
                  </a:lnTo>
                  <a:lnTo>
                    <a:pt x="2239" y="2166"/>
                  </a:lnTo>
                  <a:lnTo>
                    <a:pt x="2249" y="2166"/>
                  </a:lnTo>
                  <a:lnTo>
                    <a:pt x="2259" y="2164"/>
                  </a:lnTo>
                  <a:lnTo>
                    <a:pt x="2263" y="2162"/>
                  </a:lnTo>
                  <a:lnTo>
                    <a:pt x="2269" y="2160"/>
                  </a:lnTo>
                  <a:lnTo>
                    <a:pt x="2274" y="2157"/>
                  </a:lnTo>
                  <a:lnTo>
                    <a:pt x="2279" y="2153"/>
                  </a:lnTo>
                  <a:lnTo>
                    <a:pt x="2285" y="2146"/>
                  </a:lnTo>
                  <a:lnTo>
                    <a:pt x="2290" y="2138"/>
                  </a:lnTo>
                  <a:lnTo>
                    <a:pt x="2296" y="2127"/>
                  </a:lnTo>
                  <a:lnTo>
                    <a:pt x="2299" y="2117"/>
                  </a:lnTo>
                  <a:lnTo>
                    <a:pt x="2301" y="2104"/>
                  </a:lnTo>
                  <a:lnTo>
                    <a:pt x="2303" y="2092"/>
                  </a:lnTo>
                  <a:lnTo>
                    <a:pt x="2304" y="2078"/>
                  </a:lnTo>
                  <a:lnTo>
                    <a:pt x="2305" y="2065"/>
                  </a:lnTo>
                  <a:lnTo>
                    <a:pt x="2304" y="2037"/>
                  </a:lnTo>
                  <a:lnTo>
                    <a:pt x="2303" y="2009"/>
                  </a:lnTo>
                  <a:lnTo>
                    <a:pt x="2301" y="1984"/>
                  </a:lnTo>
                  <a:lnTo>
                    <a:pt x="2301" y="1963"/>
                  </a:lnTo>
                  <a:lnTo>
                    <a:pt x="2301" y="1931"/>
                  </a:lnTo>
                  <a:lnTo>
                    <a:pt x="2301" y="1898"/>
                  </a:lnTo>
                  <a:lnTo>
                    <a:pt x="2301" y="1882"/>
                  </a:lnTo>
                  <a:lnTo>
                    <a:pt x="2302" y="1865"/>
                  </a:lnTo>
                  <a:lnTo>
                    <a:pt x="2304" y="1850"/>
                  </a:lnTo>
                  <a:lnTo>
                    <a:pt x="2306" y="1834"/>
                  </a:lnTo>
                  <a:lnTo>
                    <a:pt x="2321" y="1832"/>
                  </a:lnTo>
                  <a:lnTo>
                    <a:pt x="2346" y="1829"/>
                  </a:lnTo>
                  <a:lnTo>
                    <a:pt x="2378" y="1826"/>
                  </a:lnTo>
                  <a:lnTo>
                    <a:pt x="2415" y="1823"/>
                  </a:lnTo>
                  <a:lnTo>
                    <a:pt x="2449" y="1821"/>
                  </a:lnTo>
                  <a:lnTo>
                    <a:pt x="2480" y="1821"/>
                  </a:lnTo>
                  <a:lnTo>
                    <a:pt x="2492" y="1822"/>
                  </a:lnTo>
                  <a:lnTo>
                    <a:pt x="2501" y="1824"/>
                  </a:lnTo>
                  <a:lnTo>
                    <a:pt x="2505" y="1825"/>
                  </a:lnTo>
                  <a:lnTo>
                    <a:pt x="2508" y="1826"/>
                  </a:lnTo>
                  <a:lnTo>
                    <a:pt x="2509" y="1827"/>
                  </a:lnTo>
                  <a:lnTo>
                    <a:pt x="2510" y="1828"/>
                  </a:lnTo>
                  <a:lnTo>
                    <a:pt x="2515" y="1831"/>
                  </a:lnTo>
                  <a:lnTo>
                    <a:pt x="2518" y="1834"/>
                  </a:lnTo>
                  <a:lnTo>
                    <a:pt x="2521" y="1837"/>
                  </a:lnTo>
                  <a:lnTo>
                    <a:pt x="2523" y="1840"/>
                  </a:lnTo>
                  <a:lnTo>
                    <a:pt x="2526" y="1849"/>
                  </a:lnTo>
                  <a:lnTo>
                    <a:pt x="2527" y="1857"/>
                  </a:lnTo>
                  <a:lnTo>
                    <a:pt x="2527" y="1865"/>
                  </a:lnTo>
                  <a:lnTo>
                    <a:pt x="2526" y="1876"/>
                  </a:lnTo>
                  <a:lnTo>
                    <a:pt x="2524" y="1885"/>
                  </a:lnTo>
                  <a:lnTo>
                    <a:pt x="2521" y="1896"/>
                  </a:lnTo>
                  <a:lnTo>
                    <a:pt x="2505" y="1935"/>
                  </a:lnTo>
                  <a:lnTo>
                    <a:pt x="2493" y="1966"/>
                  </a:lnTo>
                  <a:lnTo>
                    <a:pt x="2489" y="1984"/>
                  </a:lnTo>
                  <a:lnTo>
                    <a:pt x="2488" y="2001"/>
                  </a:lnTo>
                  <a:lnTo>
                    <a:pt x="2488" y="2009"/>
                  </a:lnTo>
                  <a:lnTo>
                    <a:pt x="2489" y="2018"/>
                  </a:lnTo>
                  <a:lnTo>
                    <a:pt x="2490" y="2025"/>
                  </a:lnTo>
                  <a:lnTo>
                    <a:pt x="2492" y="2032"/>
                  </a:lnTo>
                  <a:lnTo>
                    <a:pt x="2495" y="2039"/>
                  </a:lnTo>
                  <a:lnTo>
                    <a:pt x="2499" y="2045"/>
                  </a:lnTo>
                  <a:lnTo>
                    <a:pt x="2503" y="2051"/>
                  </a:lnTo>
                  <a:lnTo>
                    <a:pt x="2509" y="2057"/>
                  </a:lnTo>
                  <a:lnTo>
                    <a:pt x="2516" y="2063"/>
                  </a:lnTo>
                  <a:lnTo>
                    <a:pt x="2523" y="2067"/>
                  </a:lnTo>
                  <a:lnTo>
                    <a:pt x="2531" y="2071"/>
                  </a:lnTo>
                  <a:lnTo>
                    <a:pt x="2540" y="2075"/>
                  </a:lnTo>
                  <a:lnTo>
                    <a:pt x="2570" y="2087"/>
                  </a:lnTo>
                  <a:lnTo>
                    <a:pt x="2598" y="2096"/>
                  </a:lnTo>
                  <a:lnTo>
                    <a:pt x="2611" y="2099"/>
                  </a:lnTo>
                  <a:lnTo>
                    <a:pt x="2623" y="2101"/>
                  </a:lnTo>
                  <a:lnTo>
                    <a:pt x="2635" y="2102"/>
                  </a:lnTo>
                  <a:lnTo>
                    <a:pt x="2646" y="2102"/>
                  </a:lnTo>
                  <a:lnTo>
                    <a:pt x="2657" y="2101"/>
                  </a:lnTo>
                  <a:lnTo>
                    <a:pt x="2668" y="2098"/>
                  </a:lnTo>
                  <a:lnTo>
                    <a:pt x="2678" y="2093"/>
                  </a:lnTo>
                  <a:lnTo>
                    <a:pt x="2689" y="2087"/>
                  </a:lnTo>
                  <a:lnTo>
                    <a:pt x="2698" y="2078"/>
                  </a:lnTo>
                  <a:lnTo>
                    <a:pt x="2709" y="2068"/>
                  </a:lnTo>
                  <a:lnTo>
                    <a:pt x="2718" y="2054"/>
                  </a:lnTo>
                  <a:lnTo>
                    <a:pt x="2728" y="2040"/>
                  </a:lnTo>
                  <a:lnTo>
                    <a:pt x="2733" y="2032"/>
                  </a:lnTo>
                  <a:lnTo>
                    <a:pt x="2740" y="2025"/>
                  </a:lnTo>
                  <a:lnTo>
                    <a:pt x="2749" y="2017"/>
                  </a:lnTo>
                  <a:lnTo>
                    <a:pt x="2761" y="2008"/>
                  </a:lnTo>
                  <a:lnTo>
                    <a:pt x="2772" y="2000"/>
                  </a:lnTo>
                  <a:lnTo>
                    <a:pt x="2786" y="1993"/>
                  </a:lnTo>
                  <a:lnTo>
                    <a:pt x="2799" y="1984"/>
                  </a:lnTo>
                  <a:lnTo>
                    <a:pt x="2814" y="1978"/>
                  </a:lnTo>
                  <a:lnTo>
                    <a:pt x="2827" y="1973"/>
                  </a:lnTo>
                  <a:lnTo>
                    <a:pt x="2841" y="1970"/>
                  </a:lnTo>
                  <a:lnTo>
                    <a:pt x="2847" y="1969"/>
                  </a:lnTo>
                  <a:lnTo>
                    <a:pt x="2854" y="1968"/>
                  </a:lnTo>
                  <a:lnTo>
                    <a:pt x="2860" y="1968"/>
                  </a:lnTo>
                  <a:lnTo>
                    <a:pt x="2865" y="1969"/>
                  </a:lnTo>
                  <a:lnTo>
                    <a:pt x="2870" y="1970"/>
                  </a:lnTo>
                  <a:lnTo>
                    <a:pt x="2875" y="1972"/>
                  </a:lnTo>
                  <a:lnTo>
                    <a:pt x="2880" y="1974"/>
                  </a:lnTo>
                  <a:lnTo>
                    <a:pt x="2884" y="1977"/>
                  </a:lnTo>
                  <a:lnTo>
                    <a:pt x="2887" y="1981"/>
                  </a:lnTo>
                  <a:lnTo>
                    <a:pt x="2889" y="1986"/>
                  </a:lnTo>
                  <a:lnTo>
                    <a:pt x="2891" y="1992"/>
                  </a:lnTo>
                  <a:lnTo>
                    <a:pt x="2893" y="1999"/>
                  </a:lnTo>
                  <a:lnTo>
                    <a:pt x="2918" y="2022"/>
                  </a:lnTo>
                  <a:lnTo>
                    <a:pt x="2939" y="2042"/>
                  </a:lnTo>
                  <a:lnTo>
                    <a:pt x="2944" y="2046"/>
                  </a:lnTo>
                  <a:lnTo>
                    <a:pt x="2950" y="2050"/>
                  </a:lnTo>
                  <a:lnTo>
                    <a:pt x="2958" y="2054"/>
                  </a:lnTo>
                  <a:lnTo>
                    <a:pt x="2965" y="2056"/>
                  </a:lnTo>
                  <a:lnTo>
                    <a:pt x="2973" y="2059"/>
                  </a:lnTo>
                  <a:lnTo>
                    <a:pt x="2983" y="2061"/>
                  </a:lnTo>
                  <a:lnTo>
                    <a:pt x="2993" y="2062"/>
                  </a:lnTo>
                  <a:lnTo>
                    <a:pt x="3006" y="2063"/>
                  </a:lnTo>
                  <a:lnTo>
                    <a:pt x="3006" y="2063"/>
                  </a:lnTo>
                  <a:lnTo>
                    <a:pt x="3005" y="2044"/>
                  </a:lnTo>
                  <a:lnTo>
                    <a:pt x="3002" y="2027"/>
                  </a:lnTo>
                  <a:lnTo>
                    <a:pt x="3001" y="2019"/>
                  </a:lnTo>
                  <a:lnTo>
                    <a:pt x="3001" y="2010"/>
                  </a:lnTo>
                  <a:lnTo>
                    <a:pt x="3003" y="2001"/>
                  </a:lnTo>
                  <a:lnTo>
                    <a:pt x="3007" y="1992"/>
                  </a:lnTo>
                  <a:lnTo>
                    <a:pt x="3014" y="1993"/>
                  </a:lnTo>
                  <a:lnTo>
                    <a:pt x="3021" y="1995"/>
                  </a:lnTo>
                  <a:lnTo>
                    <a:pt x="3028" y="1998"/>
                  </a:lnTo>
                  <a:lnTo>
                    <a:pt x="3035" y="2002"/>
                  </a:lnTo>
                  <a:lnTo>
                    <a:pt x="3041" y="2005"/>
                  </a:lnTo>
                  <a:lnTo>
                    <a:pt x="3048" y="2008"/>
                  </a:lnTo>
                  <a:lnTo>
                    <a:pt x="3056" y="2010"/>
                  </a:lnTo>
                  <a:lnTo>
                    <a:pt x="3065" y="2010"/>
                  </a:lnTo>
                  <a:lnTo>
                    <a:pt x="3071" y="2010"/>
                  </a:lnTo>
                  <a:lnTo>
                    <a:pt x="3078" y="2008"/>
                  </a:lnTo>
                  <a:lnTo>
                    <a:pt x="3084" y="2006"/>
                  </a:lnTo>
                  <a:lnTo>
                    <a:pt x="3090" y="2003"/>
                  </a:lnTo>
                  <a:lnTo>
                    <a:pt x="3095" y="1999"/>
                  </a:lnTo>
                  <a:lnTo>
                    <a:pt x="3101" y="1995"/>
                  </a:lnTo>
                  <a:lnTo>
                    <a:pt x="3104" y="1990"/>
                  </a:lnTo>
                  <a:lnTo>
                    <a:pt x="3106" y="1982"/>
                  </a:lnTo>
                  <a:lnTo>
                    <a:pt x="3106" y="1976"/>
                  </a:lnTo>
                  <a:lnTo>
                    <a:pt x="3106" y="1971"/>
                  </a:lnTo>
                  <a:lnTo>
                    <a:pt x="3104" y="1966"/>
                  </a:lnTo>
                  <a:lnTo>
                    <a:pt x="3102" y="1960"/>
                  </a:lnTo>
                  <a:lnTo>
                    <a:pt x="3093" y="1952"/>
                  </a:lnTo>
                  <a:lnTo>
                    <a:pt x="3084" y="1944"/>
                  </a:lnTo>
                  <a:lnTo>
                    <a:pt x="3074" y="1935"/>
                  </a:lnTo>
                  <a:lnTo>
                    <a:pt x="3063" y="1928"/>
                  </a:lnTo>
                  <a:lnTo>
                    <a:pt x="3059" y="1923"/>
                  </a:lnTo>
                  <a:lnTo>
                    <a:pt x="3055" y="1919"/>
                  </a:lnTo>
                  <a:lnTo>
                    <a:pt x="3051" y="1913"/>
                  </a:lnTo>
                  <a:lnTo>
                    <a:pt x="3048" y="1908"/>
                  </a:lnTo>
                  <a:lnTo>
                    <a:pt x="3045" y="1896"/>
                  </a:lnTo>
                  <a:lnTo>
                    <a:pt x="3042" y="1882"/>
                  </a:lnTo>
                  <a:lnTo>
                    <a:pt x="3041" y="1866"/>
                  </a:lnTo>
                  <a:lnTo>
                    <a:pt x="3041" y="1851"/>
                  </a:lnTo>
                  <a:lnTo>
                    <a:pt x="3041" y="1818"/>
                  </a:lnTo>
                  <a:lnTo>
                    <a:pt x="3042" y="1791"/>
                  </a:lnTo>
                  <a:lnTo>
                    <a:pt x="3043" y="1785"/>
                  </a:lnTo>
                  <a:lnTo>
                    <a:pt x="3043" y="1774"/>
                  </a:lnTo>
                  <a:lnTo>
                    <a:pt x="3044" y="1761"/>
                  </a:lnTo>
                  <a:lnTo>
                    <a:pt x="3043" y="1748"/>
                  </a:lnTo>
                  <a:lnTo>
                    <a:pt x="3043" y="1733"/>
                  </a:lnTo>
                  <a:lnTo>
                    <a:pt x="3041" y="1720"/>
                  </a:lnTo>
                  <a:lnTo>
                    <a:pt x="3039" y="1710"/>
                  </a:lnTo>
                  <a:lnTo>
                    <a:pt x="3035" y="1704"/>
                  </a:lnTo>
                  <a:lnTo>
                    <a:pt x="3031" y="1701"/>
                  </a:lnTo>
                  <a:lnTo>
                    <a:pt x="3027" y="1696"/>
                  </a:lnTo>
                  <a:lnTo>
                    <a:pt x="3021" y="1694"/>
                  </a:lnTo>
                  <a:lnTo>
                    <a:pt x="3015" y="1692"/>
                  </a:lnTo>
                  <a:lnTo>
                    <a:pt x="3003" y="1689"/>
                  </a:lnTo>
                  <a:lnTo>
                    <a:pt x="2989" y="1687"/>
                  </a:lnTo>
                  <a:lnTo>
                    <a:pt x="2975" y="1685"/>
                  </a:lnTo>
                  <a:lnTo>
                    <a:pt x="2963" y="1682"/>
                  </a:lnTo>
                  <a:lnTo>
                    <a:pt x="2957" y="1681"/>
                  </a:lnTo>
                  <a:lnTo>
                    <a:pt x="2952" y="1679"/>
                  </a:lnTo>
                  <a:lnTo>
                    <a:pt x="2946" y="1677"/>
                  </a:lnTo>
                  <a:lnTo>
                    <a:pt x="2941" y="1673"/>
                  </a:lnTo>
                  <a:lnTo>
                    <a:pt x="2939" y="1670"/>
                  </a:lnTo>
                  <a:lnTo>
                    <a:pt x="2938" y="1667"/>
                  </a:lnTo>
                  <a:lnTo>
                    <a:pt x="2937" y="1666"/>
                  </a:lnTo>
                  <a:lnTo>
                    <a:pt x="2937" y="1664"/>
                  </a:lnTo>
                  <a:lnTo>
                    <a:pt x="2938" y="1663"/>
                  </a:lnTo>
                  <a:lnTo>
                    <a:pt x="2940" y="1662"/>
                  </a:lnTo>
                  <a:lnTo>
                    <a:pt x="2947" y="1659"/>
                  </a:lnTo>
                  <a:lnTo>
                    <a:pt x="2956" y="1658"/>
                  </a:lnTo>
                  <a:lnTo>
                    <a:pt x="2964" y="1656"/>
                  </a:lnTo>
                  <a:lnTo>
                    <a:pt x="2972" y="1656"/>
                  </a:lnTo>
                  <a:lnTo>
                    <a:pt x="2990" y="1655"/>
                  </a:lnTo>
                  <a:lnTo>
                    <a:pt x="3007" y="1655"/>
                  </a:lnTo>
                  <a:lnTo>
                    <a:pt x="3025" y="1655"/>
                  </a:lnTo>
                  <a:lnTo>
                    <a:pt x="3054" y="1657"/>
                  </a:lnTo>
                  <a:lnTo>
                    <a:pt x="3080" y="1658"/>
                  </a:lnTo>
                  <a:lnTo>
                    <a:pt x="3089" y="1658"/>
                  </a:lnTo>
                  <a:lnTo>
                    <a:pt x="3088" y="1654"/>
                  </a:lnTo>
                  <a:lnTo>
                    <a:pt x="3087" y="1648"/>
                  </a:lnTo>
                  <a:lnTo>
                    <a:pt x="3084" y="1644"/>
                  </a:lnTo>
                  <a:lnTo>
                    <a:pt x="3080" y="1639"/>
                  </a:lnTo>
                  <a:lnTo>
                    <a:pt x="3070" y="1630"/>
                  </a:lnTo>
                  <a:lnTo>
                    <a:pt x="3058" y="1619"/>
                  </a:lnTo>
                  <a:lnTo>
                    <a:pt x="3034" y="1603"/>
                  </a:lnTo>
                  <a:lnTo>
                    <a:pt x="3015" y="1591"/>
                  </a:lnTo>
                  <a:lnTo>
                    <a:pt x="3008" y="1588"/>
                  </a:lnTo>
                  <a:lnTo>
                    <a:pt x="3001" y="1587"/>
                  </a:lnTo>
                  <a:lnTo>
                    <a:pt x="2993" y="1588"/>
                  </a:lnTo>
                  <a:lnTo>
                    <a:pt x="2987" y="1590"/>
                  </a:lnTo>
                  <a:lnTo>
                    <a:pt x="2981" y="1592"/>
                  </a:lnTo>
                  <a:lnTo>
                    <a:pt x="2974" y="1596"/>
                  </a:lnTo>
                  <a:lnTo>
                    <a:pt x="2968" y="1600"/>
                  </a:lnTo>
                  <a:lnTo>
                    <a:pt x="2962" y="1605"/>
                  </a:lnTo>
                  <a:lnTo>
                    <a:pt x="2949" y="1614"/>
                  </a:lnTo>
                  <a:lnTo>
                    <a:pt x="2937" y="1621"/>
                  </a:lnTo>
                  <a:lnTo>
                    <a:pt x="2931" y="1623"/>
                  </a:lnTo>
                  <a:lnTo>
                    <a:pt x="2924" y="1624"/>
                  </a:lnTo>
                  <a:lnTo>
                    <a:pt x="2917" y="1623"/>
                  </a:lnTo>
                  <a:lnTo>
                    <a:pt x="2910" y="1621"/>
                  </a:lnTo>
                  <a:lnTo>
                    <a:pt x="2906" y="1619"/>
                  </a:lnTo>
                  <a:lnTo>
                    <a:pt x="2903" y="1616"/>
                  </a:lnTo>
                  <a:lnTo>
                    <a:pt x="2900" y="1613"/>
                  </a:lnTo>
                  <a:lnTo>
                    <a:pt x="2898" y="1610"/>
                  </a:lnTo>
                  <a:lnTo>
                    <a:pt x="2896" y="1601"/>
                  </a:lnTo>
                  <a:lnTo>
                    <a:pt x="2896" y="1593"/>
                  </a:lnTo>
                  <a:lnTo>
                    <a:pt x="2896" y="1584"/>
                  </a:lnTo>
                  <a:lnTo>
                    <a:pt x="2896" y="1574"/>
                  </a:lnTo>
                  <a:lnTo>
                    <a:pt x="2896" y="1570"/>
                  </a:lnTo>
                  <a:lnTo>
                    <a:pt x="2895" y="1566"/>
                  </a:lnTo>
                  <a:lnTo>
                    <a:pt x="2893" y="1563"/>
                  </a:lnTo>
                  <a:lnTo>
                    <a:pt x="2891" y="1559"/>
                  </a:lnTo>
                  <a:lnTo>
                    <a:pt x="2883" y="1546"/>
                  </a:lnTo>
                  <a:lnTo>
                    <a:pt x="2875" y="1536"/>
                  </a:lnTo>
                  <a:lnTo>
                    <a:pt x="2870" y="1525"/>
                  </a:lnTo>
                  <a:lnTo>
                    <a:pt x="2866" y="1515"/>
                  </a:lnTo>
                  <a:lnTo>
                    <a:pt x="2865" y="1504"/>
                  </a:lnTo>
                  <a:lnTo>
                    <a:pt x="2865" y="1493"/>
                  </a:lnTo>
                  <a:lnTo>
                    <a:pt x="2867" y="1479"/>
                  </a:lnTo>
                  <a:lnTo>
                    <a:pt x="2870" y="1464"/>
                  </a:lnTo>
                  <a:lnTo>
                    <a:pt x="2870" y="1464"/>
                  </a:lnTo>
                  <a:lnTo>
                    <a:pt x="2864" y="1459"/>
                  </a:lnTo>
                  <a:lnTo>
                    <a:pt x="2857" y="1454"/>
                  </a:lnTo>
                  <a:lnTo>
                    <a:pt x="2848" y="1450"/>
                  </a:lnTo>
                  <a:lnTo>
                    <a:pt x="2839" y="1446"/>
                  </a:lnTo>
                  <a:lnTo>
                    <a:pt x="2818" y="1439"/>
                  </a:lnTo>
                  <a:lnTo>
                    <a:pt x="2795" y="1432"/>
                  </a:lnTo>
                  <a:lnTo>
                    <a:pt x="2772" y="1427"/>
                  </a:lnTo>
                  <a:lnTo>
                    <a:pt x="2749" y="1424"/>
                  </a:lnTo>
                  <a:lnTo>
                    <a:pt x="2729" y="1422"/>
                  </a:lnTo>
                  <a:lnTo>
                    <a:pt x="2712" y="1422"/>
                  </a:lnTo>
                  <a:lnTo>
                    <a:pt x="2693" y="1422"/>
                  </a:lnTo>
                  <a:lnTo>
                    <a:pt x="2672" y="1424"/>
                  </a:lnTo>
                  <a:lnTo>
                    <a:pt x="2662" y="1424"/>
                  </a:lnTo>
                  <a:lnTo>
                    <a:pt x="2651" y="1424"/>
                  </a:lnTo>
                  <a:lnTo>
                    <a:pt x="2642" y="1423"/>
                  </a:lnTo>
                  <a:lnTo>
                    <a:pt x="2632" y="1422"/>
                  </a:lnTo>
                  <a:lnTo>
                    <a:pt x="2619" y="1418"/>
                  </a:lnTo>
                  <a:lnTo>
                    <a:pt x="2607" y="1415"/>
                  </a:lnTo>
                  <a:lnTo>
                    <a:pt x="2598" y="1412"/>
                  </a:lnTo>
                  <a:lnTo>
                    <a:pt x="2590" y="1407"/>
                  </a:lnTo>
                  <a:lnTo>
                    <a:pt x="2577" y="1400"/>
                  </a:lnTo>
                  <a:lnTo>
                    <a:pt x="2568" y="1393"/>
                  </a:lnTo>
                  <a:lnTo>
                    <a:pt x="2558" y="1384"/>
                  </a:lnTo>
                  <a:lnTo>
                    <a:pt x="2548" y="1376"/>
                  </a:lnTo>
                  <a:lnTo>
                    <a:pt x="2542" y="1372"/>
                  </a:lnTo>
                  <a:lnTo>
                    <a:pt x="2534" y="1368"/>
                  </a:lnTo>
                  <a:lnTo>
                    <a:pt x="2526" y="1364"/>
                  </a:lnTo>
                  <a:lnTo>
                    <a:pt x="2515" y="1358"/>
                  </a:lnTo>
                  <a:lnTo>
                    <a:pt x="2504" y="1354"/>
                  </a:lnTo>
                  <a:lnTo>
                    <a:pt x="2494" y="1349"/>
                  </a:lnTo>
                  <a:lnTo>
                    <a:pt x="2483" y="1343"/>
                  </a:lnTo>
                  <a:lnTo>
                    <a:pt x="2475" y="1335"/>
                  </a:lnTo>
                  <a:lnTo>
                    <a:pt x="2471" y="1331"/>
                  </a:lnTo>
                  <a:lnTo>
                    <a:pt x="2467" y="1327"/>
                  </a:lnTo>
                  <a:lnTo>
                    <a:pt x="2464" y="1323"/>
                  </a:lnTo>
                  <a:lnTo>
                    <a:pt x="2460" y="1319"/>
                  </a:lnTo>
                  <a:lnTo>
                    <a:pt x="2458" y="1314"/>
                  </a:lnTo>
                  <a:lnTo>
                    <a:pt x="2456" y="1307"/>
                  </a:lnTo>
                  <a:lnTo>
                    <a:pt x="2455" y="1302"/>
                  </a:lnTo>
                  <a:lnTo>
                    <a:pt x="2455" y="1296"/>
                  </a:lnTo>
                  <a:lnTo>
                    <a:pt x="2454" y="1278"/>
                  </a:lnTo>
                  <a:lnTo>
                    <a:pt x="2453" y="1261"/>
                  </a:lnTo>
                  <a:lnTo>
                    <a:pt x="2451" y="1245"/>
                  </a:lnTo>
                  <a:lnTo>
                    <a:pt x="2448" y="1229"/>
                  </a:lnTo>
                  <a:lnTo>
                    <a:pt x="2443" y="1214"/>
                  </a:lnTo>
                  <a:lnTo>
                    <a:pt x="2435" y="1199"/>
                  </a:lnTo>
                  <a:lnTo>
                    <a:pt x="2427" y="1184"/>
                  </a:lnTo>
                  <a:lnTo>
                    <a:pt x="2416" y="1171"/>
                  </a:lnTo>
                  <a:lnTo>
                    <a:pt x="2407" y="1162"/>
                  </a:lnTo>
                  <a:lnTo>
                    <a:pt x="2398" y="1155"/>
                  </a:lnTo>
                  <a:lnTo>
                    <a:pt x="2388" y="1148"/>
                  </a:lnTo>
                  <a:lnTo>
                    <a:pt x="2379" y="1142"/>
                  </a:lnTo>
                  <a:lnTo>
                    <a:pt x="2370" y="1136"/>
                  </a:lnTo>
                  <a:lnTo>
                    <a:pt x="2359" y="1131"/>
                  </a:lnTo>
                  <a:lnTo>
                    <a:pt x="2349" y="1127"/>
                  </a:lnTo>
                  <a:lnTo>
                    <a:pt x="2338" y="1123"/>
                  </a:lnTo>
                  <a:lnTo>
                    <a:pt x="2318" y="1115"/>
                  </a:lnTo>
                  <a:lnTo>
                    <a:pt x="2296" y="1110"/>
                  </a:lnTo>
                  <a:lnTo>
                    <a:pt x="2273" y="1106"/>
                  </a:lnTo>
                  <a:lnTo>
                    <a:pt x="2250" y="1102"/>
                  </a:lnTo>
                  <a:lnTo>
                    <a:pt x="2204" y="1096"/>
                  </a:lnTo>
                  <a:lnTo>
                    <a:pt x="2159" y="1088"/>
                  </a:lnTo>
                  <a:lnTo>
                    <a:pt x="2137" y="1083"/>
                  </a:lnTo>
                  <a:lnTo>
                    <a:pt x="2115" y="1077"/>
                  </a:lnTo>
                  <a:lnTo>
                    <a:pt x="2094" y="1070"/>
                  </a:lnTo>
                  <a:lnTo>
                    <a:pt x="2075" y="1061"/>
                  </a:lnTo>
                  <a:lnTo>
                    <a:pt x="2068" y="1054"/>
                  </a:lnTo>
                  <a:lnTo>
                    <a:pt x="2062" y="1046"/>
                  </a:lnTo>
                  <a:lnTo>
                    <a:pt x="2055" y="1039"/>
                  </a:lnTo>
                  <a:lnTo>
                    <a:pt x="2048" y="1033"/>
                  </a:lnTo>
                  <a:lnTo>
                    <a:pt x="2038" y="1028"/>
                  </a:lnTo>
                  <a:lnTo>
                    <a:pt x="2030" y="1021"/>
                  </a:lnTo>
                  <a:lnTo>
                    <a:pt x="2019" y="1017"/>
                  </a:lnTo>
                  <a:lnTo>
                    <a:pt x="2010" y="1013"/>
                  </a:lnTo>
                  <a:lnTo>
                    <a:pt x="2000" y="1009"/>
                  </a:lnTo>
                  <a:lnTo>
                    <a:pt x="1989" y="1006"/>
                  </a:lnTo>
                  <a:lnTo>
                    <a:pt x="1979" y="1003"/>
                  </a:lnTo>
                  <a:lnTo>
                    <a:pt x="1969" y="1002"/>
                  </a:lnTo>
                  <a:lnTo>
                    <a:pt x="1959" y="1001"/>
                  </a:lnTo>
                  <a:lnTo>
                    <a:pt x="1950" y="1000"/>
                  </a:lnTo>
                  <a:lnTo>
                    <a:pt x="1940" y="1000"/>
                  </a:lnTo>
                  <a:lnTo>
                    <a:pt x="1932" y="1001"/>
                  </a:lnTo>
                  <a:lnTo>
                    <a:pt x="1905" y="1007"/>
                  </a:lnTo>
                  <a:lnTo>
                    <a:pt x="1877" y="1014"/>
                  </a:lnTo>
                  <a:lnTo>
                    <a:pt x="1863" y="1017"/>
                  </a:lnTo>
                  <a:lnTo>
                    <a:pt x="1848" y="1019"/>
                  </a:lnTo>
                  <a:lnTo>
                    <a:pt x="1835" y="1019"/>
                  </a:lnTo>
                  <a:lnTo>
                    <a:pt x="1821" y="1017"/>
                  </a:lnTo>
                  <a:lnTo>
                    <a:pt x="1805" y="1001"/>
                  </a:lnTo>
                  <a:lnTo>
                    <a:pt x="1791" y="986"/>
                  </a:lnTo>
                  <a:lnTo>
                    <a:pt x="1775" y="973"/>
                  </a:lnTo>
                  <a:lnTo>
                    <a:pt x="1756" y="959"/>
                  </a:lnTo>
                  <a:lnTo>
                    <a:pt x="1723" y="936"/>
                  </a:lnTo>
                  <a:lnTo>
                    <a:pt x="1690" y="913"/>
                  </a:lnTo>
                  <a:lnTo>
                    <a:pt x="1658" y="890"/>
                  </a:lnTo>
                  <a:lnTo>
                    <a:pt x="1624" y="867"/>
                  </a:lnTo>
                  <a:lnTo>
                    <a:pt x="1591" y="845"/>
                  </a:lnTo>
                  <a:lnTo>
                    <a:pt x="1557" y="822"/>
                  </a:lnTo>
                  <a:lnTo>
                    <a:pt x="1524" y="800"/>
                  </a:lnTo>
                  <a:lnTo>
                    <a:pt x="1491" y="777"/>
                  </a:lnTo>
                  <a:lnTo>
                    <a:pt x="1481" y="770"/>
                  </a:lnTo>
                  <a:lnTo>
                    <a:pt x="1473" y="765"/>
                  </a:lnTo>
                  <a:lnTo>
                    <a:pt x="1463" y="760"/>
                  </a:lnTo>
                  <a:lnTo>
                    <a:pt x="1453" y="756"/>
                  </a:lnTo>
                  <a:lnTo>
                    <a:pt x="1443" y="754"/>
                  </a:lnTo>
                  <a:lnTo>
                    <a:pt x="1433" y="753"/>
                  </a:lnTo>
                  <a:lnTo>
                    <a:pt x="1423" y="753"/>
                  </a:lnTo>
                  <a:lnTo>
                    <a:pt x="1414" y="754"/>
                  </a:lnTo>
                  <a:lnTo>
                    <a:pt x="1404" y="756"/>
                  </a:lnTo>
                  <a:lnTo>
                    <a:pt x="1394" y="760"/>
                  </a:lnTo>
                  <a:lnTo>
                    <a:pt x="1385" y="764"/>
                  </a:lnTo>
                  <a:lnTo>
                    <a:pt x="1376" y="770"/>
                  </a:lnTo>
                  <a:lnTo>
                    <a:pt x="1368" y="776"/>
                  </a:lnTo>
                  <a:lnTo>
                    <a:pt x="1360" y="784"/>
                  </a:lnTo>
                  <a:lnTo>
                    <a:pt x="1353" y="791"/>
                  </a:lnTo>
                  <a:lnTo>
                    <a:pt x="1346" y="800"/>
                  </a:lnTo>
                  <a:lnTo>
                    <a:pt x="1336" y="814"/>
                  </a:lnTo>
                  <a:lnTo>
                    <a:pt x="1327" y="824"/>
                  </a:lnTo>
                  <a:lnTo>
                    <a:pt x="1320" y="831"/>
                  </a:lnTo>
                  <a:lnTo>
                    <a:pt x="1312" y="835"/>
                  </a:lnTo>
                  <a:lnTo>
                    <a:pt x="1308" y="836"/>
                  </a:lnTo>
                  <a:lnTo>
                    <a:pt x="1305" y="836"/>
                  </a:lnTo>
                  <a:lnTo>
                    <a:pt x="1302" y="836"/>
                  </a:lnTo>
                  <a:lnTo>
                    <a:pt x="1300" y="835"/>
                  </a:lnTo>
                  <a:lnTo>
                    <a:pt x="1295" y="831"/>
                  </a:lnTo>
                  <a:lnTo>
                    <a:pt x="1290" y="825"/>
                  </a:lnTo>
                  <a:lnTo>
                    <a:pt x="1286" y="818"/>
                  </a:lnTo>
                  <a:lnTo>
                    <a:pt x="1282" y="810"/>
                  </a:lnTo>
                  <a:lnTo>
                    <a:pt x="1280" y="800"/>
                  </a:lnTo>
                  <a:lnTo>
                    <a:pt x="1277" y="790"/>
                  </a:lnTo>
                  <a:lnTo>
                    <a:pt x="1274" y="769"/>
                  </a:lnTo>
                  <a:lnTo>
                    <a:pt x="1273" y="747"/>
                  </a:lnTo>
                  <a:lnTo>
                    <a:pt x="1272" y="732"/>
                  </a:lnTo>
                  <a:lnTo>
                    <a:pt x="1270" y="720"/>
                  </a:lnTo>
                  <a:lnTo>
                    <a:pt x="1266" y="712"/>
                  </a:lnTo>
                  <a:lnTo>
                    <a:pt x="1261" y="705"/>
                  </a:lnTo>
                  <a:lnTo>
                    <a:pt x="1256" y="701"/>
                  </a:lnTo>
                  <a:lnTo>
                    <a:pt x="1250" y="699"/>
                  </a:lnTo>
                  <a:lnTo>
                    <a:pt x="1243" y="700"/>
                  </a:lnTo>
                  <a:lnTo>
                    <a:pt x="1235" y="702"/>
                  </a:lnTo>
                  <a:lnTo>
                    <a:pt x="1227" y="706"/>
                  </a:lnTo>
                  <a:lnTo>
                    <a:pt x="1218" y="712"/>
                  </a:lnTo>
                  <a:lnTo>
                    <a:pt x="1208" y="718"/>
                  </a:lnTo>
                  <a:lnTo>
                    <a:pt x="1199" y="726"/>
                  </a:lnTo>
                  <a:lnTo>
                    <a:pt x="1178" y="743"/>
                  </a:lnTo>
                  <a:lnTo>
                    <a:pt x="1156" y="763"/>
                  </a:lnTo>
                  <a:lnTo>
                    <a:pt x="1134" y="781"/>
                  </a:lnTo>
                  <a:lnTo>
                    <a:pt x="1112" y="798"/>
                  </a:lnTo>
                  <a:lnTo>
                    <a:pt x="1102" y="807"/>
                  </a:lnTo>
                  <a:lnTo>
                    <a:pt x="1091" y="813"/>
                  </a:lnTo>
                  <a:lnTo>
                    <a:pt x="1081" y="818"/>
                  </a:lnTo>
                  <a:lnTo>
                    <a:pt x="1072" y="821"/>
                  </a:lnTo>
                  <a:lnTo>
                    <a:pt x="1063" y="823"/>
                  </a:lnTo>
                  <a:lnTo>
                    <a:pt x="1055" y="824"/>
                  </a:lnTo>
                  <a:lnTo>
                    <a:pt x="1048" y="822"/>
                  </a:lnTo>
                  <a:lnTo>
                    <a:pt x="1040" y="818"/>
                  </a:lnTo>
                  <a:lnTo>
                    <a:pt x="1034" y="812"/>
                  </a:lnTo>
                  <a:lnTo>
                    <a:pt x="1029" y="802"/>
                  </a:lnTo>
                  <a:lnTo>
                    <a:pt x="1025" y="790"/>
                  </a:lnTo>
                  <a:lnTo>
                    <a:pt x="1022" y="774"/>
                  </a:lnTo>
                  <a:lnTo>
                    <a:pt x="1021" y="768"/>
                  </a:lnTo>
                  <a:lnTo>
                    <a:pt x="1021" y="761"/>
                  </a:lnTo>
                  <a:lnTo>
                    <a:pt x="1022" y="755"/>
                  </a:lnTo>
                  <a:lnTo>
                    <a:pt x="1023" y="750"/>
                  </a:lnTo>
                  <a:lnTo>
                    <a:pt x="1027" y="741"/>
                  </a:lnTo>
                  <a:lnTo>
                    <a:pt x="1032" y="732"/>
                  </a:lnTo>
                  <a:lnTo>
                    <a:pt x="1037" y="725"/>
                  </a:lnTo>
                  <a:lnTo>
                    <a:pt x="1043" y="717"/>
                  </a:lnTo>
                  <a:lnTo>
                    <a:pt x="1048" y="708"/>
                  </a:lnTo>
                  <a:lnTo>
                    <a:pt x="1051" y="699"/>
                  </a:lnTo>
                  <a:lnTo>
                    <a:pt x="1058" y="693"/>
                  </a:lnTo>
                  <a:lnTo>
                    <a:pt x="1064" y="687"/>
                  </a:lnTo>
                  <a:lnTo>
                    <a:pt x="1067" y="679"/>
                  </a:lnTo>
                  <a:lnTo>
                    <a:pt x="1071" y="673"/>
                  </a:lnTo>
                  <a:lnTo>
                    <a:pt x="1072" y="667"/>
                  </a:lnTo>
                  <a:lnTo>
                    <a:pt x="1072" y="659"/>
                  </a:lnTo>
                  <a:lnTo>
                    <a:pt x="1072" y="652"/>
                  </a:lnTo>
                  <a:lnTo>
                    <a:pt x="1071" y="646"/>
                  </a:lnTo>
                  <a:lnTo>
                    <a:pt x="1068" y="632"/>
                  </a:lnTo>
                  <a:lnTo>
                    <a:pt x="1066" y="619"/>
                  </a:lnTo>
                  <a:lnTo>
                    <a:pt x="1066" y="612"/>
                  </a:lnTo>
                  <a:lnTo>
                    <a:pt x="1067" y="606"/>
                  </a:lnTo>
                  <a:lnTo>
                    <a:pt x="1071" y="601"/>
                  </a:lnTo>
                  <a:lnTo>
                    <a:pt x="1074" y="595"/>
                  </a:lnTo>
                  <a:lnTo>
                    <a:pt x="1079" y="588"/>
                  </a:lnTo>
                  <a:lnTo>
                    <a:pt x="1085" y="583"/>
                  </a:lnTo>
                  <a:lnTo>
                    <a:pt x="1091" y="579"/>
                  </a:lnTo>
                  <a:lnTo>
                    <a:pt x="1099" y="575"/>
                  </a:lnTo>
                  <a:lnTo>
                    <a:pt x="1113" y="567"/>
                  </a:lnTo>
                  <a:lnTo>
                    <a:pt x="1127" y="559"/>
                  </a:lnTo>
                  <a:lnTo>
                    <a:pt x="1133" y="555"/>
                  </a:lnTo>
                  <a:lnTo>
                    <a:pt x="1139" y="550"/>
                  </a:lnTo>
                  <a:lnTo>
                    <a:pt x="1145" y="545"/>
                  </a:lnTo>
                  <a:lnTo>
                    <a:pt x="1149" y="539"/>
                  </a:lnTo>
                  <a:lnTo>
                    <a:pt x="1153" y="532"/>
                  </a:lnTo>
                  <a:lnTo>
                    <a:pt x="1155" y="524"/>
                  </a:lnTo>
                  <a:lnTo>
                    <a:pt x="1157" y="514"/>
                  </a:lnTo>
                  <a:lnTo>
                    <a:pt x="1157" y="504"/>
                  </a:lnTo>
                  <a:lnTo>
                    <a:pt x="1156" y="498"/>
                  </a:lnTo>
                  <a:lnTo>
                    <a:pt x="1155" y="493"/>
                  </a:lnTo>
                  <a:lnTo>
                    <a:pt x="1153" y="489"/>
                  </a:lnTo>
                  <a:lnTo>
                    <a:pt x="1150" y="486"/>
                  </a:lnTo>
                  <a:lnTo>
                    <a:pt x="1145" y="481"/>
                  </a:lnTo>
                  <a:lnTo>
                    <a:pt x="1137" y="479"/>
                  </a:lnTo>
                  <a:lnTo>
                    <a:pt x="1130" y="477"/>
                  </a:lnTo>
                  <a:lnTo>
                    <a:pt x="1123" y="475"/>
                  </a:lnTo>
                  <a:lnTo>
                    <a:pt x="1120" y="474"/>
                  </a:lnTo>
                  <a:lnTo>
                    <a:pt x="1116" y="472"/>
                  </a:lnTo>
                  <a:lnTo>
                    <a:pt x="1114" y="469"/>
                  </a:lnTo>
                  <a:lnTo>
                    <a:pt x="1113" y="465"/>
                  </a:lnTo>
                  <a:lnTo>
                    <a:pt x="1112" y="461"/>
                  </a:lnTo>
                  <a:lnTo>
                    <a:pt x="1112" y="456"/>
                  </a:lnTo>
                  <a:lnTo>
                    <a:pt x="1112" y="451"/>
                  </a:lnTo>
                  <a:lnTo>
                    <a:pt x="1113" y="446"/>
                  </a:lnTo>
                  <a:lnTo>
                    <a:pt x="1116" y="434"/>
                  </a:lnTo>
                  <a:lnTo>
                    <a:pt x="1120" y="422"/>
                  </a:lnTo>
                  <a:lnTo>
                    <a:pt x="1123" y="409"/>
                  </a:lnTo>
                  <a:lnTo>
                    <a:pt x="1124" y="398"/>
                  </a:lnTo>
                  <a:lnTo>
                    <a:pt x="1124" y="392"/>
                  </a:lnTo>
                  <a:lnTo>
                    <a:pt x="1123" y="387"/>
                  </a:lnTo>
                  <a:lnTo>
                    <a:pt x="1121" y="383"/>
                  </a:lnTo>
                  <a:lnTo>
                    <a:pt x="1119" y="379"/>
                  </a:lnTo>
                  <a:lnTo>
                    <a:pt x="1105" y="364"/>
                  </a:lnTo>
                  <a:lnTo>
                    <a:pt x="1095" y="353"/>
                  </a:lnTo>
                  <a:lnTo>
                    <a:pt x="1087" y="344"/>
                  </a:lnTo>
                  <a:lnTo>
                    <a:pt x="1082" y="336"/>
                  </a:lnTo>
                  <a:lnTo>
                    <a:pt x="1079" y="327"/>
                  </a:lnTo>
                  <a:lnTo>
                    <a:pt x="1078" y="316"/>
                  </a:lnTo>
                  <a:lnTo>
                    <a:pt x="1077" y="301"/>
                  </a:lnTo>
                  <a:lnTo>
                    <a:pt x="1077" y="281"/>
                  </a:lnTo>
                  <a:lnTo>
                    <a:pt x="1080" y="277"/>
                  </a:lnTo>
                  <a:lnTo>
                    <a:pt x="1081" y="268"/>
                  </a:lnTo>
                  <a:lnTo>
                    <a:pt x="1083" y="260"/>
                  </a:lnTo>
                  <a:lnTo>
                    <a:pt x="1084" y="255"/>
                  </a:lnTo>
                  <a:lnTo>
                    <a:pt x="1083" y="249"/>
                  </a:lnTo>
                  <a:lnTo>
                    <a:pt x="1080" y="245"/>
                  </a:lnTo>
                  <a:lnTo>
                    <a:pt x="1076" y="240"/>
                  </a:lnTo>
                  <a:lnTo>
                    <a:pt x="1072" y="235"/>
                  </a:lnTo>
                  <a:lnTo>
                    <a:pt x="1066" y="230"/>
                  </a:lnTo>
                  <a:lnTo>
                    <a:pt x="1062" y="224"/>
                  </a:lnTo>
                  <a:lnTo>
                    <a:pt x="1058" y="219"/>
                  </a:lnTo>
                  <a:lnTo>
                    <a:pt x="1056" y="214"/>
                  </a:lnTo>
                  <a:lnTo>
                    <a:pt x="1056" y="209"/>
                  </a:lnTo>
                  <a:lnTo>
                    <a:pt x="1057" y="205"/>
                  </a:lnTo>
                  <a:lnTo>
                    <a:pt x="1060" y="200"/>
                  </a:lnTo>
                  <a:lnTo>
                    <a:pt x="1064" y="197"/>
                  </a:lnTo>
                  <a:lnTo>
                    <a:pt x="1075" y="191"/>
                  </a:lnTo>
                  <a:lnTo>
                    <a:pt x="1083" y="187"/>
                  </a:lnTo>
                  <a:lnTo>
                    <a:pt x="1106" y="175"/>
                  </a:lnTo>
                  <a:lnTo>
                    <a:pt x="1128" y="165"/>
                  </a:lnTo>
                  <a:lnTo>
                    <a:pt x="1149" y="153"/>
                  </a:lnTo>
                  <a:lnTo>
                    <a:pt x="1170" y="141"/>
                  </a:lnTo>
                  <a:lnTo>
                    <a:pt x="1174" y="131"/>
                  </a:lnTo>
                  <a:lnTo>
                    <a:pt x="1177" y="122"/>
                  </a:lnTo>
                  <a:lnTo>
                    <a:pt x="1178" y="117"/>
                  </a:lnTo>
                  <a:lnTo>
                    <a:pt x="1177" y="113"/>
                  </a:lnTo>
                  <a:lnTo>
                    <a:pt x="1176" y="107"/>
                  </a:lnTo>
                  <a:lnTo>
                    <a:pt x="1173" y="100"/>
                  </a:lnTo>
                  <a:lnTo>
                    <a:pt x="1165" y="89"/>
                  </a:lnTo>
                  <a:lnTo>
                    <a:pt x="1158" y="79"/>
                  </a:lnTo>
                  <a:lnTo>
                    <a:pt x="1150" y="70"/>
                  </a:lnTo>
                  <a:lnTo>
                    <a:pt x="1141" y="60"/>
                  </a:lnTo>
                  <a:lnTo>
                    <a:pt x="1131" y="49"/>
                  </a:lnTo>
                  <a:lnTo>
                    <a:pt x="1122" y="39"/>
                  </a:lnTo>
                  <a:lnTo>
                    <a:pt x="1112" y="30"/>
                  </a:lnTo>
                  <a:lnTo>
                    <a:pt x="1102" y="23"/>
                  </a:lnTo>
                  <a:lnTo>
                    <a:pt x="1090" y="17"/>
                  </a:lnTo>
                  <a:lnTo>
                    <a:pt x="1079" y="12"/>
                  </a:lnTo>
                  <a:lnTo>
                    <a:pt x="1065" y="7"/>
                  </a:lnTo>
                  <a:lnTo>
                    <a:pt x="1051" y="5"/>
                  </a:lnTo>
                  <a:lnTo>
                    <a:pt x="1028" y="2"/>
                  </a:lnTo>
                  <a:lnTo>
                    <a:pt x="1002" y="0"/>
                  </a:lnTo>
                  <a:lnTo>
                    <a:pt x="988" y="0"/>
                  </a:lnTo>
                  <a:lnTo>
                    <a:pt x="976" y="0"/>
                  </a:lnTo>
                  <a:lnTo>
                    <a:pt x="964" y="1"/>
                  </a:lnTo>
                  <a:lnTo>
                    <a:pt x="954" y="3"/>
                  </a:lnTo>
                  <a:lnTo>
                    <a:pt x="954" y="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99" name="Freeform 136">
              <a:extLst>
                <a:ext uri="{FF2B5EF4-FFF2-40B4-BE49-F238E27FC236}">
                  <a16:creationId xmlns:a16="http://schemas.microsoft.com/office/drawing/2014/main" id="{B06EEF04-C47B-4766-B813-012EAC7A0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219" y="3445825"/>
              <a:ext cx="779274" cy="546426"/>
            </a:xfrm>
            <a:custGeom>
              <a:avLst/>
              <a:gdLst>
                <a:gd name="T0" fmla="*/ 890 w 3106"/>
                <a:gd name="T1" fmla="*/ 104 h 2251"/>
                <a:gd name="T2" fmla="*/ 690 w 3106"/>
                <a:gd name="T3" fmla="*/ 128 h 2251"/>
                <a:gd name="T4" fmla="*/ 660 w 3106"/>
                <a:gd name="T5" fmla="*/ 327 h 2251"/>
                <a:gd name="T6" fmla="*/ 517 w 3106"/>
                <a:gd name="T7" fmla="*/ 332 h 2251"/>
                <a:gd name="T8" fmla="*/ 386 w 3106"/>
                <a:gd name="T9" fmla="*/ 496 h 2251"/>
                <a:gd name="T10" fmla="*/ 249 w 3106"/>
                <a:gd name="T11" fmla="*/ 563 h 2251"/>
                <a:gd name="T12" fmla="*/ 5 w 3106"/>
                <a:gd name="T13" fmla="*/ 577 h 2251"/>
                <a:gd name="T14" fmla="*/ 68 w 3106"/>
                <a:gd name="T15" fmla="*/ 714 h 2251"/>
                <a:gd name="T16" fmla="*/ 243 w 3106"/>
                <a:gd name="T17" fmla="*/ 783 h 2251"/>
                <a:gd name="T18" fmla="*/ 133 w 3106"/>
                <a:gd name="T19" fmla="*/ 951 h 2251"/>
                <a:gd name="T20" fmla="*/ 210 w 3106"/>
                <a:gd name="T21" fmla="*/ 1018 h 2251"/>
                <a:gd name="T22" fmla="*/ 379 w 3106"/>
                <a:gd name="T23" fmla="*/ 1055 h 2251"/>
                <a:gd name="T24" fmla="*/ 528 w 3106"/>
                <a:gd name="T25" fmla="*/ 1157 h 2251"/>
                <a:gd name="T26" fmla="*/ 576 w 3106"/>
                <a:gd name="T27" fmla="*/ 1292 h 2251"/>
                <a:gd name="T28" fmla="*/ 709 w 3106"/>
                <a:gd name="T29" fmla="*/ 1345 h 2251"/>
                <a:gd name="T30" fmla="*/ 719 w 3106"/>
                <a:gd name="T31" fmla="*/ 1542 h 2251"/>
                <a:gd name="T32" fmla="*/ 907 w 3106"/>
                <a:gd name="T33" fmla="*/ 1555 h 2251"/>
                <a:gd name="T34" fmla="*/ 1051 w 3106"/>
                <a:gd name="T35" fmla="*/ 1606 h 2251"/>
                <a:gd name="T36" fmla="*/ 1035 w 3106"/>
                <a:gd name="T37" fmla="*/ 1705 h 2251"/>
                <a:gd name="T38" fmla="*/ 1077 w 3106"/>
                <a:gd name="T39" fmla="*/ 1805 h 2251"/>
                <a:gd name="T40" fmla="*/ 1037 w 3106"/>
                <a:gd name="T41" fmla="*/ 1969 h 2251"/>
                <a:gd name="T42" fmla="*/ 1125 w 3106"/>
                <a:gd name="T43" fmla="*/ 2149 h 2251"/>
                <a:gd name="T44" fmla="*/ 1206 w 3106"/>
                <a:gd name="T45" fmla="*/ 2216 h 2251"/>
                <a:gd name="T46" fmla="*/ 1373 w 3106"/>
                <a:gd name="T47" fmla="*/ 2227 h 2251"/>
                <a:gd name="T48" fmla="*/ 1703 w 3106"/>
                <a:gd name="T49" fmla="*/ 2238 h 2251"/>
                <a:gd name="T50" fmla="*/ 1857 w 3106"/>
                <a:gd name="T51" fmla="*/ 2194 h 2251"/>
                <a:gd name="T52" fmla="*/ 1953 w 3106"/>
                <a:gd name="T53" fmla="*/ 2136 h 2251"/>
                <a:gd name="T54" fmla="*/ 1893 w 3106"/>
                <a:gd name="T55" fmla="*/ 2077 h 2251"/>
                <a:gd name="T56" fmla="*/ 1823 w 3106"/>
                <a:gd name="T57" fmla="*/ 2043 h 2251"/>
                <a:gd name="T58" fmla="*/ 2074 w 3106"/>
                <a:gd name="T59" fmla="*/ 2006 h 2251"/>
                <a:gd name="T60" fmla="*/ 2180 w 3106"/>
                <a:gd name="T61" fmla="*/ 2127 h 2251"/>
                <a:gd name="T62" fmla="*/ 2299 w 3106"/>
                <a:gd name="T63" fmla="*/ 2117 h 2251"/>
                <a:gd name="T64" fmla="*/ 2378 w 3106"/>
                <a:gd name="T65" fmla="*/ 1826 h 2251"/>
                <a:gd name="T66" fmla="*/ 2526 w 3106"/>
                <a:gd name="T67" fmla="*/ 1876 h 2251"/>
                <a:gd name="T68" fmla="*/ 2531 w 3106"/>
                <a:gd name="T69" fmla="*/ 2071 h 2251"/>
                <a:gd name="T70" fmla="*/ 2740 w 3106"/>
                <a:gd name="T71" fmla="*/ 2025 h 2251"/>
                <a:gd name="T72" fmla="*/ 2887 w 3106"/>
                <a:gd name="T73" fmla="*/ 1981 h 2251"/>
                <a:gd name="T74" fmla="*/ 3001 w 3106"/>
                <a:gd name="T75" fmla="*/ 2019 h 2251"/>
                <a:gd name="T76" fmla="*/ 3101 w 3106"/>
                <a:gd name="T77" fmla="*/ 1995 h 2251"/>
                <a:gd name="T78" fmla="*/ 3041 w 3106"/>
                <a:gd name="T79" fmla="*/ 1866 h 2251"/>
                <a:gd name="T80" fmla="*/ 2989 w 3106"/>
                <a:gd name="T81" fmla="*/ 1687 h 2251"/>
                <a:gd name="T82" fmla="*/ 2990 w 3106"/>
                <a:gd name="T83" fmla="*/ 1655 h 2251"/>
                <a:gd name="T84" fmla="*/ 2987 w 3106"/>
                <a:gd name="T85" fmla="*/ 1590 h 2251"/>
                <a:gd name="T86" fmla="*/ 2896 w 3106"/>
                <a:gd name="T87" fmla="*/ 1584 h 2251"/>
                <a:gd name="T88" fmla="*/ 2848 w 3106"/>
                <a:gd name="T89" fmla="*/ 1450 h 2251"/>
                <a:gd name="T90" fmla="*/ 2590 w 3106"/>
                <a:gd name="T91" fmla="*/ 1407 h 2251"/>
                <a:gd name="T92" fmla="*/ 2458 w 3106"/>
                <a:gd name="T93" fmla="*/ 1314 h 2251"/>
                <a:gd name="T94" fmla="*/ 2359 w 3106"/>
                <a:gd name="T95" fmla="*/ 1131 h 2251"/>
                <a:gd name="T96" fmla="*/ 2038 w 3106"/>
                <a:gd name="T97" fmla="*/ 1028 h 2251"/>
                <a:gd name="T98" fmla="*/ 1821 w 3106"/>
                <a:gd name="T99" fmla="*/ 1017 h 2251"/>
                <a:gd name="T100" fmla="*/ 1443 w 3106"/>
                <a:gd name="T101" fmla="*/ 754 h 2251"/>
                <a:gd name="T102" fmla="*/ 1305 w 3106"/>
                <a:gd name="T103" fmla="*/ 836 h 2251"/>
                <a:gd name="T104" fmla="*/ 1243 w 3106"/>
                <a:gd name="T105" fmla="*/ 700 h 2251"/>
                <a:gd name="T106" fmla="*/ 1040 w 3106"/>
                <a:gd name="T107" fmla="*/ 818 h 2251"/>
                <a:gd name="T108" fmla="*/ 1067 w 3106"/>
                <a:gd name="T109" fmla="*/ 679 h 2251"/>
                <a:gd name="T110" fmla="*/ 1127 w 3106"/>
                <a:gd name="T111" fmla="*/ 559 h 2251"/>
                <a:gd name="T112" fmla="*/ 1120 w 3106"/>
                <a:gd name="T113" fmla="*/ 474 h 2251"/>
                <a:gd name="T114" fmla="*/ 1095 w 3106"/>
                <a:gd name="T115" fmla="*/ 353 h 2251"/>
                <a:gd name="T116" fmla="*/ 1058 w 3106"/>
                <a:gd name="T117" fmla="*/ 219 h 2251"/>
                <a:gd name="T118" fmla="*/ 1173 w 3106"/>
                <a:gd name="T119" fmla="*/ 100 h 2251"/>
                <a:gd name="T120" fmla="*/ 964 w 3106"/>
                <a:gd name="T121" fmla="*/ 1 h 2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06" h="2251">
                  <a:moveTo>
                    <a:pt x="954" y="3"/>
                  </a:moveTo>
                  <a:lnTo>
                    <a:pt x="943" y="5"/>
                  </a:lnTo>
                  <a:lnTo>
                    <a:pt x="932" y="7"/>
                  </a:lnTo>
                  <a:lnTo>
                    <a:pt x="921" y="8"/>
                  </a:lnTo>
                  <a:lnTo>
                    <a:pt x="912" y="11"/>
                  </a:lnTo>
                  <a:lnTo>
                    <a:pt x="909" y="16"/>
                  </a:lnTo>
                  <a:lnTo>
                    <a:pt x="907" y="21"/>
                  </a:lnTo>
                  <a:lnTo>
                    <a:pt x="906" y="27"/>
                  </a:lnTo>
                  <a:lnTo>
                    <a:pt x="905" y="32"/>
                  </a:lnTo>
                  <a:lnTo>
                    <a:pt x="904" y="45"/>
                  </a:lnTo>
                  <a:lnTo>
                    <a:pt x="904" y="57"/>
                  </a:lnTo>
                  <a:lnTo>
                    <a:pt x="903" y="69"/>
                  </a:lnTo>
                  <a:lnTo>
                    <a:pt x="901" y="81"/>
                  </a:lnTo>
                  <a:lnTo>
                    <a:pt x="900" y="88"/>
                  </a:lnTo>
                  <a:lnTo>
                    <a:pt x="897" y="93"/>
                  </a:lnTo>
                  <a:lnTo>
                    <a:pt x="894" y="99"/>
                  </a:lnTo>
                  <a:lnTo>
                    <a:pt x="890" y="104"/>
                  </a:lnTo>
                  <a:lnTo>
                    <a:pt x="887" y="109"/>
                  </a:lnTo>
                  <a:lnTo>
                    <a:pt x="883" y="112"/>
                  </a:lnTo>
                  <a:lnTo>
                    <a:pt x="879" y="115"/>
                  </a:lnTo>
                  <a:lnTo>
                    <a:pt x="874" y="117"/>
                  </a:lnTo>
                  <a:lnTo>
                    <a:pt x="864" y="121"/>
                  </a:lnTo>
                  <a:lnTo>
                    <a:pt x="853" y="123"/>
                  </a:lnTo>
                  <a:lnTo>
                    <a:pt x="841" y="124"/>
                  </a:lnTo>
                  <a:lnTo>
                    <a:pt x="829" y="124"/>
                  </a:lnTo>
                  <a:lnTo>
                    <a:pt x="815" y="124"/>
                  </a:lnTo>
                  <a:lnTo>
                    <a:pt x="802" y="122"/>
                  </a:lnTo>
                  <a:lnTo>
                    <a:pt x="774" y="119"/>
                  </a:lnTo>
                  <a:lnTo>
                    <a:pt x="747" y="117"/>
                  </a:lnTo>
                  <a:lnTo>
                    <a:pt x="735" y="117"/>
                  </a:lnTo>
                  <a:lnTo>
                    <a:pt x="722" y="118"/>
                  </a:lnTo>
                  <a:lnTo>
                    <a:pt x="711" y="120"/>
                  </a:lnTo>
                  <a:lnTo>
                    <a:pt x="700" y="123"/>
                  </a:lnTo>
                  <a:lnTo>
                    <a:pt x="690" y="128"/>
                  </a:lnTo>
                  <a:lnTo>
                    <a:pt x="683" y="134"/>
                  </a:lnTo>
                  <a:lnTo>
                    <a:pt x="676" y="141"/>
                  </a:lnTo>
                  <a:lnTo>
                    <a:pt x="671" y="148"/>
                  </a:lnTo>
                  <a:lnTo>
                    <a:pt x="668" y="157"/>
                  </a:lnTo>
                  <a:lnTo>
                    <a:pt x="666" y="165"/>
                  </a:lnTo>
                  <a:lnTo>
                    <a:pt x="665" y="174"/>
                  </a:lnTo>
                  <a:lnTo>
                    <a:pt x="665" y="184"/>
                  </a:lnTo>
                  <a:lnTo>
                    <a:pt x="669" y="223"/>
                  </a:lnTo>
                  <a:lnTo>
                    <a:pt x="673" y="264"/>
                  </a:lnTo>
                  <a:lnTo>
                    <a:pt x="673" y="270"/>
                  </a:lnTo>
                  <a:lnTo>
                    <a:pt x="673" y="278"/>
                  </a:lnTo>
                  <a:lnTo>
                    <a:pt x="672" y="285"/>
                  </a:lnTo>
                  <a:lnTo>
                    <a:pt x="671" y="293"/>
                  </a:lnTo>
                  <a:lnTo>
                    <a:pt x="669" y="302"/>
                  </a:lnTo>
                  <a:lnTo>
                    <a:pt x="666" y="310"/>
                  </a:lnTo>
                  <a:lnTo>
                    <a:pt x="663" y="318"/>
                  </a:lnTo>
                  <a:lnTo>
                    <a:pt x="660" y="327"/>
                  </a:lnTo>
                  <a:lnTo>
                    <a:pt x="656" y="335"/>
                  </a:lnTo>
                  <a:lnTo>
                    <a:pt x="650" y="341"/>
                  </a:lnTo>
                  <a:lnTo>
                    <a:pt x="645" y="349"/>
                  </a:lnTo>
                  <a:lnTo>
                    <a:pt x="639" y="354"/>
                  </a:lnTo>
                  <a:lnTo>
                    <a:pt x="633" y="359"/>
                  </a:lnTo>
                  <a:lnTo>
                    <a:pt x="626" y="362"/>
                  </a:lnTo>
                  <a:lnTo>
                    <a:pt x="619" y="364"/>
                  </a:lnTo>
                  <a:lnTo>
                    <a:pt x="612" y="365"/>
                  </a:lnTo>
                  <a:lnTo>
                    <a:pt x="602" y="364"/>
                  </a:lnTo>
                  <a:lnTo>
                    <a:pt x="594" y="363"/>
                  </a:lnTo>
                  <a:lnTo>
                    <a:pt x="585" y="360"/>
                  </a:lnTo>
                  <a:lnTo>
                    <a:pt x="576" y="357"/>
                  </a:lnTo>
                  <a:lnTo>
                    <a:pt x="560" y="350"/>
                  </a:lnTo>
                  <a:lnTo>
                    <a:pt x="543" y="341"/>
                  </a:lnTo>
                  <a:lnTo>
                    <a:pt x="534" y="338"/>
                  </a:lnTo>
                  <a:lnTo>
                    <a:pt x="525" y="335"/>
                  </a:lnTo>
                  <a:lnTo>
                    <a:pt x="517" y="332"/>
                  </a:lnTo>
                  <a:lnTo>
                    <a:pt x="508" y="331"/>
                  </a:lnTo>
                  <a:lnTo>
                    <a:pt x="498" y="331"/>
                  </a:lnTo>
                  <a:lnTo>
                    <a:pt x="489" y="332"/>
                  </a:lnTo>
                  <a:lnTo>
                    <a:pt x="479" y="334"/>
                  </a:lnTo>
                  <a:lnTo>
                    <a:pt x="469" y="338"/>
                  </a:lnTo>
                  <a:lnTo>
                    <a:pt x="449" y="349"/>
                  </a:lnTo>
                  <a:lnTo>
                    <a:pt x="434" y="358"/>
                  </a:lnTo>
                  <a:lnTo>
                    <a:pt x="421" y="367"/>
                  </a:lnTo>
                  <a:lnTo>
                    <a:pt x="411" y="378"/>
                  </a:lnTo>
                  <a:lnTo>
                    <a:pt x="403" y="387"/>
                  </a:lnTo>
                  <a:lnTo>
                    <a:pt x="398" y="398"/>
                  </a:lnTo>
                  <a:lnTo>
                    <a:pt x="395" y="407"/>
                  </a:lnTo>
                  <a:lnTo>
                    <a:pt x="393" y="418"/>
                  </a:lnTo>
                  <a:lnTo>
                    <a:pt x="391" y="440"/>
                  </a:lnTo>
                  <a:lnTo>
                    <a:pt x="390" y="466"/>
                  </a:lnTo>
                  <a:lnTo>
                    <a:pt x="388" y="480"/>
                  </a:lnTo>
                  <a:lnTo>
                    <a:pt x="386" y="496"/>
                  </a:lnTo>
                  <a:lnTo>
                    <a:pt x="381" y="511"/>
                  </a:lnTo>
                  <a:lnTo>
                    <a:pt x="375" y="529"/>
                  </a:lnTo>
                  <a:lnTo>
                    <a:pt x="372" y="536"/>
                  </a:lnTo>
                  <a:lnTo>
                    <a:pt x="369" y="543"/>
                  </a:lnTo>
                  <a:lnTo>
                    <a:pt x="365" y="549"/>
                  </a:lnTo>
                  <a:lnTo>
                    <a:pt x="361" y="554"/>
                  </a:lnTo>
                  <a:lnTo>
                    <a:pt x="356" y="559"/>
                  </a:lnTo>
                  <a:lnTo>
                    <a:pt x="351" y="562"/>
                  </a:lnTo>
                  <a:lnTo>
                    <a:pt x="346" y="566"/>
                  </a:lnTo>
                  <a:lnTo>
                    <a:pt x="341" y="569"/>
                  </a:lnTo>
                  <a:lnTo>
                    <a:pt x="329" y="573"/>
                  </a:lnTo>
                  <a:lnTo>
                    <a:pt x="318" y="574"/>
                  </a:lnTo>
                  <a:lnTo>
                    <a:pt x="304" y="575"/>
                  </a:lnTo>
                  <a:lnTo>
                    <a:pt x="292" y="573"/>
                  </a:lnTo>
                  <a:lnTo>
                    <a:pt x="277" y="571"/>
                  </a:lnTo>
                  <a:lnTo>
                    <a:pt x="264" y="568"/>
                  </a:lnTo>
                  <a:lnTo>
                    <a:pt x="249" y="563"/>
                  </a:lnTo>
                  <a:lnTo>
                    <a:pt x="235" y="559"/>
                  </a:lnTo>
                  <a:lnTo>
                    <a:pt x="207" y="551"/>
                  </a:lnTo>
                  <a:lnTo>
                    <a:pt x="181" y="545"/>
                  </a:lnTo>
                  <a:lnTo>
                    <a:pt x="162" y="542"/>
                  </a:lnTo>
                  <a:lnTo>
                    <a:pt x="141" y="541"/>
                  </a:lnTo>
                  <a:lnTo>
                    <a:pt x="118" y="539"/>
                  </a:lnTo>
                  <a:lnTo>
                    <a:pt x="95" y="542"/>
                  </a:lnTo>
                  <a:lnTo>
                    <a:pt x="82" y="543"/>
                  </a:lnTo>
                  <a:lnTo>
                    <a:pt x="71" y="545"/>
                  </a:lnTo>
                  <a:lnTo>
                    <a:pt x="60" y="547"/>
                  </a:lnTo>
                  <a:lnTo>
                    <a:pt x="50" y="550"/>
                  </a:lnTo>
                  <a:lnTo>
                    <a:pt x="39" y="553"/>
                  </a:lnTo>
                  <a:lnTo>
                    <a:pt x="30" y="557"/>
                  </a:lnTo>
                  <a:lnTo>
                    <a:pt x="21" y="562"/>
                  </a:lnTo>
                  <a:lnTo>
                    <a:pt x="13" y="568"/>
                  </a:lnTo>
                  <a:lnTo>
                    <a:pt x="8" y="572"/>
                  </a:lnTo>
                  <a:lnTo>
                    <a:pt x="5" y="577"/>
                  </a:lnTo>
                  <a:lnTo>
                    <a:pt x="2" y="581"/>
                  </a:lnTo>
                  <a:lnTo>
                    <a:pt x="1" y="587"/>
                  </a:lnTo>
                  <a:lnTo>
                    <a:pt x="0" y="593"/>
                  </a:lnTo>
                  <a:lnTo>
                    <a:pt x="0" y="598"/>
                  </a:lnTo>
                  <a:lnTo>
                    <a:pt x="1" y="604"/>
                  </a:lnTo>
                  <a:lnTo>
                    <a:pt x="2" y="610"/>
                  </a:lnTo>
                  <a:lnTo>
                    <a:pt x="9" y="634"/>
                  </a:lnTo>
                  <a:lnTo>
                    <a:pt x="14" y="656"/>
                  </a:lnTo>
                  <a:lnTo>
                    <a:pt x="15" y="667"/>
                  </a:lnTo>
                  <a:lnTo>
                    <a:pt x="19" y="675"/>
                  </a:lnTo>
                  <a:lnTo>
                    <a:pt x="23" y="682"/>
                  </a:lnTo>
                  <a:lnTo>
                    <a:pt x="27" y="689"/>
                  </a:lnTo>
                  <a:lnTo>
                    <a:pt x="33" y="694"/>
                  </a:lnTo>
                  <a:lnTo>
                    <a:pt x="39" y="698"/>
                  </a:lnTo>
                  <a:lnTo>
                    <a:pt x="46" y="702"/>
                  </a:lnTo>
                  <a:lnTo>
                    <a:pt x="53" y="706"/>
                  </a:lnTo>
                  <a:lnTo>
                    <a:pt x="68" y="714"/>
                  </a:lnTo>
                  <a:lnTo>
                    <a:pt x="82" y="722"/>
                  </a:lnTo>
                  <a:lnTo>
                    <a:pt x="88" y="727"/>
                  </a:lnTo>
                  <a:lnTo>
                    <a:pt x="95" y="732"/>
                  </a:lnTo>
                  <a:lnTo>
                    <a:pt x="101" y="740"/>
                  </a:lnTo>
                  <a:lnTo>
                    <a:pt x="105" y="749"/>
                  </a:lnTo>
                  <a:lnTo>
                    <a:pt x="109" y="754"/>
                  </a:lnTo>
                  <a:lnTo>
                    <a:pt x="113" y="759"/>
                  </a:lnTo>
                  <a:lnTo>
                    <a:pt x="120" y="763"/>
                  </a:lnTo>
                  <a:lnTo>
                    <a:pt x="128" y="766"/>
                  </a:lnTo>
                  <a:lnTo>
                    <a:pt x="136" y="768"/>
                  </a:lnTo>
                  <a:lnTo>
                    <a:pt x="146" y="770"/>
                  </a:lnTo>
                  <a:lnTo>
                    <a:pt x="155" y="772"/>
                  </a:lnTo>
                  <a:lnTo>
                    <a:pt x="166" y="773"/>
                  </a:lnTo>
                  <a:lnTo>
                    <a:pt x="205" y="776"/>
                  </a:lnTo>
                  <a:lnTo>
                    <a:pt x="236" y="776"/>
                  </a:lnTo>
                  <a:lnTo>
                    <a:pt x="240" y="779"/>
                  </a:lnTo>
                  <a:lnTo>
                    <a:pt x="243" y="783"/>
                  </a:lnTo>
                  <a:lnTo>
                    <a:pt x="245" y="786"/>
                  </a:lnTo>
                  <a:lnTo>
                    <a:pt x="246" y="789"/>
                  </a:lnTo>
                  <a:lnTo>
                    <a:pt x="247" y="795"/>
                  </a:lnTo>
                  <a:lnTo>
                    <a:pt x="246" y="801"/>
                  </a:lnTo>
                  <a:lnTo>
                    <a:pt x="244" y="808"/>
                  </a:lnTo>
                  <a:lnTo>
                    <a:pt x="240" y="815"/>
                  </a:lnTo>
                  <a:lnTo>
                    <a:pt x="234" y="821"/>
                  </a:lnTo>
                  <a:lnTo>
                    <a:pt x="228" y="827"/>
                  </a:lnTo>
                  <a:lnTo>
                    <a:pt x="214" y="839"/>
                  </a:lnTo>
                  <a:lnTo>
                    <a:pt x="198" y="849"/>
                  </a:lnTo>
                  <a:lnTo>
                    <a:pt x="184" y="859"/>
                  </a:lnTo>
                  <a:lnTo>
                    <a:pt x="174" y="864"/>
                  </a:lnTo>
                  <a:lnTo>
                    <a:pt x="156" y="891"/>
                  </a:lnTo>
                  <a:lnTo>
                    <a:pt x="143" y="912"/>
                  </a:lnTo>
                  <a:lnTo>
                    <a:pt x="138" y="922"/>
                  </a:lnTo>
                  <a:lnTo>
                    <a:pt x="135" y="935"/>
                  </a:lnTo>
                  <a:lnTo>
                    <a:pt x="133" y="951"/>
                  </a:lnTo>
                  <a:lnTo>
                    <a:pt x="132" y="970"/>
                  </a:lnTo>
                  <a:lnTo>
                    <a:pt x="130" y="986"/>
                  </a:lnTo>
                  <a:lnTo>
                    <a:pt x="128" y="1009"/>
                  </a:lnTo>
                  <a:lnTo>
                    <a:pt x="128" y="1020"/>
                  </a:lnTo>
                  <a:lnTo>
                    <a:pt x="130" y="1030"/>
                  </a:lnTo>
                  <a:lnTo>
                    <a:pt x="132" y="1033"/>
                  </a:lnTo>
                  <a:lnTo>
                    <a:pt x="135" y="1036"/>
                  </a:lnTo>
                  <a:lnTo>
                    <a:pt x="138" y="1037"/>
                  </a:lnTo>
                  <a:lnTo>
                    <a:pt x="143" y="1038"/>
                  </a:lnTo>
                  <a:lnTo>
                    <a:pt x="151" y="1038"/>
                  </a:lnTo>
                  <a:lnTo>
                    <a:pt x="158" y="1037"/>
                  </a:lnTo>
                  <a:lnTo>
                    <a:pt x="166" y="1035"/>
                  </a:lnTo>
                  <a:lnTo>
                    <a:pt x="172" y="1033"/>
                  </a:lnTo>
                  <a:lnTo>
                    <a:pt x="185" y="1028"/>
                  </a:lnTo>
                  <a:lnTo>
                    <a:pt x="198" y="1022"/>
                  </a:lnTo>
                  <a:lnTo>
                    <a:pt x="204" y="1020"/>
                  </a:lnTo>
                  <a:lnTo>
                    <a:pt x="210" y="1018"/>
                  </a:lnTo>
                  <a:lnTo>
                    <a:pt x="218" y="1017"/>
                  </a:lnTo>
                  <a:lnTo>
                    <a:pt x="225" y="1017"/>
                  </a:lnTo>
                  <a:lnTo>
                    <a:pt x="233" y="1017"/>
                  </a:lnTo>
                  <a:lnTo>
                    <a:pt x="242" y="1018"/>
                  </a:lnTo>
                  <a:lnTo>
                    <a:pt x="251" y="1020"/>
                  </a:lnTo>
                  <a:lnTo>
                    <a:pt x="260" y="1025"/>
                  </a:lnTo>
                  <a:lnTo>
                    <a:pt x="274" y="1029"/>
                  </a:lnTo>
                  <a:lnTo>
                    <a:pt x="289" y="1032"/>
                  </a:lnTo>
                  <a:lnTo>
                    <a:pt x="303" y="1033"/>
                  </a:lnTo>
                  <a:lnTo>
                    <a:pt x="319" y="1034"/>
                  </a:lnTo>
                  <a:lnTo>
                    <a:pt x="334" y="1034"/>
                  </a:lnTo>
                  <a:lnTo>
                    <a:pt x="350" y="1035"/>
                  </a:lnTo>
                  <a:lnTo>
                    <a:pt x="365" y="1036"/>
                  </a:lnTo>
                  <a:lnTo>
                    <a:pt x="378" y="1039"/>
                  </a:lnTo>
                  <a:lnTo>
                    <a:pt x="379" y="1043"/>
                  </a:lnTo>
                  <a:lnTo>
                    <a:pt x="380" y="1049"/>
                  </a:lnTo>
                  <a:lnTo>
                    <a:pt x="379" y="1055"/>
                  </a:lnTo>
                  <a:lnTo>
                    <a:pt x="378" y="1061"/>
                  </a:lnTo>
                  <a:lnTo>
                    <a:pt x="375" y="1077"/>
                  </a:lnTo>
                  <a:lnTo>
                    <a:pt x="372" y="1093"/>
                  </a:lnTo>
                  <a:lnTo>
                    <a:pt x="368" y="1109"/>
                  </a:lnTo>
                  <a:lnTo>
                    <a:pt x="366" y="1123"/>
                  </a:lnTo>
                  <a:lnTo>
                    <a:pt x="365" y="1128"/>
                  </a:lnTo>
                  <a:lnTo>
                    <a:pt x="366" y="1132"/>
                  </a:lnTo>
                  <a:lnTo>
                    <a:pt x="367" y="1135"/>
                  </a:lnTo>
                  <a:lnTo>
                    <a:pt x="369" y="1136"/>
                  </a:lnTo>
                  <a:lnTo>
                    <a:pt x="373" y="1139"/>
                  </a:lnTo>
                  <a:lnTo>
                    <a:pt x="381" y="1141"/>
                  </a:lnTo>
                  <a:lnTo>
                    <a:pt x="393" y="1142"/>
                  </a:lnTo>
                  <a:lnTo>
                    <a:pt x="407" y="1144"/>
                  </a:lnTo>
                  <a:lnTo>
                    <a:pt x="435" y="1146"/>
                  </a:lnTo>
                  <a:lnTo>
                    <a:pt x="451" y="1147"/>
                  </a:lnTo>
                  <a:lnTo>
                    <a:pt x="483" y="1150"/>
                  </a:lnTo>
                  <a:lnTo>
                    <a:pt x="528" y="1157"/>
                  </a:lnTo>
                  <a:lnTo>
                    <a:pt x="540" y="1160"/>
                  </a:lnTo>
                  <a:lnTo>
                    <a:pt x="551" y="1163"/>
                  </a:lnTo>
                  <a:lnTo>
                    <a:pt x="562" y="1166"/>
                  </a:lnTo>
                  <a:lnTo>
                    <a:pt x="570" y="1170"/>
                  </a:lnTo>
                  <a:lnTo>
                    <a:pt x="578" y="1174"/>
                  </a:lnTo>
                  <a:lnTo>
                    <a:pt x="584" y="1178"/>
                  </a:lnTo>
                  <a:lnTo>
                    <a:pt x="586" y="1181"/>
                  </a:lnTo>
                  <a:lnTo>
                    <a:pt x="588" y="1183"/>
                  </a:lnTo>
                  <a:lnTo>
                    <a:pt x="589" y="1185"/>
                  </a:lnTo>
                  <a:lnTo>
                    <a:pt x="589" y="1188"/>
                  </a:lnTo>
                  <a:lnTo>
                    <a:pt x="589" y="1203"/>
                  </a:lnTo>
                  <a:lnTo>
                    <a:pt x="588" y="1217"/>
                  </a:lnTo>
                  <a:lnTo>
                    <a:pt x="586" y="1230"/>
                  </a:lnTo>
                  <a:lnTo>
                    <a:pt x="584" y="1243"/>
                  </a:lnTo>
                  <a:lnTo>
                    <a:pt x="578" y="1265"/>
                  </a:lnTo>
                  <a:lnTo>
                    <a:pt x="576" y="1283"/>
                  </a:lnTo>
                  <a:lnTo>
                    <a:pt x="576" y="1292"/>
                  </a:lnTo>
                  <a:lnTo>
                    <a:pt x="578" y="1298"/>
                  </a:lnTo>
                  <a:lnTo>
                    <a:pt x="579" y="1301"/>
                  </a:lnTo>
                  <a:lnTo>
                    <a:pt x="583" y="1304"/>
                  </a:lnTo>
                  <a:lnTo>
                    <a:pt x="585" y="1307"/>
                  </a:lnTo>
                  <a:lnTo>
                    <a:pt x="588" y="1309"/>
                  </a:lnTo>
                  <a:lnTo>
                    <a:pt x="597" y="1314"/>
                  </a:lnTo>
                  <a:lnTo>
                    <a:pt x="609" y="1317"/>
                  </a:lnTo>
                  <a:lnTo>
                    <a:pt x="623" y="1319"/>
                  </a:lnTo>
                  <a:lnTo>
                    <a:pt x="642" y="1321"/>
                  </a:lnTo>
                  <a:lnTo>
                    <a:pt x="661" y="1322"/>
                  </a:lnTo>
                  <a:lnTo>
                    <a:pt x="676" y="1324"/>
                  </a:lnTo>
                  <a:lnTo>
                    <a:pt x="688" y="1328"/>
                  </a:lnTo>
                  <a:lnTo>
                    <a:pt x="697" y="1332"/>
                  </a:lnTo>
                  <a:lnTo>
                    <a:pt x="701" y="1335"/>
                  </a:lnTo>
                  <a:lnTo>
                    <a:pt x="705" y="1339"/>
                  </a:lnTo>
                  <a:lnTo>
                    <a:pt x="707" y="1342"/>
                  </a:lnTo>
                  <a:lnTo>
                    <a:pt x="709" y="1345"/>
                  </a:lnTo>
                  <a:lnTo>
                    <a:pt x="712" y="1353"/>
                  </a:lnTo>
                  <a:lnTo>
                    <a:pt x="713" y="1362"/>
                  </a:lnTo>
                  <a:lnTo>
                    <a:pt x="713" y="1371"/>
                  </a:lnTo>
                  <a:lnTo>
                    <a:pt x="712" y="1380"/>
                  </a:lnTo>
                  <a:lnTo>
                    <a:pt x="710" y="1391"/>
                  </a:lnTo>
                  <a:lnTo>
                    <a:pt x="708" y="1402"/>
                  </a:lnTo>
                  <a:lnTo>
                    <a:pt x="706" y="1415"/>
                  </a:lnTo>
                  <a:lnTo>
                    <a:pt x="704" y="1426"/>
                  </a:lnTo>
                  <a:lnTo>
                    <a:pt x="703" y="1440"/>
                  </a:lnTo>
                  <a:lnTo>
                    <a:pt x="701" y="1452"/>
                  </a:lnTo>
                  <a:lnTo>
                    <a:pt x="701" y="1472"/>
                  </a:lnTo>
                  <a:lnTo>
                    <a:pt x="703" y="1499"/>
                  </a:lnTo>
                  <a:lnTo>
                    <a:pt x="704" y="1514"/>
                  </a:lnTo>
                  <a:lnTo>
                    <a:pt x="706" y="1525"/>
                  </a:lnTo>
                  <a:lnTo>
                    <a:pt x="708" y="1536"/>
                  </a:lnTo>
                  <a:lnTo>
                    <a:pt x="711" y="1542"/>
                  </a:lnTo>
                  <a:lnTo>
                    <a:pt x="719" y="1542"/>
                  </a:lnTo>
                  <a:lnTo>
                    <a:pt x="727" y="1540"/>
                  </a:lnTo>
                  <a:lnTo>
                    <a:pt x="735" y="1538"/>
                  </a:lnTo>
                  <a:lnTo>
                    <a:pt x="742" y="1535"/>
                  </a:lnTo>
                  <a:lnTo>
                    <a:pt x="759" y="1527"/>
                  </a:lnTo>
                  <a:lnTo>
                    <a:pt x="776" y="1518"/>
                  </a:lnTo>
                  <a:lnTo>
                    <a:pt x="792" y="1510"/>
                  </a:lnTo>
                  <a:lnTo>
                    <a:pt x="809" y="1501"/>
                  </a:lnTo>
                  <a:lnTo>
                    <a:pt x="817" y="1499"/>
                  </a:lnTo>
                  <a:lnTo>
                    <a:pt x="826" y="1496"/>
                  </a:lnTo>
                  <a:lnTo>
                    <a:pt x="834" y="1495"/>
                  </a:lnTo>
                  <a:lnTo>
                    <a:pt x="843" y="1494"/>
                  </a:lnTo>
                  <a:lnTo>
                    <a:pt x="859" y="1513"/>
                  </a:lnTo>
                  <a:lnTo>
                    <a:pt x="876" y="1534"/>
                  </a:lnTo>
                  <a:lnTo>
                    <a:pt x="885" y="1543"/>
                  </a:lnTo>
                  <a:lnTo>
                    <a:pt x="895" y="1550"/>
                  </a:lnTo>
                  <a:lnTo>
                    <a:pt x="901" y="1552"/>
                  </a:lnTo>
                  <a:lnTo>
                    <a:pt x="907" y="1555"/>
                  </a:lnTo>
                  <a:lnTo>
                    <a:pt x="913" y="1557"/>
                  </a:lnTo>
                  <a:lnTo>
                    <a:pt x="920" y="1557"/>
                  </a:lnTo>
                  <a:lnTo>
                    <a:pt x="943" y="1554"/>
                  </a:lnTo>
                  <a:lnTo>
                    <a:pt x="983" y="1545"/>
                  </a:lnTo>
                  <a:lnTo>
                    <a:pt x="1004" y="1540"/>
                  </a:lnTo>
                  <a:lnTo>
                    <a:pt x="1022" y="1536"/>
                  </a:lnTo>
                  <a:lnTo>
                    <a:pt x="1034" y="1533"/>
                  </a:lnTo>
                  <a:lnTo>
                    <a:pt x="1040" y="1530"/>
                  </a:lnTo>
                  <a:lnTo>
                    <a:pt x="1041" y="1531"/>
                  </a:lnTo>
                  <a:lnTo>
                    <a:pt x="1043" y="1533"/>
                  </a:lnTo>
                  <a:lnTo>
                    <a:pt x="1045" y="1535"/>
                  </a:lnTo>
                  <a:lnTo>
                    <a:pt x="1045" y="1539"/>
                  </a:lnTo>
                  <a:lnTo>
                    <a:pt x="1046" y="1549"/>
                  </a:lnTo>
                  <a:lnTo>
                    <a:pt x="1046" y="1562"/>
                  </a:lnTo>
                  <a:lnTo>
                    <a:pt x="1046" y="1586"/>
                  </a:lnTo>
                  <a:lnTo>
                    <a:pt x="1045" y="1600"/>
                  </a:lnTo>
                  <a:lnTo>
                    <a:pt x="1051" y="1606"/>
                  </a:lnTo>
                  <a:lnTo>
                    <a:pt x="1057" y="1610"/>
                  </a:lnTo>
                  <a:lnTo>
                    <a:pt x="1062" y="1615"/>
                  </a:lnTo>
                  <a:lnTo>
                    <a:pt x="1066" y="1621"/>
                  </a:lnTo>
                  <a:lnTo>
                    <a:pt x="1071" y="1628"/>
                  </a:lnTo>
                  <a:lnTo>
                    <a:pt x="1075" y="1633"/>
                  </a:lnTo>
                  <a:lnTo>
                    <a:pt x="1077" y="1639"/>
                  </a:lnTo>
                  <a:lnTo>
                    <a:pt x="1079" y="1645"/>
                  </a:lnTo>
                  <a:lnTo>
                    <a:pt x="1080" y="1652"/>
                  </a:lnTo>
                  <a:lnTo>
                    <a:pt x="1080" y="1658"/>
                  </a:lnTo>
                  <a:lnTo>
                    <a:pt x="1079" y="1664"/>
                  </a:lnTo>
                  <a:lnTo>
                    <a:pt x="1077" y="1670"/>
                  </a:lnTo>
                  <a:lnTo>
                    <a:pt x="1074" y="1677"/>
                  </a:lnTo>
                  <a:lnTo>
                    <a:pt x="1068" y="1682"/>
                  </a:lnTo>
                  <a:lnTo>
                    <a:pt x="1062" y="1687"/>
                  </a:lnTo>
                  <a:lnTo>
                    <a:pt x="1054" y="1691"/>
                  </a:lnTo>
                  <a:lnTo>
                    <a:pt x="1043" y="1697"/>
                  </a:lnTo>
                  <a:lnTo>
                    <a:pt x="1035" y="1705"/>
                  </a:lnTo>
                  <a:lnTo>
                    <a:pt x="1032" y="1709"/>
                  </a:lnTo>
                  <a:lnTo>
                    <a:pt x="1029" y="1712"/>
                  </a:lnTo>
                  <a:lnTo>
                    <a:pt x="1027" y="1716"/>
                  </a:lnTo>
                  <a:lnTo>
                    <a:pt x="1026" y="1720"/>
                  </a:lnTo>
                  <a:lnTo>
                    <a:pt x="1025" y="1726"/>
                  </a:lnTo>
                  <a:lnTo>
                    <a:pt x="1025" y="1730"/>
                  </a:lnTo>
                  <a:lnTo>
                    <a:pt x="1026" y="1734"/>
                  </a:lnTo>
                  <a:lnTo>
                    <a:pt x="1027" y="1739"/>
                  </a:lnTo>
                  <a:lnTo>
                    <a:pt x="1030" y="1743"/>
                  </a:lnTo>
                  <a:lnTo>
                    <a:pt x="1033" y="1749"/>
                  </a:lnTo>
                  <a:lnTo>
                    <a:pt x="1037" y="1753"/>
                  </a:lnTo>
                  <a:lnTo>
                    <a:pt x="1042" y="1758"/>
                  </a:lnTo>
                  <a:lnTo>
                    <a:pt x="1056" y="1770"/>
                  </a:lnTo>
                  <a:lnTo>
                    <a:pt x="1065" y="1781"/>
                  </a:lnTo>
                  <a:lnTo>
                    <a:pt x="1073" y="1790"/>
                  </a:lnTo>
                  <a:lnTo>
                    <a:pt x="1076" y="1798"/>
                  </a:lnTo>
                  <a:lnTo>
                    <a:pt x="1077" y="1805"/>
                  </a:lnTo>
                  <a:lnTo>
                    <a:pt x="1077" y="1810"/>
                  </a:lnTo>
                  <a:lnTo>
                    <a:pt x="1074" y="1815"/>
                  </a:lnTo>
                  <a:lnTo>
                    <a:pt x="1071" y="1821"/>
                  </a:lnTo>
                  <a:lnTo>
                    <a:pt x="1060" y="1830"/>
                  </a:lnTo>
                  <a:lnTo>
                    <a:pt x="1051" y="1840"/>
                  </a:lnTo>
                  <a:lnTo>
                    <a:pt x="1047" y="1847"/>
                  </a:lnTo>
                  <a:lnTo>
                    <a:pt x="1043" y="1854"/>
                  </a:lnTo>
                  <a:lnTo>
                    <a:pt x="1042" y="1862"/>
                  </a:lnTo>
                  <a:lnTo>
                    <a:pt x="1042" y="1872"/>
                  </a:lnTo>
                  <a:lnTo>
                    <a:pt x="1047" y="1886"/>
                  </a:lnTo>
                  <a:lnTo>
                    <a:pt x="1051" y="1901"/>
                  </a:lnTo>
                  <a:lnTo>
                    <a:pt x="1053" y="1908"/>
                  </a:lnTo>
                  <a:lnTo>
                    <a:pt x="1054" y="1916"/>
                  </a:lnTo>
                  <a:lnTo>
                    <a:pt x="1054" y="1923"/>
                  </a:lnTo>
                  <a:lnTo>
                    <a:pt x="1052" y="1931"/>
                  </a:lnTo>
                  <a:lnTo>
                    <a:pt x="1046" y="1951"/>
                  </a:lnTo>
                  <a:lnTo>
                    <a:pt x="1037" y="1969"/>
                  </a:lnTo>
                  <a:lnTo>
                    <a:pt x="1034" y="1977"/>
                  </a:lnTo>
                  <a:lnTo>
                    <a:pt x="1031" y="1986"/>
                  </a:lnTo>
                  <a:lnTo>
                    <a:pt x="1030" y="1997"/>
                  </a:lnTo>
                  <a:lnTo>
                    <a:pt x="1030" y="2009"/>
                  </a:lnTo>
                  <a:lnTo>
                    <a:pt x="1071" y="2133"/>
                  </a:lnTo>
                  <a:lnTo>
                    <a:pt x="1071" y="2133"/>
                  </a:lnTo>
                  <a:lnTo>
                    <a:pt x="1076" y="2135"/>
                  </a:lnTo>
                  <a:lnTo>
                    <a:pt x="1082" y="2138"/>
                  </a:lnTo>
                  <a:lnTo>
                    <a:pt x="1088" y="2142"/>
                  </a:lnTo>
                  <a:lnTo>
                    <a:pt x="1095" y="2146"/>
                  </a:lnTo>
                  <a:lnTo>
                    <a:pt x="1101" y="2149"/>
                  </a:lnTo>
                  <a:lnTo>
                    <a:pt x="1107" y="2152"/>
                  </a:lnTo>
                  <a:lnTo>
                    <a:pt x="1110" y="2153"/>
                  </a:lnTo>
                  <a:lnTo>
                    <a:pt x="1112" y="2153"/>
                  </a:lnTo>
                  <a:lnTo>
                    <a:pt x="1115" y="2153"/>
                  </a:lnTo>
                  <a:lnTo>
                    <a:pt x="1119" y="2153"/>
                  </a:lnTo>
                  <a:lnTo>
                    <a:pt x="1125" y="2149"/>
                  </a:lnTo>
                  <a:lnTo>
                    <a:pt x="1129" y="2145"/>
                  </a:lnTo>
                  <a:lnTo>
                    <a:pt x="1131" y="2141"/>
                  </a:lnTo>
                  <a:lnTo>
                    <a:pt x="1132" y="2137"/>
                  </a:lnTo>
                  <a:lnTo>
                    <a:pt x="1132" y="2131"/>
                  </a:lnTo>
                  <a:lnTo>
                    <a:pt x="1133" y="2126"/>
                  </a:lnTo>
                  <a:lnTo>
                    <a:pt x="1134" y="2122"/>
                  </a:lnTo>
                  <a:lnTo>
                    <a:pt x="1136" y="2117"/>
                  </a:lnTo>
                  <a:lnTo>
                    <a:pt x="1148" y="2119"/>
                  </a:lnTo>
                  <a:lnTo>
                    <a:pt x="1160" y="2123"/>
                  </a:lnTo>
                  <a:lnTo>
                    <a:pt x="1173" y="2127"/>
                  </a:lnTo>
                  <a:lnTo>
                    <a:pt x="1182" y="2131"/>
                  </a:lnTo>
                  <a:lnTo>
                    <a:pt x="1183" y="2145"/>
                  </a:lnTo>
                  <a:lnTo>
                    <a:pt x="1186" y="2162"/>
                  </a:lnTo>
                  <a:lnTo>
                    <a:pt x="1190" y="2182"/>
                  </a:lnTo>
                  <a:lnTo>
                    <a:pt x="1198" y="2200"/>
                  </a:lnTo>
                  <a:lnTo>
                    <a:pt x="1202" y="2209"/>
                  </a:lnTo>
                  <a:lnTo>
                    <a:pt x="1206" y="2216"/>
                  </a:lnTo>
                  <a:lnTo>
                    <a:pt x="1211" y="2223"/>
                  </a:lnTo>
                  <a:lnTo>
                    <a:pt x="1217" y="2228"/>
                  </a:lnTo>
                  <a:lnTo>
                    <a:pt x="1223" y="2233"/>
                  </a:lnTo>
                  <a:lnTo>
                    <a:pt x="1230" y="2235"/>
                  </a:lnTo>
                  <a:lnTo>
                    <a:pt x="1233" y="2235"/>
                  </a:lnTo>
                  <a:lnTo>
                    <a:pt x="1237" y="2235"/>
                  </a:lnTo>
                  <a:lnTo>
                    <a:pt x="1241" y="2234"/>
                  </a:lnTo>
                  <a:lnTo>
                    <a:pt x="1245" y="2233"/>
                  </a:lnTo>
                  <a:lnTo>
                    <a:pt x="1258" y="2225"/>
                  </a:lnTo>
                  <a:lnTo>
                    <a:pt x="1270" y="2219"/>
                  </a:lnTo>
                  <a:lnTo>
                    <a:pt x="1275" y="2216"/>
                  </a:lnTo>
                  <a:lnTo>
                    <a:pt x="1281" y="2215"/>
                  </a:lnTo>
                  <a:lnTo>
                    <a:pt x="1288" y="2214"/>
                  </a:lnTo>
                  <a:lnTo>
                    <a:pt x="1297" y="2216"/>
                  </a:lnTo>
                  <a:lnTo>
                    <a:pt x="1323" y="2221"/>
                  </a:lnTo>
                  <a:lnTo>
                    <a:pt x="1348" y="2224"/>
                  </a:lnTo>
                  <a:lnTo>
                    <a:pt x="1373" y="2227"/>
                  </a:lnTo>
                  <a:lnTo>
                    <a:pt x="1398" y="2228"/>
                  </a:lnTo>
                  <a:lnTo>
                    <a:pt x="1423" y="2228"/>
                  </a:lnTo>
                  <a:lnTo>
                    <a:pt x="1448" y="2228"/>
                  </a:lnTo>
                  <a:lnTo>
                    <a:pt x="1474" y="2227"/>
                  </a:lnTo>
                  <a:lnTo>
                    <a:pt x="1501" y="2227"/>
                  </a:lnTo>
                  <a:lnTo>
                    <a:pt x="1529" y="2226"/>
                  </a:lnTo>
                  <a:lnTo>
                    <a:pt x="1559" y="2222"/>
                  </a:lnTo>
                  <a:lnTo>
                    <a:pt x="1572" y="2220"/>
                  </a:lnTo>
                  <a:lnTo>
                    <a:pt x="1587" y="2219"/>
                  </a:lnTo>
                  <a:lnTo>
                    <a:pt x="1601" y="2219"/>
                  </a:lnTo>
                  <a:lnTo>
                    <a:pt x="1616" y="2219"/>
                  </a:lnTo>
                  <a:lnTo>
                    <a:pt x="1630" y="2221"/>
                  </a:lnTo>
                  <a:lnTo>
                    <a:pt x="1645" y="2223"/>
                  </a:lnTo>
                  <a:lnTo>
                    <a:pt x="1660" y="2226"/>
                  </a:lnTo>
                  <a:lnTo>
                    <a:pt x="1674" y="2231"/>
                  </a:lnTo>
                  <a:lnTo>
                    <a:pt x="1689" y="2235"/>
                  </a:lnTo>
                  <a:lnTo>
                    <a:pt x="1703" y="2238"/>
                  </a:lnTo>
                  <a:lnTo>
                    <a:pt x="1718" y="2241"/>
                  </a:lnTo>
                  <a:lnTo>
                    <a:pt x="1733" y="2243"/>
                  </a:lnTo>
                  <a:lnTo>
                    <a:pt x="1740" y="2245"/>
                  </a:lnTo>
                  <a:lnTo>
                    <a:pt x="1747" y="2247"/>
                  </a:lnTo>
                  <a:lnTo>
                    <a:pt x="1757" y="2248"/>
                  </a:lnTo>
                  <a:lnTo>
                    <a:pt x="1766" y="2249"/>
                  </a:lnTo>
                  <a:lnTo>
                    <a:pt x="1786" y="2251"/>
                  </a:lnTo>
                  <a:lnTo>
                    <a:pt x="1801" y="2251"/>
                  </a:lnTo>
                  <a:lnTo>
                    <a:pt x="1811" y="2250"/>
                  </a:lnTo>
                  <a:lnTo>
                    <a:pt x="1819" y="2248"/>
                  </a:lnTo>
                  <a:lnTo>
                    <a:pt x="1825" y="2245"/>
                  </a:lnTo>
                  <a:lnTo>
                    <a:pt x="1834" y="2241"/>
                  </a:lnTo>
                  <a:lnTo>
                    <a:pt x="1841" y="2228"/>
                  </a:lnTo>
                  <a:lnTo>
                    <a:pt x="1848" y="2215"/>
                  </a:lnTo>
                  <a:lnTo>
                    <a:pt x="1852" y="2208"/>
                  </a:lnTo>
                  <a:lnTo>
                    <a:pt x="1855" y="2201"/>
                  </a:lnTo>
                  <a:lnTo>
                    <a:pt x="1857" y="2194"/>
                  </a:lnTo>
                  <a:lnTo>
                    <a:pt x="1858" y="2187"/>
                  </a:lnTo>
                  <a:lnTo>
                    <a:pt x="1866" y="2177"/>
                  </a:lnTo>
                  <a:lnTo>
                    <a:pt x="1876" y="2171"/>
                  </a:lnTo>
                  <a:lnTo>
                    <a:pt x="1880" y="2168"/>
                  </a:lnTo>
                  <a:lnTo>
                    <a:pt x="1885" y="2166"/>
                  </a:lnTo>
                  <a:lnTo>
                    <a:pt x="1891" y="2164"/>
                  </a:lnTo>
                  <a:lnTo>
                    <a:pt x="1897" y="2163"/>
                  </a:lnTo>
                  <a:lnTo>
                    <a:pt x="1911" y="2163"/>
                  </a:lnTo>
                  <a:lnTo>
                    <a:pt x="1923" y="2163"/>
                  </a:lnTo>
                  <a:lnTo>
                    <a:pt x="1930" y="2163"/>
                  </a:lnTo>
                  <a:lnTo>
                    <a:pt x="1936" y="2163"/>
                  </a:lnTo>
                  <a:lnTo>
                    <a:pt x="1942" y="2162"/>
                  </a:lnTo>
                  <a:lnTo>
                    <a:pt x="1950" y="2161"/>
                  </a:lnTo>
                  <a:lnTo>
                    <a:pt x="1950" y="2161"/>
                  </a:lnTo>
                  <a:lnTo>
                    <a:pt x="1951" y="2152"/>
                  </a:lnTo>
                  <a:lnTo>
                    <a:pt x="1952" y="2144"/>
                  </a:lnTo>
                  <a:lnTo>
                    <a:pt x="1953" y="2136"/>
                  </a:lnTo>
                  <a:lnTo>
                    <a:pt x="1952" y="2128"/>
                  </a:lnTo>
                  <a:lnTo>
                    <a:pt x="1951" y="2121"/>
                  </a:lnTo>
                  <a:lnTo>
                    <a:pt x="1947" y="2115"/>
                  </a:lnTo>
                  <a:lnTo>
                    <a:pt x="1943" y="2107"/>
                  </a:lnTo>
                  <a:lnTo>
                    <a:pt x="1937" y="2102"/>
                  </a:lnTo>
                  <a:lnTo>
                    <a:pt x="1932" y="2099"/>
                  </a:lnTo>
                  <a:lnTo>
                    <a:pt x="1928" y="2098"/>
                  </a:lnTo>
                  <a:lnTo>
                    <a:pt x="1923" y="2098"/>
                  </a:lnTo>
                  <a:lnTo>
                    <a:pt x="1919" y="2099"/>
                  </a:lnTo>
                  <a:lnTo>
                    <a:pt x="1915" y="2098"/>
                  </a:lnTo>
                  <a:lnTo>
                    <a:pt x="1911" y="2097"/>
                  </a:lnTo>
                  <a:lnTo>
                    <a:pt x="1907" y="2093"/>
                  </a:lnTo>
                  <a:lnTo>
                    <a:pt x="1903" y="2085"/>
                  </a:lnTo>
                  <a:lnTo>
                    <a:pt x="1901" y="2081"/>
                  </a:lnTo>
                  <a:lnTo>
                    <a:pt x="1898" y="2079"/>
                  </a:lnTo>
                  <a:lnTo>
                    <a:pt x="1896" y="2077"/>
                  </a:lnTo>
                  <a:lnTo>
                    <a:pt x="1893" y="2077"/>
                  </a:lnTo>
                  <a:lnTo>
                    <a:pt x="1886" y="2078"/>
                  </a:lnTo>
                  <a:lnTo>
                    <a:pt x="1879" y="2081"/>
                  </a:lnTo>
                  <a:lnTo>
                    <a:pt x="1870" y="2086"/>
                  </a:lnTo>
                  <a:lnTo>
                    <a:pt x="1862" y="2089"/>
                  </a:lnTo>
                  <a:lnTo>
                    <a:pt x="1855" y="2093"/>
                  </a:lnTo>
                  <a:lnTo>
                    <a:pt x="1847" y="2094"/>
                  </a:lnTo>
                  <a:lnTo>
                    <a:pt x="1832" y="2094"/>
                  </a:lnTo>
                  <a:lnTo>
                    <a:pt x="1812" y="2091"/>
                  </a:lnTo>
                  <a:lnTo>
                    <a:pt x="1803" y="2089"/>
                  </a:lnTo>
                  <a:lnTo>
                    <a:pt x="1793" y="2087"/>
                  </a:lnTo>
                  <a:lnTo>
                    <a:pt x="1786" y="2083"/>
                  </a:lnTo>
                  <a:lnTo>
                    <a:pt x="1780" y="2080"/>
                  </a:lnTo>
                  <a:lnTo>
                    <a:pt x="1783" y="2076"/>
                  </a:lnTo>
                  <a:lnTo>
                    <a:pt x="1789" y="2069"/>
                  </a:lnTo>
                  <a:lnTo>
                    <a:pt x="1799" y="2061"/>
                  </a:lnTo>
                  <a:lnTo>
                    <a:pt x="1812" y="2051"/>
                  </a:lnTo>
                  <a:lnTo>
                    <a:pt x="1823" y="2043"/>
                  </a:lnTo>
                  <a:lnTo>
                    <a:pt x="1836" y="2034"/>
                  </a:lnTo>
                  <a:lnTo>
                    <a:pt x="1845" y="2029"/>
                  </a:lnTo>
                  <a:lnTo>
                    <a:pt x="1852" y="2026"/>
                  </a:lnTo>
                  <a:lnTo>
                    <a:pt x="1862" y="2023"/>
                  </a:lnTo>
                  <a:lnTo>
                    <a:pt x="1872" y="2022"/>
                  </a:lnTo>
                  <a:lnTo>
                    <a:pt x="1883" y="2022"/>
                  </a:lnTo>
                  <a:lnTo>
                    <a:pt x="1892" y="2023"/>
                  </a:lnTo>
                  <a:lnTo>
                    <a:pt x="1903" y="2024"/>
                  </a:lnTo>
                  <a:lnTo>
                    <a:pt x="1913" y="2024"/>
                  </a:lnTo>
                  <a:lnTo>
                    <a:pt x="1923" y="2023"/>
                  </a:lnTo>
                  <a:lnTo>
                    <a:pt x="1935" y="2022"/>
                  </a:lnTo>
                  <a:lnTo>
                    <a:pt x="1960" y="2016"/>
                  </a:lnTo>
                  <a:lnTo>
                    <a:pt x="1983" y="2011"/>
                  </a:lnTo>
                  <a:lnTo>
                    <a:pt x="2006" y="2008"/>
                  </a:lnTo>
                  <a:lnTo>
                    <a:pt x="2029" y="2006"/>
                  </a:lnTo>
                  <a:lnTo>
                    <a:pt x="2051" y="2005"/>
                  </a:lnTo>
                  <a:lnTo>
                    <a:pt x="2074" y="2006"/>
                  </a:lnTo>
                  <a:lnTo>
                    <a:pt x="2097" y="2010"/>
                  </a:lnTo>
                  <a:lnTo>
                    <a:pt x="2122" y="2016"/>
                  </a:lnTo>
                  <a:lnTo>
                    <a:pt x="2129" y="2018"/>
                  </a:lnTo>
                  <a:lnTo>
                    <a:pt x="2134" y="2020"/>
                  </a:lnTo>
                  <a:lnTo>
                    <a:pt x="2139" y="2023"/>
                  </a:lnTo>
                  <a:lnTo>
                    <a:pt x="2143" y="2025"/>
                  </a:lnTo>
                  <a:lnTo>
                    <a:pt x="2147" y="2028"/>
                  </a:lnTo>
                  <a:lnTo>
                    <a:pt x="2149" y="2031"/>
                  </a:lnTo>
                  <a:lnTo>
                    <a:pt x="2151" y="2034"/>
                  </a:lnTo>
                  <a:lnTo>
                    <a:pt x="2152" y="2039"/>
                  </a:lnTo>
                  <a:lnTo>
                    <a:pt x="2155" y="2056"/>
                  </a:lnTo>
                  <a:lnTo>
                    <a:pt x="2158" y="2080"/>
                  </a:lnTo>
                  <a:lnTo>
                    <a:pt x="2160" y="2090"/>
                  </a:lnTo>
                  <a:lnTo>
                    <a:pt x="2164" y="2099"/>
                  </a:lnTo>
                  <a:lnTo>
                    <a:pt x="2168" y="2109"/>
                  </a:lnTo>
                  <a:lnTo>
                    <a:pt x="2174" y="2118"/>
                  </a:lnTo>
                  <a:lnTo>
                    <a:pt x="2180" y="2127"/>
                  </a:lnTo>
                  <a:lnTo>
                    <a:pt x="2187" y="2136"/>
                  </a:lnTo>
                  <a:lnTo>
                    <a:pt x="2195" y="2144"/>
                  </a:lnTo>
                  <a:lnTo>
                    <a:pt x="2203" y="2150"/>
                  </a:lnTo>
                  <a:lnTo>
                    <a:pt x="2211" y="2157"/>
                  </a:lnTo>
                  <a:lnTo>
                    <a:pt x="2220" y="2162"/>
                  </a:lnTo>
                  <a:lnTo>
                    <a:pt x="2229" y="2165"/>
                  </a:lnTo>
                  <a:lnTo>
                    <a:pt x="2239" y="2166"/>
                  </a:lnTo>
                  <a:lnTo>
                    <a:pt x="2249" y="2166"/>
                  </a:lnTo>
                  <a:lnTo>
                    <a:pt x="2259" y="2164"/>
                  </a:lnTo>
                  <a:lnTo>
                    <a:pt x="2263" y="2162"/>
                  </a:lnTo>
                  <a:lnTo>
                    <a:pt x="2269" y="2160"/>
                  </a:lnTo>
                  <a:lnTo>
                    <a:pt x="2274" y="2157"/>
                  </a:lnTo>
                  <a:lnTo>
                    <a:pt x="2279" y="2153"/>
                  </a:lnTo>
                  <a:lnTo>
                    <a:pt x="2285" y="2146"/>
                  </a:lnTo>
                  <a:lnTo>
                    <a:pt x="2290" y="2138"/>
                  </a:lnTo>
                  <a:lnTo>
                    <a:pt x="2296" y="2127"/>
                  </a:lnTo>
                  <a:lnTo>
                    <a:pt x="2299" y="2117"/>
                  </a:lnTo>
                  <a:lnTo>
                    <a:pt x="2301" y="2104"/>
                  </a:lnTo>
                  <a:lnTo>
                    <a:pt x="2303" y="2092"/>
                  </a:lnTo>
                  <a:lnTo>
                    <a:pt x="2304" y="2078"/>
                  </a:lnTo>
                  <a:lnTo>
                    <a:pt x="2305" y="2065"/>
                  </a:lnTo>
                  <a:lnTo>
                    <a:pt x="2304" y="2037"/>
                  </a:lnTo>
                  <a:lnTo>
                    <a:pt x="2303" y="2009"/>
                  </a:lnTo>
                  <a:lnTo>
                    <a:pt x="2301" y="1984"/>
                  </a:lnTo>
                  <a:lnTo>
                    <a:pt x="2301" y="1963"/>
                  </a:lnTo>
                  <a:lnTo>
                    <a:pt x="2301" y="1931"/>
                  </a:lnTo>
                  <a:lnTo>
                    <a:pt x="2301" y="1898"/>
                  </a:lnTo>
                  <a:lnTo>
                    <a:pt x="2301" y="1882"/>
                  </a:lnTo>
                  <a:lnTo>
                    <a:pt x="2302" y="1865"/>
                  </a:lnTo>
                  <a:lnTo>
                    <a:pt x="2304" y="1850"/>
                  </a:lnTo>
                  <a:lnTo>
                    <a:pt x="2306" y="1834"/>
                  </a:lnTo>
                  <a:lnTo>
                    <a:pt x="2321" y="1832"/>
                  </a:lnTo>
                  <a:lnTo>
                    <a:pt x="2346" y="1829"/>
                  </a:lnTo>
                  <a:lnTo>
                    <a:pt x="2378" y="1826"/>
                  </a:lnTo>
                  <a:lnTo>
                    <a:pt x="2415" y="1823"/>
                  </a:lnTo>
                  <a:lnTo>
                    <a:pt x="2449" y="1821"/>
                  </a:lnTo>
                  <a:lnTo>
                    <a:pt x="2480" y="1821"/>
                  </a:lnTo>
                  <a:lnTo>
                    <a:pt x="2492" y="1822"/>
                  </a:lnTo>
                  <a:lnTo>
                    <a:pt x="2501" y="1824"/>
                  </a:lnTo>
                  <a:lnTo>
                    <a:pt x="2505" y="1825"/>
                  </a:lnTo>
                  <a:lnTo>
                    <a:pt x="2508" y="1826"/>
                  </a:lnTo>
                  <a:lnTo>
                    <a:pt x="2509" y="1827"/>
                  </a:lnTo>
                  <a:lnTo>
                    <a:pt x="2510" y="1828"/>
                  </a:lnTo>
                  <a:lnTo>
                    <a:pt x="2515" y="1831"/>
                  </a:lnTo>
                  <a:lnTo>
                    <a:pt x="2518" y="1834"/>
                  </a:lnTo>
                  <a:lnTo>
                    <a:pt x="2521" y="1837"/>
                  </a:lnTo>
                  <a:lnTo>
                    <a:pt x="2523" y="1840"/>
                  </a:lnTo>
                  <a:lnTo>
                    <a:pt x="2526" y="1849"/>
                  </a:lnTo>
                  <a:lnTo>
                    <a:pt x="2527" y="1857"/>
                  </a:lnTo>
                  <a:lnTo>
                    <a:pt x="2527" y="1865"/>
                  </a:lnTo>
                  <a:lnTo>
                    <a:pt x="2526" y="1876"/>
                  </a:lnTo>
                  <a:lnTo>
                    <a:pt x="2524" y="1885"/>
                  </a:lnTo>
                  <a:lnTo>
                    <a:pt x="2521" y="1896"/>
                  </a:lnTo>
                  <a:lnTo>
                    <a:pt x="2505" y="1935"/>
                  </a:lnTo>
                  <a:lnTo>
                    <a:pt x="2493" y="1966"/>
                  </a:lnTo>
                  <a:lnTo>
                    <a:pt x="2489" y="1984"/>
                  </a:lnTo>
                  <a:lnTo>
                    <a:pt x="2488" y="2001"/>
                  </a:lnTo>
                  <a:lnTo>
                    <a:pt x="2488" y="2009"/>
                  </a:lnTo>
                  <a:lnTo>
                    <a:pt x="2489" y="2018"/>
                  </a:lnTo>
                  <a:lnTo>
                    <a:pt x="2490" y="2025"/>
                  </a:lnTo>
                  <a:lnTo>
                    <a:pt x="2492" y="2032"/>
                  </a:lnTo>
                  <a:lnTo>
                    <a:pt x="2495" y="2039"/>
                  </a:lnTo>
                  <a:lnTo>
                    <a:pt x="2499" y="2045"/>
                  </a:lnTo>
                  <a:lnTo>
                    <a:pt x="2503" y="2051"/>
                  </a:lnTo>
                  <a:lnTo>
                    <a:pt x="2509" y="2057"/>
                  </a:lnTo>
                  <a:lnTo>
                    <a:pt x="2516" y="2063"/>
                  </a:lnTo>
                  <a:lnTo>
                    <a:pt x="2523" y="2067"/>
                  </a:lnTo>
                  <a:lnTo>
                    <a:pt x="2531" y="2071"/>
                  </a:lnTo>
                  <a:lnTo>
                    <a:pt x="2540" y="2075"/>
                  </a:lnTo>
                  <a:lnTo>
                    <a:pt x="2570" y="2087"/>
                  </a:lnTo>
                  <a:lnTo>
                    <a:pt x="2598" y="2096"/>
                  </a:lnTo>
                  <a:lnTo>
                    <a:pt x="2611" y="2099"/>
                  </a:lnTo>
                  <a:lnTo>
                    <a:pt x="2623" y="2101"/>
                  </a:lnTo>
                  <a:lnTo>
                    <a:pt x="2635" y="2102"/>
                  </a:lnTo>
                  <a:lnTo>
                    <a:pt x="2646" y="2102"/>
                  </a:lnTo>
                  <a:lnTo>
                    <a:pt x="2657" y="2101"/>
                  </a:lnTo>
                  <a:lnTo>
                    <a:pt x="2668" y="2098"/>
                  </a:lnTo>
                  <a:lnTo>
                    <a:pt x="2678" y="2093"/>
                  </a:lnTo>
                  <a:lnTo>
                    <a:pt x="2689" y="2087"/>
                  </a:lnTo>
                  <a:lnTo>
                    <a:pt x="2698" y="2078"/>
                  </a:lnTo>
                  <a:lnTo>
                    <a:pt x="2709" y="2068"/>
                  </a:lnTo>
                  <a:lnTo>
                    <a:pt x="2718" y="2054"/>
                  </a:lnTo>
                  <a:lnTo>
                    <a:pt x="2728" y="2040"/>
                  </a:lnTo>
                  <a:lnTo>
                    <a:pt x="2733" y="2032"/>
                  </a:lnTo>
                  <a:lnTo>
                    <a:pt x="2740" y="2025"/>
                  </a:lnTo>
                  <a:lnTo>
                    <a:pt x="2749" y="2017"/>
                  </a:lnTo>
                  <a:lnTo>
                    <a:pt x="2761" y="2008"/>
                  </a:lnTo>
                  <a:lnTo>
                    <a:pt x="2772" y="2000"/>
                  </a:lnTo>
                  <a:lnTo>
                    <a:pt x="2786" y="1993"/>
                  </a:lnTo>
                  <a:lnTo>
                    <a:pt x="2799" y="1984"/>
                  </a:lnTo>
                  <a:lnTo>
                    <a:pt x="2814" y="1978"/>
                  </a:lnTo>
                  <a:lnTo>
                    <a:pt x="2827" y="1973"/>
                  </a:lnTo>
                  <a:lnTo>
                    <a:pt x="2841" y="1970"/>
                  </a:lnTo>
                  <a:lnTo>
                    <a:pt x="2847" y="1969"/>
                  </a:lnTo>
                  <a:lnTo>
                    <a:pt x="2854" y="1968"/>
                  </a:lnTo>
                  <a:lnTo>
                    <a:pt x="2860" y="1968"/>
                  </a:lnTo>
                  <a:lnTo>
                    <a:pt x="2865" y="1969"/>
                  </a:lnTo>
                  <a:lnTo>
                    <a:pt x="2870" y="1970"/>
                  </a:lnTo>
                  <a:lnTo>
                    <a:pt x="2875" y="1972"/>
                  </a:lnTo>
                  <a:lnTo>
                    <a:pt x="2880" y="1974"/>
                  </a:lnTo>
                  <a:lnTo>
                    <a:pt x="2884" y="1977"/>
                  </a:lnTo>
                  <a:lnTo>
                    <a:pt x="2887" y="1981"/>
                  </a:lnTo>
                  <a:lnTo>
                    <a:pt x="2889" y="1986"/>
                  </a:lnTo>
                  <a:lnTo>
                    <a:pt x="2891" y="1992"/>
                  </a:lnTo>
                  <a:lnTo>
                    <a:pt x="2893" y="1999"/>
                  </a:lnTo>
                  <a:lnTo>
                    <a:pt x="2918" y="2022"/>
                  </a:lnTo>
                  <a:lnTo>
                    <a:pt x="2939" y="2042"/>
                  </a:lnTo>
                  <a:lnTo>
                    <a:pt x="2944" y="2046"/>
                  </a:lnTo>
                  <a:lnTo>
                    <a:pt x="2950" y="2050"/>
                  </a:lnTo>
                  <a:lnTo>
                    <a:pt x="2958" y="2054"/>
                  </a:lnTo>
                  <a:lnTo>
                    <a:pt x="2965" y="2056"/>
                  </a:lnTo>
                  <a:lnTo>
                    <a:pt x="2973" y="2059"/>
                  </a:lnTo>
                  <a:lnTo>
                    <a:pt x="2983" y="2061"/>
                  </a:lnTo>
                  <a:lnTo>
                    <a:pt x="2993" y="2062"/>
                  </a:lnTo>
                  <a:lnTo>
                    <a:pt x="3006" y="2063"/>
                  </a:lnTo>
                  <a:lnTo>
                    <a:pt x="3006" y="2063"/>
                  </a:lnTo>
                  <a:lnTo>
                    <a:pt x="3005" y="2044"/>
                  </a:lnTo>
                  <a:lnTo>
                    <a:pt x="3002" y="2027"/>
                  </a:lnTo>
                  <a:lnTo>
                    <a:pt x="3001" y="2019"/>
                  </a:lnTo>
                  <a:lnTo>
                    <a:pt x="3001" y="2010"/>
                  </a:lnTo>
                  <a:lnTo>
                    <a:pt x="3003" y="2001"/>
                  </a:lnTo>
                  <a:lnTo>
                    <a:pt x="3007" y="1992"/>
                  </a:lnTo>
                  <a:lnTo>
                    <a:pt x="3014" y="1993"/>
                  </a:lnTo>
                  <a:lnTo>
                    <a:pt x="3021" y="1995"/>
                  </a:lnTo>
                  <a:lnTo>
                    <a:pt x="3028" y="1998"/>
                  </a:lnTo>
                  <a:lnTo>
                    <a:pt x="3035" y="2002"/>
                  </a:lnTo>
                  <a:lnTo>
                    <a:pt x="3041" y="2005"/>
                  </a:lnTo>
                  <a:lnTo>
                    <a:pt x="3048" y="2008"/>
                  </a:lnTo>
                  <a:lnTo>
                    <a:pt x="3056" y="2010"/>
                  </a:lnTo>
                  <a:lnTo>
                    <a:pt x="3065" y="2010"/>
                  </a:lnTo>
                  <a:lnTo>
                    <a:pt x="3071" y="2010"/>
                  </a:lnTo>
                  <a:lnTo>
                    <a:pt x="3078" y="2008"/>
                  </a:lnTo>
                  <a:lnTo>
                    <a:pt x="3084" y="2006"/>
                  </a:lnTo>
                  <a:lnTo>
                    <a:pt x="3090" y="2003"/>
                  </a:lnTo>
                  <a:lnTo>
                    <a:pt x="3095" y="1999"/>
                  </a:lnTo>
                  <a:lnTo>
                    <a:pt x="3101" y="1995"/>
                  </a:lnTo>
                  <a:lnTo>
                    <a:pt x="3104" y="1990"/>
                  </a:lnTo>
                  <a:lnTo>
                    <a:pt x="3106" y="1982"/>
                  </a:lnTo>
                  <a:lnTo>
                    <a:pt x="3106" y="1976"/>
                  </a:lnTo>
                  <a:lnTo>
                    <a:pt x="3106" y="1971"/>
                  </a:lnTo>
                  <a:lnTo>
                    <a:pt x="3104" y="1966"/>
                  </a:lnTo>
                  <a:lnTo>
                    <a:pt x="3102" y="1960"/>
                  </a:lnTo>
                  <a:lnTo>
                    <a:pt x="3093" y="1952"/>
                  </a:lnTo>
                  <a:lnTo>
                    <a:pt x="3084" y="1944"/>
                  </a:lnTo>
                  <a:lnTo>
                    <a:pt x="3074" y="1935"/>
                  </a:lnTo>
                  <a:lnTo>
                    <a:pt x="3063" y="1928"/>
                  </a:lnTo>
                  <a:lnTo>
                    <a:pt x="3059" y="1923"/>
                  </a:lnTo>
                  <a:lnTo>
                    <a:pt x="3055" y="1919"/>
                  </a:lnTo>
                  <a:lnTo>
                    <a:pt x="3051" y="1913"/>
                  </a:lnTo>
                  <a:lnTo>
                    <a:pt x="3048" y="1908"/>
                  </a:lnTo>
                  <a:lnTo>
                    <a:pt x="3045" y="1896"/>
                  </a:lnTo>
                  <a:lnTo>
                    <a:pt x="3042" y="1882"/>
                  </a:lnTo>
                  <a:lnTo>
                    <a:pt x="3041" y="1866"/>
                  </a:lnTo>
                  <a:lnTo>
                    <a:pt x="3041" y="1851"/>
                  </a:lnTo>
                  <a:lnTo>
                    <a:pt x="3041" y="1818"/>
                  </a:lnTo>
                  <a:lnTo>
                    <a:pt x="3042" y="1791"/>
                  </a:lnTo>
                  <a:lnTo>
                    <a:pt x="3043" y="1785"/>
                  </a:lnTo>
                  <a:lnTo>
                    <a:pt x="3043" y="1774"/>
                  </a:lnTo>
                  <a:lnTo>
                    <a:pt x="3044" y="1761"/>
                  </a:lnTo>
                  <a:lnTo>
                    <a:pt x="3043" y="1748"/>
                  </a:lnTo>
                  <a:lnTo>
                    <a:pt x="3043" y="1733"/>
                  </a:lnTo>
                  <a:lnTo>
                    <a:pt x="3041" y="1720"/>
                  </a:lnTo>
                  <a:lnTo>
                    <a:pt x="3039" y="1710"/>
                  </a:lnTo>
                  <a:lnTo>
                    <a:pt x="3035" y="1704"/>
                  </a:lnTo>
                  <a:lnTo>
                    <a:pt x="3031" y="1701"/>
                  </a:lnTo>
                  <a:lnTo>
                    <a:pt x="3027" y="1696"/>
                  </a:lnTo>
                  <a:lnTo>
                    <a:pt x="3021" y="1694"/>
                  </a:lnTo>
                  <a:lnTo>
                    <a:pt x="3015" y="1692"/>
                  </a:lnTo>
                  <a:lnTo>
                    <a:pt x="3003" y="1689"/>
                  </a:lnTo>
                  <a:lnTo>
                    <a:pt x="2989" y="1687"/>
                  </a:lnTo>
                  <a:lnTo>
                    <a:pt x="2975" y="1685"/>
                  </a:lnTo>
                  <a:lnTo>
                    <a:pt x="2963" y="1682"/>
                  </a:lnTo>
                  <a:lnTo>
                    <a:pt x="2957" y="1681"/>
                  </a:lnTo>
                  <a:lnTo>
                    <a:pt x="2952" y="1679"/>
                  </a:lnTo>
                  <a:lnTo>
                    <a:pt x="2946" y="1677"/>
                  </a:lnTo>
                  <a:lnTo>
                    <a:pt x="2941" y="1673"/>
                  </a:lnTo>
                  <a:lnTo>
                    <a:pt x="2939" y="1670"/>
                  </a:lnTo>
                  <a:lnTo>
                    <a:pt x="2938" y="1667"/>
                  </a:lnTo>
                  <a:lnTo>
                    <a:pt x="2937" y="1666"/>
                  </a:lnTo>
                  <a:lnTo>
                    <a:pt x="2937" y="1664"/>
                  </a:lnTo>
                  <a:lnTo>
                    <a:pt x="2938" y="1663"/>
                  </a:lnTo>
                  <a:lnTo>
                    <a:pt x="2940" y="1662"/>
                  </a:lnTo>
                  <a:lnTo>
                    <a:pt x="2947" y="1659"/>
                  </a:lnTo>
                  <a:lnTo>
                    <a:pt x="2956" y="1658"/>
                  </a:lnTo>
                  <a:lnTo>
                    <a:pt x="2964" y="1656"/>
                  </a:lnTo>
                  <a:lnTo>
                    <a:pt x="2972" y="1656"/>
                  </a:lnTo>
                  <a:lnTo>
                    <a:pt x="2990" y="1655"/>
                  </a:lnTo>
                  <a:lnTo>
                    <a:pt x="3007" y="1655"/>
                  </a:lnTo>
                  <a:lnTo>
                    <a:pt x="3025" y="1655"/>
                  </a:lnTo>
                  <a:lnTo>
                    <a:pt x="3054" y="1657"/>
                  </a:lnTo>
                  <a:lnTo>
                    <a:pt x="3080" y="1658"/>
                  </a:lnTo>
                  <a:lnTo>
                    <a:pt x="3089" y="1658"/>
                  </a:lnTo>
                  <a:lnTo>
                    <a:pt x="3088" y="1654"/>
                  </a:lnTo>
                  <a:lnTo>
                    <a:pt x="3087" y="1648"/>
                  </a:lnTo>
                  <a:lnTo>
                    <a:pt x="3084" y="1644"/>
                  </a:lnTo>
                  <a:lnTo>
                    <a:pt x="3080" y="1639"/>
                  </a:lnTo>
                  <a:lnTo>
                    <a:pt x="3070" y="1630"/>
                  </a:lnTo>
                  <a:lnTo>
                    <a:pt x="3058" y="1619"/>
                  </a:lnTo>
                  <a:lnTo>
                    <a:pt x="3034" y="1603"/>
                  </a:lnTo>
                  <a:lnTo>
                    <a:pt x="3015" y="1591"/>
                  </a:lnTo>
                  <a:lnTo>
                    <a:pt x="3008" y="1588"/>
                  </a:lnTo>
                  <a:lnTo>
                    <a:pt x="3001" y="1587"/>
                  </a:lnTo>
                  <a:lnTo>
                    <a:pt x="2993" y="1588"/>
                  </a:lnTo>
                  <a:lnTo>
                    <a:pt x="2987" y="1590"/>
                  </a:lnTo>
                  <a:lnTo>
                    <a:pt x="2981" y="1592"/>
                  </a:lnTo>
                  <a:lnTo>
                    <a:pt x="2974" y="1596"/>
                  </a:lnTo>
                  <a:lnTo>
                    <a:pt x="2968" y="1600"/>
                  </a:lnTo>
                  <a:lnTo>
                    <a:pt x="2962" y="1605"/>
                  </a:lnTo>
                  <a:lnTo>
                    <a:pt x="2949" y="1614"/>
                  </a:lnTo>
                  <a:lnTo>
                    <a:pt x="2937" y="1621"/>
                  </a:lnTo>
                  <a:lnTo>
                    <a:pt x="2931" y="1623"/>
                  </a:lnTo>
                  <a:lnTo>
                    <a:pt x="2924" y="1624"/>
                  </a:lnTo>
                  <a:lnTo>
                    <a:pt x="2917" y="1623"/>
                  </a:lnTo>
                  <a:lnTo>
                    <a:pt x="2910" y="1621"/>
                  </a:lnTo>
                  <a:lnTo>
                    <a:pt x="2906" y="1619"/>
                  </a:lnTo>
                  <a:lnTo>
                    <a:pt x="2903" y="1616"/>
                  </a:lnTo>
                  <a:lnTo>
                    <a:pt x="2900" y="1613"/>
                  </a:lnTo>
                  <a:lnTo>
                    <a:pt x="2898" y="1610"/>
                  </a:lnTo>
                  <a:lnTo>
                    <a:pt x="2896" y="1601"/>
                  </a:lnTo>
                  <a:lnTo>
                    <a:pt x="2896" y="1593"/>
                  </a:lnTo>
                  <a:lnTo>
                    <a:pt x="2896" y="1584"/>
                  </a:lnTo>
                  <a:lnTo>
                    <a:pt x="2896" y="1574"/>
                  </a:lnTo>
                  <a:lnTo>
                    <a:pt x="2896" y="1570"/>
                  </a:lnTo>
                  <a:lnTo>
                    <a:pt x="2895" y="1566"/>
                  </a:lnTo>
                  <a:lnTo>
                    <a:pt x="2893" y="1563"/>
                  </a:lnTo>
                  <a:lnTo>
                    <a:pt x="2891" y="1559"/>
                  </a:lnTo>
                  <a:lnTo>
                    <a:pt x="2883" y="1546"/>
                  </a:lnTo>
                  <a:lnTo>
                    <a:pt x="2875" y="1536"/>
                  </a:lnTo>
                  <a:lnTo>
                    <a:pt x="2870" y="1525"/>
                  </a:lnTo>
                  <a:lnTo>
                    <a:pt x="2866" y="1515"/>
                  </a:lnTo>
                  <a:lnTo>
                    <a:pt x="2865" y="1504"/>
                  </a:lnTo>
                  <a:lnTo>
                    <a:pt x="2865" y="1493"/>
                  </a:lnTo>
                  <a:lnTo>
                    <a:pt x="2867" y="1479"/>
                  </a:lnTo>
                  <a:lnTo>
                    <a:pt x="2870" y="1464"/>
                  </a:lnTo>
                  <a:lnTo>
                    <a:pt x="2870" y="1464"/>
                  </a:lnTo>
                  <a:lnTo>
                    <a:pt x="2864" y="1459"/>
                  </a:lnTo>
                  <a:lnTo>
                    <a:pt x="2857" y="1454"/>
                  </a:lnTo>
                  <a:lnTo>
                    <a:pt x="2848" y="1450"/>
                  </a:lnTo>
                  <a:lnTo>
                    <a:pt x="2839" y="1446"/>
                  </a:lnTo>
                  <a:lnTo>
                    <a:pt x="2818" y="1439"/>
                  </a:lnTo>
                  <a:lnTo>
                    <a:pt x="2795" y="1432"/>
                  </a:lnTo>
                  <a:lnTo>
                    <a:pt x="2772" y="1427"/>
                  </a:lnTo>
                  <a:lnTo>
                    <a:pt x="2749" y="1424"/>
                  </a:lnTo>
                  <a:lnTo>
                    <a:pt x="2729" y="1422"/>
                  </a:lnTo>
                  <a:lnTo>
                    <a:pt x="2712" y="1422"/>
                  </a:lnTo>
                  <a:lnTo>
                    <a:pt x="2693" y="1422"/>
                  </a:lnTo>
                  <a:lnTo>
                    <a:pt x="2672" y="1424"/>
                  </a:lnTo>
                  <a:lnTo>
                    <a:pt x="2662" y="1424"/>
                  </a:lnTo>
                  <a:lnTo>
                    <a:pt x="2651" y="1424"/>
                  </a:lnTo>
                  <a:lnTo>
                    <a:pt x="2642" y="1423"/>
                  </a:lnTo>
                  <a:lnTo>
                    <a:pt x="2632" y="1422"/>
                  </a:lnTo>
                  <a:lnTo>
                    <a:pt x="2619" y="1418"/>
                  </a:lnTo>
                  <a:lnTo>
                    <a:pt x="2607" y="1415"/>
                  </a:lnTo>
                  <a:lnTo>
                    <a:pt x="2598" y="1412"/>
                  </a:lnTo>
                  <a:lnTo>
                    <a:pt x="2590" y="1407"/>
                  </a:lnTo>
                  <a:lnTo>
                    <a:pt x="2577" y="1400"/>
                  </a:lnTo>
                  <a:lnTo>
                    <a:pt x="2568" y="1393"/>
                  </a:lnTo>
                  <a:lnTo>
                    <a:pt x="2558" y="1384"/>
                  </a:lnTo>
                  <a:lnTo>
                    <a:pt x="2548" y="1376"/>
                  </a:lnTo>
                  <a:lnTo>
                    <a:pt x="2542" y="1372"/>
                  </a:lnTo>
                  <a:lnTo>
                    <a:pt x="2534" y="1368"/>
                  </a:lnTo>
                  <a:lnTo>
                    <a:pt x="2526" y="1364"/>
                  </a:lnTo>
                  <a:lnTo>
                    <a:pt x="2515" y="1358"/>
                  </a:lnTo>
                  <a:lnTo>
                    <a:pt x="2504" y="1354"/>
                  </a:lnTo>
                  <a:lnTo>
                    <a:pt x="2494" y="1349"/>
                  </a:lnTo>
                  <a:lnTo>
                    <a:pt x="2483" y="1343"/>
                  </a:lnTo>
                  <a:lnTo>
                    <a:pt x="2475" y="1335"/>
                  </a:lnTo>
                  <a:lnTo>
                    <a:pt x="2471" y="1331"/>
                  </a:lnTo>
                  <a:lnTo>
                    <a:pt x="2467" y="1327"/>
                  </a:lnTo>
                  <a:lnTo>
                    <a:pt x="2464" y="1323"/>
                  </a:lnTo>
                  <a:lnTo>
                    <a:pt x="2460" y="1319"/>
                  </a:lnTo>
                  <a:lnTo>
                    <a:pt x="2458" y="1314"/>
                  </a:lnTo>
                  <a:lnTo>
                    <a:pt x="2456" y="1307"/>
                  </a:lnTo>
                  <a:lnTo>
                    <a:pt x="2455" y="1302"/>
                  </a:lnTo>
                  <a:lnTo>
                    <a:pt x="2455" y="1296"/>
                  </a:lnTo>
                  <a:lnTo>
                    <a:pt x="2454" y="1278"/>
                  </a:lnTo>
                  <a:lnTo>
                    <a:pt x="2453" y="1261"/>
                  </a:lnTo>
                  <a:lnTo>
                    <a:pt x="2451" y="1245"/>
                  </a:lnTo>
                  <a:lnTo>
                    <a:pt x="2448" y="1229"/>
                  </a:lnTo>
                  <a:lnTo>
                    <a:pt x="2443" y="1214"/>
                  </a:lnTo>
                  <a:lnTo>
                    <a:pt x="2435" y="1199"/>
                  </a:lnTo>
                  <a:lnTo>
                    <a:pt x="2427" y="1184"/>
                  </a:lnTo>
                  <a:lnTo>
                    <a:pt x="2416" y="1171"/>
                  </a:lnTo>
                  <a:lnTo>
                    <a:pt x="2407" y="1162"/>
                  </a:lnTo>
                  <a:lnTo>
                    <a:pt x="2398" y="1155"/>
                  </a:lnTo>
                  <a:lnTo>
                    <a:pt x="2388" y="1148"/>
                  </a:lnTo>
                  <a:lnTo>
                    <a:pt x="2379" y="1142"/>
                  </a:lnTo>
                  <a:lnTo>
                    <a:pt x="2370" y="1136"/>
                  </a:lnTo>
                  <a:lnTo>
                    <a:pt x="2359" y="1131"/>
                  </a:lnTo>
                  <a:lnTo>
                    <a:pt x="2349" y="1127"/>
                  </a:lnTo>
                  <a:lnTo>
                    <a:pt x="2338" y="1123"/>
                  </a:lnTo>
                  <a:lnTo>
                    <a:pt x="2318" y="1115"/>
                  </a:lnTo>
                  <a:lnTo>
                    <a:pt x="2296" y="1110"/>
                  </a:lnTo>
                  <a:lnTo>
                    <a:pt x="2273" y="1106"/>
                  </a:lnTo>
                  <a:lnTo>
                    <a:pt x="2250" y="1102"/>
                  </a:lnTo>
                  <a:lnTo>
                    <a:pt x="2204" y="1096"/>
                  </a:lnTo>
                  <a:lnTo>
                    <a:pt x="2159" y="1088"/>
                  </a:lnTo>
                  <a:lnTo>
                    <a:pt x="2137" y="1083"/>
                  </a:lnTo>
                  <a:lnTo>
                    <a:pt x="2115" y="1077"/>
                  </a:lnTo>
                  <a:lnTo>
                    <a:pt x="2094" y="1070"/>
                  </a:lnTo>
                  <a:lnTo>
                    <a:pt x="2075" y="1061"/>
                  </a:lnTo>
                  <a:lnTo>
                    <a:pt x="2068" y="1054"/>
                  </a:lnTo>
                  <a:lnTo>
                    <a:pt x="2062" y="1046"/>
                  </a:lnTo>
                  <a:lnTo>
                    <a:pt x="2055" y="1039"/>
                  </a:lnTo>
                  <a:lnTo>
                    <a:pt x="2048" y="1033"/>
                  </a:lnTo>
                  <a:lnTo>
                    <a:pt x="2038" y="1028"/>
                  </a:lnTo>
                  <a:lnTo>
                    <a:pt x="2030" y="1021"/>
                  </a:lnTo>
                  <a:lnTo>
                    <a:pt x="2019" y="1017"/>
                  </a:lnTo>
                  <a:lnTo>
                    <a:pt x="2010" y="1013"/>
                  </a:lnTo>
                  <a:lnTo>
                    <a:pt x="2000" y="1009"/>
                  </a:lnTo>
                  <a:lnTo>
                    <a:pt x="1989" y="1006"/>
                  </a:lnTo>
                  <a:lnTo>
                    <a:pt x="1979" y="1003"/>
                  </a:lnTo>
                  <a:lnTo>
                    <a:pt x="1969" y="1002"/>
                  </a:lnTo>
                  <a:lnTo>
                    <a:pt x="1959" y="1001"/>
                  </a:lnTo>
                  <a:lnTo>
                    <a:pt x="1950" y="1000"/>
                  </a:lnTo>
                  <a:lnTo>
                    <a:pt x="1940" y="1000"/>
                  </a:lnTo>
                  <a:lnTo>
                    <a:pt x="1932" y="1001"/>
                  </a:lnTo>
                  <a:lnTo>
                    <a:pt x="1905" y="1007"/>
                  </a:lnTo>
                  <a:lnTo>
                    <a:pt x="1877" y="1014"/>
                  </a:lnTo>
                  <a:lnTo>
                    <a:pt x="1863" y="1017"/>
                  </a:lnTo>
                  <a:lnTo>
                    <a:pt x="1848" y="1019"/>
                  </a:lnTo>
                  <a:lnTo>
                    <a:pt x="1835" y="1019"/>
                  </a:lnTo>
                  <a:lnTo>
                    <a:pt x="1821" y="1017"/>
                  </a:lnTo>
                  <a:lnTo>
                    <a:pt x="1805" y="1001"/>
                  </a:lnTo>
                  <a:lnTo>
                    <a:pt x="1791" y="986"/>
                  </a:lnTo>
                  <a:lnTo>
                    <a:pt x="1775" y="973"/>
                  </a:lnTo>
                  <a:lnTo>
                    <a:pt x="1756" y="959"/>
                  </a:lnTo>
                  <a:lnTo>
                    <a:pt x="1723" y="936"/>
                  </a:lnTo>
                  <a:lnTo>
                    <a:pt x="1690" y="913"/>
                  </a:lnTo>
                  <a:lnTo>
                    <a:pt x="1658" y="890"/>
                  </a:lnTo>
                  <a:lnTo>
                    <a:pt x="1624" y="867"/>
                  </a:lnTo>
                  <a:lnTo>
                    <a:pt x="1591" y="845"/>
                  </a:lnTo>
                  <a:lnTo>
                    <a:pt x="1557" y="822"/>
                  </a:lnTo>
                  <a:lnTo>
                    <a:pt x="1524" y="800"/>
                  </a:lnTo>
                  <a:lnTo>
                    <a:pt x="1491" y="777"/>
                  </a:lnTo>
                  <a:lnTo>
                    <a:pt x="1481" y="770"/>
                  </a:lnTo>
                  <a:lnTo>
                    <a:pt x="1473" y="765"/>
                  </a:lnTo>
                  <a:lnTo>
                    <a:pt x="1463" y="760"/>
                  </a:lnTo>
                  <a:lnTo>
                    <a:pt x="1453" y="756"/>
                  </a:lnTo>
                  <a:lnTo>
                    <a:pt x="1443" y="754"/>
                  </a:lnTo>
                  <a:lnTo>
                    <a:pt x="1433" y="753"/>
                  </a:lnTo>
                  <a:lnTo>
                    <a:pt x="1423" y="753"/>
                  </a:lnTo>
                  <a:lnTo>
                    <a:pt x="1414" y="754"/>
                  </a:lnTo>
                  <a:lnTo>
                    <a:pt x="1404" y="756"/>
                  </a:lnTo>
                  <a:lnTo>
                    <a:pt x="1394" y="760"/>
                  </a:lnTo>
                  <a:lnTo>
                    <a:pt x="1385" y="764"/>
                  </a:lnTo>
                  <a:lnTo>
                    <a:pt x="1376" y="770"/>
                  </a:lnTo>
                  <a:lnTo>
                    <a:pt x="1368" y="776"/>
                  </a:lnTo>
                  <a:lnTo>
                    <a:pt x="1360" y="784"/>
                  </a:lnTo>
                  <a:lnTo>
                    <a:pt x="1353" y="791"/>
                  </a:lnTo>
                  <a:lnTo>
                    <a:pt x="1346" y="800"/>
                  </a:lnTo>
                  <a:lnTo>
                    <a:pt x="1336" y="814"/>
                  </a:lnTo>
                  <a:lnTo>
                    <a:pt x="1327" y="824"/>
                  </a:lnTo>
                  <a:lnTo>
                    <a:pt x="1320" y="831"/>
                  </a:lnTo>
                  <a:lnTo>
                    <a:pt x="1312" y="835"/>
                  </a:lnTo>
                  <a:lnTo>
                    <a:pt x="1308" y="836"/>
                  </a:lnTo>
                  <a:lnTo>
                    <a:pt x="1305" y="836"/>
                  </a:lnTo>
                  <a:lnTo>
                    <a:pt x="1302" y="836"/>
                  </a:lnTo>
                  <a:lnTo>
                    <a:pt x="1300" y="835"/>
                  </a:lnTo>
                  <a:lnTo>
                    <a:pt x="1295" y="831"/>
                  </a:lnTo>
                  <a:lnTo>
                    <a:pt x="1290" y="825"/>
                  </a:lnTo>
                  <a:lnTo>
                    <a:pt x="1286" y="818"/>
                  </a:lnTo>
                  <a:lnTo>
                    <a:pt x="1282" y="810"/>
                  </a:lnTo>
                  <a:lnTo>
                    <a:pt x="1280" y="800"/>
                  </a:lnTo>
                  <a:lnTo>
                    <a:pt x="1277" y="790"/>
                  </a:lnTo>
                  <a:lnTo>
                    <a:pt x="1274" y="769"/>
                  </a:lnTo>
                  <a:lnTo>
                    <a:pt x="1273" y="747"/>
                  </a:lnTo>
                  <a:lnTo>
                    <a:pt x="1272" y="732"/>
                  </a:lnTo>
                  <a:lnTo>
                    <a:pt x="1270" y="720"/>
                  </a:lnTo>
                  <a:lnTo>
                    <a:pt x="1266" y="712"/>
                  </a:lnTo>
                  <a:lnTo>
                    <a:pt x="1261" y="705"/>
                  </a:lnTo>
                  <a:lnTo>
                    <a:pt x="1256" y="701"/>
                  </a:lnTo>
                  <a:lnTo>
                    <a:pt x="1250" y="699"/>
                  </a:lnTo>
                  <a:lnTo>
                    <a:pt x="1243" y="700"/>
                  </a:lnTo>
                  <a:lnTo>
                    <a:pt x="1235" y="702"/>
                  </a:lnTo>
                  <a:lnTo>
                    <a:pt x="1227" y="706"/>
                  </a:lnTo>
                  <a:lnTo>
                    <a:pt x="1218" y="712"/>
                  </a:lnTo>
                  <a:lnTo>
                    <a:pt x="1208" y="718"/>
                  </a:lnTo>
                  <a:lnTo>
                    <a:pt x="1199" y="726"/>
                  </a:lnTo>
                  <a:lnTo>
                    <a:pt x="1178" y="743"/>
                  </a:lnTo>
                  <a:lnTo>
                    <a:pt x="1156" y="763"/>
                  </a:lnTo>
                  <a:lnTo>
                    <a:pt x="1134" y="781"/>
                  </a:lnTo>
                  <a:lnTo>
                    <a:pt x="1112" y="798"/>
                  </a:lnTo>
                  <a:lnTo>
                    <a:pt x="1102" y="807"/>
                  </a:lnTo>
                  <a:lnTo>
                    <a:pt x="1091" y="813"/>
                  </a:lnTo>
                  <a:lnTo>
                    <a:pt x="1081" y="818"/>
                  </a:lnTo>
                  <a:lnTo>
                    <a:pt x="1072" y="821"/>
                  </a:lnTo>
                  <a:lnTo>
                    <a:pt x="1063" y="823"/>
                  </a:lnTo>
                  <a:lnTo>
                    <a:pt x="1055" y="824"/>
                  </a:lnTo>
                  <a:lnTo>
                    <a:pt x="1048" y="822"/>
                  </a:lnTo>
                  <a:lnTo>
                    <a:pt x="1040" y="818"/>
                  </a:lnTo>
                  <a:lnTo>
                    <a:pt x="1034" y="812"/>
                  </a:lnTo>
                  <a:lnTo>
                    <a:pt x="1029" y="802"/>
                  </a:lnTo>
                  <a:lnTo>
                    <a:pt x="1025" y="790"/>
                  </a:lnTo>
                  <a:lnTo>
                    <a:pt x="1022" y="774"/>
                  </a:lnTo>
                  <a:lnTo>
                    <a:pt x="1021" y="768"/>
                  </a:lnTo>
                  <a:lnTo>
                    <a:pt x="1021" y="761"/>
                  </a:lnTo>
                  <a:lnTo>
                    <a:pt x="1022" y="755"/>
                  </a:lnTo>
                  <a:lnTo>
                    <a:pt x="1023" y="750"/>
                  </a:lnTo>
                  <a:lnTo>
                    <a:pt x="1027" y="741"/>
                  </a:lnTo>
                  <a:lnTo>
                    <a:pt x="1032" y="732"/>
                  </a:lnTo>
                  <a:lnTo>
                    <a:pt x="1037" y="725"/>
                  </a:lnTo>
                  <a:lnTo>
                    <a:pt x="1043" y="717"/>
                  </a:lnTo>
                  <a:lnTo>
                    <a:pt x="1048" y="708"/>
                  </a:lnTo>
                  <a:lnTo>
                    <a:pt x="1051" y="699"/>
                  </a:lnTo>
                  <a:lnTo>
                    <a:pt x="1058" y="693"/>
                  </a:lnTo>
                  <a:lnTo>
                    <a:pt x="1064" y="687"/>
                  </a:lnTo>
                  <a:lnTo>
                    <a:pt x="1067" y="679"/>
                  </a:lnTo>
                  <a:lnTo>
                    <a:pt x="1071" y="673"/>
                  </a:lnTo>
                  <a:lnTo>
                    <a:pt x="1072" y="667"/>
                  </a:lnTo>
                  <a:lnTo>
                    <a:pt x="1072" y="659"/>
                  </a:lnTo>
                  <a:lnTo>
                    <a:pt x="1072" y="652"/>
                  </a:lnTo>
                  <a:lnTo>
                    <a:pt x="1071" y="646"/>
                  </a:lnTo>
                  <a:lnTo>
                    <a:pt x="1068" y="632"/>
                  </a:lnTo>
                  <a:lnTo>
                    <a:pt x="1066" y="619"/>
                  </a:lnTo>
                  <a:lnTo>
                    <a:pt x="1066" y="612"/>
                  </a:lnTo>
                  <a:lnTo>
                    <a:pt x="1067" y="606"/>
                  </a:lnTo>
                  <a:lnTo>
                    <a:pt x="1071" y="601"/>
                  </a:lnTo>
                  <a:lnTo>
                    <a:pt x="1074" y="595"/>
                  </a:lnTo>
                  <a:lnTo>
                    <a:pt x="1079" y="588"/>
                  </a:lnTo>
                  <a:lnTo>
                    <a:pt x="1085" y="583"/>
                  </a:lnTo>
                  <a:lnTo>
                    <a:pt x="1091" y="579"/>
                  </a:lnTo>
                  <a:lnTo>
                    <a:pt x="1099" y="575"/>
                  </a:lnTo>
                  <a:lnTo>
                    <a:pt x="1113" y="567"/>
                  </a:lnTo>
                  <a:lnTo>
                    <a:pt x="1127" y="559"/>
                  </a:lnTo>
                  <a:lnTo>
                    <a:pt x="1133" y="555"/>
                  </a:lnTo>
                  <a:lnTo>
                    <a:pt x="1139" y="550"/>
                  </a:lnTo>
                  <a:lnTo>
                    <a:pt x="1145" y="545"/>
                  </a:lnTo>
                  <a:lnTo>
                    <a:pt x="1149" y="539"/>
                  </a:lnTo>
                  <a:lnTo>
                    <a:pt x="1153" y="532"/>
                  </a:lnTo>
                  <a:lnTo>
                    <a:pt x="1155" y="524"/>
                  </a:lnTo>
                  <a:lnTo>
                    <a:pt x="1157" y="514"/>
                  </a:lnTo>
                  <a:lnTo>
                    <a:pt x="1157" y="504"/>
                  </a:lnTo>
                  <a:lnTo>
                    <a:pt x="1156" y="498"/>
                  </a:lnTo>
                  <a:lnTo>
                    <a:pt x="1155" y="493"/>
                  </a:lnTo>
                  <a:lnTo>
                    <a:pt x="1153" y="489"/>
                  </a:lnTo>
                  <a:lnTo>
                    <a:pt x="1150" y="486"/>
                  </a:lnTo>
                  <a:lnTo>
                    <a:pt x="1145" y="481"/>
                  </a:lnTo>
                  <a:lnTo>
                    <a:pt x="1137" y="479"/>
                  </a:lnTo>
                  <a:lnTo>
                    <a:pt x="1130" y="477"/>
                  </a:lnTo>
                  <a:lnTo>
                    <a:pt x="1123" y="475"/>
                  </a:lnTo>
                  <a:lnTo>
                    <a:pt x="1120" y="474"/>
                  </a:lnTo>
                  <a:lnTo>
                    <a:pt x="1116" y="472"/>
                  </a:lnTo>
                  <a:lnTo>
                    <a:pt x="1114" y="469"/>
                  </a:lnTo>
                  <a:lnTo>
                    <a:pt x="1113" y="465"/>
                  </a:lnTo>
                  <a:lnTo>
                    <a:pt x="1112" y="461"/>
                  </a:lnTo>
                  <a:lnTo>
                    <a:pt x="1112" y="456"/>
                  </a:lnTo>
                  <a:lnTo>
                    <a:pt x="1112" y="451"/>
                  </a:lnTo>
                  <a:lnTo>
                    <a:pt x="1113" y="446"/>
                  </a:lnTo>
                  <a:lnTo>
                    <a:pt x="1116" y="434"/>
                  </a:lnTo>
                  <a:lnTo>
                    <a:pt x="1120" y="422"/>
                  </a:lnTo>
                  <a:lnTo>
                    <a:pt x="1123" y="409"/>
                  </a:lnTo>
                  <a:lnTo>
                    <a:pt x="1124" y="398"/>
                  </a:lnTo>
                  <a:lnTo>
                    <a:pt x="1124" y="392"/>
                  </a:lnTo>
                  <a:lnTo>
                    <a:pt x="1123" y="387"/>
                  </a:lnTo>
                  <a:lnTo>
                    <a:pt x="1121" y="383"/>
                  </a:lnTo>
                  <a:lnTo>
                    <a:pt x="1119" y="379"/>
                  </a:lnTo>
                  <a:lnTo>
                    <a:pt x="1105" y="364"/>
                  </a:lnTo>
                  <a:lnTo>
                    <a:pt x="1095" y="353"/>
                  </a:lnTo>
                  <a:lnTo>
                    <a:pt x="1087" y="344"/>
                  </a:lnTo>
                  <a:lnTo>
                    <a:pt x="1082" y="336"/>
                  </a:lnTo>
                  <a:lnTo>
                    <a:pt x="1079" y="327"/>
                  </a:lnTo>
                  <a:lnTo>
                    <a:pt x="1078" y="316"/>
                  </a:lnTo>
                  <a:lnTo>
                    <a:pt x="1077" y="301"/>
                  </a:lnTo>
                  <a:lnTo>
                    <a:pt x="1077" y="281"/>
                  </a:lnTo>
                  <a:lnTo>
                    <a:pt x="1080" y="277"/>
                  </a:lnTo>
                  <a:lnTo>
                    <a:pt x="1081" y="268"/>
                  </a:lnTo>
                  <a:lnTo>
                    <a:pt x="1083" y="260"/>
                  </a:lnTo>
                  <a:lnTo>
                    <a:pt x="1084" y="255"/>
                  </a:lnTo>
                  <a:lnTo>
                    <a:pt x="1083" y="249"/>
                  </a:lnTo>
                  <a:lnTo>
                    <a:pt x="1080" y="245"/>
                  </a:lnTo>
                  <a:lnTo>
                    <a:pt x="1076" y="240"/>
                  </a:lnTo>
                  <a:lnTo>
                    <a:pt x="1072" y="235"/>
                  </a:lnTo>
                  <a:lnTo>
                    <a:pt x="1066" y="230"/>
                  </a:lnTo>
                  <a:lnTo>
                    <a:pt x="1062" y="224"/>
                  </a:lnTo>
                  <a:lnTo>
                    <a:pt x="1058" y="219"/>
                  </a:lnTo>
                  <a:lnTo>
                    <a:pt x="1056" y="214"/>
                  </a:lnTo>
                  <a:lnTo>
                    <a:pt x="1056" y="209"/>
                  </a:lnTo>
                  <a:lnTo>
                    <a:pt x="1057" y="205"/>
                  </a:lnTo>
                  <a:lnTo>
                    <a:pt x="1060" y="200"/>
                  </a:lnTo>
                  <a:lnTo>
                    <a:pt x="1064" y="197"/>
                  </a:lnTo>
                  <a:lnTo>
                    <a:pt x="1075" y="191"/>
                  </a:lnTo>
                  <a:lnTo>
                    <a:pt x="1083" y="187"/>
                  </a:lnTo>
                  <a:lnTo>
                    <a:pt x="1106" y="175"/>
                  </a:lnTo>
                  <a:lnTo>
                    <a:pt x="1128" y="165"/>
                  </a:lnTo>
                  <a:lnTo>
                    <a:pt x="1149" y="153"/>
                  </a:lnTo>
                  <a:lnTo>
                    <a:pt x="1170" y="141"/>
                  </a:lnTo>
                  <a:lnTo>
                    <a:pt x="1174" y="131"/>
                  </a:lnTo>
                  <a:lnTo>
                    <a:pt x="1177" y="122"/>
                  </a:lnTo>
                  <a:lnTo>
                    <a:pt x="1178" y="117"/>
                  </a:lnTo>
                  <a:lnTo>
                    <a:pt x="1177" y="113"/>
                  </a:lnTo>
                  <a:lnTo>
                    <a:pt x="1176" y="107"/>
                  </a:lnTo>
                  <a:lnTo>
                    <a:pt x="1173" y="100"/>
                  </a:lnTo>
                  <a:lnTo>
                    <a:pt x="1165" y="89"/>
                  </a:lnTo>
                  <a:lnTo>
                    <a:pt x="1158" y="79"/>
                  </a:lnTo>
                  <a:lnTo>
                    <a:pt x="1150" y="70"/>
                  </a:lnTo>
                  <a:lnTo>
                    <a:pt x="1141" y="60"/>
                  </a:lnTo>
                  <a:lnTo>
                    <a:pt x="1131" y="49"/>
                  </a:lnTo>
                  <a:lnTo>
                    <a:pt x="1122" y="39"/>
                  </a:lnTo>
                  <a:lnTo>
                    <a:pt x="1112" y="30"/>
                  </a:lnTo>
                  <a:lnTo>
                    <a:pt x="1102" y="23"/>
                  </a:lnTo>
                  <a:lnTo>
                    <a:pt x="1090" y="17"/>
                  </a:lnTo>
                  <a:lnTo>
                    <a:pt x="1079" y="12"/>
                  </a:lnTo>
                  <a:lnTo>
                    <a:pt x="1065" y="7"/>
                  </a:lnTo>
                  <a:lnTo>
                    <a:pt x="1051" y="5"/>
                  </a:lnTo>
                  <a:lnTo>
                    <a:pt x="1028" y="2"/>
                  </a:lnTo>
                  <a:lnTo>
                    <a:pt x="1002" y="0"/>
                  </a:lnTo>
                  <a:lnTo>
                    <a:pt x="988" y="0"/>
                  </a:lnTo>
                  <a:lnTo>
                    <a:pt x="976" y="0"/>
                  </a:lnTo>
                  <a:lnTo>
                    <a:pt x="964" y="1"/>
                  </a:lnTo>
                  <a:lnTo>
                    <a:pt x="954" y="3"/>
                  </a:lnTo>
                  <a:lnTo>
                    <a:pt x="954" y="3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0" name="Freeform 137">
              <a:extLst>
                <a:ext uri="{FF2B5EF4-FFF2-40B4-BE49-F238E27FC236}">
                  <a16:creationId xmlns:a16="http://schemas.microsoft.com/office/drawing/2014/main" id="{6A6D240B-F2A3-4919-B95D-8CA6504F4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34" y="5044301"/>
              <a:ext cx="358737" cy="528939"/>
            </a:xfrm>
            <a:custGeom>
              <a:avLst/>
              <a:gdLst>
                <a:gd name="T0" fmla="*/ 598 w 1430"/>
                <a:gd name="T1" fmla="*/ 2171 h 2181"/>
                <a:gd name="T2" fmla="*/ 650 w 1430"/>
                <a:gd name="T3" fmla="*/ 2133 h 2181"/>
                <a:gd name="T4" fmla="*/ 676 w 1430"/>
                <a:gd name="T5" fmla="*/ 2076 h 2181"/>
                <a:gd name="T6" fmla="*/ 732 w 1430"/>
                <a:gd name="T7" fmla="*/ 2077 h 2181"/>
                <a:gd name="T8" fmla="*/ 785 w 1430"/>
                <a:gd name="T9" fmla="*/ 2101 h 2181"/>
                <a:gd name="T10" fmla="*/ 815 w 1430"/>
                <a:gd name="T11" fmla="*/ 2058 h 2181"/>
                <a:gd name="T12" fmla="*/ 846 w 1430"/>
                <a:gd name="T13" fmla="*/ 2006 h 2181"/>
                <a:gd name="T14" fmla="*/ 896 w 1430"/>
                <a:gd name="T15" fmla="*/ 2056 h 2181"/>
                <a:gd name="T16" fmla="*/ 1010 w 1430"/>
                <a:gd name="T17" fmla="*/ 2084 h 2181"/>
                <a:gd name="T18" fmla="*/ 1073 w 1430"/>
                <a:gd name="T19" fmla="*/ 2109 h 2181"/>
                <a:gd name="T20" fmla="*/ 1112 w 1430"/>
                <a:gd name="T21" fmla="*/ 2152 h 2181"/>
                <a:gd name="T22" fmla="*/ 1175 w 1430"/>
                <a:gd name="T23" fmla="*/ 2111 h 2181"/>
                <a:gd name="T24" fmla="*/ 1271 w 1430"/>
                <a:gd name="T25" fmla="*/ 2036 h 2181"/>
                <a:gd name="T26" fmla="*/ 1430 w 1430"/>
                <a:gd name="T27" fmla="*/ 1959 h 2181"/>
                <a:gd name="T28" fmla="*/ 1302 w 1430"/>
                <a:gd name="T29" fmla="*/ 1757 h 2181"/>
                <a:gd name="T30" fmla="*/ 1218 w 1430"/>
                <a:gd name="T31" fmla="*/ 1666 h 2181"/>
                <a:gd name="T32" fmla="*/ 1143 w 1430"/>
                <a:gd name="T33" fmla="*/ 1567 h 2181"/>
                <a:gd name="T34" fmla="*/ 1160 w 1430"/>
                <a:gd name="T35" fmla="*/ 1513 h 2181"/>
                <a:gd name="T36" fmla="*/ 1235 w 1430"/>
                <a:gd name="T37" fmla="*/ 1488 h 2181"/>
                <a:gd name="T38" fmla="*/ 1275 w 1430"/>
                <a:gd name="T39" fmla="*/ 1431 h 2181"/>
                <a:gd name="T40" fmla="*/ 1290 w 1430"/>
                <a:gd name="T41" fmla="*/ 1303 h 2181"/>
                <a:gd name="T42" fmla="*/ 1248 w 1430"/>
                <a:gd name="T43" fmla="*/ 1264 h 2181"/>
                <a:gd name="T44" fmla="*/ 1142 w 1430"/>
                <a:gd name="T45" fmla="*/ 1164 h 2181"/>
                <a:gd name="T46" fmla="*/ 1040 w 1430"/>
                <a:gd name="T47" fmla="*/ 999 h 2181"/>
                <a:gd name="T48" fmla="*/ 1056 w 1430"/>
                <a:gd name="T49" fmla="*/ 892 h 2181"/>
                <a:gd name="T50" fmla="*/ 1027 w 1430"/>
                <a:gd name="T51" fmla="*/ 751 h 2181"/>
                <a:gd name="T52" fmla="*/ 1011 w 1430"/>
                <a:gd name="T53" fmla="*/ 712 h 2181"/>
                <a:gd name="T54" fmla="*/ 989 w 1430"/>
                <a:gd name="T55" fmla="*/ 643 h 2181"/>
                <a:gd name="T56" fmla="*/ 821 w 1430"/>
                <a:gd name="T57" fmla="*/ 488 h 2181"/>
                <a:gd name="T58" fmla="*/ 774 w 1430"/>
                <a:gd name="T59" fmla="*/ 401 h 2181"/>
                <a:gd name="T60" fmla="*/ 754 w 1430"/>
                <a:gd name="T61" fmla="*/ 301 h 2181"/>
                <a:gd name="T62" fmla="*/ 655 w 1430"/>
                <a:gd name="T63" fmla="*/ 257 h 2181"/>
                <a:gd name="T64" fmla="*/ 602 w 1430"/>
                <a:gd name="T65" fmla="*/ 214 h 2181"/>
                <a:gd name="T66" fmla="*/ 518 w 1430"/>
                <a:gd name="T67" fmla="*/ 158 h 2181"/>
                <a:gd name="T68" fmla="*/ 411 w 1430"/>
                <a:gd name="T69" fmla="*/ 141 h 2181"/>
                <a:gd name="T70" fmla="*/ 309 w 1430"/>
                <a:gd name="T71" fmla="*/ 145 h 2181"/>
                <a:gd name="T72" fmla="*/ 235 w 1430"/>
                <a:gd name="T73" fmla="*/ 41 h 2181"/>
                <a:gd name="T74" fmla="*/ 180 w 1430"/>
                <a:gd name="T75" fmla="*/ 20 h 2181"/>
                <a:gd name="T76" fmla="*/ 155 w 1430"/>
                <a:gd name="T77" fmla="*/ 85 h 2181"/>
                <a:gd name="T78" fmla="*/ 81 w 1430"/>
                <a:gd name="T79" fmla="*/ 106 h 2181"/>
                <a:gd name="T80" fmla="*/ 13 w 1430"/>
                <a:gd name="T81" fmla="*/ 148 h 2181"/>
                <a:gd name="T82" fmla="*/ 81 w 1430"/>
                <a:gd name="T83" fmla="*/ 252 h 2181"/>
                <a:gd name="T84" fmla="*/ 115 w 1430"/>
                <a:gd name="T85" fmla="*/ 360 h 2181"/>
                <a:gd name="T86" fmla="*/ 122 w 1430"/>
                <a:gd name="T87" fmla="*/ 466 h 2181"/>
                <a:gd name="T88" fmla="*/ 132 w 1430"/>
                <a:gd name="T89" fmla="*/ 673 h 2181"/>
                <a:gd name="T90" fmla="*/ 153 w 1430"/>
                <a:gd name="T91" fmla="*/ 771 h 2181"/>
                <a:gd name="T92" fmla="*/ 199 w 1430"/>
                <a:gd name="T93" fmla="*/ 780 h 2181"/>
                <a:gd name="T94" fmla="*/ 353 w 1430"/>
                <a:gd name="T95" fmla="*/ 811 h 2181"/>
                <a:gd name="T96" fmla="*/ 401 w 1430"/>
                <a:gd name="T97" fmla="*/ 864 h 2181"/>
                <a:gd name="T98" fmla="*/ 307 w 1430"/>
                <a:gd name="T99" fmla="*/ 852 h 2181"/>
                <a:gd name="T100" fmla="*/ 190 w 1430"/>
                <a:gd name="T101" fmla="*/ 829 h 2181"/>
                <a:gd name="T102" fmla="*/ 200 w 1430"/>
                <a:gd name="T103" fmla="*/ 931 h 2181"/>
                <a:gd name="T104" fmla="*/ 229 w 1430"/>
                <a:gd name="T105" fmla="*/ 1056 h 2181"/>
                <a:gd name="T106" fmla="*/ 242 w 1430"/>
                <a:gd name="T107" fmla="*/ 1188 h 2181"/>
                <a:gd name="T108" fmla="*/ 247 w 1430"/>
                <a:gd name="T109" fmla="*/ 1223 h 2181"/>
                <a:gd name="T110" fmla="*/ 337 w 1430"/>
                <a:gd name="T111" fmla="*/ 1242 h 2181"/>
                <a:gd name="T112" fmla="*/ 308 w 1430"/>
                <a:gd name="T113" fmla="*/ 1286 h 2181"/>
                <a:gd name="T114" fmla="*/ 267 w 1430"/>
                <a:gd name="T115" fmla="*/ 1338 h 2181"/>
                <a:gd name="T116" fmla="*/ 264 w 1430"/>
                <a:gd name="T117" fmla="*/ 1427 h 2181"/>
                <a:gd name="T118" fmla="*/ 265 w 1430"/>
                <a:gd name="T119" fmla="*/ 1564 h 2181"/>
                <a:gd name="T120" fmla="*/ 323 w 1430"/>
                <a:gd name="T121" fmla="*/ 1822 h 2181"/>
                <a:gd name="T122" fmla="*/ 360 w 1430"/>
                <a:gd name="T123" fmla="*/ 2003 h 2181"/>
                <a:gd name="T124" fmla="*/ 408 w 1430"/>
                <a:gd name="T125" fmla="*/ 2148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0" h="2181">
                  <a:moveTo>
                    <a:pt x="415" y="2175"/>
                  </a:moveTo>
                  <a:lnTo>
                    <a:pt x="506" y="2178"/>
                  </a:lnTo>
                  <a:lnTo>
                    <a:pt x="523" y="2180"/>
                  </a:lnTo>
                  <a:lnTo>
                    <a:pt x="542" y="2181"/>
                  </a:lnTo>
                  <a:lnTo>
                    <a:pt x="561" y="2179"/>
                  </a:lnTo>
                  <a:lnTo>
                    <a:pt x="579" y="2176"/>
                  </a:lnTo>
                  <a:lnTo>
                    <a:pt x="589" y="2174"/>
                  </a:lnTo>
                  <a:lnTo>
                    <a:pt x="598" y="2171"/>
                  </a:lnTo>
                  <a:lnTo>
                    <a:pt x="606" y="2168"/>
                  </a:lnTo>
                  <a:lnTo>
                    <a:pt x="615" y="2164"/>
                  </a:lnTo>
                  <a:lnTo>
                    <a:pt x="623" y="2159"/>
                  </a:lnTo>
                  <a:lnTo>
                    <a:pt x="631" y="2154"/>
                  </a:lnTo>
                  <a:lnTo>
                    <a:pt x="639" y="2149"/>
                  </a:lnTo>
                  <a:lnTo>
                    <a:pt x="645" y="2144"/>
                  </a:lnTo>
                  <a:lnTo>
                    <a:pt x="648" y="2140"/>
                  </a:lnTo>
                  <a:lnTo>
                    <a:pt x="650" y="2133"/>
                  </a:lnTo>
                  <a:lnTo>
                    <a:pt x="652" y="2127"/>
                  </a:lnTo>
                  <a:lnTo>
                    <a:pt x="654" y="2120"/>
                  </a:lnTo>
                  <a:lnTo>
                    <a:pt x="655" y="2113"/>
                  </a:lnTo>
                  <a:lnTo>
                    <a:pt x="658" y="2104"/>
                  </a:lnTo>
                  <a:lnTo>
                    <a:pt x="661" y="2097"/>
                  </a:lnTo>
                  <a:lnTo>
                    <a:pt x="664" y="2091"/>
                  </a:lnTo>
                  <a:lnTo>
                    <a:pt x="670" y="2082"/>
                  </a:lnTo>
                  <a:lnTo>
                    <a:pt x="676" y="2076"/>
                  </a:lnTo>
                  <a:lnTo>
                    <a:pt x="683" y="2071"/>
                  </a:lnTo>
                  <a:lnTo>
                    <a:pt x="689" y="2068"/>
                  </a:lnTo>
                  <a:lnTo>
                    <a:pt x="696" y="2066"/>
                  </a:lnTo>
                  <a:lnTo>
                    <a:pt x="704" y="2065"/>
                  </a:lnTo>
                  <a:lnTo>
                    <a:pt x="713" y="2066"/>
                  </a:lnTo>
                  <a:lnTo>
                    <a:pt x="723" y="2068"/>
                  </a:lnTo>
                  <a:lnTo>
                    <a:pt x="726" y="2072"/>
                  </a:lnTo>
                  <a:lnTo>
                    <a:pt x="732" y="2077"/>
                  </a:lnTo>
                  <a:lnTo>
                    <a:pt x="739" y="2082"/>
                  </a:lnTo>
                  <a:lnTo>
                    <a:pt x="747" y="2087"/>
                  </a:lnTo>
                  <a:lnTo>
                    <a:pt x="756" y="2093"/>
                  </a:lnTo>
                  <a:lnTo>
                    <a:pt x="764" y="2097"/>
                  </a:lnTo>
                  <a:lnTo>
                    <a:pt x="770" y="2100"/>
                  </a:lnTo>
                  <a:lnTo>
                    <a:pt x="775" y="2101"/>
                  </a:lnTo>
                  <a:lnTo>
                    <a:pt x="781" y="2101"/>
                  </a:lnTo>
                  <a:lnTo>
                    <a:pt x="785" y="2101"/>
                  </a:lnTo>
                  <a:lnTo>
                    <a:pt x="789" y="2100"/>
                  </a:lnTo>
                  <a:lnTo>
                    <a:pt x="793" y="2098"/>
                  </a:lnTo>
                  <a:lnTo>
                    <a:pt x="799" y="2095"/>
                  </a:lnTo>
                  <a:lnTo>
                    <a:pt x="805" y="2089"/>
                  </a:lnTo>
                  <a:lnTo>
                    <a:pt x="808" y="2082"/>
                  </a:lnTo>
                  <a:lnTo>
                    <a:pt x="811" y="2075"/>
                  </a:lnTo>
                  <a:lnTo>
                    <a:pt x="814" y="2067"/>
                  </a:lnTo>
                  <a:lnTo>
                    <a:pt x="815" y="2058"/>
                  </a:lnTo>
                  <a:lnTo>
                    <a:pt x="819" y="2041"/>
                  </a:lnTo>
                  <a:lnTo>
                    <a:pt x="823" y="2025"/>
                  </a:lnTo>
                  <a:lnTo>
                    <a:pt x="826" y="2019"/>
                  </a:lnTo>
                  <a:lnTo>
                    <a:pt x="831" y="2012"/>
                  </a:lnTo>
                  <a:lnTo>
                    <a:pt x="835" y="2008"/>
                  </a:lnTo>
                  <a:lnTo>
                    <a:pt x="841" y="2006"/>
                  </a:lnTo>
                  <a:lnTo>
                    <a:pt x="844" y="2005"/>
                  </a:lnTo>
                  <a:lnTo>
                    <a:pt x="846" y="2006"/>
                  </a:lnTo>
                  <a:lnTo>
                    <a:pt x="849" y="2007"/>
                  </a:lnTo>
                  <a:lnTo>
                    <a:pt x="853" y="2008"/>
                  </a:lnTo>
                  <a:lnTo>
                    <a:pt x="858" y="2013"/>
                  </a:lnTo>
                  <a:lnTo>
                    <a:pt x="864" y="2020"/>
                  </a:lnTo>
                  <a:lnTo>
                    <a:pt x="875" y="2032"/>
                  </a:lnTo>
                  <a:lnTo>
                    <a:pt x="883" y="2042"/>
                  </a:lnTo>
                  <a:lnTo>
                    <a:pt x="890" y="2049"/>
                  </a:lnTo>
                  <a:lnTo>
                    <a:pt x="896" y="2056"/>
                  </a:lnTo>
                  <a:lnTo>
                    <a:pt x="905" y="2063"/>
                  </a:lnTo>
                  <a:lnTo>
                    <a:pt x="912" y="2070"/>
                  </a:lnTo>
                  <a:lnTo>
                    <a:pt x="921" y="2075"/>
                  </a:lnTo>
                  <a:lnTo>
                    <a:pt x="930" y="2079"/>
                  </a:lnTo>
                  <a:lnTo>
                    <a:pt x="939" y="2082"/>
                  </a:lnTo>
                  <a:lnTo>
                    <a:pt x="949" y="2085"/>
                  </a:lnTo>
                  <a:lnTo>
                    <a:pt x="979" y="2084"/>
                  </a:lnTo>
                  <a:lnTo>
                    <a:pt x="1010" y="2084"/>
                  </a:lnTo>
                  <a:lnTo>
                    <a:pt x="1026" y="2085"/>
                  </a:lnTo>
                  <a:lnTo>
                    <a:pt x="1040" y="2087"/>
                  </a:lnTo>
                  <a:lnTo>
                    <a:pt x="1046" y="2089"/>
                  </a:lnTo>
                  <a:lnTo>
                    <a:pt x="1054" y="2091"/>
                  </a:lnTo>
                  <a:lnTo>
                    <a:pt x="1060" y="2093"/>
                  </a:lnTo>
                  <a:lnTo>
                    <a:pt x="1066" y="2096"/>
                  </a:lnTo>
                  <a:lnTo>
                    <a:pt x="1068" y="2103"/>
                  </a:lnTo>
                  <a:lnTo>
                    <a:pt x="1073" y="2109"/>
                  </a:lnTo>
                  <a:lnTo>
                    <a:pt x="1074" y="2118"/>
                  </a:lnTo>
                  <a:lnTo>
                    <a:pt x="1077" y="2126"/>
                  </a:lnTo>
                  <a:lnTo>
                    <a:pt x="1082" y="2134"/>
                  </a:lnTo>
                  <a:lnTo>
                    <a:pt x="1088" y="2141"/>
                  </a:lnTo>
                  <a:lnTo>
                    <a:pt x="1095" y="2147"/>
                  </a:lnTo>
                  <a:lnTo>
                    <a:pt x="1104" y="2150"/>
                  </a:lnTo>
                  <a:lnTo>
                    <a:pt x="1108" y="2152"/>
                  </a:lnTo>
                  <a:lnTo>
                    <a:pt x="1112" y="2152"/>
                  </a:lnTo>
                  <a:lnTo>
                    <a:pt x="1116" y="2152"/>
                  </a:lnTo>
                  <a:lnTo>
                    <a:pt x="1120" y="2151"/>
                  </a:lnTo>
                  <a:lnTo>
                    <a:pt x="1131" y="2147"/>
                  </a:lnTo>
                  <a:lnTo>
                    <a:pt x="1141" y="2142"/>
                  </a:lnTo>
                  <a:lnTo>
                    <a:pt x="1150" y="2134"/>
                  </a:lnTo>
                  <a:lnTo>
                    <a:pt x="1158" y="2127"/>
                  </a:lnTo>
                  <a:lnTo>
                    <a:pt x="1166" y="2119"/>
                  </a:lnTo>
                  <a:lnTo>
                    <a:pt x="1175" y="2111"/>
                  </a:lnTo>
                  <a:lnTo>
                    <a:pt x="1183" y="2104"/>
                  </a:lnTo>
                  <a:lnTo>
                    <a:pt x="1192" y="2098"/>
                  </a:lnTo>
                  <a:lnTo>
                    <a:pt x="1207" y="2087"/>
                  </a:lnTo>
                  <a:lnTo>
                    <a:pt x="1223" y="2076"/>
                  </a:lnTo>
                  <a:lnTo>
                    <a:pt x="1237" y="2063"/>
                  </a:lnTo>
                  <a:lnTo>
                    <a:pt x="1251" y="2052"/>
                  </a:lnTo>
                  <a:lnTo>
                    <a:pt x="1260" y="2044"/>
                  </a:lnTo>
                  <a:lnTo>
                    <a:pt x="1271" y="2036"/>
                  </a:lnTo>
                  <a:lnTo>
                    <a:pt x="1282" y="2030"/>
                  </a:lnTo>
                  <a:lnTo>
                    <a:pt x="1293" y="2024"/>
                  </a:lnTo>
                  <a:lnTo>
                    <a:pt x="1315" y="2012"/>
                  </a:lnTo>
                  <a:lnTo>
                    <a:pt x="1338" y="2002"/>
                  </a:lnTo>
                  <a:lnTo>
                    <a:pt x="1362" y="1993"/>
                  </a:lnTo>
                  <a:lnTo>
                    <a:pt x="1385" y="1982"/>
                  </a:lnTo>
                  <a:lnTo>
                    <a:pt x="1408" y="1972"/>
                  </a:lnTo>
                  <a:lnTo>
                    <a:pt x="1430" y="1959"/>
                  </a:lnTo>
                  <a:lnTo>
                    <a:pt x="1430" y="1959"/>
                  </a:lnTo>
                  <a:lnTo>
                    <a:pt x="1412" y="1931"/>
                  </a:lnTo>
                  <a:lnTo>
                    <a:pt x="1395" y="1903"/>
                  </a:lnTo>
                  <a:lnTo>
                    <a:pt x="1377" y="1875"/>
                  </a:lnTo>
                  <a:lnTo>
                    <a:pt x="1358" y="1845"/>
                  </a:lnTo>
                  <a:lnTo>
                    <a:pt x="1339" y="1816"/>
                  </a:lnTo>
                  <a:lnTo>
                    <a:pt x="1321" y="1787"/>
                  </a:lnTo>
                  <a:lnTo>
                    <a:pt x="1302" y="1757"/>
                  </a:lnTo>
                  <a:lnTo>
                    <a:pt x="1284" y="1727"/>
                  </a:lnTo>
                  <a:lnTo>
                    <a:pt x="1274" y="1709"/>
                  </a:lnTo>
                  <a:lnTo>
                    <a:pt x="1263" y="1692"/>
                  </a:lnTo>
                  <a:lnTo>
                    <a:pt x="1257" y="1685"/>
                  </a:lnTo>
                  <a:lnTo>
                    <a:pt x="1251" y="1679"/>
                  </a:lnTo>
                  <a:lnTo>
                    <a:pt x="1241" y="1673"/>
                  </a:lnTo>
                  <a:lnTo>
                    <a:pt x="1231" y="1670"/>
                  </a:lnTo>
                  <a:lnTo>
                    <a:pt x="1218" y="1666"/>
                  </a:lnTo>
                  <a:lnTo>
                    <a:pt x="1209" y="1662"/>
                  </a:lnTo>
                  <a:lnTo>
                    <a:pt x="1202" y="1657"/>
                  </a:lnTo>
                  <a:lnTo>
                    <a:pt x="1194" y="1651"/>
                  </a:lnTo>
                  <a:lnTo>
                    <a:pt x="1181" y="1639"/>
                  </a:lnTo>
                  <a:lnTo>
                    <a:pt x="1165" y="1626"/>
                  </a:lnTo>
                  <a:lnTo>
                    <a:pt x="1155" y="1598"/>
                  </a:lnTo>
                  <a:lnTo>
                    <a:pt x="1144" y="1573"/>
                  </a:lnTo>
                  <a:lnTo>
                    <a:pt x="1143" y="1567"/>
                  </a:lnTo>
                  <a:lnTo>
                    <a:pt x="1142" y="1561"/>
                  </a:lnTo>
                  <a:lnTo>
                    <a:pt x="1141" y="1554"/>
                  </a:lnTo>
                  <a:lnTo>
                    <a:pt x="1142" y="1548"/>
                  </a:lnTo>
                  <a:lnTo>
                    <a:pt x="1143" y="1541"/>
                  </a:lnTo>
                  <a:lnTo>
                    <a:pt x="1145" y="1534"/>
                  </a:lnTo>
                  <a:lnTo>
                    <a:pt x="1150" y="1526"/>
                  </a:lnTo>
                  <a:lnTo>
                    <a:pt x="1155" y="1519"/>
                  </a:lnTo>
                  <a:lnTo>
                    <a:pt x="1160" y="1513"/>
                  </a:lnTo>
                  <a:lnTo>
                    <a:pt x="1166" y="1507"/>
                  </a:lnTo>
                  <a:lnTo>
                    <a:pt x="1173" y="1504"/>
                  </a:lnTo>
                  <a:lnTo>
                    <a:pt x="1180" y="1501"/>
                  </a:lnTo>
                  <a:lnTo>
                    <a:pt x="1196" y="1497"/>
                  </a:lnTo>
                  <a:lnTo>
                    <a:pt x="1211" y="1494"/>
                  </a:lnTo>
                  <a:lnTo>
                    <a:pt x="1220" y="1493"/>
                  </a:lnTo>
                  <a:lnTo>
                    <a:pt x="1228" y="1491"/>
                  </a:lnTo>
                  <a:lnTo>
                    <a:pt x="1235" y="1488"/>
                  </a:lnTo>
                  <a:lnTo>
                    <a:pt x="1242" y="1484"/>
                  </a:lnTo>
                  <a:lnTo>
                    <a:pt x="1249" y="1479"/>
                  </a:lnTo>
                  <a:lnTo>
                    <a:pt x="1255" y="1474"/>
                  </a:lnTo>
                  <a:lnTo>
                    <a:pt x="1260" y="1468"/>
                  </a:lnTo>
                  <a:lnTo>
                    <a:pt x="1264" y="1459"/>
                  </a:lnTo>
                  <a:lnTo>
                    <a:pt x="1270" y="1446"/>
                  </a:lnTo>
                  <a:lnTo>
                    <a:pt x="1273" y="1439"/>
                  </a:lnTo>
                  <a:lnTo>
                    <a:pt x="1275" y="1431"/>
                  </a:lnTo>
                  <a:lnTo>
                    <a:pt x="1277" y="1422"/>
                  </a:lnTo>
                  <a:lnTo>
                    <a:pt x="1282" y="1395"/>
                  </a:lnTo>
                  <a:lnTo>
                    <a:pt x="1288" y="1367"/>
                  </a:lnTo>
                  <a:lnTo>
                    <a:pt x="1290" y="1352"/>
                  </a:lnTo>
                  <a:lnTo>
                    <a:pt x="1293" y="1337"/>
                  </a:lnTo>
                  <a:lnTo>
                    <a:pt x="1293" y="1324"/>
                  </a:lnTo>
                  <a:lnTo>
                    <a:pt x="1291" y="1310"/>
                  </a:lnTo>
                  <a:lnTo>
                    <a:pt x="1290" y="1303"/>
                  </a:lnTo>
                  <a:lnTo>
                    <a:pt x="1288" y="1297"/>
                  </a:lnTo>
                  <a:lnTo>
                    <a:pt x="1285" y="1291"/>
                  </a:lnTo>
                  <a:lnTo>
                    <a:pt x="1283" y="1287"/>
                  </a:lnTo>
                  <a:lnTo>
                    <a:pt x="1275" y="1279"/>
                  </a:lnTo>
                  <a:lnTo>
                    <a:pt x="1264" y="1270"/>
                  </a:lnTo>
                  <a:lnTo>
                    <a:pt x="1264" y="1270"/>
                  </a:lnTo>
                  <a:lnTo>
                    <a:pt x="1256" y="1267"/>
                  </a:lnTo>
                  <a:lnTo>
                    <a:pt x="1248" y="1264"/>
                  </a:lnTo>
                  <a:lnTo>
                    <a:pt x="1239" y="1260"/>
                  </a:lnTo>
                  <a:lnTo>
                    <a:pt x="1231" y="1255"/>
                  </a:lnTo>
                  <a:lnTo>
                    <a:pt x="1215" y="1245"/>
                  </a:lnTo>
                  <a:lnTo>
                    <a:pt x="1200" y="1231"/>
                  </a:lnTo>
                  <a:lnTo>
                    <a:pt x="1185" y="1216"/>
                  </a:lnTo>
                  <a:lnTo>
                    <a:pt x="1171" y="1200"/>
                  </a:lnTo>
                  <a:lnTo>
                    <a:pt x="1156" y="1183"/>
                  </a:lnTo>
                  <a:lnTo>
                    <a:pt x="1142" y="1164"/>
                  </a:lnTo>
                  <a:lnTo>
                    <a:pt x="1116" y="1126"/>
                  </a:lnTo>
                  <a:lnTo>
                    <a:pt x="1092" y="1088"/>
                  </a:lnTo>
                  <a:lnTo>
                    <a:pt x="1070" y="1053"/>
                  </a:lnTo>
                  <a:lnTo>
                    <a:pt x="1050" y="1022"/>
                  </a:lnTo>
                  <a:lnTo>
                    <a:pt x="1046" y="1016"/>
                  </a:lnTo>
                  <a:lnTo>
                    <a:pt x="1043" y="1011"/>
                  </a:lnTo>
                  <a:lnTo>
                    <a:pt x="1042" y="1006"/>
                  </a:lnTo>
                  <a:lnTo>
                    <a:pt x="1040" y="999"/>
                  </a:lnTo>
                  <a:lnTo>
                    <a:pt x="1040" y="989"/>
                  </a:lnTo>
                  <a:lnTo>
                    <a:pt x="1041" y="978"/>
                  </a:lnTo>
                  <a:lnTo>
                    <a:pt x="1047" y="957"/>
                  </a:lnTo>
                  <a:lnTo>
                    <a:pt x="1055" y="935"/>
                  </a:lnTo>
                  <a:lnTo>
                    <a:pt x="1057" y="923"/>
                  </a:lnTo>
                  <a:lnTo>
                    <a:pt x="1058" y="913"/>
                  </a:lnTo>
                  <a:lnTo>
                    <a:pt x="1057" y="902"/>
                  </a:lnTo>
                  <a:lnTo>
                    <a:pt x="1056" y="892"/>
                  </a:lnTo>
                  <a:lnTo>
                    <a:pt x="1051" y="872"/>
                  </a:lnTo>
                  <a:lnTo>
                    <a:pt x="1044" y="851"/>
                  </a:lnTo>
                  <a:lnTo>
                    <a:pt x="1037" y="829"/>
                  </a:lnTo>
                  <a:lnTo>
                    <a:pt x="1031" y="805"/>
                  </a:lnTo>
                  <a:lnTo>
                    <a:pt x="1028" y="793"/>
                  </a:lnTo>
                  <a:lnTo>
                    <a:pt x="1027" y="780"/>
                  </a:lnTo>
                  <a:lnTo>
                    <a:pt x="1026" y="766"/>
                  </a:lnTo>
                  <a:lnTo>
                    <a:pt x="1027" y="751"/>
                  </a:lnTo>
                  <a:lnTo>
                    <a:pt x="1026" y="745"/>
                  </a:lnTo>
                  <a:lnTo>
                    <a:pt x="1025" y="740"/>
                  </a:lnTo>
                  <a:lnTo>
                    <a:pt x="1022" y="735"/>
                  </a:lnTo>
                  <a:lnTo>
                    <a:pt x="1019" y="731"/>
                  </a:lnTo>
                  <a:lnTo>
                    <a:pt x="1016" y="727"/>
                  </a:lnTo>
                  <a:lnTo>
                    <a:pt x="1013" y="723"/>
                  </a:lnTo>
                  <a:lnTo>
                    <a:pt x="1011" y="719"/>
                  </a:lnTo>
                  <a:lnTo>
                    <a:pt x="1011" y="712"/>
                  </a:lnTo>
                  <a:lnTo>
                    <a:pt x="1010" y="693"/>
                  </a:lnTo>
                  <a:lnTo>
                    <a:pt x="1010" y="678"/>
                  </a:lnTo>
                  <a:lnTo>
                    <a:pt x="1009" y="672"/>
                  </a:lnTo>
                  <a:lnTo>
                    <a:pt x="1008" y="668"/>
                  </a:lnTo>
                  <a:lnTo>
                    <a:pt x="1006" y="662"/>
                  </a:lnTo>
                  <a:lnTo>
                    <a:pt x="1004" y="658"/>
                  </a:lnTo>
                  <a:lnTo>
                    <a:pt x="997" y="651"/>
                  </a:lnTo>
                  <a:lnTo>
                    <a:pt x="989" y="643"/>
                  </a:lnTo>
                  <a:lnTo>
                    <a:pt x="978" y="632"/>
                  </a:lnTo>
                  <a:lnTo>
                    <a:pt x="963" y="618"/>
                  </a:lnTo>
                  <a:lnTo>
                    <a:pt x="941" y="597"/>
                  </a:lnTo>
                  <a:lnTo>
                    <a:pt x="913" y="573"/>
                  </a:lnTo>
                  <a:lnTo>
                    <a:pt x="882" y="547"/>
                  </a:lnTo>
                  <a:lnTo>
                    <a:pt x="850" y="517"/>
                  </a:lnTo>
                  <a:lnTo>
                    <a:pt x="836" y="503"/>
                  </a:lnTo>
                  <a:lnTo>
                    <a:pt x="821" y="488"/>
                  </a:lnTo>
                  <a:lnTo>
                    <a:pt x="809" y="473"/>
                  </a:lnTo>
                  <a:lnTo>
                    <a:pt x="797" y="458"/>
                  </a:lnTo>
                  <a:lnTo>
                    <a:pt x="788" y="443"/>
                  </a:lnTo>
                  <a:lnTo>
                    <a:pt x="781" y="429"/>
                  </a:lnTo>
                  <a:lnTo>
                    <a:pt x="778" y="421"/>
                  </a:lnTo>
                  <a:lnTo>
                    <a:pt x="776" y="414"/>
                  </a:lnTo>
                  <a:lnTo>
                    <a:pt x="775" y="408"/>
                  </a:lnTo>
                  <a:lnTo>
                    <a:pt x="774" y="401"/>
                  </a:lnTo>
                  <a:lnTo>
                    <a:pt x="774" y="378"/>
                  </a:lnTo>
                  <a:lnTo>
                    <a:pt x="773" y="356"/>
                  </a:lnTo>
                  <a:lnTo>
                    <a:pt x="772" y="345"/>
                  </a:lnTo>
                  <a:lnTo>
                    <a:pt x="770" y="336"/>
                  </a:lnTo>
                  <a:lnTo>
                    <a:pt x="767" y="326"/>
                  </a:lnTo>
                  <a:lnTo>
                    <a:pt x="764" y="317"/>
                  </a:lnTo>
                  <a:lnTo>
                    <a:pt x="760" y="309"/>
                  </a:lnTo>
                  <a:lnTo>
                    <a:pt x="754" y="301"/>
                  </a:lnTo>
                  <a:lnTo>
                    <a:pt x="748" y="294"/>
                  </a:lnTo>
                  <a:lnTo>
                    <a:pt x="741" y="287"/>
                  </a:lnTo>
                  <a:lnTo>
                    <a:pt x="733" y="282"/>
                  </a:lnTo>
                  <a:lnTo>
                    <a:pt x="723" y="276"/>
                  </a:lnTo>
                  <a:lnTo>
                    <a:pt x="712" y="271"/>
                  </a:lnTo>
                  <a:lnTo>
                    <a:pt x="699" y="267"/>
                  </a:lnTo>
                  <a:lnTo>
                    <a:pt x="674" y="262"/>
                  </a:lnTo>
                  <a:lnTo>
                    <a:pt x="655" y="257"/>
                  </a:lnTo>
                  <a:lnTo>
                    <a:pt x="647" y="253"/>
                  </a:lnTo>
                  <a:lnTo>
                    <a:pt x="638" y="249"/>
                  </a:lnTo>
                  <a:lnTo>
                    <a:pt x="627" y="245"/>
                  </a:lnTo>
                  <a:lnTo>
                    <a:pt x="615" y="238"/>
                  </a:lnTo>
                  <a:lnTo>
                    <a:pt x="614" y="233"/>
                  </a:lnTo>
                  <a:lnTo>
                    <a:pt x="611" y="226"/>
                  </a:lnTo>
                  <a:lnTo>
                    <a:pt x="607" y="220"/>
                  </a:lnTo>
                  <a:lnTo>
                    <a:pt x="602" y="214"/>
                  </a:lnTo>
                  <a:lnTo>
                    <a:pt x="597" y="208"/>
                  </a:lnTo>
                  <a:lnTo>
                    <a:pt x="593" y="202"/>
                  </a:lnTo>
                  <a:lnTo>
                    <a:pt x="588" y="198"/>
                  </a:lnTo>
                  <a:lnTo>
                    <a:pt x="582" y="195"/>
                  </a:lnTo>
                  <a:lnTo>
                    <a:pt x="565" y="187"/>
                  </a:lnTo>
                  <a:lnTo>
                    <a:pt x="548" y="177"/>
                  </a:lnTo>
                  <a:lnTo>
                    <a:pt x="532" y="168"/>
                  </a:lnTo>
                  <a:lnTo>
                    <a:pt x="518" y="158"/>
                  </a:lnTo>
                  <a:lnTo>
                    <a:pt x="501" y="150"/>
                  </a:lnTo>
                  <a:lnTo>
                    <a:pt x="484" y="143"/>
                  </a:lnTo>
                  <a:lnTo>
                    <a:pt x="475" y="140"/>
                  </a:lnTo>
                  <a:lnTo>
                    <a:pt x="466" y="139"/>
                  </a:lnTo>
                  <a:lnTo>
                    <a:pt x="455" y="137"/>
                  </a:lnTo>
                  <a:lnTo>
                    <a:pt x="444" y="137"/>
                  </a:lnTo>
                  <a:lnTo>
                    <a:pt x="429" y="138"/>
                  </a:lnTo>
                  <a:lnTo>
                    <a:pt x="411" y="141"/>
                  </a:lnTo>
                  <a:lnTo>
                    <a:pt x="393" y="145"/>
                  </a:lnTo>
                  <a:lnTo>
                    <a:pt x="374" y="148"/>
                  </a:lnTo>
                  <a:lnTo>
                    <a:pt x="354" y="151"/>
                  </a:lnTo>
                  <a:lnTo>
                    <a:pt x="336" y="152"/>
                  </a:lnTo>
                  <a:lnTo>
                    <a:pt x="328" y="151"/>
                  </a:lnTo>
                  <a:lnTo>
                    <a:pt x="321" y="150"/>
                  </a:lnTo>
                  <a:lnTo>
                    <a:pt x="314" y="148"/>
                  </a:lnTo>
                  <a:lnTo>
                    <a:pt x="309" y="145"/>
                  </a:lnTo>
                  <a:lnTo>
                    <a:pt x="302" y="139"/>
                  </a:lnTo>
                  <a:lnTo>
                    <a:pt x="297" y="132"/>
                  </a:lnTo>
                  <a:lnTo>
                    <a:pt x="292" y="125"/>
                  </a:lnTo>
                  <a:lnTo>
                    <a:pt x="287" y="118"/>
                  </a:lnTo>
                  <a:lnTo>
                    <a:pt x="280" y="102"/>
                  </a:lnTo>
                  <a:lnTo>
                    <a:pt x="271" y="88"/>
                  </a:lnTo>
                  <a:lnTo>
                    <a:pt x="253" y="64"/>
                  </a:lnTo>
                  <a:lnTo>
                    <a:pt x="235" y="41"/>
                  </a:lnTo>
                  <a:lnTo>
                    <a:pt x="226" y="29"/>
                  </a:lnTo>
                  <a:lnTo>
                    <a:pt x="215" y="19"/>
                  </a:lnTo>
                  <a:lnTo>
                    <a:pt x="205" y="8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88" y="6"/>
                  </a:lnTo>
                  <a:lnTo>
                    <a:pt x="184" y="12"/>
                  </a:lnTo>
                  <a:lnTo>
                    <a:pt x="180" y="20"/>
                  </a:lnTo>
                  <a:lnTo>
                    <a:pt x="178" y="26"/>
                  </a:lnTo>
                  <a:lnTo>
                    <a:pt x="174" y="40"/>
                  </a:lnTo>
                  <a:lnTo>
                    <a:pt x="171" y="53"/>
                  </a:lnTo>
                  <a:lnTo>
                    <a:pt x="169" y="59"/>
                  </a:lnTo>
                  <a:lnTo>
                    <a:pt x="166" y="66"/>
                  </a:lnTo>
                  <a:lnTo>
                    <a:pt x="163" y="73"/>
                  </a:lnTo>
                  <a:lnTo>
                    <a:pt x="160" y="79"/>
                  </a:lnTo>
                  <a:lnTo>
                    <a:pt x="155" y="85"/>
                  </a:lnTo>
                  <a:lnTo>
                    <a:pt x="150" y="92"/>
                  </a:lnTo>
                  <a:lnTo>
                    <a:pt x="142" y="98"/>
                  </a:lnTo>
                  <a:lnTo>
                    <a:pt x="133" y="103"/>
                  </a:lnTo>
                  <a:lnTo>
                    <a:pt x="125" y="108"/>
                  </a:lnTo>
                  <a:lnTo>
                    <a:pt x="115" y="111"/>
                  </a:lnTo>
                  <a:lnTo>
                    <a:pt x="107" y="111"/>
                  </a:lnTo>
                  <a:lnTo>
                    <a:pt x="98" y="109"/>
                  </a:lnTo>
                  <a:lnTo>
                    <a:pt x="81" y="106"/>
                  </a:lnTo>
                  <a:lnTo>
                    <a:pt x="62" y="103"/>
                  </a:lnTo>
                  <a:lnTo>
                    <a:pt x="58" y="101"/>
                  </a:lnTo>
                  <a:lnTo>
                    <a:pt x="51" y="101"/>
                  </a:lnTo>
                  <a:lnTo>
                    <a:pt x="44" y="101"/>
                  </a:lnTo>
                  <a:lnTo>
                    <a:pt x="39" y="102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13" y="148"/>
                  </a:lnTo>
                  <a:lnTo>
                    <a:pt x="26" y="169"/>
                  </a:lnTo>
                  <a:lnTo>
                    <a:pt x="37" y="186"/>
                  </a:lnTo>
                  <a:lnTo>
                    <a:pt x="45" y="197"/>
                  </a:lnTo>
                  <a:lnTo>
                    <a:pt x="53" y="206"/>
                  </a:lnTo>
                  <a:lnTo>
                    <a:pt x="60" y="217"/>
                  </a:lnTo>
                  <a:lnTo>
                    <a:pt x="67" y="228"/>
                  </a:lnTo>
                  <a:lnTo>
                    <a:pt x="74" y="241"/>
                  </a:lnTo>
                  <a:lnTo>
                    <a:pt x="81" y="252"/>
                  </a:lnTo>
                  <a:lnTo>
                    <a:pt x="86" y="266"/>
                  </a:lnTo>
                  <a:lnTo>
                    <a:pt x="92" y="278"/>
                  </a:lnTo>
                  <a:lnTo>
                    <a:pt x="98" y="292"/>
                  </a:lnTo>
                  <a:lnTo>
                    <a:pt x="102" y="306"/>
                  </a:lnTo>
                  <a:lnTo>
                    <a:pt x="106" y="319"/>
                  </a:lnTo>
                  <a:lnTo>
                    <a:pt x="110" y="333"/>
                  </a:lnTo>
                  <a:lnTo>
                    <a:pt x="112" y="346"/>
                  </a:lnTo>
                  <a:lnTo>
                    <a:pt x="115" y="360"/>
                  </a:lnTo>
                  <a:lnTo>
                    <a:pt x="116" y="372"/>
                  </a:lnTo>
                  <a:lnTo>
                    <a:pt x="117" y="386"/>
                  </a:lnTo>
                  <a:lnTo>
                    <a:pt x="118" y="398"/>
                  </a:lnTo>
                  <a:lnTo>
                    <a:pt x="121" y="412"/>
                  </a:lnTo>
                  <a:lnTo>
                    <a:pt x="123" y="426"/>
                  </a:lnTo>
                  <a:lnTo>
                    <a:pt x="123" y="439"/>
                  </a:lnTo>
                  <a:lnTo>
                    <a:pt x="122" y="453"/>
                  </a:lnTo>
                  <a:lnTo>
                    <a:pt x="122" y="466"/>
                  </a:lnTo>
                  <a:lnTo>
                    <a:pt x="121" y="480"/>
                  </a:lnTo>
                  <a:lnTo>
                    <a:pt x="122" y="493"/>
                  </a:lnTo>
                  <a:lnTo>
                    <a:pt x="123" y="507"/>
                  </a:lnTo>
                  <a:lnTo>
                    <a:pt x="125" y="528"/>
                  </a:lnTo>
                  <a:lnTo>
                    <a:pt x="126" y="562"/>
                  </a:lnTo>
                  <a:lnTo>
                    <a:pt x="128" y="604"/>
                  </a:lnTo>
                  <a:lnTo>
                    <a:pt x="131" y="650"/>
                  </a:lnTo>
                  <a:lnTo>
                    <a:pt x="132" y="673"/>
                  </a:lnTo>
                  <a:lnTo>
                    <a:pt x="134" y="695"/>
                  </a:lnTo>
                  <a:lnTo>
                    <a:pt x="136" y="715"/>
                  </a:lnTo>
                  <a:lnTo>
                    <a:pt x="139" y="732"/>
                  </a:lnTo>
                  <a:lnTo>
                    <a:pt x="142" y="748"/>
                  </a:lnTo>
                  <a:lnTo>
                    <a:pt x="147" y="760"/>
                  </a:lnTo>
                  <a:lnTo>
                    <a:pt x="149" y="765"/>
                  </a:lnTo>
                  <a:lnTo>
                    <a:pt x="151" y="768"/>
                  </a:lnTo>
                  <a:lnTo>
                    <a:pt x="153" y="771"/>
                  </a:lnTo>
                  <a:lnTo>
                    <a:pt x="156" y="772"/>
                  </a:lnTo>
                  <a:lnTo>
                    <a:pt x="157" y="774"/>
                  </a:lnTo>
                  <a:lnTo>
                    <a:pt x="160" y="775"/>
                  </a:lnTo>
                  <a:lnTo>
                    <a:pt x="163" y="777"/>
                  </a:lnTo>
                  <a:lnTo>
                    <a:pt x="167" y="778"/>
                  </a:lnTo>
                  <a:lnTo>
                    <a:pt x="175" y="780"/>
                  </a:lnTo>
                  <a:lnTo>
                    <a:pt x="181" y="781"/>
                  </a:lnTo>
                  <a:lnTo>
                    <a:pt x="199" y="780"/>
                  </a:lnTo>
                  <a:lnTo>
                    <a:pt x="218" y="780"/>
                  </a:lnTo>
                  <a:lnTo>
                    <a:pt x="237" y="781"/>
                  </a:lnTo>
                  <a:lnTo>
                    <a:pt x="258" y="783"/>
                  </a:lnTo>
                  <a:lnTo>
                    <a:pt x="278" y="785"/>
                  </a:lnTo>
                  <a:lnTo>
                    <a:pt x="298" y="790"/>
                  </a:lnTo>
                  <a:lnTo>
                    <a:pt x="316" y="795"/>
                  </a:lnTo>
                  <a:lnTo>
                    <a:pt x="332" y="800"/>
                  </a:lnTo>
                  <a:lnTo>
                    <a:pt x="353" y="811"/>
                  </a:lnTo>
                  <a:lnTo>
                    <a:pt x="381" y="824"/>
                  </a:lnTo>
                  <a:lnTo>
                    <a:pt x="394" y="832"/>
                  </a:lnTo>
                  <a:lnTo>
                    <a:pt x="406" y="840"/>
                  </a:lnTo>
                  <a:lnTo>
                    <a:pt x="416" y="847"/>
                  </a:lnTo>
                  <a:lnTo>
                    <a:pt x="422" y="853"/>
                  </a:lnTo>
                  <a:lnTo>
                    <a:pt x="416" y="857"/>
                  </a:lnTo>
                  <a:lnTo>
                    <a:pt x="408" y="861"/>
                  </a:lnTo>
                  <a:lnTo>
                    <a:pt x="401" y="864"/>
                  </a:lnTo>
                  <a:lnTo>
                    <a:pt x="393" y="865"/>
                  </a:lnTo>
                  <a:lnTo>
                    <a:pt x="384" y="866"/>
                  </a:lnTo>
                  <a:lnTo>
                    <a:pt x="376" y="866"/>
                  </a:lnTo>
                  <a:lnTo>
                    <a:pt x="367" y="865"/>
                  </a:lnTo>
                  <a:lnTo>
                    <a:pt x="358" y="864"/>
                  </a:lnTo>
                  <a:lnTo>
                    <a:pt x="340" y="861"/>
                  </a:lnTo>
                  <a:lnTo>
                    <a:pt x="323" y="856"/>
                  </a:lnTo>
                  <a:lnTo>
                    <a:pt x="307" y="852"/>
                  </a:lnTo>
                  <a:lnTo>
                    <a:pt x="294" y="848"/>
                  </a:lnTo>
                  <a:lnTo>
                    <a:pt x="280" y="844"/>
                  </a:lnTo>
                  <a:lnTo>
                    <a:pt x="265" y="840"/>
                  </a:lnTo>
                  <a:lnTo>
                    <a:pt x="251" y="837"/>
                  </a:lnTo>
                  <a:lnTo>
                    <a:pt x="235" y="835"/>
                  </a:lnTo>
                  <a:lnTo>
                    <a:pt x="221" y="832"/>
                  </a:lnTo>
                  <a:lnTo>
                    <a:pt x="205" y="830"/>
                  </a:lnTo>
                  <a:lnTo>
                    <a:pt x="190" y="829"/>
                  </a:lnTo>
                  <a:lnTo>
                    <a:pt x="176" y="829"/>
                  </a:lnTo>
                  <a:lnTo>
                    <a:pt x="177" y="843"/>
                  </a:lnTo>
                  <a:lnTo>
                    <a:pt x="180" y="857"/>
                  </a:lnTo>
                  <a:lnTo>
                    <a:pt x="184" y="872"/>
                  </a:lnTo>
                  <a:lnTo>
                    <a:pt x="188" y="887"/>
                  </a:lnTo>
                  <a:lnTo>
                    <a:pt x="194" y="901"/>
                  </a:lnTo>
                  <a:lnTo>
                    <a:pt x="198" y="916"/>
                  </a:lnTo>
                  <a:lnTo>
                    <a:pt x="200" y="931"/>
                  </a:lnTo>
                  <a:lnTo>
                    <a:pt x="202" y="945"/>
                  </a:lnTo>
                  <a:lnTo>
                    <a:pt x="202" y="958"/>
                  </a:lnTo>
                  <a:lnTo>
                    <a:pt x="204" y="969"/>
                  </a:lnTo>
                  <a:lnTo>
                    <a:pt x="207" y="981"/>
                  </a:lnTo>
                  <a:lnTo>
                    <a:pt x="210" y="992"/>
                  </a:lnTo>
                  <a:lnTo>
                    <a:pt x="218" y="1015"/>
                  </a:lnTo>
                  <a:lnTo>
                    <a:pt x="225" y="1037"/>
                  </a:lnTo>
                  <a:lnTo>
                    <a:pt x="229" y="1056"/>
                  </a:lnTo>
                  <a:lnTo>
                    <a:pt x="233" y="1076"/>
                  </a:lnTo>
                  <a:lnTo>
                    <a:pt x="237" y="1095"/>
                  </a:lnTo>
                  <a:lnTo>
                    <a:pt x="240" y="1117"/>
                  </a:lnTo>
                  <a:lnTo>
                    <a:pt x="244" y="1138"/>
                  </a:lnTo>
                  <a:lnTo>
                    <a:pt x="245" y="1159"/>
                  </a:lnTo>
                  <a:lnTo>
                    <a:pt x="244" y="1168"/>
                  </a:lnTo>
                  <a:lnTo>
                    <a:pt x="244" y="1179"/>
                  </a:lnTo>
                  <a:lnTo>
                    <a:pt x="242" y="1188"/>
                  </a:lnTo>
                  <a:lnTo>
                    <a:pt x="240" y="1197"/>
                  </a:lnTo>
                  <a:lnTo>
                    <a:pt x="239" y="1202"/>
                  </a:lnTo>
                  <a:lnTo>
                    <a:pt x="239" y="1206"/>
                  </a:lnTo>
                  <a:lnTo>
                    <a:pt x="239" y="1210"/>
                  </a:lnTo>
                  <a:lnTo>
                    <a:pt x="240" y="1213"/>
                  </a:lnTo>
                  <a:lnTo>
                    <a:pt x="242" y="1216"/>
                  </a:lnTo>
                  <a:lnTo>
                    <a:pt x="245" y="1219"/>
                  </a:lnTo>
                  <a:lnTo>
                    <a:pt x="247" y="1223"/>
                  </a:lnTo>
                  <a:lnTo>
                    <a:pt x="250" y="1225"/>
                  </a:lnTo>
                  <a:lnTo>
                    <a:pt x="257" y="1229"/>
                  </a:lnTo>
                  <a:lnTo>
                    <a:pt x="265" y="1232"/>
                  </a:lnTo>
                  <a:lnTo>
                    <a:pt x="276" y="1234"/>
                  </a:lnTo>
                  <a:lnTo>
                    <a:pt x="286" y="1236"/>
                  </a:lnTo>
                  <a:lnTo>
                    <a:pt x="307" y="1238"/>
                  </a:lnTo>
                  <a:lnTo>
                    <a:pt x="328" y="1241"/>
                  </a:lnTo>
                  <a:lnTo>
                    <a:pt x="337" y="1242"/>
                  </a:lnTo>
                  <a:lnTo>
                    <a:pt x="345" y="1245"/>
                  </a:lnTo>
                  <a:lnTo>
                    <a:pt x="352" y="1247"/>
                  </a:lnTo>
                  <a:lnTo>
                    <a:pt x="356" y="1250"/>
                  </a:lnTo>
                  <a:lnTo>
                    <a:pt x="345" y="1259"/>
                  </a:lnTo>
                  <a:lnTo>
                    <a:pt x="335" y="1267"/>
                  </a:lnTo>
                  <a:lnTo>
                    <a:pt x="325" y="1275"/>
                  </a:lnTo>
                  <a:lnTo>
                    <a:pt x="314" y="1281"/>
                  </a:lnTo>
                  <a:lnTo>
                    <a:pt x="308" y="1286"/>
                  </a:lnTo>
                  <a:lnTo>
                    <a:pt x="301" y="1291"/>
                  </a:lnTo>
                  <a:lnTo>
                    <a:pt x="296" y="1297"/>
                  </a:lnTo>
                  <a:lnTo>
                    <a:pt x="289" y="1303"/>
                  </a:lnTo>
                  <a:lnTo>
                    <a:pt x="284" y="1309"/>
                  </a:lnTo>
                  <a:lnTo>
                    <a:pt x="279" y="1317"/>
                  </a:lnTo>
                  <a:lnTo>
                    <a:pt x="274" y="1324"/>
                  </a:lnTo>
                  <a:lnTo>
                    <a:pt x="271" y="1331"/>
                  </a:lnTo>
                  <a:lnTo>
                    <a:pt x="267" y="1338"/>
                  </a:lnTo>
                  <a:lnTo>
                    <a:pt x="263" y="1347"/>
                  </a:lnTo>
                  <a:lnTo>
                    <a:pt x="261" y="1355"/>
                  </a:lnTo>
                  <a:lnTo>
                    <a:pt x="259" y="1363"/>
                  </a:lnTo>
                  <a:lnTo>
                    <a:pt x="258" y="1371"/>
                  </a:lnTo>
                  <a:lnTo>
                    <a:pt x="257" y="1379"/>
                  </a:lnTo>
                  <a:lnTo>
                    <a:pt x="258" y="1387"/>
                  </a:lnTo>
                  <a:lnTo>
                    <a:pt x="259" y="1396"/>
                  </a:lnTo>
                  <a:lnTo>
                    <a:pt x="264" y="1427"/>
                  </a:lnTo>
                  <a:lnTo>
                    <a:pt x="269" y="1458"/>
                  </a:lnTo>
                  <a:lnTo>
                    <a:pt x="271" y="1475"/>
                  </a:lnTo>
                  <a:lnTo>
                    <a:pt x="271" y="1491"/>
                  </a:lnTo>
                  <a:lnTo>
                    <a:pt x="271" y="1506"/>
                  </a:lnTo>
                  <a:lnTo>
                    <a:pt x="269" y="1523"/>
                  </a:lnTo>
                  <a:lnTo>
                    <a:pt x="268" y="1537"/>
                  </a:lnTo>
                  <a:lnTo>
                    <a:pt x="267" y="1549"/>
                  </a:lnTo>
                  <a:lnTo>
                    <a:pt x="265" y="1564"/>
                  </a:lnTo>
                  <a:lnTo>
                    <a:pt x="267" y="1577"/>
                  </a:lnTo>
                  <a:lnTo>
                    <a:pt x="269" y="1607"/>
                  </a:lnTo>
                  <a:lnTo>
                    <a:pt x="274" y="1636"/>
                  </a:lnTo>
                  <a:lnTo>
                    <a:pt x="279" y="1666"/>
                  </a:lnTo>
                  <a:lnTo>
                    <a:pt x="287" y="1697"/>
                  </a:lnTo>
                  <a:lnTo>
                    <a:pt x="296" y="1729"/>
                  </a:lnTo>
                  <a:lnTo>
                    <a:pt x="304" y="1760"/>
                  </a:lnTo>
                  <a:lnTo>
                    <a:pt x="323" y="1822"/>
                  </a:lnTo>
                  <a:lnTo>
                    <a:pt x="340" y="1884"/>
                  </a:lnTo>
                  <a:lnTo>
                    <a:pt x="347" y="1913"/>
                  </a:lnTo>
                  <a:lnTo>
                    <a:pt x="352" y="1942"/>
                  </a:lnTo>
                  <a:lnTo>
                    <a:pt x="353" y="1956"/>
                  </a:lnTo>
                  <a:lnTo>
                    <a:pt x="355" y="1971"/>
                  </a:lnTo>
                  <a:lnTo>
                    <a:pt x="356" y="1984"/>
                  </a:lnTo>
                  <a:lnTo>
                    <a:pt x="356" y="1997"/>
                  </a:lnTo>
                  <a:lnTo>
                    <a:pt x="360" y="2003"/>
                  </a:lnTo>
                  <a:lnTo>
                    <a:pt x="365" y="2009"/>
                  </a:lnTo>
                  <a:lnTo>
                    <a:pt x="369" y="2018"/>
                  </a:lnTo>
                  <a:lnTo>
                    <a:pt x="373" y="2026"/>
                  </a:lnTo>
                  <a:lnTo>
                    <a:pt x="380" y="2047"/>
                  </a:lnTo>
                  <a:lnTo>
                    <a:pt x="389" y="2070"/>
                  </a:lnTo>
                  <a:lnTo>
                    <a:pt x="396" y="2095"/>
                  </a:lnTo>
                  <a:lnTo>
                    <a:pt x="402" y="2121"/>
                  </a:lnTo>
                  <a:lnTo>
                    <a:pt x="408" y="2148"/>
                  </a:lnTo>
                  <a:lnTo>
                    <a:pt x="415" y="2175"/>
                  </a:lnTo>
                  <a:lnTo>
                    <a:pt x="415" y="217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1" name="Freeform 138">
              <a:extLst>
                <a:ext uri="{FF2B5EF4-FFF2-40B4-BE49-F238E27FC236}">
                  <a16:creationId xmlns:a16="http://schemas.microsoft.com/office/drawing/2014/main" id="{6F8D2C85-EE4B-4E4B-8C9D-67CBFB5DD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4934" y="5044301"/>
              <a:ext cx="358737" cy="528939"/>
            </a:xfrm>
            <a:custGeom>
              <a:avLst/>
              <a:gdLst>
                <a:gd name="T0" fmla="*/ 598 w 1430"/>
                <a:gd name="T1" fmla="*/ 2171 h 2181"/>
                <a:gd name="T2" fmla="*/ 650 w 1430"/>
                <a:gd name="T3" fmla="*/ 2133 h 2181"/>
                <a:gd name="T4" fmla="*/ 676 w 1430"/>
                <a:gd name="T5" fmla="*/ 2076 h 2181"/>
                <a:gd name="T6" fmla="*/ 732 w 1430"/>
                <a:gd name="T7" fmla="*/ 2077 h 2181"/>
                <a:gd name="T8" fmla="*/ 785 w 1430"/>
                <a:gd name="T9" fmla="*/ 2101 h 2181"/>
                <a:gd name="T10" fmla="*/ 815 w 1430"/>
                <a:gd name="T11" fmla="*/ 2058 h 2181"/>
                <a:gd name="T12" fmla="*/ 846 w 1430"/>
                <a:gd name="T13" fmla="*/ 2006 h 2181"/>
                <a:gd name="T14" fmla="*/ 896 w 1430"/>
                <a:gd name="T15" fmla="*/ 2056 h 2181"/>
                <a:gd name="T16" fmla="*/ 1010 w 1430"/>
                <a:gd name="T17" fmla="*/ 2084 h 2181"/>
                <a:gd name="T18" fmla="*/ 1073 w 1430"/>
                <a:gd name="T19" fmla="*/ 2109 h 2181"/>
                <a:gd name="T20" fmla="*/ 1112 w 1430"/>
                <a:gd name="T21" fmla="*/ 2152 h 2181"/>
                <a:gd name="T22" fmla="*/ 1175 w 1430"/>
                <a:gd name="T23" fmla="*/ 2111 h 2181"/>
                <a:gd name="T24" fmla="*/ 1271 w 1430"/>
                <a:gd name="T25" fmla="*/ 2036 h 2181"/>
                <a:gd name="T26" fmla="*/ 1430 w 1430"/>
                <a:gd name="T27" fmla="*/ 1959 h 2181"/>
                <a:gd name="T28" fmla="*/ 1302 w 1430"/>
                <a:gd name="T29" fmla="*/ 1757 h 2181"/>
                <a:gd name="T30" fmla="*/ 1218 w 1430"/>
                <a:gd name="T31" fmla="*/ 1666 h 2181"/>
                <a:gd name="T32" fmla="*/ 1143 w 1430"/>
                <a:gd name="T33" fmla="*/ 1567 h 2181"/>
                <a:gd name="T34" fmla="*/ 1160 w 1430"/>
                <a:gd name="T35" fmla="*/ 1513 h 2181"/>
                <a:gd name="T36" fmla="*/ 1235 w 1430"/>
                <a:gd name="T37" fmla="*/ 1488 h 2181"/>
                <a:gd name="T38" fmla="*/ 1275 w 1430"/>
                <a:gd name="T39" fmla="*/ 1431 h 2181"/>
                <a:gd name="T40" fmla="*/ 1290 w 1430"/>
                <a:gd name="T41" fmla="*/ 1303 h 2181"/>
                <a:gd name="T42" fmla="*/ 1248 w 1430"/>
                <a:gd name="T43" fmla="*/ 1264 h 2181"/>
                <a:gd name="T44" fmla="*/ 1142 w 1430"/>
                <a:gd name="T45" fmla="*/ 1164 h 2181"/>
                <a:gd name="T46" fmla="*/ 1040 w 1430"/>
                <a:gd name="T47" fmla="*/ 999 h 2181"/>
                <a:gd name="T48" fmla="*/ 1056 w 1430"/>
                <a:gd name="T49" fmla="*/ 892 h 2181"/>
                <a:gd name="T50" fmla="*/ 1027 w 1430"/>
                <a:gd name="T51" fmla="*/ 751 h 2181"/>
                <a:gd name="T52" fmla="*/ 1011 w 1430"/>
                <a:gd name="T53" fmla="*/ 712 h 2181"/>
                <a:gd name="T54" fmla="*/ 989 w 1430"/>
                <a:gd name="T55" fmla="*/ 643 h 2181"/>
                <a:gd name="T56" fmla="*/ 821 w 1430"/>
                <a:gd name="T57" fmla="*/ 488 h 2181"/>
                <a:gd name="T58" fmla="*/ 774 w 1430"/>
                <a:gd name="T59" fmla="*/ 401 h 2181"/>
                <a:gd name="T60" fmla="*/ 754 w 1430"/>
                <a:gd name="T61" fmla="*/ 301 h 2181"/>
                <a:gd name="T62" fmla="*/ 655 w 1430"/>
                <a:gd name="T63" fmla="*/ 257 h 2181"/>
                <a:gd name="T64" fmla="*/ 602 w 1430"/>
                <a:gd name="T65" fmla="*/ 214 h 2181"/>
                <a:gd name="T66" fmla="*/ 518 w 1430"/>
                <a:gd name="T67" fmla="*/ 158 h 2181"/>
                <a:gd name="T68" fmla="*/ 411 w 1430"/>
                <a:gd name="T69" fmla="*/ 141 h 2181"/>
                <a:gd name="T70" fmla="*/ 309 w 1430"/>
                <a:gd name="T71" fmla="*/ 145 h 2181"/>
                <a:gd name="T72" fmla="*/ 235 w 1430"/>
                <a:gd name="T73" fmla="*/ 41 h 2181"/>
                <a:gd name="T74" fmla="*/ 180 w 1430"/>
                <a:gd name="T75" fmla="*/ 20 h 2181"/>
                <a:gd name="T76" fmla="*/ 155 w 1430"/>
                <a:gd name="T77" fmla="*/ 85 h 2181"/>
                <a:gd name="T78" fmla="*/ 81 w 1430"/>
                <a:gd name="T79" fmla="*/ 106 h 2181"/>
                <a:gd name="T80" fmla="*/ 13 w 1430"/>
                <a:gd name="T81" fmla="*/ 148 h 2181"/>
                <a:gd name="T82" fmla="*/ 81 w 1430"/>
                <a:gd name="T83" fmla="*/ 252 h 2181"/>
                <a:gd name="T84" fmla="*/ 115 w 1430"/>
                <a:gd name="T85" fmla="*/ 360 h 2181"/>
                <a:gd name="T86" fmla="*/ 122 w 1430"/>
                <a:gd name="T87" fmla="*/ 466 h 2181"/>
                <a:gd name="T88" fmla="*/ 132 w 1430"/>
                <a:gd name="T89" fmla="*/ 673 h 2181"/>
                <a:gd name="T90" fmla="*/ 153 w 1430"/>
                <a:gd name="T91" fmla="*/ 771 h 2181"/>
                <a:gd name="T92" fmla="*/ 199 w 1430"/>
                <a:gd name="T93" fmla="*/ 780 h 2181"/>
                <a:gd name="T94" fmla="*/ 353 w 1430"/>
                <a:gd name="T95" fmla="*/ 811 h 2181"/>
                <a:gd name="T96" fmla="*/ 401 w 1430"/>
                <a:gd name="T97" fmla="*/ 864 h 2181"/>
                <a:gd name="T98" fmla="*/ 307 w 1430"/>
                <a:gd name="T99" fmla="*/ 852 h 2181"/>
                <a:gd name="T100" fmla="*/ 190 w 1430"/>
                <a:gd name="T101" fmla="*/ 829 h 2181"/>
                <a:gd name="T102" fmla="*/ 200 w 1430"/>
                <a:gd name="T103" fmla="*/ 931 h 2181"/>
                <a:gd name="T104" fmla="*/ 229 w 1430"/>
                <a:gd name="T105" fmla="*/ 1056 h 2181"/>
                <a:gd name="T106" fmla="*/ 242 w 1430"/>
                <a:gd name="T107" fmla="*/ 1188 h 2181"/>
                <a:gd name="T108" fmla="*/ 247 w 1430"/>
                <a:gd name="T109" fmla="*/ 1223 h 2181"/>
                <a:gd name="T110" fmla="*/ 337 w 1430"/>
                <a:gd name="T111" fmla="*/ 1242 h 2181"/>
                <a:gd name="T112" fmla="*/ 308 w 1430"/>
                <a:gd name="T113" fmla="*/ 1286 h 2181"/>
                <a:gd name="T114" fmla="*/ 267 w 1430"/>
                <a:gd name="T115" fmla="*/ 1338 h 2181"/>
                <a:gd name="T116" fmla="*/ 264 w 1430"/>
                <a:gd name="T117" fmla="*/ 1427 h 2181"/>
                <a:gd name="T118" fmla="*/ 265 w 1430"/>
                <a:gd name="T119" fmla="*/ 1564 h 2181"/>
                <a:gd name="T120" fmla="*/ 323 w 1430"/>
                <a:gd name="T121" fmla="*/ 1822 h 2181"/>
                <a:gd name="T122" fmla="*/ 360 w 1430"/>
                <a:gd name="T123" fmla="*/ 2003 h 2181"/>
                <a:gd name="T124" fmla="*/ 408 w 1430"/>
                <a:gd name="T125" fmla="*/ 2148 h 2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0" h="2181">
                  <a:moveTo>
                    <a:pt x="415" y="2175"/>
                  </a:moveTo>
                  <a:lnTo>
                    <a:pt x="506" y="2178"/>
                  </a:lnTo>
                  <a:lnTo>
                    <a:pt x="523" y="2180"/>
                  </a:lnTo>
                  <a:lnTo>
                    <a:pt x="542" y="2181"/>
                  </a:lnTo>
                  <a:lnTo>
                    <a:pt x="561" y="2179"/>
                  </a:lnTo>
                  <a:lnTo>
                    <a:pt x="579" y="2176"/>
                  </a:lnTo>
                  <a:lnTo>
                    <a:pt x="589" y="2174"/>
                  </a:lnTo>
                  <a:lnTo>
                    <a:pt x="598" y="2171"/>
                  </a:lnTo>
                  <a:lnTo>
                    <a:pt x="606" y="2168"/>
                  </a:lnTo>
                  <a:lnTo>
                    <a:pt x="615" y="2164"/>
                  </a:lnTo>
                  <a:lnTo>
                    <a:pt x="623" y="2159"/>
                  </a:lnTo>
                  <a:lnTo>
                    <a:pt x="631" y="2154"/>
                  </a:lnTo>
                  <a:lnTo>
                    <a:pt x="639" y="2149"/>
                  </a:lnTo>
                  <a:lnTo>
                    <a:pt x="645" y="2144"/>
                  </a:lnTo>
                  <a:lnTo>
                    <a:pt x="648" y="2140"/>
                  </a:lnTo>
                  <a:lnTo>
                    <a:pt x="650" y="2133"/>
                  </a:lnTo>
                  <a:lnTo>
                    <a:pt x="652" y="2127"/>
                  </a:lnTo>
                  <a:lnTo>
                    <a:pt x="654" y="2120"/>
                  </a:lnTo>
                  <a:lnTo>
                    <a:pt x="655" y="2113"/>
                  </a:lnTo>
                  <a:lnTo>
                    <a:pt x="658" y="2104"/>
                  </a:lnTo>
                  <a:lnTo>
                    <a:pt x="661" y="2097"/>
                  </a:lnTo>
                  <a:lnTo>
                    <a:pt x="664" y="2091"/>
                  </a:lnTo>
                  <a:lnTo>
                    <a:pt x="670" y="2082"/>
                  </a:lnTo>
                  <a:lnTo>
                    <a:pt x="676" y="2076"/>
                  </a:lnTo>
                  <a:lnTo>
                    <a:pt x="683" y="2071"/>
                  </a:lnTo>
                  <a:lnTo>
                    <a:pt x="689" y="2068"/>
                  </a:lnTo>
                  <a:lnTo>
                    <a:pt x="696" y="2066"/>
                  </a:lnTo>
                  <a:lnTo>
                    <a:pt x="704" y="2065"/>
                  </a:lnTo>
                  <a:lnTo>
                    <a:pt x="713" y="2066"/>
                  </a:lnTo>
                  <a:lnTo>
                    <a:pt x="723" y="2068"/>
                  </a:lnTo>
                  <a:lnTo>
                    <a:pt x="726" y="2072"/>
                  </a:lnTo>
                  <a:lnTo>
                    <a:pt x="732" y="2077"/>
                  </a:lnTo>
                  <a:lnTo>
                    <a:pt x="739" y="2082"/>
                  </a:lnTo>
                  <a:lnTo>
                    <a:pt x="747" y="2087"/>
                  </a:lnTo>
                  <a:lnTo>
                    <a:pt x="756" y="2093"/>
                  </a:lnTo>
                  <a:lnTo>
                    <a:pt x="764" y="2097"/>
                  </a:lnTo>
                  <a:lnTo>
                    <a:pt x="770" y="2100"/>
                  </a:lnTo>
                  <a:lnTo>
                    <a:pt x="775" y="2101"/>
                  </a:lnTo>
                  <a:lnTo>
                    <a:pt x="781" y="2101"/>
                  </a:lnTo>
                  <a:lnTo>
                    <a:pt x="785" y="2101"/>
                  </a:lnTo>
                  <a:lnTo>
                    <a:pt x="789" y="2100"/>
                  </a:lnTo>
                  <a:lnTo>
                    <a:pt x="793" y="2098"/>
                  </a:lnTo>
                  <a:lnTo>
                    <a:pt x="799" y="2095"/>
                  </a:lnTo>
                  <a:lnTo>
                    <a:pt x="805" y="2089"/>
                  </a:lnTo>
                  <a:lnTo>
                    <a:pt x="808" y="2082"/>
                  </a:lnTo>
                  <a:lnTo>
                    <a:pt x="811" y="2075"/>
                  </a:lnTo>
                  <a:lnTo>
                    <a:pt x="814" y="2067"/>
                  </a:lnTo>
                  <a:lnTo>
                    <a:pt x="815" y="2058"/>
                  </a:lnTo>
                  <a:lnTo>
                    <a:pt x="819" y="2041"/>
                  </a:lnTo>
                  <a:lnTo>
                    <a:pt x="823" y="2025"/>
                  </a:lnTo>
                  <a:lnTo>
                    <a:pt x="826" y="2019"/>
                  </a:lnTo>
                  <a:lnTo>
                    <a:pt x="831" y="2012"/>
                  </a:lnTo>
                  <a:lnTo>
                    <a:pt x="835" y="2008"/>
                  </a:lnTo>
                  <a:lnTo>
                    <a:pt x="841" y="2006"/>
                  </a:lnTo>
                  <a:lnTo>
                    <a:pt x="844" y="2005"/>
                  </a:lnTo>
                  <a:lnTo>
                    <a:pt x="846" y="2006"/>
                  </a:lnTo>
                  <a:lnTo>
                    <a:pt x="849" y="2007"/>
                  </a:lnTo>
                  <a:lnTo>
                    <a:pt x="853" y="2008"/>
                  </a:lnTo>
                  <a:lnTo>
                    <a:pt x="858" y="2013"/>
                  </a:lnTo>
                  <a:lnTo>
                    <a:pt x="864" y="2020"/>
                  </a:lnTo>
                  <a:lnTo>
                    <a:pt x="875" y="2032"/>
                  </a:lnTo>
                  <a:lnTo>
                    <a:pt x="883" y="2042"/>
                  </a:lnTo>
                  <a:lnTo>
                    <a:pt x="890" y="2049"/>
                  </a:lnTo>
                  <a:lnTo>
                    <a:pt x="896" y="2056"/>
                  </a:lnTo>
                  <a:lnTo>
                    <a:pt x="905" y="2063"/>
                  </a:lnTo>
                  <a:lnTo>
                    <a:pt x="912" y="2070"/>
                  </a:lnTo>
                  <a:lnTo>
                    <a:pt x="921" y="2075"/>
                  </a:lnTo>
                  <a:lnTo>
                    <a:pt x="930" y="2079"/>
                  </a:lnTo>
                  <a:lnTo>
                    <a:pt x="939" y="2082"/>
                  </a:lnTo>
                  <a:lnTo>
                    <a:pt x="949" y="2085"/>
                  </a:lnTo>
                  <a:lnTo>
                    <a:pt x="979" y="2084"/>
                  </a:lnTo>
                  <a:lnTo>
                    <a:pt x="1010" y="2084"/>
                  </a:lnTo>
                  <a:lnTo>
                    <a:pt x="1026" y="2085"/>
                  </a:lnTo>
                  <a:lnTo>
                    <a:pt x="1040" y="2087"/>
                  </a:lnTo>
                  <a:lnTo>
                    <a:pt x="1046" y="2089"/>
                  </a:lnTo>
                  <a:lnTo>
                    <a:pt x="1054" y="2091"/>
                  </a:lnTo>
                  <a:lnTo>
                    <a:pt x="1060" y="2093"/>
                  </a:lnTo>
                  <a:lnTo>
                    <a:pt x="1066" y="2096"/>
                  </a:lnTo>
                  <a:lnTo>
                    <a:pt x="1068" y="2103"/>
                  </a:lnTo>
                  <a:lnTo>
                    <a:pt x="1073" y="2109"/>
                  </a:lnTo>
                  <a:lnTo>
                    <a:pt x="1074" y="2118"/>
                  </a:lnTo>
                  <a:lnTo>
                    <a:pt x="1077" y="2126"/>
                  </a:lnTo>
                  <a:lnTo>
                    <a:pt x="1082" y="2134"/>
                  </a:lnTo>
                  <a:lnTo>
                    <a:pt x="1088" y="2141"/>
                  </a:lnTo>
                  <a:lnTo>
                    <a:pt x="1095" y="2147"/>
                  </a:lnTo>
                  <a:lnTo>
                    <a:pt x="1104" y="2150"/>
                  </a:lnTo>
                  <a:lnTo>
                    <a:pt x="1108" y="2152"/>
                  </a:lnTo>
                  <a:lnTo>
                    <a:pt x="1112" y="2152"/>
                  </a:lnTo>
                  <a:lnTo>
                    <a:pt x="1116" y="2152"/>
                  </a:lnTo>
                  <a:lnTo>
                    <a:pt x="1120" y="2151"/>
                  </a:lnTo>
                  <a:lnTo>
                    <a:pt x="1131" y="2147"/>
                  </a:lnTo>
                  <a:lnTo>
                    <a:pt x="1141" y="2142"/>
                  </a:lnTo>
                  <a:lnTo>
                    <a:pt x="1150" y="2134"/>
                  </a:lnTo>
                  <a:lnTo>
                    <a:pt x="1158" y="2127"/>
                  </a:lnTo>
                  <a:lnTo>
                    <a:pt x="1166" y="2119"/>
                  </a:lnTo>
                  <a:lnTo>
                    <a:pt x="1175" y="2111"/>
                  </a:lnTo>
                  <a:lnTo>
                    <a:pt x="1183" y="2104"/>
                  </a:lnTo>
                  <a:lnTo>
                    <a:pt x="1192" y="2098"/>
                  </a:lnTo>
                  <a:lnTo>
                    <a:pt x="1207" y="2087"/>
                  </a:lnTo>
                  <a:lnTo>
                    <a:pt x="1223" y="2076"/>
                  </a:lnTo>
                  <a:lnTo>
                    <a:pt x="1237" y="2063"/>
                  </a:lnTo>
                  <a:lnTo>
                    <a:pt x="1251" y="2052"/>
                  </a:lnTo>
                  <a:lnTo>
                    <a:pt x="1260" y="2044"/>
                  </a:lnTo>
                  <a:lnTo>
                    <a:pt x="1271" y="2036"/>
                  </a:lnTo>
                  <a:lnTo>
                    <a:pt x="1282" y="2030"/>
                  </a:lnTo>
                  <a:lnTo>
                    <a:pt x="1293" y="2024"/>
                  </a:lnTo>
                  <a:lnTo>
                    <a:pt x="1315" y="2012"/>
                  </a:lnTo>
                  <a:lnTo>
                    <a:pt x="1338" y="2002"/>
                  </a:lnTo>
                  <a:lnTo>
                    <a:pt x="1362" y="1993"/>
                  </a:lnTo>
                  <a:lnTo>
                    <a:pt x="1385" y="1982"/>
                  </a:lnTo>
                  <a:lnTo>
                    <a:pt x="1408" y="1972"/>
                  </a:lnTo>
                  <a:lnTo>
                    <a:pt x="1430" y="1959"/>
                  </a:lnTo>
                  <a:lnTo>
                    <a:pt x="1430" y="1959"/>
                  </a:lnTo>
                  <a:lnTo>
                    <a:pt x="1412" y="1931"/>
                  </a:lnTo>
                  <a:lnTo>
                    <a:pt x="1395" y="1903"/>
                  </a:lnTo>
                  <a:lnTo>
                    <a:pt x="1377" y="1875"/>
                  </a:lnTo>
                  <a:lnTo>
                    <a:pt x="1358" y="1845"/>
                  </a:lnTo>
                  <a:lnTo>
                    <a:pt x="1339" y="1816"/>
                  </a:lnTo>
                  <a:lnTo>
                    <a:pt x="1321" y="1787"/>
                  </a:lnTo>
                  <a:lnTo>
                    <a:pt x="1302" y="1757"/>
                  </a:lnTo>
                  <a:lnTo>
                    <a:pt x="1284" y="1727"/>
                  </a:lnTo>
                  <a:lnTo>
                    <a:pt x="1274" y="1709"/>
                  </a:lnTo>
                  <a:lnTo>
                    <a:pt x="1263" y="1692"/>
                  </a:lnTo>
                  <a:lnTo>
                    <a:pt x="1257" y="1685"/>
                  </a:lnTo>
                  <a:lnTo>
                    <a:pt x="1251" y="1679"/>
                  </a:lnTo>
                  <a:lnTo>
                    <a:pt x="1241" y="1673"/>
                  </a:lnTo>
                  <a:lnTo>
                    <a:pt x="1231" y="1670"/>
                  </a:lnTo>
                  <a:lnTo>
                    <a:pt x="1218" y="1666"/>
                  </a:lnTo>
                  <a:lnTo>
                    <a:pt x="1209" y="1662"/>
                  </a:lnTo>
                  <a:lnTo>
                    <a:pt x="1202" y="1657"/>
                  </a:lnTo>
                  <a:lnTo>
                    <a:pt x="1194" y="1651"/>
                  </a:lnTo>
                  <a:lnTo>
                    <a:pt x="1181" y="1639"/>
                  </a:lnTo>
                  <a:lnTo>
                    <a:pt x="1165" y="1626"/>
                  </a:lnTo>
                  <a:lnTo>
                    <a:pt x="1155" y="1598"/>
                  </a:lnTo>
                  <a:lnTo>
                    <a:pt x="1144" y="1573"/>
                  </a:lnTo>
                  <a:lnTo>
                    <a:pt x="1143" y="1567"/>
                  </a:lnTo>
                  <a:lnTo>
                    <a:pt x="1142" y="1561"/>
                  </a:lnTo>
                  <a:lnTo>
                    <a:pt x="1141" y="1554"/>
                  </a:lnTo>
                  <a:lnTo>
                    <a:pt x="1142" y="1548"/>
                  </a:lnTo>
                  <a:lnTo>
                    <a:pt x="1143" y="1541"/>
                  </a:lnTo>
                  <a:lnTo>
                    <a:pt x="1145" y="1534"/>
                  </a:lnTo>
                  <a:lnTo>
                    <a:pt x="1150" y="1526"/>
                  </a:lnTo>
                  <a:lnTo>
                    <a:pt x="1155" y="1519"/>
                  </a:lnTo>
                  <a:lnTo>
                    <a:pt x="1160" y="1513"/>
                  </a:lnTo>
                  <a:lnTo>
                    <a:pt x="1166" y="1507"/>
                  </a:lnTo>
                  <a:lnTo>
                    <a:pt x="1173" y="1504"/>
                  </a:lnTo>
                  <a:lnTo>
                    <a:pt x="1180" y="1501"/>
                  </a:lnTo>
                  <a:lnTo>
                    <a:pt x="1196" y="1497"/>
                  </a:lnTo>
                  <a:lnTo>
                    <a:pt x="1211" y="1494"/>
                  </a:lnTo>
                  <a:lnTo>
                    <a:pt x="1220" y="1493"/>
                  </a:lnTo>
                  <a:lnTo>
                    <a:pt x="1228" y="1491"/>
                  </a:lnTo>
                  <a:lnTo>
                    <a:pt x="1235" y="1488"/>
                  </a:lnTo>
                  <a:lnTo>
                    <a:pt x="1242" y="1484"/>
                  </a:lnTo>
                  <a:lnTo>
                    <a:pt x="1249" y="1479"/>
                  </a:lnTo>
                  <a:lnTo>
                    <a:pt x="1255" y="1474"/>
                  </a:lnTo>
                  <a:lnTo>
                    <a:pt x="1260" y="1468"/>
                  </a:lnTo>
                  <a:lnTo>
                    <a:pt x="1264" y="1459"/>
                  </a:lnTo>
                  <a:lnTo>
                    <a:pt x="1270" y="1446"/>
                  </a:lnTo>
                  <a:lnTo>
                    <a:pt x="1273" y="1439"/>
                  </a:lnTo>
                  <a:lnTo>
                    <a:pt x="1275" y="1431"/>
                  </a:lnTo>
                  <a:lnTo>
                    <a:pt x="1277" y="1422"/>
                  </a:lnTo>
                  <a:lnTo>
                    <a:pt x="1282" y="1395"/>
                  </a:lnTo>
                  <a:lnTo>
                    <a:pt x="1288" y="1367"/>
                  </a:lnTo>
                  <a:lnTo>
                    <a:pt x="1290" y="1352"/>
                  </a:lnTo>
                  <a:lnTo>
                    <a:pt x="1293" y="1337"/>
                  </a:lnTo>
                  <a:lnTo>
                    <a:pt x="1293" y="1324"/>
                  </a:lnTo>
                  <a:lnTo>
                    <a:pt x="1291" y="1310"/>
                  </a:lnTo>
                  <a:lnTo>
                    <a:pt x="1290" y="1303"/>
                  </a:lnTo>
                  <a:lnTo>
                    <a:pt x="1288" y="1297"/>
                  </a:lnTo>
                  <a:lnTo>
                    <a:pt x="1285" y="1291"/>
                  </a:lnTo>
                  <a:lnTo>
                    <a:pt x="1283" y="1287"/>
                  </a:lnTo>
                  <a:lnTo>
                    <a:pt x="1275" y="1279"/>
                  </a:lnTo>
                  <a:lnTo>
                    <a:pt x="1264" y="1270"/>
                  </a:lnTo>
                  <a:lnTo>
                    <a:pt x="1264" y="1270"/>
                  </a:lnTo>
                  <a:lnTo>
                    <a:pt x="1256" y="1267"/>
                  </a:lnTo>
                  <a:lnTo>
                    <a:pt x="1248" y="1264"/>
                  </a:lnTo>
                  <a:lnTo>
                    <a:pt x="1239" y="1260"/>
                  </a:lnTo>
                  <a:lnTo>
                    <a:pt x="1231" y="1255"/>
                  </a:lnTo>
                  <a:lnTo>
                    <a:pt x="1215" y="1245"/>
                  </a:lnTo>
                  <a:lnTo>
                    <a:pt x="1200" y="1231"/>
                  </a:lnTo>
                  <a:lnTo>
                    <a:pt x="1185" y="1216"/>
                  </a:lnTo>
                  <a:lnTo>
                    <a:pt x="1171" y="1200"/>
                  </a:lnTo>
                  <a:lnTo>
                    <a:pt x="1156" y="1183"/>
                  </a:lnTo>
                  <a:lnTo>
                    <a:pt x="1142" y="1164"/>
                  </a:lnTo>
                  <a:lnTo>
                    <a:pt x="1116" y="1126"/>
                  </a:lnTo>
                  <a:lnTo>
                    <a:pt x="1092" y="1088"/>
                  </a:lnTo>
                  <a:lnTo>
                    <a:pt x="1070" y="1053"/>
                  </a:lnTo>
                  <a:lnTo>
                    <a:pt x="1050" y="1022"/>
                  </a:lnTo>
                  <a:lnTo>
                    <a:pt x="1046" y="1016"/>
                  </a:lnTo>
                  <a:lnTo>
                    <a:pt x="1043" y="1011"/>
                  </a:lnTo>
                  <a:lnTo>
                    <a:pt x="1042" y="1006"/>
                  </a:lnTo>
                  <a:lnTo>
                    <a:pt x="1040" y="999"/>
                  </a:lnTo>
                  <a:lnTo>
                    <a:pt x="1040" y="989"/>
                  </a:lnTo>
                  <a:lnTo>
                    <a:pt x="1041" y="978"/>
                  </a:lnTo>
                  <a:lnTo>
                    <a:pt x="1047" y="957"/>
                  </a:lnTo>
                  <a:lnTo>
                    <a:pt x="1055" y="935"/>
                  </a:lnTo>
                  <a:lnTo>
                    <a:pt x="1057" y="923"/>
                  </a:lnTo>
                  <a:lnTo>
                    <a:pt x="1058" y="913"/>
                  </a:lnTo>
                  <a:lnTo>
                    <a:pt x="1057" y="902"/>
                  </a:lnTo>
                  <a:lnTo>
                    <a:pt x="1056" y="892"/>
                  </a:lnTo>
                  <a:lnTo>
                    <a:pt x="1051" y="872"/>
                  </a:lnTo>
                  <a:lnTo>
                    <a:pt x="1044" y="851"/>
                  </a:lnTo>
                  <a:lnTo>
                    <a:pt x="1037" y="829"/>
                  </a:lnTo>
                  <a:lnTo>
                    <a:pt x="1031" y="805"/>
                  </a:lnTo>
                  <a:lnTo>
                    <a:pt x="1028" y="793"/>
                  </a:lnTo>
                  <a:lnTo>
                    <a:pt x="1027" y="780"/>
                  </a:lnTo>
                  <a:lnTo>
                    <a:pt x="1026" y="766"/>
                  </a:lnTo>
                  <a:lnTo>
                    <a:pt x="1027" y="751"/>
                  </a:lnTo>
                  <a:lnTo>
                    <a:pt x="1026" y="745"/>
                  </a:lnTo>
                  <a:lnTo>
                    <a:pt x="1025" y="740"/>
                  </a:lnTo>
                  <a:lnTo>
                    <a:pt x="1022" y="735"/>
                  </a:lnTo>
                  <a:lnTo>
                    <a:pt x="1019" y="731"/>
                  </a:lnTo>
                  <a:lnTo>
                    <a:pt x="1016" y="727"/>
                  </a:lnTo>
                  <a:lnTo>
                    <a:pt x="1013" y="723"/>
                  </a:lnTo>
                  <a:lnTo>
                    <a:pt x="1011" y="719"/>
                  </a:lnTo>
                  <a:lnTo>
                    <a:pt x="1011" y="712"/>
                  </a:lnTo>
                  <a:lnTo>
                    <a:pt x="1010" y="693"/>
                  </a:lnTo>
                  <a:lnTo>
                    <a:pt x="1010" y="678"/>
                  </a:lnTo>
                  <a:lnTo>
                    <a:pt x="1009" y="672"/>
                  </a:lnTo>
                  <a:lnTo>
                    <a:pt x="1008" y="668"/>
                  </a:lnTo>
                  <a:lnTo>
                    <a:pt x="1006" y="662"/>
                  </a:lnTo>
                  <a:lnTo>
                    <a:pt x="1004" y="658"/>
                  </a:lnTo>
                  <a:lnTo>
                    <a:pt x="997" y="651"/>
                  </a:lnTo>
                  <a:lnTo>
                    <a:pt x="989" y="643"/>
                  </a:lnTo>
                  <a:lnTo>
                    <a:pt x="978" y="632"/>
                  </a:lnTo>
                  <a:lnTo>
                    <a:pt x="963" y="618"/>
                  </a:lnTo>
                  <a:lnTo>
                    <a:pt x="941" y="597"/>
                  </a:lnTo>
                  <a:lnTo>
                    <a:pt x="913" y="573"/>
                  </a:lnTo>
                  <a:lnTo>
                    <a:pt x="882" y="547"/>
                  </a:lnTo>
                  <a:lnTo>
                    <a:pt x="850" y="517"/>
                  </a:lnTo>
                  <a:lnTo>
                    <a:pt x="836" y="503"/>
                  </a:lnTo>
                  <a:lnTo>
                    <a:pt x="821" y="488"/>
                  </a:lnTo>
                  <a:lnTo>
                    <a:pt x="809" y="473"/>
                  </a:lnTo>
                  <a:lnTo>
                    <a:pt x="797" y="458"/>
                  </a:lnTo>
                  <a:lnTo>
                    <a:pt x="788" y="443"/>
                  </a:lnTo>
                  <a:lnTo>
                    <a:pt x="781" y="429"/>
                  </a:lnTo>
                  <a:lnTo>
                    <a:pt x="778" y="421"/>
                  </a:lnTo>
                  <a:lnTo>
                    <a:pt x="776" y="414"/>
                  </a:lnTo>
                  <a:lnTo>
                    <a:pt x="775" y="408"/>
                  </a:lnTo>
                  <a:lnTo>
                    <a:pt x="774" y="401"/>
                  </a:lnTo>
                  <a:lnTo>
                    <a:pt x="774" y="378"/>
                  </a:lnTo>
                  <a:lnTo>
                    <a:pt x="773" y="356"/>
                  </a:lnTo>
                  <a:lnTo>
                    <a:pt x="772" y="345"/>
                  </a:lnTo>
                  <a:lnTo>
                    <a:pt x="770" y="336"/>
                  </a:lnTo>
                  <a:lnTo>
                    <a:pt x="767" y="326"/>
                  </a:lnTo>
                  <a:lnTo>
                    <a:pt x="764" y="317"/>
                  </a:lnTo>
                  <a:lnTo>
                    <a:pt x="760" y="309"/>
                  </a:lnTo>
                  <a:lnTo>
                    <a:pt x="754" y="301"/>
                  </a:lnTo>
                  <a:lnTo>
                    <a:pt x="748" y="294"/>
                  </a:lnTo>
                  <a:lnTo>
                    <a:pt x="741" y="287"/>
                  </a:lnTo>
                  <a:lnTo>
                    <a:pt x="733" y="282"/>
                  </a:lnTo>
                  <a:lnTo>
                    <a:pt x="723" y="276"/>
                  </a:lnTo>
                  <a:lnTo>
                    <a:pt x="712" y="271"/>
                  </a:lnTo>
                  <a:lnTo>
                    <a:pt x="699" y="267"/>
                  </a:lnTo>
                  <a:lnTo>
                    <a:pt x="674" y="262"/>
                  </a:lnTo>
                  <a:lnTo>
                    <a:pt x="655" y="257"/>
                  </a:lnTo>
                  <a:lnTo>
                    <a:pt x="647" y="253"/>
                  </a:lnTo>
                  <a:lnTo>
                    <a:pt x="638" y="249"/>
                  </a:lnTo>
                  <a:lnTo>
                    <a:pt x="627" y="245"/>
                  </a:lnTo>
                  <a:lnTo>
                    <a:pt x="615" y="238"/>
                  </a:lnTo>
                  <a:lnTo>
                    <a:pt x="614" y="233"/>
                  </a:lnTo>
                  <a:lnTo>
                    <a:pt x="611" y="226"/>
                  </a:lnTo>
                  <a:lnTo>
                    <a:pt x="607" y="220"/>
                  </a:lnTo>
                  <a:lnTo>
                    <a:pt x="602" y="214"/>
                  </a:lnTo>
                  <a:lnTo>
                    <a:pt x="597" y="208"/>
                  </a:lnTo>
                  <a:lnTo>
                    <a:pt x="593" y="202"/>
                  </a:lnTo>
                  <a:lnTo>
                    <a:pt x="588" y="198"/>
                  </a:lnTo>
                  <a:lnTo>
                    <a:pt x="582" y="195"/>
                  </a:lnTo>
                  <a:lnTo>
                    <a:pt x="565" y="187"/>
                  </a:lnTo>
                  <a:lnTo>
                    <a:pt x="548" y="177"/>
                  </a:lnTo>
                  <a:lnTo>
                    <a:pt x="532" y="168"/>
                  </a:lnTo>
                  <a:lnTo>
                    <a:pt x="518" y="158"/>
                  </a:lnTo>
                  <a:lnTo>
                    <a:pt x="501" y="150"/>
                  </a:lnTo>
                  <a:lnTo>
                    <a:pt x="484" y="143"/>
                  </a:lnTo>
                  <a:lnTo>
                    <a:pt x="475" y="140"/>
                  </a:lnTo>
                  <a:lnTo>
                    <a:pt x="466" y="139"/>
                  </a:lnTo>
                  <a:lnTo>
                    <a:pt x="455" y="137"/>
                  </a:lnTo>
                  <a:lnTo>
                    <a:pt x="444" y="137"/>
                  </a:lnTo>
                  <a:lnTo>
                    <a:pt x="429" y="138"/>
                  </a:lnTo>
                  <a:lnTo>
                    <a:pt x="411" y="141"/>
                  </a:lnTo>
                  <a:lnTo>
                    <a:pt x="393" y="145"/>
                  </a:lnTo>
                  <a:lnTo>
                    <a:pt x="374" y="148"/>
                  </a:lnTo>
                  <a:lnTo>
                    <a:pt x="354" y="151"/>
                  </a:lnTo>
                  <a:lnTo>
                    <a:pt x="336" y="152"/>
                  </a:lnTo>
                  <a:lnTo>
                    <a:pt x="328" y="151"/>
                  </a:lnTo>
                  <a:lnTo>
                    <a:pt x="321" y="150"/>
                  </a:lnTo>
                  <a:lnTo>
                    <a:pt x="314" y="148"/>
                  </a:lnTo>
                  <a:lnTo>
                    <a:pt x="309" y="145"/>
                  </a:lnTo>
                  <a:lnTo>
                    <a:pt x="302" y="139"/>
                  </a:lnTo>
                  <a:lnTo>
                    <a:pt x="297" y="132"/>
                  </a:lnTo>
                  <a:lnTo>
                    <a:pt x="292" y="125"/>
                  </a:lnTo>
                  <a:lnTo>
                    <a:pt x="287" y="118"/>
                  </a:lnTo>
                  <a:lnTo>
                    <a:pt x="280" y="102"/>
                  </a:lnTo>
                  <a:lnTo>
                    <a:pt x="271" y="88"/>
                  </a:lnTo>
                  <a:lnTo>
                    <a:pt x="253" y="64"/>
                  </a:lnTo>
                  <a:lnTo>
                    <a:pt x="235" y="41"/>
                  </a:lnTo>
                  <a:lnTo>
                    <a:pt x="226" y="29"/>
                  </a:lnTo>
                  <a:lnTo>
                    <a:pt x="215" y="19"/>
                  </a:lnTo>
                  <a:lnTo>
                    <a:pt x="205" y="8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88" y="6"/>
                  </a:lnTo>
                  <a:lnTo>
                    <a:pt x="184" y="12"/>
                  </a:lnTo>
                  <a:lnTo>
                    <a:pt x="180" y="20"/>
                  </a:lnTo>
                  <a:lnTo>
                    <a:pt x="178" y="26"/>
                  </a:lnTo>
                  <a:lnTo>
                    <a:pt x="174" y="40"/>
                  </a:lnTo>
                  <a:lnTo>
                    <a:pt x="171" y="53"/>
                  </a:lnTo>
                  <a:lnTo>
                    <a:pt x="169" y="59"/>
                  </a:lnTo>
                  <a:lnTo>
                    <a:pt x="166" y="66"/>
                  </a:lnTo>
                  <a:lnTo>
                    <a:pt x="163" y="73"/>
                  </a:lnTo>
                  <a:lnTo>
                    <a:pt x="160" y="79"/>
                  </a:lnTo>
                  <a:lnTo>
                    <a:pt x="155" y="85"/>
                  </a:lnTo>
                  <a:lnTo>
                    <a:pt x="150" y="92"/>
                  </a:lnTo>
                  <a:lnTo>
                    <a:pt x="142" y="98"/>
                  </a:lnTo>
                  <a:lnTo>
                    <a:pt x="133" y="103"/>
                  </a:lnTo>
                  <a:lnTo>
                    <a:pt x="125" y="108"/>
                  </a:lnTo>
                  <a:lnTo>
                    <a:pt x="115" y="111"/>
                  </a:lnTo>
                  <a:lnTo>
                    <a:pt x="107" y="111"/>
                  </a:lnTo>
                  <a:lnTo>
                    <a:pt x="98" y="109"/>
                  </a:lnTo>
                  <a:lnTo>
                    <a:pt x="81" y="106"/>
                  </a:lnTo>
                  <a:lnTo>
                    <a:pt x="62" y="103"/>
                  </a:lnTo>
                  <a:lnTo>
                    <a:pt x="58" y="101"/>
                  </a:lnTo>
                  <a:lnTo>
                    <a:pt x="51" y="101"/>
                  </a:lnTo>
                  <a:lnTo>
                    <a:pt x="44" y="101"/>
                  </a:lnTo>
                  <a:lnTo>
                    <a:pt x="39" y="102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13" y="148"/>
                  </a:lnTo>
                  <a:lnTo>
                    <a:pt x="26" y="169"/>
                  </a:lnTo>
                  <a:lnTo>
                    <a:pt x="37" y="186"/>
                  </a:lnTo>
                  <a:lnTo>
                    <a:pt x="45" y="197"/>
                  </a:lnTo>
                  <a:lnTo>
                    <a:pt x="53" y="206"/>
                  </a:lnTo>
                  <a:lnTo>
                    <a:pt x="60" y="217"/>
                  </a:lnTo>
                  <a:lnTo>
                    <a:pt x="67" y="228"/>
                  </a:lnTo>
                  <a:lnTo>
                    <a:pt x="74" y="241"/>
                  </a:lnTo>
                  <a:lnTo>
                    <a:pt x="81" y="252"/>
                  </a:lnTo>
                  <a:lnTo>
                    <a:pt x="86" y="266"/>
                  </a:lnTo>
                  <a:lnTo>
                    <a:pt x="92" y="278"/>
                  </a:lnTo>
                  <a:lnTo>
                    <a:pt x="98" y="292"/>
                  </a:lnTo>
                  <a:lnTo>
                    <a:pt x="102" y="306"/>
                  </a:lnTo>
                  <a:lnTo>
                    <a:pt x="106" y="319"/>
                  </a:lnTo>
                  <a:lnTo>
                    <a:pt x="110" y="333"/>
                  </a:lnTo>
                  <a:lnTo>
                    <a:pt x="112" y="346"/>
                  </a:lnTo>
                  <a:lnTo>
                    <a:pt x="115" y="360"/>
                  </a:lnTo>
                  <a:lnTo>
                    <a:pt x="116" y="372"/>
                  </a:lnTo>
                  <a:lnTo>
                    <a:pt x="117" y="386"/>
                  </a:lnTo>
                  <a:lnTo>
                    <a:pt x="118" y="398"/>
                  </a:lnTo>
                  <a:lnTo>
                    <a:pt x="121" y="412"/>
                  </a:lnTo>
                  <a:lnTo>
                    <a:pt x="123" y="426"/>
                  </a:lnTo>
                  <a:lnTo>
                    <a:pt x="123" y="439"/>
                  </a:lnTo>
                  <a:lnTo>
                    <a:pt x="122" y="453"/>
                  </a:lnTo>
                  <a:lnTo>
                    <a:pt x="122" y="466"/>
                  </a:lnTo>
                  <a:lnTo>
                    <a:pt x="121" y="480"/>
                  </a:lnTo>
                  <a:lnTo>
                    <a:pt x="122" y="493"/>
                  </a:lnTo>
                  <a:lnTo>
                    <a:pt x="123" y="507"/>
                  </a:lnTo>
                  <a:lnTo>
                    <a:pt x="125" y="528"/>
                  </a:lnTo>
                  <a:lnTo>
                    <a:pt x="126" y="562"/>
                  </a:lnTo>
                  <a:lnTo>
                    <a:pt x="128" y="604"/>
                  </a:lnTo>
                  <a:lnTo>
                    <a:pt x="131" y="650"/>
                  </a:lnTo>
                  <a:lnTo>
                    <a:pt x="132" y="673"/>
                  </a:lnTo>
                  <a:lnTo>
                    <a:pt x="134" y="695"/>
                  </a:lnTo>
                  <a:lnTo>
                    <a:pt x="136" y="715"/>
                  </a:lnTo>
                  <a:lnTo>
                    <a:pt x="139" y="732"/>
                  </a:lnTo>
                  <a:lnTo>
                    <a:pt x="142" y="748"/>
                  </a:lnTo>
                  <a:lnTo>
                    <a:pt x="147" y="760"/>
                  </a:lnTo>
                  <a:lnTo>
                    <a:pt x="149" y="765"/>
                  </a:lnTo>
                  <a:lnTo>
                    <a:pt x="151" y="768"/>
                  </a:lnTo>
                  <a:lnTo>
                    <a:pt x="153" y="771"/>
                  </a:lnTo>
                  <a:lnTo>
                    <a:pt x="156" y="772"/>
                  </a:lnTo>
                  <a:lnTo>
                    <a:pt x="157" y="774"/>
                  </a:lnTo>
                  <a:lnTo>
                    <a:pt x="160" y="775"/>
                  </a:lnTo>
                  <a:lnTo>
                    <a:pt x="163" y="777"/>
                  </a:lnTo>
                  <a:lnTo>
                    <a:pt x="167" y="778"/>
                  </a:lnTo>
                  <a:lnTo>
                    <a:pt x="175" y="780"/>
                  </a:lnTo>
                  <a:lnTo>
                    <a:pt x="181" y="781"/>
                  </a:lnTo>
                  <a:lnTo>
                    <a:pt x="199" y="780"/>
                  </a:lnTo>
                  <a:lnTo>
                    <a:pt x="218" y="780"/>
                  </a:lnTo>
                  <a:lnTo>
                    <a:pt x="237" y="781"/>
                  </a:lnTo>
                  <a:lnTo>
                    <a:pt x="258" y="783"/>
                  </a:lnTo>
                  <a:lnTo>
                    <a:pt x="278" y="785"/>
                  </a:lnTo>
                  <a:lnTo>
                    <a:pt x="298" y="790"/>
                  </a:lnTo>
                  <a:lnTo>
                    <a:pt x="316" y="795"/>
                  </a:lnTo>
                  <a:lnTo>
                    <a:pt x="332" y="800"/>
                  </a:lnTo>
                  <a:lnTo>
                    <a:pt x="353" y="811"/>
                  </a:lnTo>
                  <a:lnTo>
                    <a:pt x="381" y="824"/>
                  </a:lnTo>
                  <a:lnTo>
                    <a:pt x="394" y="832"/>
                  </a:lnTo>
                  <a:lnTo>
                    <a:pt x="406" y="840"/>
                  </a:lnTo>
                  <a:lnTo>
                    <a:pt x="416" y="847"/>
                  </a:lnTo>
                  <a:lnTo>
                    <a:pt x="422" y="853"/>
                  </a:lnTo>
                  <a:lnTo>
                    <a:pt x="416" y="857"/>
                  </a:lnTo>
                  <a:lnTo>
                    <a:pt x="408" y="861"/>
                  </a:lnTo>
                  <a:lnTo>
                    <a:pt x="401" y="864"/>
                  </a:lnTo>
                  <a:lnTo>
                    <a:pt x="393" y="865"/>
                  </a:lnTo>
                  <a:lnTo>
                    <a:pt x="384" y="866"/>
                  </a:lnTo>
                  <a:lnTo>
                    <a:pt x="376" y="866"/>
                  </a:lnTo>
                  <a:lnTo>
                    <a:pt x="367" y="865"/>
                  </a:lnTo>
                  <a:lnTo>
                    <a:pt x="358" y="864"/>
                  </a:lnTo>
                  <a:lnTo>
                    <a:pt x="340" y="861"/>
                  </a:lnTo>
                  <a:lnTo>
                    <a:pt x="323" y="856"/>
                  </a:lnTo>
                  <a:lnTo>
                    <a:pt x="307" y="852"/>
                  </a:lnTo>
                  <a:lnTo>
                    <a:pt x="294" y="848"/>
                  </a:lnTo>
                  <a:lnTo>
                    <a:pt x="280" y="844"/>
                  </a:lnTo>
                  <a:lnTo>
                    <a:pt x="265" y="840"/>
                  </a:lnTo>
                  <a:lnTo>
                    <a:pt x="251" y="837"/>
                  </a:lnTo>
                  <a:lnTo>
                    <a:pt x="235" y="835"/>
                  </a:lnTo>
                  <a:lnTo>
                    <a:pt x="221" y="832"/>
                  </a:lnTo>
                  <a:lnTo>
                    <a:pt x="205" y="830"/>
                  </a:lnTo>
                  <a:lnTo>
                    <a:pt x="190" y="829"/>
                  </a:lnTo>
                  <a:lnTo>
                    <a:pt x="176" y="829"/>
                  </a:lnTo>
                  <a:lnTo>
                    <a:pt x="177" y="843"/>
                  </a:lnTo>
                  <a:lnTo>
                    <a:pt x="180" y="857"/>
                  </a:lnTo>
                  <a:lnTo>
                    <a:pt x="184" y="872"/>
                  </a:lnTo>
                  <a:lnTo>
                    <a:pt x="188" y="887"/>
                  </a:lnTo>
                  <a:lnTo>
                    <a:pt x="194" y="901"/>
                  </a:lnTo>
                  <a:lnTo>
                    <a:pt x="198" y="916"/>
                  </a:lnTo>
                  <a:lnTo>
                    <a:pt x="200" y="931"/>
                  </a:lnTo>
                  <a:lnTo>
                    <a:pt x="202" y="945"/>
                  </a:lnTo>
                  <a:lnTo>
                    <a:pt x="202" y="958"/>
                  </a:lnTo>
                  <a:lnTo>
                    <a:pt x="204" y="969"/>
                  </a:lnTo>
                  <a:lnTo>
                    <a:pt x="207" y="981"/>
                  </a:lnTo>
                  <a:lnTo>
                    <a:pt x="210" y="992"/>
                  </a:lnTo>
                  <a:lnTo>
                    <a:pt x="218" y="1015"/>
                  </a:lnTo>
                  <a:lnTo>
                    <a:pt x="225" y="1037"/>
                  </a:lnTo>
                  <a:lnTo>
                    <a:pt x="229" y="1056"/>
                  </a:lnTo>
                  <a:lnTo>
                    <a:pt x="233" y="1076"/>
                  </a:lnTo>
                  <a:lnTo>
                    <a:pt x="237" y="1095"/>
                  </a:lnTo>
                  <a:lnTo>
                    <a:pt x="240" y="1117"/>
                  </a:lnTo>
                  <a:lnTo>
                    <a:pt x="244" y="1138"/>
                  </a:lnTo>
                  <a:lnTo>
                    <a:pt x="245" y="1159"/>
                  </a:lnTo>
                  <a:lnTo>
                    <a:pt x="244" y="1168"/>
                  </a:lnTo>
                  <a:lnTo>
                    <a:pt x="244" y="1179"/>
                  </a:lnTo>
                  <a:lnTo>
                    <a:pt x="242" y="1188"/>
                  </a:lnTo>
                  <a:lnTo>
                    <a:pt x="240" y="1197"/>
                  </a:lnTo>
                  <a:lnTo>
                    <a:pt x="239" y="1202"/>
                  </a:lnTo>
                  <a:lnTo>
                    <a:pt x="239" y="1206"/>
                  </a:lnTo>
                  <a:lnTo>
                    <a:pt x="239" y="1210"/>
                  </a:lnTo>
                  <a:lnTo>
                    <a:pt x="240" y="1213"/>
                  </a:lnTo>
                  <a:lnTo>
                    <a:pt x="242" y="1216"/>
                  </a:lnTo>
                  <a:lnTo>
                    <a:pt x="245" y="1219"/>
                  </a:lnTo>
                  <a:lnTo>
                    <a:pt x="247" y="1223"/>
                  </a:lnTo>
                  <a:lnTo>
                    <a:pt x="250" y="1225"/>
                  </a:lnTo>
                  <a:lnTo>
                    <a:pt x="257" y="1229"/>
                  </a:lnTo>
                  <a:lnTo>
                    <a:pt x="265" y="1232"/>
                  </a:lnTo>
                  <a:lnTo>
                    <a:pt x="276" y="1234"/>
                  </a:lnTo>
                  <a:lnTo>
                    <a:pt x="286" y="1236"/>
                  </a:lnTo>
                  <a:lnTo>
                    <a:pt x="307" y="1238"/>
                  </a:lnTo>
                  <a:lnTo>
                    <a:pt x="328" y="1241"/>
                  </a:lnTo>
                  <a:lnTo>
                    <a:pt x="337" y="1242"/>
                  </a:lnTo>
                  <a:lnTo>
                    <a:pt x="345" y="1245"/>
                  </a:lnTo>
                  <a:lnTo>
                    <a:pt x="352" y="1247"/>
                  </a:lnTo>
                  <a:lnTo>
                    <a:pt x="356" y="1250"/>
                  </a:lnTo>
                  <a:lnTo>
                    <a:pt x="345" y="1259"/>
                  </a:lnTo>
                  <a:lnTo>
                    <a:pt x="335" y="1267"/>
                  </a:lnTo>
                  <a:lnTo>
                    <a:pt x="325" y="1275"/>
                  </a:lnTo>
                  <a:lnTo>
                    <a:pt x="314" y="1281"/>
                  </a:lnTo>
                  <a:lnTo>
                    <a:pt x="308" y="1286"/>
                  </a:lnTo>
                  <a:lnTo>
                    <a:pt x="301" y="1291"/>
                  </a:lnTo>
                  <a:lnTo>
                    <a:pt x="296" y="1297"/>
                  </a:lnTo>
                  <a:lnTo>
                    <a:pt x="289" y="1303"/>
                  </a:lnTo>
                  <a:lnTo>
                    <a:pt x="284" y="1309"/>
                  </a:lnTo>
                  <a:lnTo>
                    <a:pt x="279" y="1317"/>
                  </a:lnTo>
                  <a:lnTo>
                    <a:pt x="274" y="1324"/>
                  </a:lnTo>
                  <a:lnTo>
                    <a:pt x="271" y="1331"/>
                  </a:lnTo>
                  <a:lnTo>
                    <a:pt x="267" y="1338"/>
                  </a:lnTo>
                  <a:lnTo>
                    <a:pt x="263" y="1347"/>
                  </a:lnTo>
                  <a:lnTo>
                    <a:pt x="261" y="1355"/>
                  </a:lnTo>
                  <a:lnTo>
                    <a:pt x="259" y="1363"/>
                  </a:lnTo>
                  <a:lnTo>
                    <a:pt x="258" y="1371"/>
                  </a:lnTo>
                  <a:lnTo>
                    <a:pt x="257" y="1379"/>
                  </a:lnTo>
                  <a:lnTo>
                    <a:pt x="258" y="1387"/>
                  </a:lnTo>
                  <a:lnTo>
                    <a:pt x="259" y="1396"/>
                  </a:lnTo>
                  <a:lnTo>
                    <a:pt x="264" y="1427"/>
                  </a:lnTo>
                  <a:lnTo>
                    <a:pt x="269" y="1458"/>
                  </a:lnTo>
                  <a:lnTo>
                    <a:pt x="271" y="1475"/>
                  </a:lnTo>
                  <a:lnTo>
                    <a:pt x="271" y="1491"/>
                  </a:lnTo>
                  <a:lnTo>
                    <a:pt x="271" y="1506"/>
                  </a:lnTo>
                  <a:lnTo>
                    <a:pt x="269" y="1523"/>
                  </a:lnTo>
                  <a:lnTo>
                    <a:pt x="268" y="1537"/>
                  </a:lnTo>
                  <a:lnTo>
                    <a:pt x="267" y="1549"/>
                  </a:lnTo>
                  <a:lnTo>
                    <a:pt x="265" y="1564"/>
                  </a:lnTo>
                  <a:lnTo>
                    <a:pt x="267" y="1577"/>
                  </a:lnTo>
                  <a:lnTo>
                    <a:pt x="269" y="1607"/>
                  </a:lnTo>
                  <a:lnTo>
                    <a:pt x="274" y="1636"/>
                  </a:lnTo>
                  <a:lnTo>
                    <a:pt x="279" y="1666"/>
                  </a:lnTo>
                  <a:lnTo>
                    <a:pt x="287" y="1697"/>
                  </a:lnTo>
                  <a:lnTo>
                    <a:pt x="296" y="1729"/>
                  </a:lnTo>
                  <a:lnTo>
                    <a:pt x="304" y="1760"/>
                  </a:lnTo>
                  <a:lnTo>
                    <a:pt x="323" y="1822"/>
                  </a:lnTo>
                  <a:lnTo>
                    <a:pt x="340" y="1884"/>
                  </a:lnTo>
                  <a:lnTo>
                    <a:pt x="347" y="1913"/>
                  </a:lnTo>
                  <a:lnTo>
                    <a:pt x="352" y="1942"/>
                  </a:lnTo>
                  <a:lnTo>
                    <a:pt x="353" y="1956"/>
                  </a:lnTo>
                  <a:lnTo>
                    <a:pt x="355" y="1971"/>
                  </a:lnTo>
                  <a:lnTo>
                    <a:pt x="356" y="1984"/>
                  </a:lnTo>
                  <a:lnTo>
                    <a:pt x="356" y="1997"/>
                  </a:lnTo>
                  <a:lnTo>
                    <a:pt x="360" y="2003"/>
                  </a:lnTo>
                  <a:lnTo>
                    <a:pt x="365" y="2009"/>
                  </a:lnTo>
                  <a:lnTo>
                    <a:pt x="369" y="2018"/>
                  </a:lnTo>
                  <a:lnTo>
                    <a:pt x="373" y="2026"/>
                  </a:lnTo>
                  <a:lnTo>
                    <a:pt x="380" y="2047"/>
                  </a:lnTo>
                  <a:lnTo>
                    <a:pt x="389" y="2070"/>
                  </a:lnTo>
                  <a:lnTo>
                    <a:pt x="396" y="2095"/>
                  </a:lnTo>
                  <a:lnTo>
                    <a:pt x="402" y="2121"/>
                  </a:lnTo>
                  <a:lnTo>
                    <a:pt x="408" y="2148"/>
                  </a:lnTo>
                  <a:lnTo>
                    <a:pt x="415" y="2175"/>
                  </a:lnTo>
                  <a:lnTo>
                    <a:pt x="415" y="2175"/>
                  </a:lnTo>
                  <a:close/>
                </a:path>
              </a:pathLst>
            </a:custGeom>
            <a:noFill/>
            <a:ln w="127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2" name="Freeform 139">
              <a:extLst>
                <a:ext uri="{FF2B5EF4-FFF2-40B4-BE49-F238E27FC236}">
                  <a16:creationId xmlns:a16="http://schemas.microsoft.com/office/drawing/2014/main" id="{794A2311-AA50-4C76-AF95-D035DB552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06" y="4146706"/>
              <a:ext cx="587846" cy="928194"/>
            </a:xfrm>
            <a:custGeom>
              <a:avLst/>
              <a:gdLst>
                <a:gd name="T0" fmla="*/ 806 w 2343"/>
                <a:gd name="T1" fmla="*/ 242 h 3817"/>
                <a:gd name="T2" fmla="*/ 1077 w 2343"/>
                <a:gd name="T3" fmla="*/ 285 h 3817"/>
                <a:gd name="T4" fmla="*/ 1284 w 2343"/>
                <a:gd name="T5" fmla="*/ 389 h 3817"/>
                <a:gd name="T6" fmla="*/ 1478 w 2343"/>
                <a:gd name="T7" fmla="*/ 332 h 3817"/>
                <a:gd name="T8" fmla="*/ 1671 w 2343"/>
                <a:gd name="T9" fmla="*/ 340 h 3817"/>
                <a:gd name="T10" fmla="*/ 1762 w 2343"/>
                <a:gd name="T11" fmla="*/ 442 h 3817"/>
                <a:gd name="T12" fmla="*/ 1908 w 2343"/>
                <a:gd name="T13" fmla="*/ 580 h 3817"/>
                <a:gd name="T14" fmla="*/ 1852 w 2343"/>
                <a:gd name="T15" fmla="*/ 746 h 3817"/>
                <a:gd name="T16" fmla="*/ 1747 w 2343"/>
                <a:gd name="T17" fmla="*/ 959 h 3817"/>
                <a:gd name="T18" fmla="*/ 1926 w 2343"/>
                <a:gd name="T19" fmla="*/ 1147 h 3817"/>
                <a:gd name="T20" fmla="*/ 2262 w 2343"/>
                <a:gd name="T21" fmla="*/ 1104 h 3817"/>
                <a:gd name="T22" fmla="*/ 2291 w 2343"/>
                <a:gd name="T23" fmla="*/ 1261 h 3817"/>
                <a:gd name="T24" fmla="*/ 2285 w 2343"/>
                <a:gd name="T25" fmla="*/ 1468 h 3817"/>
                <a:gd name="T26" fmla="*/ 2257 w 2343"/>
                <a:gd name="T27" fmla="*/ 1638 h 3817"/>
                <a:gd name="T28" fmla="*/ 2261 w 2343"/>
                <a:gd name="T29" fmla="*/ 1811 h 3817"/>
                <a:gd name="T30" fmla="*/ 2168 w 2343"/>
                <a:gd name="T31" fmla="*/ 1922 h 3817"/>
                <a:gd name="T32" fmla="*/ 2217 w 2343"/>
                <a:gd name="T33" fmla="*/ 2114 h 3817"/>
                <a:gd name="T34" fmla="*/ 2195 w 2343"/>
                <a:gd name="T35" fmla="*/ 2441 h 3817"/>
                <a:gd name="T36" fmla="*/ 2078 w 2343"/>
                <a:gd name="T37" fmla="*/ 2493 h 3817"/>
                <a:gd name="T38" fmla="*/ 2000 w 2343"/>
                <a:gd name="T39" fmla="*/ 2348 h 3817"/>
                <a:gd name="T40" fmla="*/ 1869 w 2343"/>
                <a:gd name="T41" fmla="*/ 2418 h 3817"/>
                <a:gd name="T42" fmla="*/ 1875 w 2343"/>
                <a:gd name="T43" fmla="*/ 2549 h 3817"/>
                <a:gd name="T44" fmla="*/ 1824 w 2343"/>
                <a:gd name="T45" fmla="*/ 2623 h 3817"/>
                <a:gd name="T46" fmla="*/ 1953 w 2343"/>
                <a:gd name="T47" fmla="*/ 2693 h 3817"/>
                <a:gd name="T48" fmla="*/ 2037 w 2343"/>
                <a:gd name="T49" fmla="*/ 2867 h 3817"/>
                <a:gd name="T50" fmla="*/ 1949 w 2343"/>
                <a:gd name="T51" fmla="*/ 2890 h 3817"/>
                <a:gd name="T52" fmla="*/ 1937 w 2343"/>
                <a:gd name="T53" fmla="*/ 3031 h 3817"/>
                <a:gd name="T54" fmla="*/ 1827 w 2343"/>
                <a:gd name="T55" fmla="*/ 3089 h 3817"/>
                <a:gd name="T56" fmla="*/ 1729 w 2343"/>
                <a:gd name="T57" fmla="*/ 3110 h 3817"/>
                <a:gd name="T58" fmla="*/ 1565 w 2343"/>
                <a:gd name="T59" fmla="*/ 3071 h 3817"/>
                <a:gd name="T60" fmla="*/ 1436 w 2343"/>
                <a:gd name="T61" fmla="*/ 3154 h 3817"/>
                <a:gd name="T62" fmla="*/ 1431 w 2343"/>
                <a:gd name="T63" fmla="*/ 3263 h 3817"/>
                <a:gd name="T64" fmla="*/ 1202 w 2343"/>
                <a:gd name="T65" fmla="*/ 3252 h 3817"/>
                <a:gd name="T66" fmla="*/ 1277 w 2343"/>
                <a:gd name="T67" fmla="*/ 3410 h 3817"/>
                <a:gd name="T68" fmla="*/ 1305 w 2343"/>
                <a:gd name="T69" fmla="*/ 3561 h 3817"/>
                <a:gd name="T70" fmla="*/ 1271 w 2343"/>
                <a:gd name="T71" fmla="*/ 3717 h 3817"/>
                <a:gd name="T72" fmla="*/ 1137 w 2343"/>
                <a:gd name="T73" fmla="*/ 3792 h 3817"/>
                <a:gd name="T74" fmla="*/ 945 w 2343"/>
                <a:gd name="T75" fmla="*/ 3522 h 3817"/>
                <a:gd name="T76" fmla="*/ 807 w 2343"/>
                <a:gd name="T77" fmla="*/ 3021 h 3817"/>
                <a:gd name="T78" fmla="*/ 691 w 2343"/>
                <a:gd name="T79" fmla="*/ 2670 h 3817"/>
                <a:gd name="T80" fmla="*/ 622 w 2343"/>
                <a:gd name="T81" fmla="*/ 2432 h 3817"/>
                <a:gd name="T82" fmla="*/ 705 w 2343"/>
                <a:gd name="T83" fmla="*/ 2449 h 3817"/>
                <a:gd name="T84" fmla="*/ 588 w 2343"/>
                <a:gd name="T85" fmla="*/ 2362 h 3817"/>
                <a:gd name="T86" fmla="*/ 488 w 2343"/>
                <a:gd name="T87" fmla="*/ 2256 h 3817"/>
                <a:gd name="T88" fmla="*/ 618 w 2343"/>
                <a:gd name="T89" fmla="*/ 2202 h 3817"/>
                <a:gd name="T90" fmla="*/ 465 w 2343"/>
                <a:gd name="T91" fmla="*/ 2176 h 3817"/>
                <a:gd name="T92" fmla="*/ 412 w 2343"/>
                <a:gd name="T93" fmla="*/ 1956 h 3817"/>
                <a:gd name="T94" fmla="*/ 337 w 2343"/>
                <a:gd name="T95" fmla="*/ 1873 h 3817"/>
                <a:gd name="T96" fmla="*/ 180 w 2343"/>
                <a:gd name="T97" fmla="*/ 1835 h 3817"/>
                <a:gd name="T98" fmla="*/ 145 w 2343"/>
                <a:gd name="T99" fmla="*/ 1668 h 3817"/>
                <a:gd name="T100" fmla="*/ 19 w 2343"/>
                <a:gd name="T101" fmla="*/ 1515 h 3817"/>
                <a:gd name="T102" fmla="*/ 147 w 2343"/>
                <a:gd name="T103" fmla="*/ 1430 h 3817"/>
                <a:gd name="T104" fmla="*/ 243 w 2343"/>
                <a:gd name="T105" fmla="*/ 1367 h 3817"/>
                <a:gd name="T106" fmla="*/ 372 w 2343"/>
                <a:gd name="T107" fmla="*/ 1333 h 3817"/>
                <a:gd name="T108" fmla="*/ 423 w 2343"/>
                <a:gd name="T109" fmla="*/ 1216 h 3817"/>
                <a:gd name="T110" fmla="*/ 463 w 2343"/>
                <a:gd name="T111" fmla="*/ 1006 h 3817"/>
                <a:gd name="T112" fmla="*/ 531 w 2343"/>
                <a:gd name="T113" fmla="*/ 790 h 3817"/>
                <a:gd name="T114" fmla="*/ 398 w 2343"/>
                <a:gd name="T115" fmla="*/ 634 h 3817"/>
                <a:gd name="T116" fmla="*/ 567 w 2343"/>
                <a:gd name="T117" fmla="*/ 553 h 3817"/>
                <a:gd name="T118" fmla="*/ 470 w 2343"/>
                <a:gd name="T119" fmla="*/ 334 h 3817"/>
                <a:gd name="T120" fmla="*/ 427 w 2343"/>
                <a:gd name="T121" fmla="*/ 85 h 3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43" h="3817">
                  <a:moveTo>
                    <a:pt x="475" y="0"/>
                  </a:moveTo>
                  <a:lnTo>
                    <a:pt x="571" y="0"/>
                  </a:lnTo>
                  <a:lnTo>
                    <a:pt x="587" y="4"/>
                  </a:lnTo>
                  <a:lnTo>
                    <a:pt x="603" y="9"/>
                  </a:lnTo>
                  <a:lnTo>
                    <a:pt x="617" y="16"/>
                  </a:lnTo>
                  <a:lnTo>
                    <a:pt x="631" y="23"/>
                  </a:lnTo>
                  <a:lnTo>
                    <a:pt x="643" y="31"/>
                  </a:lnTo>
                  <a:lnTo>
                    <a:pt x="656" y="41"/>
                  </a:lnTo>
                  <a:lnTo>
                    <a:pt x="667" y="51"/>
                  </a:lnTo>
                  <a:lnTo>
                    <a:pt x="679" y="61"/>
                  </a:lnTo>
                  <a:lnTo>
                    <a:pt x="689" y="73"/>
                  </a:lnTo>
                  <a:lnTo>
                    <a:pt x="700" y="85"/>
                  </a:lnTo>
                  <a:lnTo>
                    <a:pt x="709" y="98"/>
                  </a:lnTo>
                  <a:lnTo>
                    <a:pt x="719" y="110"/>
                  </a:lnTo>
                  <a:lnTo>
                    <a:pt x="737" y="138"/>
                  </a:lnTo>
                  <a:lnTo>
                    <a:pt x="755" y="165"/>
                  </a:lnTo>
                  <a:lnTo>
                    <a:pt x="771" y="192"/>
                  </a:lnTo>
                  <a:lnTo>
                    <a:pt x="788" y="218"/>
                  </a:lnTo>
                  <a:lnTo>
                    <a:pt x="806" y="242"/>
                  </a:lnTo>
                  <a:lnTo>
                    <a:pt x="824" y="265"/>
                  </a:lnTo>
                  <a:lnTo>
                    <a:pt x="833" y="274"/>
                  </a:lnTo>
                  <a:lnTo>
                    <a:pt x="842" y="284"/>
                  </a:lnTo>
                  <a:lnTo>
                    <a:pt x="853" y="292"/>
                  </a:lnTo>
                  <a:lnTo>
                    <a:pt x="863" y="299"/>
                  </a:lnTo>
                  <a:lnTo>
                    <a:pt x="874" y="306"/>
                  </a:lnTo>
                  <a:lnTo>
                    <a:pt x="885" y="310"/>
                  </a:lnTo>
                  <a:lnTo>
                    <a:pt x="897" y="314"/>
                  </a:lnTo>
                  <a:lnTo>
                    <a:pt x="909" y="316"/>
                  </a:lnTo>
                  <a:lnTo>
                    <a:pt x="922" y="317"/>
                  </a:lnTo>
                  <a:lnTo>
                    <a:pt x="933" y="317"/>
                  </a:lnTo>
                  <a:lnTo>
                    <a:pt x="946" y="315"/>
                  </a:lnTo>
                  <a:lnTo>
                    <a:pt x="957" y="314"/>
                  </a:lnTo>
                  <a:lnTo>
                    <a:pt x="981" y="308"/>
                  </a:lnTo>
                  <a:lnTo>
                    <a:pt x="1006" y="300"/>
                  </a:lnTo>
                  <a:lnTo>
                    <a:pt x="1030" y="294"/>
                  </a:lnTo>
                  <a:lnTo>
                    <a:pt x="1054" y="288"/>
                  </a:lnTo>
                  <a:lnTo>
                    <a:pt x="1066" y="286"/>
                  </a:lnTo>
                  <a:lnTo>
                    <a:pt x="1077" y="285"/>
                  </a:lnTo>
                  <a:lnTo>
                    <a:pt x="1088" y="285"/>
                  </a:lnTo>
                  <a:lnTo>
                    <a:pt x="1100" y="285"/>
                  </a:lnTo>
                  <a:lnTo>
                    <a:pt x="1106" y="286"/>
                  </a:lnTo>
                  <a:lnTo>
                    <a:pt x="1113" y="288"/>
                  </a:lnTo>
                  <a:lnTo>
                    <a:pt x="1120" y="291"/>
                  </a:lnTo>
                  <a:lnTo>
                    <a:pt x="1126" y="293"/>
                  </a:lnTo>
                  <a:lnTo>
                    <a:pt x="1138" y="301"/>
                  </a:lnTo>
                  <a:lnTo>
                    <a:pt x="1151" y="311"/>
                  </a:lnTo>
                  <a:lnTo>
                    <a:pt x="1177" y="333"/>
                  </a:lnTo>
                  <a:lnTo>
                    <a:pt x="1203" y="355"/>
                  </a:lnTo>
                  <a:lnTo>
                    <a:pt x="1218" y="365"/>
                  </a:lnTo>
                  <a:lnTo>
                    <a:pt x="1231" y="374"/>
                  </a:lnTo>
                  <a:lnTo>
                    <a:pt x="1239" y="378"/>
                  </a:lnTo>
                  <a:lnTo>
                    <a:pt x="1246" y="382"/>
                  </a:lnTo>
                  <a:lnTo>
                    <a:pt x="1253" y="385"/>
                  </a:lnTo>
                  <a:lnTo>
                    <a:pt x="1260" y="387"/>
                  </a:lnTo>
                  <a:lnTo>
                    <a:pt x="1269" y="388"/>
                  </a:lnTo>
                  <a:lnTo>
                    <a:pt x="1276" y="389"/>
                  </a:lnTo>
                  <a:lnTo>
                    <a:pt x="1284" y="389"/>
                  </a:lnTo>
                  <a:lnTo>
                    <a:pt x="1293" y="388"/>
                  </a:lnTo>
                  <a:lnTo>
                    <a:pt x="1301" y="387"/>
                  </a:lnTo>
                  <a:lnTo>
                    <a:pt x="1309" y="384"/>
                  </a:lnTo>
                  <a:lnTo>
                    <a:pt x="1318" y="381"/>
                  </a:lnTo>
                  <a:lnTo>
                    <a:pt x="1326" y="375"/>
                  </a:lnTo>
                  <a:lnTo>
                    <a:pt x="1343" y="365"/>
                  </a:lnTo>
                  <a:lnTo>
                    <a:pt x="1355" y="359"/>
                  </a:lnTo>
                  <a:lnTo>
                    <a:pt x="1365" y="354"/>
                  </a:lnTo>
                  <a:lnTo>
                    <a:pt x="1372" y="351"/>
                  </a:lnTo>
                  <a:lnTo>
                    <a:pt x="1380" y="349"/>
                  </a:lnTo>
                  <a:lnTo>
                    <a:pt x="1391" y="349"/>
                  </a:lnTo>
                  <a:lnTo>
                    <a:pt x="1404" y="349"/>
                  </a:lnTo>
                  <a:lnTo>
                    <a:pt x="1423" y="349"/>
                  </a:lnTo>
                  <a:lnTo>
                    <a:pt x="1430" y="349"/>
                  </a:lnTo>
                  <a:lnTo>
                    <a:pt x="1439" y="348"/>
                  </a:lnTo>
                  <a:lnTo>
                    <a:pt x="1446" y="346"/>
                  </a:lnTo>
                  <a:lnTo>
                    <a:pt x="1453" y="344"/>
                  </a:lnTo>
                  <a:lnTo>
                    <a:pt x="1466" y="339"/>
                  </a:lnTo>
                  <a:lnTo>
                    <a:pt x="1478" y="332"/>
                  </a:lnTo>
                  <a:lnTo>
                    <a:pt x="1491" y="325"/>
                  </a:lnTo>
                  <a:lnTo>
                    <a:pt x="1502" y="319"/>
                  </a:lnTo>
                  <a:lnTo>
                    <a:pt x="1509" y="316"/>
                  </a:lnTo>
                  <a:lnTo>
                    <a:pt x="1515" y="314"/>
                  </a:lnTo>
                  <a:lnTo>
                    <a:pt x="1521" y="312"/>
                  </a:lnTo>
                  <a:lnTo>
                    <a:pt x="1528" y="311"/>
                  </a:lnTo>
                  <a:lnTo>
                    <a:pt x="1524" y="312"/>
                  </a:lnTo>
                  <a:lnTo>
                    <a:pt x="1555" y="312"/>
                  </a:lnTo>
                  <a:lnTo>
                    <a:pt x="1590" y="313"/>
                  </a:lnTo>
                  <a:lnTo>
                    <a:pt x="1608" y="314"/>
                  </a:lnTo>
                  <a:lnTo>
                    <a:pt x="1625" y="316"/>
                  </a:lnTo>
                  <a:lnTo>
                    <a:pt x="1634" y="317"/>
                  </a:lnTo>
                  <a:lnTo>
                    <a:pt x="1641" y="319"/>
                  </a:lnTo>
                  <a:lnTo>
                    <a:pt x="1648" y="321"/>
                  </a:lnTo>
                  <a:lnTo>
                    <a:pt x="1656" y="324"/>
                  </a:lnTo>
                  <a:lnTo>
                    <a:pt x="1661" y="327"/>
                  </a:lnTo>
                  <a:lnTo>
                    <a:pt x="1665" y="332"/>
                  </a:lnTo>
                  <a:lnTo>
                    <a:pt x="1668" y="336"/>
                  </a:lnTo>
                  <a:lnTo>
                    <a:pt x="1671" y="340"/>
                  </a:lnTo>
                  <a:lnTo>
                    <a:pt x="1678" y="348"/>
                  </a:lnTo>
                  <a:lnTo>
                    <a:pt x="1686" y="357"/>
                  </a:lnTo>
                  <a:lnTo>
                    <a:pt x="1693" y="360"/>
                  </a:lnTo>
                  <a:lnTo>
                    <a:pt x="1703" y="361"/>
                  </a:lnTo>
                  <a:lnTo>
                    <a:pt x="1713" y="362"/>
                  </a:lnTo>
                  <a:lnTo>
                    <a:pt x="1724" y="363"/>
                  </a:lnTo>
                  <a:lnTo>
                    <a:pt x="1735" y="364"/>
                  </a:lnTo>
                  <a:lnTo>
                    <a:pt x="1743" y="365"/>
                  </a:lnTo>
                  <a:lnTo>
                    <a:pt x="1747" y="366"/>
                  </a:lnTo>
                  <a:lnTo>
                    <a:pt x="1751" y="368"/>
                  </a:lnTo>
                  <a:lnTo>
                    <a:pt x="1753" y="370"/>
                  </a:lnTo>
                  <a:lnTo>
                    <a:pt x="1754" y="372"/>
                  </a:lnTo>
                  <a:lnTo>
                    <a:pt x="1756" y="385"/>
                  </a:lnTo>
                  <a:lnTo>
                    <a:pt x="1757" y="396"/>
                  </a:lnTo>
                  <a:lnTo>
                    <a:pt x="1757" y="407"/>
                  </a:lnTo>
                  <a:lnTo>
                    <a:pt x="1757" y="417"/>
                  </a:lnTo>
                  <a:lnTo>
                    <a:pt x="1758" y="427"/>
                  </a:lnTo>
                  <a:lnTo>
                    <a:pt x="1760" y="437"/>
                  </a:lnTo>
                  <a:lnTo>
                    <a:pt x="1762" y="442"/>
                  </a:lnTo>
                  <a:lnTo>
                    <a:pt x="1765" y="447"/>
                  </a:lnTo>
                  <a:lnTo>
                    <a:pt x="1769" y="453"/>
                  </a:lnTo>
                  <a:lnTo>
                    <a:pt x="1775" y="458"/>
                  </a:lnTo>
                  <a:lnTo>
                    <a:pt x="1784" y="466"/>
                  </a:lnTo>
                  <a:lnTo>
                    <a:pt x="1796" y="474"/>
                  </a:lnTo>
                  <a:lnTo>
                    <a:pt x="1810" y="481"/>
                  </a:lnTo>
                  <a:lnTo>
                    <a:pt x="1824" y="489"/>
                  </a:lnTo>
                  <a:lnTo>
                    <a:pt x="1836" y="499"/>
                  </a:lnTo>
                  <a:lnTo>
                    <a:pt x="1847" y="508"/>
                  </a:lnTo>
                  <a:lnTo>
                    <a:pt x="1852" y="513"/>
                  </a:lnTo>
                  <a:lnTo>
                    <a:pt x="1856" y="518"/>
                  </a:lnTo>
                  <a:lnTo>
                    <a:pt x="1858" y="524"/>
                  </a:lnTo>
                  <a:lnTo>
                    <a:pt x="1859" y="530"/>
                  </a:lnTo>
                  <a:lnTo>
                    <a:pt x="1867" y="537"/>
                  </a:lnTo>
                  <a:lnTo>
                    <a:pt x="1876" y="548"/>
                  </a:lnTo>
                  <a:lnTo>
                    <a:pt x="1885" y="558"/>
                  </a:lnTo>
                  <a:lnTo>
                    <a:pt x="1894" y="567"/>
                  </a:lnTo>
                  <a:lnTo>
                    <a:pt x="1902" y="574"/>
                  </a:lnTo>
                  <a:lnTo>
                    <a:pt x="1908" y="580"/>
                  </a:lnTo>
                  <a:lnTo>
                    <a:pt x="1913" y="586"/>
                  </a:lnTo>
                  <a:lnTo>
                    <a:pt x="1917" y="592"/>
                  </a:lnTo>
                  <a:lnTo>
                    <a:pt x="1927" y="605"/>
                  </a:lnTo>
                  <a:lnTo>
                    <a:pt x="1936" y="620"/>
                  </a:lnTo>
                  <a:lnTo>
                    <a:pt x="1936" y="628"/>
                  </a:lnTo>
                  <a:lnTo>
                    <a:pt x="1935" y="636"/>
                  </a:lnTo>
                  <a:lnTo>
                    <a:pt x="1933" y="644"/>
                  </a:lnTo>
                  <a:lnTo>
                    <a:pt x="1931" y="651"/>
                  </a:lnTo>
                  <a:lnTo>
                    <a:pt x="1928" y="658"/>
                  </a:lnTo>
                  <a:lnTo>
                    <a:pt x="1925" y="664"/>
                  </a:lnTo>
                  <a:lnTo>
                    <a:pt x="1922" y="671"/>
                  </a:lnTo>
                  <a:lnTo>
                    <a:pt x="1916" y="676"/>
                  </a:lnTo>
                  <a:lnTo>
                    <a:pt x="1907" y="687"/>
                  </a:lnTo>
                  <a:lnTo>
                    <a:pt x="1897" y="697"/>
                  </a:lnTo>
                  <a:lnTo>
                    <a:pt x="1885" y="707"/>
                  </a:lnTo>
                  <a:lnTo>
                    <a:pt x="1874" y="719"/>
                  </a:lnTo>
                  <a:lnTo>
                    <a:pt x="1863" y="729"/>
                  </a:lnTo>
                  <a:lnTo>
                    <a:pt x="1856" y="737"/>
                  </a:lnTo>
                  <a:lnTo>
                    <a:pt x="1852" y="746"/>
                  </a:lnTo>
                  <a:lnTo>
                    <a:pt x="1850" y="754"/>
                  </a:lnTo>
                  <a:lnTo>
                    <a:pt x="1846" y="773"/>
                  </a:lnTo>
                  <a:lnTo>
                    <a:pt x="1842" y="798"/>
                  </a:lnTo>
                  <a:lnTo>
                    <a:pt x="1839" y="806"/>
                  </a:lnTo>
                  <a:lnTo>
                    <a:pt x="1834" y="815"/>
                  </a:lnTo>
                  <a:lnTo>
                    <a:pt x="1828" y="823"/>
                  </a:lnTo>
                  <a:lnTo>
                    <a:pt x="1819" y="831"/>
                  </a:lnTo>
                  <a:lnTo>
                    <a:pt x="1801" y="847"/>
                  </a:lnTo>
                  <a:lnTo>
                    <a:pt x="1781" y="864"/>
                  </a:lnTo>
                  <a:lnTo>
                    <a:pt x="1761" y="879"/>
                  </a:lnTo>
                  <a:lnTo>
                    <a:pt x="1744" y="896"/>
                  </a:lnTo>
                  <a:lnTo>
                    <a:pt x="1738" y="903"/>
                  </a:lnTo>
                  <a:lnTo>
                    <a:pt x="1733" y="912"/>
                  </a:lnTo>
                  <a:lnTo>
                    <a:pt x="1730" y="920"/>
                  </a:lnTo>
                  <a:lnTo>
                    <a:pt x="1728" y="928"/>
                  </a:lnTo>
                  <a:lnTo>
                    <a:pt x="1730" y="934"/>
                  </a:lnTo>
                  <a:lnTo>
                    <a:pt x="1734" y="941"/>
                  </a:lnTo>
                  <a:lnTo>
                    <a:pt x="1740" y="949"/>
                  </a:lnTo>
                  <a:lnTo>
                    <a:pt x="1747" y="959"/>
                  </a:lnTo>
                  <a:lnTo>
                    <a:pt x="1763" y="976"/>
                  </a:lnTo>
                  <a:lnTo>
                    <a:pt x="1773" y="988"/>
                  </a:lnTo>
                  <a:lnTo>
                    <a:pt x="1781" y="994"/>
                  </a:lnTo>
                  <a:lnTo>
                    <a:pt x="1789" y="999"/>
                  </a:lnTo>
                  <a:lnTo>
                    <a:pt x="1798" y="1005"/>
                  </a:lnTo>
                  <a:lnTo>
                    <a:pt x="1809" y="1009"/>
                  </a:lnTo>
                  <a:lnTo>
                    <a:pt x="1830" y="1015"/>
                  </a:lnTo>
                  <a:lnTo>
                    <a:pt x="1850" y="1020"/>
                  </a:lnTo>
                  <a:lnTo>
                    <a:pt x="1853" y="1029"/>
                  </a:lnTo>
                  <a:lnTo>
                    <a:pt x="1854" y="1035"/>
                  </a:lnTo>
                  <a:lnTo>
                    <a:pt x="1853" y="1042"/>
                  </a:lnTo>
                  <a:lnTo>
                    <a:pt x="1851" y="1049"/>
                  </a:lnTo>
                  <a:lnTo>
                    <a:pt x="1849" y="1056"/>
                  </a:lnTo>
                  <a:lnTo>
                    <a:pt x="1846" y="1063"/>
                  </a:lnTo>
                  <a:lnTo>
                    <a:pt x="1844" y="1070"/>
                  </a:lnTo>
                  <a:lnTo>
                    <a:pt x="1844" y="1079"/>
                  </a:lnTo>
                  <a:lnTo>
                    <a:pt x="1908" y="1151"/>
                  </a:lnTo>
                  <a:lnTo>
                    <a:pt x="1917" y="1150"/>
                  </a:lnTo>
                  <a:lnTo>
                    <a:pt x="1926" y="1147"/>
                  </a:lnTo>
                  <a:lnTo>
                    <a:pt x="1933" y="1144"/>
                  </a:lnTo>
                  <a:lnTo>
                    <a:pt x="1939" y="1140"/>
                  </a:lnTo>
                  <a:lnTo>
                    <a:pt x="1944" y="1136"/>
                  </a:lnTo>
                  <a:lnTo>
                    <a:pt x="1952" y="1131"/>
                  </a:lnTo>
                  <a:lnTo>
                    <a:pt x="1958" y="1127"/>
                  </a:lnTo>
                  <a:lnTo>
                    <a:pt x="1966" y="1123"/>
                  </a:lnTo>
                  <a:lnTo>
                    <a:pt x="1985" y="1118"/>
                  </a:lnTo>
                  <a:lnTo>
                    <a:pt x="2004" y="1115"/>
                  </a:lnTo>
                  <a:lnTo>
                    <a:pt x="2024" y="1114"/>
                  </a:lnTo>
                  <a:lnTo>
                    <a:pt x="2042" y="1114"/>
                  </a:lnTo>
                  <a:lnTo>
                    <a:pt x="2082" y="1116"/>
                  </a:lnTo>
                  <a:lnTo>
                    <a:pt x="2120" y="1119"/>
                  </a:lnTo>
                  <a:lnTo>
                    <a:pt x="2140" y="1120"/>
                  </a:lnTo>
                  <a:lnTo>
                    <a:pt x="2159" y="1119"/>
                  </a:lnTo>
                  <a:lnTo>
                    <a:pt x="2176" y="1118"/>
                  </a:lnTo>
                  <a:lnTo>
                    <a:pt x="2193" y="1117"/>
                  </a:lnTo>
                  <a:lnTo>
                    <a:pt x="2225" y="1111"/>
                  </a:lnTo>
                  <a:lnTo>
                    <a:pt x="2262" y="1104"/>
                  </a:lnTo>
                  <a:lnTo>
                    <a:pt x="2262" y="1104"/>
                  </a:lnTo>
                  <a:lnTo>
                    <a:pt x="2272" y="1106"/>
                  </a:lnTo>
                  <a:lnTo>
                    <a:pt x="2282" y="1109"/>
                  </a:lnTo>
                  <a:lnTo>
                    <a:pt x="2292" y="1111"/>
                  </a:lnTo>
                  <a:lnTo>
                    <a:pt x="2299" y="1115"/>
                  </a:lnTo>
                  <a:lnTo>
                    <a:pt x="2301" y="1115"/>
                  </a:lnTo>
                  <a:lnTo>
                    <a:pt x="2308" y="1123"/>
                  </a:lnTo>
                  <a:lnTo>
                    <a:pt x="2314" y="1131"/>
                  </a:lnTo>
                  <a:lnTo>
                    <a:pt x="2316" y="1138"/>
                  </a:lnTo>
                  <a:lnTo>
                    <a:pt x="2316" y="1145"/>
                  </a:lnTo>
                  <a:lnTo>
                    <a:pt x="2315" y="1153"/>
                  </a:lnTo>
                  <a:lnTo>
                    <a:pt x="2311" y="1161"/>
                  </a:lnTo>
                  <a:lnTo>
                    <a:pt x="2307" y="1171"/>
                  </a:lnTo>
                  <a:lnTo>
                    <a:pt x="2303" y="1182"/>
                  </a:lnTo>
                  <a:lnTo>
                    <a:pt x="2300" y="1190"/>
                  </a:lnTo>
                  <a:lnTo>
                    <a:pt x="2297" y="1199"/>
                  </a:lnTo>
                  <a:lnTo>
                    <a:pt x="2295" y="1208"/>
                  </a:lnTo>
                  <a:lnTo>
                    <a:pt x="2294" y="1218"/>
                  </a:lnTo>
                  <a:lnTo>
                    <a:pt x="2292" y="1239"/>
                  </a:lnTo>
                  <a:lnTo>
                    <a:pt x="2291" y="1261"/>
                  </a:lnTo>
                  <a:lnTo>
                    <a:pt x="2292" y="1284"/>
                  </a:lnTo>
                  <a:lnTo>
                    <a:pt x="2295" y="1305"/>
                  </a:lnTo>
                  <a:lnTo>
                    <a:pt x="2297" y="1314"/>
                  </a:lnTo>
                  <a:lnTo>
                    <a:pt x="2299" y="1324"/>
                  </a:lnTo>
                  <a:lnTo>
                    <a:pt x="2302" y="1332"/>
                  </a:lnTo>
                  <a:lnTo>
                    <a:pt x="2305" y="1340"/>
                  </a:lnTo>
                  <a:lnTo>
                    <a:pt x="2317" y="1362"/>
                  </a:lnTo>
                  <a:lnTo>
                    <a:pt x="2329" y="1384"/>
                  </a:lnTo>
                  <a:lnTo>
                    <a:pt x="2334" y="1396"/>
                  </a:lnTo>
                  <a:lnTo>
                    <a:pt x="2339" y="1407"/>
                  </a:lnTo>
                  <a:lnTo>
                    <a:pt x="2342" y="1419"/>
                  </a:lnTo>
                  <a:lnTo>
                    <a:pt x="2343" y="1432"/>
                  </a:lnTo>
                  <a:lnTo>
                    <a:pt x="2343" y="1436"/>
                  </a:lnTo>
                  <a:lnTo>
                    <a:pt x="2341" y="1440"/>
                  </a:lnTo>
                  <a:lnTo>
                    <a:pt x="2338" y="1444"/>
                  </a:lnTo>
                  <a:lnTo>
                    <a:pt x="2333" y="1447"/>
                  </a:lnTo>
                  <a:lnTo>
                    <a:pt x="2323" y="1453"/>
                  </a:lnTo>
                  <a:lnTo>
                    <a:pt x="2311" y="1458"/>
                  </a:lnTo>
                  <a:lnTo>
                    <a:pt x="2285" y="1468"/>
                  </a:lnTo>
                  <a:lnTo>
                    <a:pt x="2267" y="1475"/>
                  </a:lnTo>
                  <a:lnTo>
                    <a:pt x="2259" y="1479"/>
                  </a:lnTo>
                  <a:lnTo>
                    <a:pt x="2254" y="1484"/>
                  </a:lnTo>
                  <a:lnTo>
                    <a:pt x="2251" y="1491"/>
                  </a:lnTo>
                  <a:lnTo>
                    <a:pt x="2250" y="1497"/>
                  </a:lnTo>
                  <a:lnTo>
                    <a:pt x="2249" y="1503"/>
                  </a:lnTo>
                  <a:lnTo>
                    <a:pt x="2251" y="1511"/>
                  </a:lnTo>
                  <a:lnTo>
                    <a:pt x="2253" y="1518"/>
                  </a:lnTo>
                  <a:lnTo>
                    <a:pt x="2255" y="1526"/>
                  </a:lnTo>
                  <a:lnTo>
                    <a:pt x="2262" y="1542"/>
                  </a:lnTo>
                  <a:lnTo>
                    <a:pt x="2269" y="1557"/>
                  </a:lnTo>
                  <a:lnTo>
                    <a:pt x="2272" y="1565"/>
                  </a:lnTo>
                  <a:lnTo>
                    <a:pt x="2273" y="1572"/>
                  </a:lnTo>
                  <a:lnTo>
                    <a:pt x="2274" y="1579"/>
                  </a:lnTo>
                  <a:lnTo>
                    <a:pt x="2274" y="1587"/>
                  </a:lnTo>
                  <a:lnTo>
                    <a:pt x="2270" y="1600"/>
                  </a:lnTo>
                  <a:lnTo>
                    <a:pt x="2267" y="1613"/>
                  </a:lnTo>
                  <a:lnTo>
                    <a:pt x="2262" y="1625"/>
                  </a:lnTo>
                  <a:lnTo>
                    <a:pt x="2257" y="1638"/>
                  </a:lnTo>
                  <a:lnTo>
                    <a:pt x="2255" y="1648"/>
                  </a:lnTo>
                  <a:lnTo>
                    <a:pt x="2255" y="1657"/>
                  </a:lnTo>
                  <a:lnTo>
                    <a:pt x="2256" y="1665"/>
                  </a:lnTo>
                  <a:lnTo>
                    <a:pt x="2258" y="1672"/>
                  </a:lnTo>
                  <a:lnTo>
                    <a:pt x="2265" y="1687"/>
                  </a:lnTo>
                  <a:lnTo>
                    <a:pt x="2269" y="1704"/>
                  </a:lnTo>
                  <a:lnTo>
                    <a:pt x="2280" y="1719"/>
                  </a:lnTo>
                  <a:lnTo>
                    <a:pt x="2296" y="1742"/>
                  </a:lnTo>
                  <a:lnTo>
                    <a:pt x="2302" y="1754"/>
                  </a:lnTo>
                  <a:lnTo>
                    <a:pt x="2305" y="1764"/>
                  </a:lnTo>
                  <a:lnTo>
                    <a:pt x="2306" y="1769"/>
                  </a:lnTo>
                  <a:lnTo>
                    <a:pt x="2306" y="1774"/>
                  </a:lnTo>
                  <a:lnTo>
                    <a:pt x="2305" y="1779"/>
                  </a:lnTo>
                  <a:lnTo>
                    <a:pt x="2303" y="1783"/>
                  </a:lnTo>
                  <a:lnTo>
                    <a:pt x="2296" y="1790"/>
                  </a:lnTo>
                  <a:lnTo>
                    <a:pt x="2286" y="1796"/>
                  </a:lnTo>
                  <a:lnTo>
                    <a:pt x="2276" y="1803"/>
                  </a:lnTo>
                  <a:lnTo>
                    <a:pt x="2267" y="1808"/>
                  </a:lnTo>
                  <a:lnTo>
                    <a:pt x="2261" y="1811"/>
                  </a:lnTo>
                  <a:lnTo>
                    <a:pt x="2258" y="1815"/>
                  </a:lnTo>
                  <a:lnTo>
                    <a:pt x="2256" y="1819"/>
                  </a:lnTo>
                  <a:lnTo>
                    <a:pt x="2253" y="1825"/>
                  </a:lnTo>
                  <a:lnTo>
                    <a:pt x="2251" y="1830"/>
                  </a:lnTo>
                  <a:lnTo>
                    <a:pt x="2249" y="1834"/>
                  </a:lnTo>
                  <a:lnTo>
                    <a:pt x="2247" y="1837"/>
                  </a:lnTo>
                  <a:lnTo>
                    <a:pt x="2244" y="1840"/>
                  </a:lnTo>
                  <a:lnTo>
                    <a:pt x="2243" y="1851"/>
                  </a:lnTo>
                  <a:lnTo>
                    <a:pt x="2238" y="1861"/>
                  </a:lnTo>
                  <a:lnTo>
                    <a:pt x="2233" y="1870"/>
                  </a:lnTo>
                  <a:lnTo>
                    <a:pt x="2227" y="1880"/>
                  </a:lnTo>
                  <a:lnTo>
                    <a:pt x="2220" y="1888"/>
                  </a:lnTo>
                  <a:lnTo>
                    <a:pt x="2211" y="1895"/>
                  </a:lnTo>
                  <a:lnTo>
                    <a:pt x="2202" y="1901"/>
                  </a:lnTo>
                  <a:lnTo>
                    <a:pt x="2192" y="1905"/>
                  </a:lnTo>
                  <a:lnTo>
                    <a:pt x="2182" y="1908"/>
                  </a:lnTo>
                  <a:lnTo>
                    <a:pt x="2175" y="1912"/>
                  </a:lnTo>
                  <a:lnTo>
                    <a:pt x="2171" y="1916"/>
                  </a:lnTo>
                  <a:lnTo>
                    <a:pt x="2168" y="1922"/>
                  </a:lnTo>
                  <a:lnTo>
                    <a:pt x="2167" y="1927"/>
                  </a:lnTo>
                  <a:lnTo>
                    <a:pt x="2168" y="1932"/>
                  </a:lnTo>
                  <a:lnTo>
                    <a:pt x="2169" y="1938"/>
                  </a:lnTo>
                  <a:lnTo>
                    <a:pt x="2172" y="1946"/>
                  </a:lnTo>
                  <a:lnTo>
                    <a:pt x="2179" y="1959"/>
                  </a:lnTo>
                  <a:lnTo>
                    <a:pt x="2186" y="1973"/>
                  </a:lnTo>
                  <a:lnTo>
                    <a:pt x="2191" y="1980"/>
                  </a:lnTo>
                  <a:lnTo>
                    <a:pt x="2194" y="1987"/>
                  </a:lnTo>
                  <a:lnTo>
                    <a:pt x="2197" y="1995"/>
                  </a:lnTo>
                  <a:lnTo>
                    <a:pt x="2198" y="2001"/>
                  </a:lnTo>
                  <a:lnTo>
                    <a:pt x="2199" y="2015"/>
                  </a:lnTo>
                  <a:lnTo>
                    <a:pt x="2198" y="2029"/>
                  </a:lnTo>
                  <a:lnTo>
                    <a:pt x="2197" y="2044"/>
                  </a:lnTo>
                  <a:lnTo>
                    <a:pt x="2198" y="2058"/>
                  </a:lnTo>
                  <a:lnTo>
                    <a:pt x="2202" y="2073"/>
                  </a:lnTo>
                  <a:lnTo>
                    <a:pt x="2207" y="2086"/>
                  </a:lnTo>
                  <a:lnTo>
                    <a:pt x="2212" y="2099"/>
                  </a:lnTo>
                  <a:lnTo>
                    <a:pt x="2217" y="2114"/>
                  </a:lnTo>
                  <a:lnTo>
                    <a:pt x="2217" y="2114"/>
                  </a:lnTo>
                  <a:lnTo>
                    <a:pt x="2201" y="2134"/>
                  </a:lnTo>
                  <a:lnTo>
                    <a:pt x="2188" y="2154"/>
                  </a:lnTo>
                  <a:lnTo>
                    <a:pt x="2183" y="2164"/>
                  </a:lnTo>
                  <a:lnTo>
                    <a:pt x="2178" y="2174"/>
                  </a:lnTo>
                  <a:lnTo>
                    <a:pt x="2174" y="2183"/>
                  </a:lnTo>
                  <a:lnTo>
                    <a:pt x="2171" y="2194"/>
                  </a:lnTo>
                  <a:lnTo>
                    <a:pt x="2168" y="2204"/>
                  </a:lnTo>
                  <a:lnTo>
                    <a:pt x="2166" y="2215"/>
                  </a:lnTo>
                  <a:lnTo>
                    <a:pt x="2163" y="2226"/>
                  </a:lnTo>
                  <a:lnTo>
                    <a:pt x="2162" y="2238"/>
                  </a:lnTo>
                  <a:lnTo>
                    <a:pt x="2161" y="2262"/>
                  </a:lnTo>
                  <a:lnTo>
                    <a:pt x="2161" y="2289"/>
                  </a:lnTo>
                  <a:lnTo>
                    <a:pt x="2163" y="2316"/>
                  </a:lnTo>
                  <a:lnTo>
                    <a:pt x="2168" y="2342"/>
                  </a:lnTo>
                  <a:lnTo>
                    <a:pt x="2173" y="2368"/>
                  </a:lnTo>
                  <a:lnTo>
                    <a:pt x="2180" y="2394"/>
                  </a:lnTo>
                  <a:lnTo>
                    <a:pt x="2188" y="2418"/>
                  </a:lnTo>
                  <a:lnTo>
                    <a:pt x="2195" y="2437"/>
                  </a:lnTo>
                  <a:lnTo>
                    <a:pt x="2195" y="2441"/>
                  </a:lnTo>
                  <a:lnTo>
                    <a:pt x="2195" y="2445"/>
                  </a:lnTo>
                  <a:lnTo>
                    <a:pt x="2194" y="2449"/>
                  </a:lnTo>
                  <a:lnTo>
                    <a:pt x="2192" y="2454"/>
                  </a:lnTo>
                  <a:lnTo>
                    <a:pt x="2188" y="2458"/>
                  </a:lnTo>
                  <a:lnTo>
                    <a:pt x="2185" y="2462"/>
                  </a:lnTo>
                  <a:lnTo>
                    <a:pt x="2180" y="2466"/>
                  </a:lnTo>
                  <a:lnTo>
                    <a:pt x="2173" y="2470"/>
                  </a:lnTo>
                  <a:lnTo>
                    <a:pt x="2172" y="2477"/>
                  </a:lnTo>
                  <a:lnTo>
                    <a:pt x="2169" y="2482"/>
                  </a:lnTo>
                  <a:lnTo>
                    <a:pt x="2164" y="2486"/>
                  </a:lnTo>
                  <a:lnTo>
                    <a:pt x="2159" y="2490"/>
                  </a:lnTo>
                  <a:lnTo>
                    <a:pt x="2153" y="2493"/>
                  </a:lnTo>
                  <a:lnTo>
                    <a:pt x="2147" y="2494"/>
                  </a:lnTo>
                  <a:lnTo>
                    <a:pt x="2139" y="2496"/>
                  </a:lnTo>
                  <a:lnTo>
                    <a:pt x="2132" y="2496"/>
                  </a:lnTo>
                  <a:lnTo>
                    <a:pt x="2116" y="2497"/>
                  </a:lnTo>
                  <a:lnTo>
                    <a:pt x="2102" y="2496"/>
                  </a:lnTo>
                  <a:lnTo>
                    <a:pt x="2088" y="2494"/>
                  </a:lnTo>
                  <a:lnTo>
                    <a:pt x="2078" y="2493"/>
                  </a:lnTo>
                  <a:lnTo>
                    <a:pt x="2074" y="2485"/>
                  </a:lnTo>
                  <a:lnTo>
                    <a:pt x="2072" y="2476"/>
                  </a:lnTo>
                  <a:lnTo>
                    <a:pt x="2070" y="2465"/>
                  </a:lnTo>
                  <a:lnTo>
                    <a:pt x="2069" y="2455"/>
                  </a:lnTo>
                  <a:lnTo>
                    <a:pt x="2067" y="2434"/>
                  </a:lnTo>
                  <a:lnTo>
                    <a:pt x="2069" y="2411"/>
                  </a:lnTo>
                  <a:lnTo>
                    <a:pt x="2070" y="2389"/>
                  </a:lnTo>
                  <a:lnTo>
                    <a:pt x="2071" y="2366"/>
                  </a:lnTo>
                  <a:lnTo>
                    <a:pt x="2071" y="2355"/>
                  </a:lnTo>
                  <a:lnTo>
                    <a:pt x="2070" y="2344"/>
                  </a:lnTo>
                  <a:lnTo>
                    <a:pt x="2069" y="2334"/>
                  </a:lnTo>
                  <a:lnTo>
                    <a:pt x="2066" y="2323"/>
                  </a:lnTo>
                  <a:lnTo>
                    <a:pt x="2063" y="2323"/>
                  </a:lnTo>
                  <a:lnTo>
                    <a:pt x="2059" y="2324"/>
                  </a:lnTo>
                  <a:lnTo>
                    <a:pt x="2053" y="2325"/>
                  </a:lnTo>
                  <a:lnTo>
                    <a:pt x="2047" y="2327"/>
                  </a:lnTo>
                  <a:lnTo>
                    <a:pt x="2031" y="2334"/>
                  </a:lnTo>
                  <a:lnTo>
                    <a:pt x="2015" y="2341"/>
                  </a:lnTo>
                  <a:lnTo>
                    <a:pt x="2000" y="2348"/>
                  </a:lnTo>
                  <a:lnTo>
                    <a:pt x="1986" y="2356"/>
                  </a:lnTo>
                  <a:lnTo>
                    <a:pt x="1976" y="2362"/>
                  </a:lnTo>
                  <a:lnTo>
                    <a:pt x="1972" y="2365"/>
                  </a:lnTo>
                  <a:lnTo>
                    <a:pt x="1967" y="2384"/>
                  </a:lnTo>
                  <a:lnTo>
                    <a:pt x="1965" y="2398"/>
                  </a:lnTo>
                  <a:lnTo>
                    <a:pt x="1963" y="2401"/>
                  </a:lnTo>
                  <a:lnTo>
                    <a:pt x="1961" y="2404"/>
                  </a:lnTo>
                  <a:lnTo>
                    <a:pt x="1959" y="2406"/>
                  </a:lnTo>
                  <a:lnTo>
                    <a:pt x="1956" y="2408"/>
                  </a:lnTo>
                  <a:lnTo>
                    <a:pt x="1951" y="2409"/>
                  </a:lnTo>
                  <a:lnTo>
                    <a:pt x="1946" y="2410"/>
                  </a:lnTo>
                  <a:lnTo>
                    <a:pt x="1939" y="2411"/>
                  </a:lnTo>
                  <a:lnTo>
                    <a:pt x="1932" y="2411"/>
                  </a:lnTo>
                  <a:lnTo>
                    <a:pt x="1915" y="2411"/>
                  </a:lnTo>
                  <a:lnTo>
                    <a:pt x="1901" y="2411"/>
                  </a:lnTo>
                  <a:lnTo>
                    <a:pt x="1888" y="2411"/>
                  </a:lnTo>
                  <a:lnTo>
                    <a:pt x="1878" y="2414"/>
                  </a:lnTo>
                  <a:lnTo>
                    <a:pt x="1873" y="2415"/>
                  </a:lnTo>
                  <a:lnTo>
                    <a:pt x="1869" y="2418"/>
                  </a:lnTo>
                  <a:lnTo>
                    <a:pt x="1865" y="2421"/>
                  </a:lnTo>
                  <a:lnTo>
                    <a:pt x="1862" y="2425"/>
                  </a:lnTo>
                  <a:lnTo>
                    <a:pt x="1860" y="2432"/>
                  </a:lnTo>
                  <a:lnTo>
                    <a:pt x="1857" y="2438"/>
                  </a:lnTo>
                  <a:lnTo>
                    <a:pt x="1855" y="2445"/>
                  </a:lnTo>
                  <a:lnTo>
                    <a:pt x="1854" y="2455"/>
                  </a:lnTo>
                  <a:lnTo>
                    <a:pt x="1853" y="2462"/>
                  </a:lnTo>
                  <a:lnTo>
                    <a:pt x="1854" y="2468"/>
                  </a:lnTo>
                  <a:lnTo>
                    <a:pt x="1857" y="2476"/>
                  </a:lnTo>
                  <a:lnTo>
                    <a:pt x="1860" y="2481"/>
                  </a:lnTo>
                  <a:lnTo>
                    <a:pt x="1868" y="2492"/>
                  </a:lnTo>
                  <a:lnTo>
                    <a:pt x="1879" y="2503"/>
                  </a:lnTo>
                  <a:lnTo>
                    <a:pt x="1889" y="2512"/>
                  </a:lnTo>
                  <a:lnTo>
                    <a:pt x="1898" y="2522"/>
                  </a:lnTo>
                  <a:lnTo>
                    <a:pt x="1901" y="2528"/>
                  </a:lnTo>
                  <a:lnTo>
                    <a:pt x="1903" y="2533"/>
                  </a:lnTo>
                  <a:lnTo>
                    <a:pt x="1904" y="2538"/>
                  </a:lnTo>
                  <a:lnTo>
                    <a:pt x="1903" y="2544"/>
                  </a:lnTo>
                  <a:lnTo>
                    <a:pt x="1875" y="2549"/>
                  </a:lnTo>
                  <a:lnTo>
                    <a:pt x="1841" y="2553"/>
                  </a:lnTo>
                  <a:lnTo>
                    <a:pt x="1833" y="2555"/>
                  </a:lnTo>
                  <a:lnTo>
                    <a:pt x="1826" y="2558"/>
                  </a:lnTo>
                  <a:lnTo>
                    <a:pt x="1819" y="2560"/>
                  </a:lnTo>
                  <a:lnTo>
                    <a:pt x="1813" y="2564"/>
                  </a:lnTo>
                  <a:lnTo>
                    <a:pt x="1807" y="2568"/>
                  </a:lnTo>
                  <a:lnTo>
                    <a:pt x="1803" y="2573"/>
                  </a:lnTo>
                  <a:lnTo>
                    <a:pt x="1800" y="2579"/>
                  </a:lnTo>
                  <a:lnTo>
                    <a:pt x="1797" y="2586"/>
                  </a:lnTo>
                  <a:lnTo>
                    <a:pt x="1797" y="2590"/>
                  </a:lnTo>
                  <a:lnTo>
                    <a:pt x="1797" y="2596"/>
                  </a:lnTo>
                  <a:lnTo>
                    <a:pt x="1797" y="2600"/>
                  </a:lnTo>
                  <a:lnTo>
                    <a:pt x="1798" y="2603"/>
                  </a:lnTo>
                  <a:lnTo>
                    <a:pt x="1801" y="2606"/>
                  </a:lnTo>
                  <a:lnTo>
                    <a:pt x="1803" y="2609"/>
                  </a:lnTo>
                  <a:lnTo>
                    <a:pt x="1805" y="2612"/>
                  </a:lnTo>
                  <a:lnTo>
                    <a:pt x="1808" y="2614"/>
                  </a:lnTo>
                  <a:lnTo>
                    <a:pt x="1815" y="2618"/>
                  </a:lnTo>
                  <a:lnTo>
                    <a:pt x="1824" y="2623"/>
                  </a:lnTo>
                  <a:lnTo>
                    <a:pt x="1833" y="2625"/>
                  </a:lnTo>
                  <a:lnTo>
                    <a:pt x="1843" y="2628"/>
                  </a:lnTo>
                  <a:lnTo>
                    <a:pt x="1864" y="2632"/>
                  </a:lnTo>
                  <a:lnTo>
                    <a:pt x="1885" y="2638"/>
                  </a:lnTo>
                  <a:lnTo>
                    <a:pt x="1893" y="2641"/>
                  </a:lnTo>
                  <a:lnTo>
                    <a:pt x="1902" y="2647"/>
                  </a:lnTo>
                  <a:lnTo>
                    <a:pt x="1909" y="2653"/>
                  </a:lnTo>
                  <a:lnTo>
                    <a:pt x="1914" y="2660"/>
                  </a:lnTo>
                  <a:lnTo>
                    <a:pt x="1914" y="2666"/>
                  </a:lnTo>
                  <a:lnTo>
                    <a:pt x="1915" y="2672"/>
                  </a:lnTo>
                  <a:lnTo>
                    <a:pt x="1916" y="2677"/>
                  </a:lnTo>
                  <a:lnTo>
                    <a:pt x="1919" y="2680"/>
                  </a:lnTo>
                  <a:lnTo>
                    <a:pt x="1923" y="2682"/>
                  </a:lnTo>
                  <a:lnTo>
                    <a:pt x="1926" y="2684"/>
                  </a:lnTo>
                  <a:lnTo>
                    <a:pt x="1930" y="2686"/>
                  </a:lnTo>
                  <a:lnTo>
                    <a:pt x="1933" y="2687"/>
                  </a:lnTo>
                  <a:lnTo>
                    <a:pt x="1941" y="2688"/>
                  </a:lnTo>
                  <a:lnTo>
                    <a:pt x="1950" y="2691"/>
                  </a:lnTo>
                  <a:lnTo>
                    <a:pt x="1953" y="2693"/>
                  </a:lnTo>
                  <a:lnTo>
                    <a:pt x="1956" y="2696"/>
                  </a:lnTo>
                  <a:lnTo>
                    <a:pt x="1959" y="2699"/>
                  </a:lnTo>
                  <a:lnTo>
                    <a:pt x="1960" y="2703"/>
                  </a:lnTo>
                  <a:lnTo>
                    <a:pt x="1961" y="2710"/>
                  </a:lnTo>
                  <a:lnTo>
                    <a:pt x="1961" y="2718"/>
                  </a:lnTo>
                  <a:lnTo>
                    <a:pt x="1959" y="2726"/>
                  </a:lnTo>
                  <a:lnTo>
                    <a:pt x="1957" y="2734"/>
                  </a:lnTo>
                  <a:lnTo>
                    <a:pt x="1953" y="2751"/>
                  </a:lnTo>
                  <a:lnTo>
                    <a:pt x="1951" y="2766"/>
                  </a:lnTo>
                  <a:lnTo>
                    <a:pt x="1951" y="2771"/>
                  </a:lnTo>
                  <a:lnTo>
                    <a:pt x="1953" y="2776"/>
                  </a:lnTo>
                  <a:lnTo>
                    <a:pt x="1956" y="2781"/>
                  </a:lnTo>
                  <a:lnTo>
                    <a:pt x="1960" y="2786"/>
                  </a:lnTo>
                  <a:lnTo>
                    <a:pt x="1969" y="2799"/>
                  </a:lnTo>
                  <a:lnTo>
                    <a:pt x="1982" y="2811"/>
                  </a:lnTo>
                  <a:lnTo>
                    <a:pt x="2007" y="2834"/>
                  </a:lnTo>
                  <a:lnTo>
                    <a:pt x="2026" y="2851"/>
                  </a:lnTo>
                  <a:lnTo>
                    <a:pt x="2032" y="2858"/>
                  </a:lnTo>
                  <a:lnTo>
                    <a:pt x="2037" y="2867"/>
                  </a:lnTo>
                  <a:lnTo>
                    <a:pt x="2039" y="2871"/>
                  </a:lnTo>
                  <a:lnTo>
                    <a:pt x="2040" y="2875"/>
                  </a:lnTo>
                  <a:lnTo>
                    <a:pt x="2041" y="2879"/>
                  </a:lnTo>
                  <a:lnTo>
                    <a:pt x="2041" y="2883"/>
                  </a:lnTo>
                  <a:lnTo>
                    <a:pt x="2040" y="2887"/>
                  </a:lnTo>
                  <a:lnTo>
                    <a:pt x="2039" y="2890"/>
                  </a:lnTo>
                  <a:lnTo>
                    <a:pt x="2037" y="2893"/>
                  </a:lnTo>
                  <a:lnTo>
                    <a:pt x="2034" y="2895"/>
                  </a:lnTo>
                  <a:lnTo>
                    <a:pt x="2030" y="2896"/>
                  </a:lnTo>
                  <a:lnTo>
                    <a:pt x="2025" y="2896"/>
                  </a:lnTo>
                  <a:lnTo>
                    <a:pt x="2018" y="2896"/>
                  </a:lnTo>
                  <a:lnTo>
                    <a:pt x="2012" y="2894"/>
                  </a:lnTo>
                  <a:lnTo>
                    <a:pt x="1999" y="2891"/>
                  </a:lnTo>
                  <a:lnTo>
                    <a:pt x="1988" y="2888"/>
                  </a:lnTo>
                  <a:lnTo>
                    <a:pt x="1978" y="2887"/>
                  </a:lnTo>
                  <a:lnTo>
                    <a:pt x="1969" y="2886"/>
                  </a:lnTo>
                  <a:lnTo>
                    <a:pt x="1961" y="2887"/>
                  </a:lnTo>
                  <a:lnTo>
                    <a:pt x="1955" y="2888"/>
                  </a:lnTo>
                  <a:lnTo>
                    <a:pt x="1949" y="2890"/>
                  </a:lnTo>
                  <a:lnTo>
                    <a:pt x="1942" y="2893"/>
                  </a:lnTo>
                  <a:lnTo>
                    <a:pt x="1937" y="2897"/>
                  </a:lnTo>
                  <a:lnTo>
                    <a:pt x="1931" y="2901"/>
                  </a:lnTo>
                  <a:lnTo>
                    <a:pt x="1926" y="2906"/>
                  </a:lnTo>
                  <a:lnTo>
                    <a:pt x="1920" y="2913"/>
                  </a:lnTo>
                  <a:lnTo>
                    <a:pt x="1907" y="2927"/>
                  </a:lnTo>
                  <a:lnTo>
                    <a:pt x="1891" y="2943"/>
                  </a:lnTo>
                  <a:lnTo>
                    <a:pt x="1886" y="2950"/>
                  </a:lnTo>
                  <a:lnTo>
                    <a:pt x="1883" y="2958"/>
                  </a:lnTo>
                  <a:lnTo>
                    <a:pt x="1882" y="2964"/>
                  </a:lnTo>
                  <a:lnTo>
                    <a:pt x="1883" y="2969"/>
                  </a:lnTo>
                  <a:lnTo>
                    <a:pt x="1886" y="2975"/>
                  </a:lnTo>
                  <a:lnTo>
                    <a:pt x="1890" y="2980"/>
                  </a:lnTo>
                  <a:lnTo>
                    <a:pt x="1895" y="2987"/>
                  </a:lnTo>
                  <a:lnTo>
                    <a:pt x="1902" y="2992"/>
                  </a:lnTo>
                  <a:lnTo>
                    <a:pt x="1915" y="3003"/>
                  </a:lnTo>
                  <a:lnTo>
                    <a:pt x="1928" y="3017"/>
                  </a:lnTo>
                  <a:lnTo>
                    <a:pt x="1933" y="3023"/>
                  </a:lnTo>
                  <a:lnTo>
                    <a:pt x="1937" y="3031"/>
                  </a:lnTo>
                  <a:lnTo>
                    <a:pt x="1940" y="3039"/>
                  </a:lnTo>
                  <a:lnTo>
                    <a:pt x="1941" y="3047"/>
                  </a:lnTo>
                  <a:lnTo>
                    <a:pt x="1935" y="3051"/>
                  </a:lnTo>
                  <a:lnTo>
                    <a:pt x="1930" y="3058"/>
                  </a:lnTo>
                  <a:lnTo>
                    <a:pt x="1924" y="3065"/>
                  </a:lnTo>
                  <a:lnTo>
                    <a:pt x="1918" y="3073"/>
                  </a:lnTo>
                  <a:lnTo>
                    <a:pt x="1906" y="3089"/>
                  </a:lnTo>
                  <a:lnTo>
                    <a:pt x="1893" y="3104"/>
                  </a:lnTo>
                  <a:lnTo>
                    <a:pt x="1887" y="3110"/>
                  </a:lnTo>
                  <a:lnTo>
                    <a:pt x="1880" y="3115"/>
                  </a:lnTo>
                  <a:lnTo>
                    <a:pt x="1874" y="3118"/>
                  </a:lnTo>
                  <a:lnTo>
                    <a:pt x="1865" y="3118"/>
                  </a:lnTo>
                  <a:lnTo>
                    <a:pt x="1862" y="3118"/>
                  </a:lnTo>
                  <a:lnTo>
                    <a:pt x="1858" y="3117"/>
                  </a:lnTo>
                  <a:lnTo>
                    <a:pt x="1854" y="3115"/>
                  </a:lnTo>
                  <a:lnTo>
                    <a:pt x="1850" y="3113"/>
                  </a:lnTo>
                  <a:lnTo>
                    <a:pt x="1840" y="3106"/>
                  </a:lnTo>
                  <a:lnTo>
                    <a:pt x="1831" y="3095"/>
                  </a:lnTo>
                  <a:lnTo>
                    <a:pt x="1827" y="3089"/>
                  </a:lnTo>
                  <a:lnTo>
                    <a:pt x="1822" y="3086"/>
                  </a:lnTo>
                  <a:lnTo>
                    <a:pt x="1818" y="3083"/>
                  </a:lnTo>
                  <a:lnTo>
                    <a:pt x="1815" y="3082"/>
                  </a:lnTo>
                  <a:lnTo>
                    <a:pt x="1812" y="3082"/>
                  </a:lnTo>
                  <a:lnTo>
                    <a:pt x="1810" y="3083"/>
                  </a:lnTo>
                  <a:lnTo>
                    <a:pt x="1807" y="3085"/>
                  </a:lnTo>
                  <a:lnTo>
                    <a:pt x="1805" y="3087"/>
                  </a:lnTo>
                  <a:lnTo>
                    <a:pt x="1797" y="3101"/>
                  </a:lnTo>
                  <a:lnTo>
                    <a:pt x="1790" y="3114"/>
                  </a:lnTo>
                  <a:lnTo>
                    <a:pt x="1788" y="3117"/>
                  </a:lnTo>
                  <a:lnTo>
                    <a:pt x="1785" y="3119"/>
                  </a:lnTo>
                  <a:lnTo>
                    <a:pt x="1782" y="3120"/>
                  </a:lnTo>
                  <a:lnTo>
                    <a:pt x="1780" y="3121"/>
                  </a:lnTo>
                  <a:lnTo>
                    <a:pt x="1773" y="3121"/>
                  </a:lnTo>
                  <a:lnTo>
                    <a:pt x="1767" y="3120"/>
                  </a:lnTo>
                  <a:lnTo>
                    <a:pt x="1755" y="3115"/>
                  </a:lnTo>
                  <a:lnTo>
                    <a:pt x="1741" y="3111"/>
                  </a:lnTo>
                  <a:lnTo>
                    <a:pt x="1735" y="3110"/>
                  </a:lnTo>
                  <a:lnTo>
                    <a:pt x="1729" y="3110"/>
                  </a:lnTo>
                  <a:lnTo>
                    <a:pt x="1723" y="3111"/>
                  </a:lnTo>
                  <a:lnTo>
                    <a:pt x="1717" y="3112"/>
                  </a:lnTo>
                  <a:lnTo>
                    <a:pt x="1706" y="3116"/>
                  </a:lnTo>
                  <a:lnTo>
                    <a:pt x="1695" y="3121"/>
                  </a:lnTo>
                  <a:lnTo>
                    <a:pt x="1685" y="3128"/>
                  </a:lnTo>
                  <a:lnTo>
                    <a:pt x="1674" y="3132"/>
                  </a:lnTo>
                  <a:lnTo>
                    <a:pt x="1669" y="3134"/>
                  </a:lnTo>
                  <a:lnTo>
                    <a:pt x="1664" y="3135"/>
                  </a:lnTo>
                  <a:lnTo>
                    <a:pt x="1659" y="3135"/>
                  </a:lnTo>
                  <a:lnTo>
                    <a:pt x="1654" y="3135"/>
                  </a:lnTo>
                  <a:lnTo>
                    <a:pt x="1649" y="3133"/>
                  </a:lnTo>
                  <a:lnTo>
                    <a:pt x="1644" y="3131"/>
                  </a:lnTo>
                  <a:lnTo>
                    <a:pt x="1638" y="3128"/>
                  </a:lnTo>
                  <a:lnTo>
                    <a:pt x="1633" y="3123"/>
                  </a:lnTo>
                  <a:lnTo>
                    <a:pt x="1619" y="3114"/>
                  </a:lnTo>
                  <a:lnTo>
                    <a:pt x="1606" y="3103"/>
                  </a:lnTo>
                  <a:lnTo>
                    <a:pt x="1592" y="3091"/>
                  </a:lnTo>
                  <a:lnTo>
                    <a:pt x="1578" y="3081"/>
                  </a:lnTo>
                  <a:lnTo>
                    <a:pt x="1565" y="3071"/>
                  </a:lnTo>
                  <a:lnTo>
                    <a:pt x="1553" y="3065"/>
                  </a:lnTo>
                  <a:lnTo>
                    <a:pt x="1536" y="3058"/>
                  </a:lnTo>
                  <a:lnTo>
                    <a:pt x="1521" y="3052"/>
                  </a:lnTo>
                  <a:lnTo>
                    <a:pt x="1507" y="3049"/>
                  </a:lnTo>
                  <a:lnTo>
                    <a:pt x="1493" y="3046"/>
                  </a:lnTo>
                  <a:lnTo>
                    <a:pt x="1479" y="3044"/>
                  </a:lnTo>
                  <a:lnTo>
                    <a:pt x="1465" y="3043"/>
                  </a:lnTo>
                  <a:lnTo>
                    <a:pt x="1448" y="3043"/>
                  </a:lnTo>
                  <a:lnTo>
                    <a:pt x="1429" y="3042"/>
                  </a:lnTo>
                  <a:lnTo>
                    <a:pt x="1426" y="3047"/>
                  </a:lnTo>
                  <a:lnTo>
                    <a:pt x="1424" y="3053"/>
                  </a:lnTo>
                  <a:lnTo>
                    <a:pt x="1422" y="3060"/>
                  </a:lnTo>
                  <a:lnTo>
                    <a:pt x="1420" y="3067"/>
                  </a:lnTo>
                  <a:lnTo>
                    <a:pt x="1419" y="3082"/>
                  </a:lnTo>
                  <a:lnTo>
                    <a:pt x="1419" y="3098"/>
                  </a:lnTo>
                  <a:lnTo>
                    <a:pt x="1421" y="3114"/>
                  </a:lnTo>
                  <a:lnTo>
                    <a:pt x="1425" y="3130"/>
                  </a:lnTo>
                  <a:lnTo>
                    <a:pt x="1429" y="3143"/>
                  </a:lnTo>
                  <a:lnTo>
                    <a:pt x="1436" y="3154"/>
                  </a:lnTo>
                  <a:lnTo>
                    <a:pt x="1437" y="3161"/>
                  </a:lnTo>
                  <a:lnTo>
                    <a:pt x="1438" y="3170"/>
                  </a:lnTo>
                  <a:lnTo>
                    <a:pt x="1441" y="3179"/>
                  </a:lnTo>
                  <a:lnTo>
                    <a:pt x="1444" y="3188"/>
                  </a:lnTo>
                  <a:lnTo>
                    <a:pt x="1452" y="3206"/>
                  </a:lnTo>
                  <a:lnTo>
                    <a:pt x="1462" y="3220"/>
                  </a:lnTo>
                  <a:lnTo>
                    <a:pt x="1471" y="3233"/>
                  </a:lnTo>
                  <a:lnTo>
                    <a:pt x="1482" y="3248"/>
                  </a:lnTo>
                  <a:lnTo>
                    <a:pt x="1485" y="3256"/>
                  </a:lnTo>
                  <a:lnTo>
                    <a:pt x="1487" y="3263"/>
                  </a:lnTo>
                  <a:lnTo>
                    <a:pt x="1487" y="3267"/>
                  </a:lnTo>
                  <a:lnTo>
                    <a:pt x="1486" y="3270"/>
                  </a:lnTo>
                  <a:lnTo>
                    <a:pt x="1484" y="3274"/>
                  </a:lnTo>
                  <a:lnTo>
                    <a:pt x="1480" y="3278"/>
                  </a:lnTo>
                  <a:lnTo>
                    <a:pt x="1473" y="3278"/>
                  </a:lnTo>
                  <a:lnTo>
                    <a:pt x="1465" y="3277"/>
                  </a:lnTo>
                  <a:lnTo>
                    <a:pt x="1457" y="3275"/>
                  </a:lnTo>
                  <a:lnTo>
                    <a:pt x="1448" y="3272"/>
                  </a:lnTo>
                  <a:lnTo>
                    <a:pt x="1431" y="3263"/>
                  </a:lnTo>
                  <a:lnTo>
                    <a:pt x="1417" y="3257"/>
                  </a:lnTo>
                  <a:lnTo>
                    <a:pt x="1400" y="3252"/>
                  </a:lnTo>
                  <a:lnTo>
                    <a:pt x="1375" y="3243"/>
                  </a:lnTo>
                  <a:lnTo>
                    <a:pt x="1346" y="3236"/>
                  </a:lnTo>
                  <a:lnTo>
                    <a:pt x="1315" y="3229"/>
                  </a:lnTo>
                  <a:lnTo>
                    <a:pt x="1298" y="3226"/>
                  </a:lnTo>
                  <a:lnTo>
                    <a:pt x="1283" y="3224"/>
                  </a:lnTo>
                  <a:lnTo>
                    <a:pt x="1268" y="3224"/>
                  </a:lnTo>
                  <a:lnTo>
                    <a:pt x="1254" y="3224"/>
                  </a:lnTo>
                  <a:lnTo>
                    <a:pt x="1242" y="3226"/>
                  </a:lnTo>
                  <a:lnTo>
                    <a:pt x="1231" y="3229"/>
                  </a:lnTo>
                  <a:lnTo>
                    <a:pt x="1227" y="3231"/>
                  </a:lnTo>
                  <a:lnTo>
                    <a:pt x="1223" y="3234"/>
                  </a:lnTo>
                  <a:lnTo>
                    <a:pt x="1219" y="3237"/>
                  </a:lnTo>
                  <a:lnTo>
                    <a:pt x="1217" y="3241"/>
                  </a:lnTo>
                  <a:lnTo>
                    <a:pt x="1211" y="3243"/>
                  </a:lnTo>
                  <a:lnTo>
                    <a:pt x="1207" y="3245"/>
                  </a:lnTo>
                  <a:lnTo>
                    <a:pt x="1204" y="3249"/>
                  </a:lnTo>
                  <a:lnTo>
                    <a:pt x="1202" y="3252"/>
                  </a:lnTo>
                  <a:lnTo>
                    <a:pt x="1200" y="3255"/>
                  </a:lnTo>
                  <a:lnTo>
                    <a:pt x="1199" y="3258"/>
                  </a:lnTo>
                  <a:lnTo>
                    <a:pt x="1199" y="3262"/>
                  </a:lnTo>
                  <a:lnTo>
                    <a:pt x="1199" y="3265"/>
                  </a:lnTo>
                  <a:lnTo>
                    <a:pt x="1201" y="3274"/>
                  </a:lnTo>
                  <a:lnTo>
                    <a:pt x="1204" y="3281"/>
                  </a:lnTo>
                  <a:lnTo>
                    <a:pt x="1209" y="3289"/>
                  </a:lnTo>
                  <a:lnTo>
                    <a:pt x="1216" y="3298"/>
                  </a:lnTo>
                  <a:lnTo>
                    <a:pt x="1229" y="3314"/>
                  </a:lnTo>
                  <a:lnTo>
                    <a:pt x="1244" y="3328"/>
                  </a:lnTo>
                  <a:lnTo>
                    <a:pt x="1256" y="3339"/>
                  </a:lnTo>
                  <a:lnTo>
                    <a:pt x="1264" y="3346"/>
                  </a:lnTo>
                  <a:lnTo>
                    <a:pt x="1268" y="3351"/>
                  </a:lnTo>
                  <a:lnTo>
                    <a:pt x="1272" y="3355"/>
                  </a:lnTo>
                  <a:lnTo>
                    <a:pt x="1274" y="3360"/>
                  </a:lnTo>
                  <a:lnTo>
                    <a:pt x="1276" y="3365"/>
                  </a:lnTo>
                  <a:lnTo>
                    <a:pt x="1279" y="3376"/>
                  </a:lnTo>
                  <a:lnTo>
                    <a:pt x="1279" y="3387"/>
                  </a:lnTo>
                  <a:lnTo>
                    <a:pt x="1277" y="3410"/>
                  </a:lnTo>
                  <a:lnTo>
                    <a:pt x="1275" y="3434"/>
                  </a:lnTo>
                  <a:lnTo>
                    <a:pt x="1275" y="3450"/>
                  </a:lnTo>
                  <a:lnTo>
                    <a:pt x="1274" y="3466"/>
                  </a:lnTo>
                  <a:lnTo>
                    <a:pt x="1274" y="3482"/>
                  </a:lnTo>
                  <a:lnTo>
                    <a:pt x="1272" y="3498"/>
                  </a:lnTo>
                  <a:lnTo>
                    <a:pt x="1271" y="3505"/>
                  </a:lnTo>
                  <a:lnTo>
                    <a:pt x="1271" y="3511"/>
                  </a:lnTo>
                  <a:lnTo>
                    <a:pt x="1271" y="3517"/>
                  </a:lnTo>
                  <a:lnTo>
                    <a:pt x="1273" y="3521"/>
                  </a:lnTo>
                  <a:lnTo>
                    <a:pt x="1275" y="3525"/>
                  </a:lnTo>
                  <a:lnTo>
                    <a:pt x="1278" y="3528"/>
                  </a:lnTo>
                  <a:lnTo>
                    <a:pt x="1280" y="3531"/>
                  </a:lnTo>
                  <a:lnTo>
                    <a:pt x="1284" y="3534"/>
                  </a:lnTo>
                  <a:lnTo>
                    <a:pt x="1291" y="3540"/>
                  </a:lnTo>
                  <a:lnTo>
                    <a:pt x="1297" y="3545"/>
                  </a:lnTo>
                  <a:lnTo>
                    <a:pt x="1300" y="3548"/>
                  </a:lnTo>
                  <a:lnTo>
                    <a:pt x="1302" y="3552"/>
                  </a:lnTo>
                  <a:lnTo>
                    <a:pt x="1304" y="3555"/>
                  </a:lnTo>
                  <a:lnTo>
                    <a:pt x="1305" y="3561"/>
                  </a:lnTo>
                  <a:lnTo>
                    <a:pt x="1308" y="3564"/>
                  </a:lnTo>
                  <a:lnTo>
                    <a:pt x="1311" y="3567"/>
                  </a:lnTo>
                  <a:lnTo>
                    <a:pt x="1311" y="3570"/>
                  </a:lnTo>
                  <a:lnTo>
                    <a:pt x="1311" y="3574"/>
                  </a:lnTo>
                  <a:lnTo>
                    <a:pt x="1307" y="3582"/>
                  </a:lnTo>
                  <a:lnTo>
                    <a:pt x="1302" y="3592"/>
                  </a:lnTo>
                  <a:lnTo>
                    <a:pt x="1290" y="3609"/>
                  </a:lnTo>
                  <a:lnTo>
                    <a:pt x="1281" y="3622"/>
                  </a:lnTo>
                  <a:lnTo>
                    <a:pt x="1279" y="3631"/>
                  </a:lnTo>
                  <a:lnTo>
                    <a:pt x="1279" y="3640"/>
                  </a:lnTo>
                  <a:lnTo>
                    <a:pt x="1280" y="3648"/>
                  </a:lnTo>
                  <a:lnTo>
                    <a:pt x="1281" y="3656"/>
                  </a:lnTo>
                  <a:lnTo>
                    <a:pt x="1286" y="3673"/>
                  </a:lnTo>
                  <a:lnTo>
                    <a:pt x="1288" y="3691"/>
                  </a:lnTo>
                  <a:lnTo>
                    <a:pt x="1288" y="3691"/>
                  </a:lnTo>
                  <a:lnTo>
                    <a:pt x="1281" y="3697"/>
                  </a:lnTo>
                  <a:lnTo>
                    <a:pt x="1277" y="3703"/>
                  </a:lnTo>
                  <a:lnTo>
                    <a:pt x="1273" y="3711"/>
                  </a:lnTo>
                  <a:lnTo>
                    <a:pt x="1271" y="3717"/>
                  </a:lnTo>
                  <a:lnTo>
                    <a:pt x="1267" y="3731"/>
                  </a:lnTo>
                  <a:lnTo>
                    <a:pt x="1264" y="3744"/>
                  </a:lnTo>
                  <a:lnTo>
                    <a:pt x="1262" y="3750"/>
                  </a:lnTo>
                  <a:lnTo>
                    <a:pt x="1259" y="3757"/>
                  </a:lnTo>
                  <a:lnTo>
                    <a:pt x="1256" y="3764"/>
                  </a:lnTo>
                  <a:lnTo>
                    <a:pt x="1253" y="3770"/>
                  </a:lnTo>
                  <a:lnTo>
                    <a:pt x="1248" y="3776"/>
                  </a:lnTo>
                  <a:lnTo>
                    <a:pt x="1243" y="3783"/>
                  </a:lnTo>
                  <a:lnTo>
                    <a:pt x="1235" y="3789"/>
                  </a:lnTo>
                  <a:lnTo>
                    <a:pt x="1226" y="3794"/>
                  </a:lnTo>
                  <a:lnTo>
                    <a:pt x="1218" y="3799"/>
                  </a:lnTo>
                  <a:lnTo>
                    <a:pt x="1208" y="3802"/>
                  </a:lnTo>
                  <a:lnTo>
                    <a:pt x="1200" y="3802"/>
                  </a:lnTo>
                  <a:lnTo>
                    <a:pt x="1191" y="3800"/>
                  </a:lnTo>
                  <a:lnTo>
                    <a:pt x="1174" y="3797"/>
                  </a:lnTo>
                  <a:lnTo>
                    <a:pt x="1155" y="3794"/>
                  </a:lnTo>
                  <a:lnTo>
                    <a:pt x="1151" y="3792"/>
                  </a:lnTo>
                  <a:lnTo>
                    <a:pt x="1144" y="3792"/>
                  </a:lnTo>
                  <a:lnTo>
                    <a:pt x="1137" y="3792"/>
                  </a:lnTo>
                  <a:lnTo>
                    <a:pt x="1132" y="3793"/>
                  </a:lnTo>
                  <a:lnTo>
                    <a:pt x="1093" y="3817"/>
                  </a:lnTo>
                  <a:lnTo>
                    <a:pt x="1093" y="3817"/>
                  </a:lnTo>
                  <a:lnTo>
                    <a:pt x="1082" y="3799"/>
                  </a:lnTo>
                  <a:lnTo>
                    <a:pt x="1074" y="3783"/>
                  </a:lnTo>
                  <a:lnTo>
                    <a:pt x="1068" y="3768"/>
                  </a:lnTo>
                  <a:lnTo>
                    <a:pt x="1066" y="3759"/>
                  </a:lnTo>
                  <a:lnTo>
                    <a:pt x="1053" y="3750"/>
                  </a:lnTo>
                  <a:lnTo>
                    <a:pt x="1043" y="3741"/>
                  </a:lnTo>
                  <a:lnTo>
                    <a:pt x="1032" y="3728"/>
                  </a:lnTo>
                  <a:lnTo>
                    <a:pt x="1023" y="3716"/>
                  </a:lnTo>
                  <a:lnTo>
                    <a:pt x="1014" y="3700"/>
                  </a:lnTo>
                  <a:lnTo>
                    <a:pt x="1006" y="3685"/>
                  </a:lnTo>
                  <a:lnTo>
                    <a:pt x="998" y="3668"/>
                  </a:lnTo>
                  <a:lnTo>
                    <a:pt x="990" y="3651"/>
                  </a:lnTo>
                  <a:lnTo>
                    <a:pt x="978" y="3616"/>
                  </a:lnTo>
                  <a:lnTo>
                    <a:pt x="965" y="3581"/>
                  </a:lnTo>
                  <a:lnTo>
                    <a:pt x="955" y="3549"/>
                  </a:lnTo>
                  <a:lnTo>
                    <a:pt x="945" y="3522"/>
                  </a:lnTo>
                  <a:lnTo>
                    <a:pt x="930" y="3484"/>
                  </a:lnTo>
                  <a:lnTo>
                    <a:pt x="916" y="3448"/>
                  </a:lnTo>
                  <a:lnTo>
                    <a:pt x="904" y="3412"/>
                  </a:lnTo>
                  <a:lnTo>
                    <a:pt x="893" y="3377"/>
                  </a:lnTo>
                  <a:lnTo>
                    <a:pt x="882" y="3341"/>
                  </a:lnTo>
                  <a:lnTo>
                    <a:pt x="873" y="3306"/>
                  </a:lnTo>
                  <a:lnTo>
                    <a:pt x="863" y="3268"/>
                  </a:lnTo>
                  <a:lnTo>
                    <a:pt x="854" y="3230"/>
                  </a:lnTo>
                  <a:lnTo>
                    <a:pt x="849" y="3207"/>
                  </a:lnTo>
                  <a:lnTo>
                    <a:pt x="841" y="3185"/>
                  </a:lnTo>
                  <a:lnTo>
                    <a:pt x="833" y="3162"/>
                  </a:lnTo>
                  <a:lnTo>
                    <a:pt x="826" y="3139"/>
                  </a:lnTo>
                  <a:lnTo>
                    <a:pt x="818" y="3116"/>
                  </a:lnTo>
                  <a:lnTo>
                    <a:pt x="813" y="3093"/>
                  </a:lnTo>
                  <a:lnTo>
                    <a:pt x="812" y="3082"/>
                  </a:lnTo>
                  <a:lnTo>
                    <a:pt x="811" y="3070"/>
                  </a:lnTo>
                  <a:lnTo>
                    <a:pt x="811" y="3058"/>
                  </a:lnTo>
                  <a:lnTo>
                    <a:pt x="811" y="3046"/>
                  </a:lnTo>
                  <a:lnTo>
                    <a:pt x="807" y="3021"/>
                  </a:lnTo>
                  <a:lnTo>
                    <a:pt x="803" y="2997"/>
                  </a:lnTo>
                  <a:lnTo>
                    <a:pt x="798" y="2973"/>
                  </a:lnTo>
                  <a:lnTo>
                    <a:pt x="792" y="2950"/>
                  </a:lnTo>
                  <a:lnTo>
                    <a:pt x="786" y="2928"/>
                  </a:lnTo>
                  <a:lnTo>
                    <a:pt x="779" y="2906"/>
                  </a:lnTo>
                  <a:lnTo>
                    <a:pt x="774" y="2895"/>
                  </a:lnTo>
                  <a:lnTo>
                    <a:pt x="768" y="2883"/>
                  </a:lnTo>
                  <a:lnTo>
                    <a:pt x="762" y="2872"/>
                  </a:lnTo>
                  <a:lnTo>
                    <a:pt x="756" y="2860"/>
                  </a:lnTo>
                  <a:lnTo>
                    <a:pt x="744" y="2843"/>
                  </a:lnTo>
                  <a:lnTo>
                    <a:pt x="735" y="2824"/>
                  </a:lnTo>
                  <a:lnTo>
                    <a:pt x="727" y="2805"/>
                  </a:lnTo>
                  <a:lnTo>
                    <a:pt x="718" y="2785"/>
                  </a:lnTo>
                  <a:lnTo>
                    <a:pt x="712" y="2766"/>
                  </a:lnTo>
                  <a:lnTo>
                    <a:pt x="706" y="2746"/>
                  </a:lnTo>
                  <a:lnTo>
                    <a:pt x="702" y="2725"/>
                  </a:lnTo>
                  <a:lnTo>
                    <a:pt x="698" y="2704"/>
                  </a:lnTo>
                  <a:lnTo>
                    <a:pt x="695" y="2686"/>
                  </a:lnTo>
                  <a:lnTo>
                    <a:pt x="691" y="2670"/>
                  </a:lnTo>
                  <a:lnTo>
                    <a:pt x="686" y="2653"/>
                  </a:lnTo>
                  <a:lnTo>
                    <a:pt x="681" y="2636"/>
                  </a:lnTo>
                  <a:lnTo>
                    <a:pt x="668" y="2604"/>
                  </a:lnTo>
                  <a:lnTo>
                    <a:pt x="655" y="2572"/>
                  </a:lnTo>
                  <a:lnTo>
                    <a:pt x="640" y="2540"/>
                  </a:lnTo>
                  <a:lnTo>
                    <a:pt x="628" y="2509"/>
                  </a:lnTo>
                  <a:lnTo>
                    <a:pt x="621" y="2493"/>
                  </a:lnTo>
                  <a:lnTo>
                    <a:pt x="616" y="2478"/>
                  </a:lnTo>
                  <a:lnTo>
                    <a:pt x="612" y="2462"/>
                  </a:lnTo>
                  <a:lnTo>
                    <a:pt x="608" y="2445"/>
                  </a:lnTo>
                  <a:lnTo>
                    <a:pt x="607" y="2440"/>
                  </a:lnTo>
                  <a:lnTo>
                    <a:pt x="607" y="2436"/>
                  </a:lnTo>
                  <a:lnTo>
                    <a:pt x="607" y="2433"/>
                  </a:lnTo>
                  <a:lnTo>
                    <a:pt x="608" y="2430"/>
                  </a:lnTo>
                  <a:lnTo>
                    <a:pt x="609" y="2429"/>
                  </a:lnTo>
                  <a:lnTo>
                    <a:pt x="611" y="2428"/>
                  </a:lnTo>
                  <a:lnTo>
                    <a:pt x="613" y="2428"/>
                  </a:lnTo>
                  <a:lnTo>
                    <a:pt x="616" y="2429"/>
                  </a:lnTo>
                  <a:lnTo>
                    <a:pt x="622" y="2432"/>
                  </a:lnTo>
                  <a:lnTo>
                    <a:pt x="630" y="2438"/>
                  </a:lnTo>
                  <a:lnTo>
                    <a:pt x="638" y="2445"/>
                  </a:lnTo>
                  <a:lnTo>
                    <a:pt x="647" y="2455"/>
                  </a:lnTo>
                  <a:lnTo>
                    <a:pt x="666" y="2477"/>
                  </a:lnTo>
                  <a:lnTo>
                    <a:pt x="683" y="2500"/>
                  </a:lnTo>
                  <a:lnTo>
                    <a:pt x="690" y="2510"/>
                  </a:lnTo>
                  <a:lnTo>
                    <a:pt x="695" y="2519"/>
                  </a:lnTo>
                  <a:lnTo>
                    <a:pt x="700" y="2528"/>
                  </a:lnTo>
                  <a:lnTo>
                    <a:pt x="703" y="2535"/>
                  </a:lnTo>
                  <a:lnTo>
                    <a:pt x="707" y="2535"/>
                  </a:lnTo>
                  <a:lnTo>
                    <a:pt x="710" y="2526"/>
                  </a:lnTo>
                  <a:lnTo>
                    <a:pt x="713" y="2516"/>
                  </a:lnTo>
                  <a:lnTo>
                    <a:pt x="714" y="2508"/>
                  </a:lnTo>
                  <a:lnTo>
                    <a:pt x="715" y="2498"/>
                  </a:lnTo>
                  <a:lnTo>
                    <a:pt x="715" y="2490"/>
                  </a:lnTo>
                  <a:lnTo>
                    <a:pt x="714" y="2482"/>
                  </a:lnTo>
                  <a:lnTo>
                    <a:pt x="713" y="2473"/>
                  </a:lnTo>
                  <a:lnTo>
                    <a:pt x="711" y="2465"/>
                  </a:lnTo>
                  <a:lnTo>
                    <a:pt x="705" y="2449"/>
                  </a:lnTo>
                  <a:lnTo>
                    <a:pt x="697" y="2433"/>
                  </a:lnTo>
                  <a:lnTo>
                    <a:pt x="689" y="2415"/>
                  </a:lnTo>
                  <a:lnTo>
                    <a:pt x="681" y="2397"/>
                  </a:lnTo>
                  <a:lnTo>
                    <a:pt x="673" y="2383"/>
                  </a:lnTo>
                  <a:lnTo>
                    <a:pt x="665" y="2365"/>
                  </a:lnTo>
                  <a:lnTo>
                    <a:pt x="655" y="2348"/>
                  </a:lnTo>
                  <a:lnTo>
                    <a:pt x="642" y="2333"/>
                  </a:lnTo>
                  <a:lnTo>
                    <a:pt x="636" y="2326"/>
                  </a:lnTo>
                  <a:lnTo>
                    <a:pt x="630" y="2321"/>
                  </a:lnTo>
                  <a:lnTo>
                    <a:pt x="624" y="2318"/>
                  </a:lnTo>
                  <a:lnTo>
                    <a:pt x="618" y="2317"/>
                  </a:lnTo>
                  <a:lnTo>
                    <a:pt x="615" y="2317"/>
                  </a:lnTo>
                  <a:lnTo>
                    <a:pt x="612" y="2318"/>
                  </a:lnTo>
                  <a:lnTo>
                    <a:pt x="609" y="2319"/>
                  </a:lnTo>
                  <a:lnTo>
                    <a:pt x="607" y="2321"/>
                  </a:lnTo>
                  <a:lnTo>
                    <a:pt x="602" y="2328"/>
                  </a:lnTo>
                  <a:lnTo>
                    <a:pt x="596" y="2338"/>
                  </a:lnTo>
                  <a:lnTo>
                    <a:pt x="592" y="2348"/>
                  </a:lnTo>
                  <a:lnTo>
                    <a:pt x="588" y="2362"/>
                  </a:lnTo>
                  <a:lnTo>
                    <a:pt x="582" y="2375"/>
                  </a:lnTo>
                  <a:lnTo>
                    <a:pt x="575" y="2389"/>
                  </a:lnTo>
                  <a:lnTo>
                    <a:pt x="571" y="2395"/>
                  </a:lnTo>
                  <a:lnTo>
                    <a:pt x="567" y="2399"/>
                  </a:lnTo>
                  <a:lnTo>
                    <a:pt x="563" y="2403"/>
                  </a:lnTo>
                  <a:lnTo>
                    <a:pt x="558" y="2405"/>
                  </a:lnTo>
                  <a:lnTo>
                    <a:pt x="554" y="2405"/>
                  </a:lnTo>
                  <a:lnTo>
                    <a:pt x="547" y="2403"/>
                  </a:lnTo>
                  <a:lnTo>
                    <a:pt x="542" y="2398"/>
                  </a:lnTo>
                  <a:lnTo>
                    <a:pt x="536" y="2391"/>
                  </a:lnTo>
                  <a:lnTo>
                    <a:pt x="532" y="2385"/>
                  </a:lnTo>
                  <a:lnTo>
                    <a:pt x="528" y="2377"/>
                  </a:lnTo>
                  <a:lnTo>
                    <a:pt x="524" y="2370"/>
                  </a:lnTo>
                  <a:lnTo>
                    <a:pt x="521" y="2363"/>
                  </a:lnTo>
                  <a:lnTo>
                    <a:pt x="515" y="2346"/>
                  </a:lnTo>
                  <a:lnTo>
                    <a:pt x="511" y="2329"/>
                  </a:lnTo>
                  <a:lnTo>
                    <a:pt x="501" y="2296"/>
                  </a:lnTo>
                  <a:lnTo>
                    <a:pt x="492" y="2264"/>
                  </a:lnTo>
                  <a:lnTo>
                    <a:pt x="488" y="2256"/>
                  </a:lnTo>
                  <a:lnTo>
                    <a:pt x="485" y="2249"/>
                  </a:lnTo>
                  <a:lnTo>
                    <a:pt x="483" y="2243"/>
                  </a:lnTo>
                  <a:lnTo>
                    <a:pt x="482" y="2238"/>
                  </a:lnTo>
                  <a:lnTo>
                    <a:pt x="482" y="2232"/>
                  </a:lnTo>
                  <a:lnTo>
                    <a:pt x="483" y="2228"/>
                  </a:lnTo>
                  <a:lnTo>
                    <a:pt x="484" y="2224"/>
                  </a:lnTo>
                  <a:lnTo>
                    <a:pt x="486" y="2221"/>
                  </a:lnTo>
                  <a:lnTo>
                    <a:pt x="489" y="2219"/>
                  </a:lnTo>
                  <a:lnTo>
                    <a:pt x="493" y="2217"/>
                  </a:lnTo>
                  <a:lnTo>
                    <a:pt x="497" y="2215"/>
                  </a:lnTo>
                  <a:lnTo>
                    <a:pt x="502" y="2214"/>
                  </a:lnTo>
                  <a:lnTo>
                    <a:pt x="514" y="2212"/>
                  </a:lnTo>
                  <a:lnTo>
                    <a:pt x="526" y="2211"/>
                  </a:lnTo>
                  <a:lnTo>
                    <a:pt x="554" y="2211"/>
                  </a:lnTo>
                  <a:lnTo>
                    <a:pt x="583" y="2210"/>
                  </a:lnTo>
                  <a:lnTo>
                    <a:pt x="595" y="2208"/>
                  </a:lnTo>
                  <a:lnTo>
                    <a:pt x="608" y="2206"/>
                  </a:lnTo>
                  <a:lnTo>
                    <a:pt x="613" y="2204"/>
                  </a:lnTo>
                  <a:lnTo>
                    <a:pt x="618" y="2202"/>
                  </a:lnTo>
                  <a:lnTo>
                    <a:pt x="622" y="2199"/>
                  </a:lnTo>
                  <a:lnTo>
                    <a:pt x="627" y="2196"/>
                  </a:lnTo>
                  <a:lnTo>
                    <a:pt x="627" y="2192"/>
                  </a:lnTo>
                  <a:lnTo>
                    <a:pt x="626" y="2189"/>
                  </a:lnTo>
                  <a:lnTo>
                    <a:pt x="619" y="2183"/>
                  </a:lnTo>
                  <a:lnTo>
                    <a:pt x="611" y="2179"/>
                  </a:lnTo>
                  <a:lnTo>
                    <a:pt x="603" y="2176"/>
                  </a:lnTo>
                  <a:lnTo>
                    <a:pt x="593" y="2174"/>
                  </a:lnTo>
                  <a:lnTo>
                    <a:pt x="583" y="2173"/>
                  </a:lnTo>
                  <a:lnTo>
                    <a:pt x="571" y="2172"/>
                  </a:lnTo>
                  <a:lnTo>
                    <a:pt x="561" y="2172"/>
                  </a:lnTo>
                  <a:lnTo>
                    <a:pt x="549" y="2173"/>
                  </a:lnTo>
                  <a:lnTo>
                    <a:pt x="526" y="2175"/>
                  </a:lnTo>
                  <a:lnTo>
                    <a:pt x="505" y="2177"/>
                  </a:lnTo>
                  <a:lnTo>
                    <a:pt x="494" y="2178"/>
                  </a:lnTo>
                  <a:lnTo>
                    <a:pt x="484" y="2178"/>
                  </a:lnTo>
                  <a:lnTo>
                    <a:pt x="475" y="2178"/>
                  </a:lnTo>
                  <a:lnTo>
                    <a:pt x="467" y="2177"/>
                  </a:lnTo>
                  <a:lnTo>
                    <a:pt x="465" y="2176"/>
                  </a:lnTo>
                  <a:lnTo>
                    <a:pt x="463" y="2175"/>
                  </a:lnTo>
                  <a:lnTo>
                    <a:pt x="462" y="2173"/>
                  </a:lnTo>
                  <a:lnTo>
                    <a:pt x="460" y="2170"/>
                  </a:lnTo>
                  <a:lnTo>
                    <a:pt x="458" y="2163"/>
                  </a:lnTo>
                  <a:lnTo>
                    <a:pt x="456" y="2153"/>
                  </a:lnTo>
                  <a:lnTo>
                    <a:pt x="453" y="2129"/>
                  </a:lnTo>
                  <a:lnTo>
                    <a:pt x="453" y="2101"/>
                  </a:lnTo>
                  <a:lnTo>
                    <a:pt x="453" y="2071"/>
                  </a:lnTo>
                  <a:lnTo>
                    <a:pt x="455" y="2043"/>
                  </a:lnTo>
                  <a:lnTo>
                    <a:pt x="453" y="2030"/>
                  </a:lnTo>
                  <a:lnTo>
                    <a:pt x="453" y="2019"/>
                  </a:lnTo>
                  <a:lnTo>
                    <a:pt x="452" y="2009"/>
                  </a:lnTo>
                  <a:lnTo>
                    <a:pt x="450" y="2002"/>
                  </a:lnTo>
                  <a:lnTo>
                    <a:pt x="448" y="1995"/>
                  </a:lnTo>
                  <a:lnTo>
                    <a:pt x="444" y="1988"/>
                  </a:lnTo>
                  <a:lnTo>
                    <a:pt x="440" y="1982"/>
                  </a:lnTo>
                  <a:lnTo>
                    <a:pt x="436" y="1976"/>
                  </a:lnTo>
                  <a:lnTo>
                    <a:pt x="424" y="1965"/>
                  </a:lnTo>
                  <a:lnTo>
                    <a:pt x="412" y="1956"/>
                  </a:lnTo>
                  <a:lnTo>
                    <a:pt x="400" y="1947"/>
                  </a:lnTo>
                  <a:lnTo>
                    <a:pt x="390" y="1936"/>
                  </a:lnTo>
                  <a:lnTo>
                    <a:pt x="386" y="1931"/>
                  </a:lnTo>
                  <a:lnTo>
                    <a:pt x="382" y="1926"/>
                  </a:lnTo>
                  <a:lnTo>
                    <a:pt x="378" y="1919"/>
                  </a:lnTo>
                  <a:lnTo>
                    <a:pt x="377" y="1913"/>
                  </a:lnTo>
                  <a:lnTo>
                    <a:pt x="377" y="1902"/>
                  </a:lnTo>
                  <a:lnTo>
                    <a:pt x="378" y="1888"/>
                  </a:lnTo>
                  <a:lnTo>
                    <a:pt x="378" y="1882"/>
                  </a:lnTo>
                  <a:lnTo>
                    <a:pt x="376" y="1877"/>
                  </a:lnTo>
                  <a:lnTo>
                    <a:pt x="374" y="1874"/>
                  </a:lnTo>
                  <a:lnTo>
                    <a:pt x="371" y="1871"/>
                  </a:lnTo>
                  <a:lnTo>
                    <a:pt x="368" y="1870"/>
                  </a:lnTo>
                  <a:lnTo>
                    <a:pt x="364" y="1868"/>
                  </a:lnTo>
                  <a:lnTo>
                    <a:pt x="360" y="1868"/>
                  </a:lnTo>
                  <a:lnTo>
                    <a:pt x="355" y="1868"/>
                  </a:lnTo>
                  <a:lnTo>
                    <a:pt x="350" y="1868"/>
                  </a:lnTo>
                  <a:lnTo>
                    <a:pt x="346" y="1869"/>
                  </a:lnTo>
                  <a:lnTo>
                    <a:pt x="337" y="1873"/>
                  </a:lnTo>
                  <a:lnTo>
                    <a:pt x="327" y="1877"/>
                  </a:lnTo>
                  <a:lnTo>
                    <a:pt x="310" y="1887"/>
                  </a:lnTo>
                  <a:lnTo>
                    <a:pt x="293" y="1897"/>
                  </a:lnTo>
                  <a:lnTo>
                    <a:pt x="275" y="1907"/>
                  </a:lnTo>
                  <a:lnTo>
                    <a:pt x="261" y="1913"/>
                  </a:lnTo>
                  <a:lnTo>
                    <a:pt x="253" y="1914"/>
                  </a:lnTo>
                  <a:lnTo>
                    <a:pt x="247" y="1916"/>
                  </a:lnTo>
                  <a:lnTo>
                    <a:pt x="242" y="1916"/>
                  </a:lnTo>
                  <a:lnTo>
                    <a:pt x="237" y="1916"/>
                  </a:lnTo>
                  <a:lnTo>
                    <a:pt x="232" y="1915"/>
                  </a:lnTo>
                  <a:lnTo>
                    <a:pt x="227" y="1914"/>
                  </a:lnTo>
                  <a:lnTo>
                    <a:pt x="224" y="1913"/>
                  </a:lnTo>
                  <a:lnTo>
                    <a:pt x="220" y="1910"/>
                  </a:lnTo>
                  <a:lnTo>
                    <a:pt x="214" y="1905"/>
                  </a:lnTo>
                  <a:lnTo>
                    <a:pt x="208" y="1897"/>
                  </a:lnTo>
                  <a:lnTo>
                    <a:pt x="199" y="1878"/>
                  </a:lnTo>
                  <a:lnTo>
                    <a:pt x="191" y="1857"/>
                  </a:lnTo>
                  <a:lnTo>
                    <a:pt x="186" y="1845"/>
                  </a:lnTo>
                  <a:lnTo>
                    <a:pt x="180" y="1835"/>
                  </a:lnTo>
                  <a:lnTo>
                    <a:pt x="173" y="1825"/>
                  </a:lnTo>
                  <a:lnTo>
                    <a:pt x="165" y="1815"/>
                  </a:lnTo>
                  <a:lnTo>
                    <a:pt x="143" y="1798"/>
                  </a:lnTo>
                  <a:lnTo>
                    <a:pt x="114" y="1780"/>
                  </a:lnTo>
                  <a:lnTo>
                    <a:pt x="107" y="1776"/>
                  </a:lnTo>
                  <a:lnTo>
                    <a:pt x="101" y="1770"/>
                  </a:lnTo>
                  <a:lnTo>
                    <a:pt x="95" y="1765"/>
                  </a:lnTo>
                  <a:lnTo>
                    <a:pt x="91" y="1760"/>
                  </a:lnTo>
                  <a:lnTo>
                    <a:pt x="86" y="1754"/>
                  </a:lnTo>
                  <a:lnTo>
                    <a:pt x="83" y="1748"/>
                  </a:lnTo>
                  <a:lnTo>
                    <a:pt x="82" y="1742"/>
                  </a:lnTo>
                  <a:lnTo>
                    <a:pt x="81" y="1736"/>
                  </a:lnTo>
                  <a:lnTo>
                    <a:pt x="105" y="1717"/>
                  </a:lnTo>
                  <a:lnTo>
                    <a:pt x="130" y="1696"/>
                  </a:lnTo>
                  <a:lnTo>
                    <a:pt x="135" y="1691"/>
                  </a:lnTo>
                  <a:lnTo>
                    <a:pt x="140" y="1686"/>
                  </a:lnTo>
                  <a:lnTo>
                    <a:pt x="143" y="1681"/>
                  </a:lnTo>
                  <a:lnTo>
                    <a:pt x="144" y="1674"/>
                  </a:lnTo>
                  <a:lnTo>
                    <a:pt x="145" y="1668"/>
                  </a:lnTo>
                  <a:lnTo>
                    <a:pt x="144" y="1662"/>
                  </a:lnTo>
                  <a:lnTo>
                    <a:pt x="141" y="1656"/>
                  </a:lnTo>
                  <a:lnTo>
                    <a:pt x="137" y="1648"/>
                  </a:lnTo>
                  <a:lnTo>
                    <a:pt x="130" y="1642"/>
                  </a:lnTo>
                  <a:lnTo>
                    <a:pt x="124" y="1636"/>
                  </a:lnTo>
                  <a:lnTo>
                    <a:pt x="118" y="1631"/>
                  </a:lnTo>
                  <a:lnTo>
                    <a:pt x="110" y="1626"/>
                  </a:lnTo>
                  <a:lnTo>
                    <a:pt x="97" y="1617"/>
                  </a:lnTo>
                  <a:lnTo>
                    <a:pt x="82" y="1609"/>
                  </a:lnTo>
                  <a:lnTo>
                    <a:pt x="69" y="1600"/>
                  </a:lnTo>
                  <a:lnTo>
                    <a:pt x="56" y="1591"/>
                  </a:lnTo>
                  <a:lnTo>
                    <a:pt x="50" y="1585"/>
                  </a:lnTo>
                  <a:lnTo>
                    <a:pt x="45" y="1578"/>
                  </a:lnTo>
                  <a:lnTo>
                    <a:pt x="41" y="1571"/>
                  </a:lnTo>
                  <a:lnTo>
                    <a:pt x="35" y="1564"/>
                  </a:lnTo>
                  <a:lnTo>
                    <a:pt x="30" y="1547"/>
                  </a:lnTo>
                  <a:lnTo>
                    <a:pt x="25" y="1530"/>
                  </a:lnTo>
                  <a:lnTo>
                    <a:pt x="23" y="1522"/>
                  </a:lnTo>
                  <a:lnTo>
                    <a:pt x="19" y="1515"/>
                  </a:lnTo>
                  <a:lnTo>
                    <a:pt x="15" y="1507"/>
                  </a:lnTo>
                  <a:lnTo>
                    <a:pt x="8" y="1500"/>
                  </a:lnTo>
                  <a:lnTo>
                    <a:pt x="5" y="1497"/>
                  </a:lnTo>
                  <a:lnTo>
                    <a:pt x="0" y="1494"/>
                  </a:lnTo>
                  <a:lnTo>
                    <a:pt x="0" y="1494"/>
                  </a:lnTo>
                  <a:lnTo>
                    <a:pt x="44" y="1438"/>
                  </a:lnTo>
                  <a:lnTo>
                    <a:pt x="54" y="1430"/>
                  </a:lnTo>
                  <a:lnTo>
                    <a:pt x="66" y="1425"/>
                  </a:lnTo>
                  <a:lnTo>
                    <a:pt x="68" y="1423"/>
                  </a:lnTo>
                  <a:lnTo>
                    <a:pt x="71" y="1422"/>
                  </a:lnTo>
                  <a:lnTo>
                    <a:pt x="74" y="1421"/>
                  </a:lnTo>
                  <a:lnTo>
                    <a:pt x="79" y="1421"/>
                  </a:lnTo>
                  <a:lnTo>
                    <a:pt x="90" y="1423"/>
                  </a:lnTo>
                  <a:lnTo>
                    <a:pt x="101" y="1425"/>
                  </a:lnTo>
                  <a:lnTo>
                    <a:pt x="113" y="1428"/>
                  </a:lnTo>
                  <a:lnTo>
                    <a:pt x="124" y="1431"/>
                  </a:lnTo>
                  <a:lnTo>
                    <a:pt x="134" y="1432"/>
                  </a:lnTo>
                  <a:lnTo>
                    <a:pt x="143" y="1431"/>
                  </a:lnTo>
                  <a:lnTo>
                    <a:pt x="147" y="1430"/>
                  </a:lnTo>
                  <a:lnTo>
                    <a:pt x="151" y="1427"/>
                  </a:lnTo>
                  <a:lnTo>
                    <a:pt x="155" y="1425"/>
                  </a:lnTo>
                  <a:lnTo>
                    <a:pt x="158" y="1422"/>
                  </a:lnTo>
                  <a:lnTo>
                    <a:pt x="164" y="1414"/>
                  </a:lnTo>
                  <a:lnTo>
                    <a:pt x="168" y="1405"/>
                  </a:lnTo>
                  <a:lnTo>
                    <a:pt x="172" y="1397"/>
                  </a:lnTo>
                  <a:lnTo>
                    <a:pt x="176" y="1387"/>
                  </a:lnTo>
                  <a:lnTo>
                    <a:pt x="180" y="1378"/>
                  </a:lnTo>
                  <a:lnTo>
                    <a:pt x="186" y="1371"/>
                  </a:lnTo>
                  <a:lnTo>
                    <a:pt x="195" y="1360"/>
                  </a:lnTo>
                  <a:lnTo>
                    <a:pt x="203" y="1354"/>
                  </a:lnTo>
                  <a:lnTo>
                    <a:pt x="207" y="1353"/>
                  </a:lnTo>
                  <a:lnTo>
                    <a:pt x="211" y="1351"/>
                  </a:lnTo>
                  <a:lnTo>
                    <a:pt x="215" y="1351"/>
                  </a:lnTo>
                  <a:lnTo>
                    <a:pt x="218" y="1351"/>
                  </a:lnTo>
                  <a:lnTo>
                    <a:pt x="225" y="1353"/>
                  </a:lnTo>
                  <a:lnTo>
                    <a:pt x="231" y="1356"/>
                  </a:lnTo>
                  <a:lnTo>
                    <a:pt x="238" y="1360"/>
                  </a:lnTo>
                  <a:lnTo>
                    <a:pt x="243" y="1367"/>
                  </a:lnTo>
                  <a:lnTo>
                    <a:pt x="255" y="1379"/>
                  </a:lnTo>
                  <a:lnTo>
                    <a:pt x="268" y="1390"/>
                  </a:lnTo>
                  <a:lnTo>
                    <a:pt x="275" y="1394"/>
                  </a:lnTo>
                  <a:lnTo>
                    <a:pt x="284" y="1396"/>
                  </a:lnTo>
                  <a:lnTo>
                    <a:pt x="288" y="1397"/>
                  </a:lnTo>
                  <a:lnTo>
                    <a:pt x="292" y="1397"/>
                  </a:lnTo>
                  <a:lnTo>
                    <a:pt x="296" y="1396"/>
                  </a:lnTo>
                  <a:lnTo>
                    <a:pt x="301" y="1394"/>
                  </a:lnTo>
                  <a:lnTo>
                    <a:pt x="308" y="1392"/>
                  </a:lnTo>
                  <a:lnTo>
                    <a:pt x="314" y="1387"/>
                  </a:lnTo>
                  <a:lnTo>
                    <a:pt x="319" y="1383"/>
                  </a:lnTo>
                  <a:lnTo>
                    <a:pt x="324" y="1379"/>
                  </a:lnTo>
                  <a:lnTo>
                    <a:pt x="333" y="1369"/>
                  </a:lnTo>
                  <a:lnTo>
                    <a:pt x="341" y="1358"/>
                  </a:lnTo>
                  <a:lnTo>
                    <a:pt x="349" y="1349"/>
                  </a:lnTo>
                  <a:lnTo>
                    <a:pt x="357" y="1340"/>
                  </a:lnTo>
                  <a:lnTo>
                    <a:pt x="362" y="1337"/>
                  </a:lnTo>
                  <a:lnTo>
                    <a:pt x="367" y="1335"/>
                  </a:lnTo>
                  <a:lnTo>
                    <a:pt x="372" y="1333"/>
                  </a:lnTo>
                  <a:lnTo>
                    <a:pt x="377" y="1333"/>
                  </a:lnTo>
                  <a:lnTo>
                    <a:pt x="392" y="1332"/>
                  </a:lnTo>
                  <a:lnTo>
                    <a:pt x="403" y="1330"/>
                  </a:lnTo>
                  <a:lnTo>
                    <a:pt x="408" y="1329"/>
                  </a:lnTo>
                  <a:lnTo>
                    <a:pt x="411" y="1327"/>
                  </a:lnTo>
                  <a:lnTo>
                    <a:pt x="414" y="1325"/>
                  </a:lnTo>
                  <a:lnTo>
                    <a:pt x="417" y="1323"/>
                  </a:lnTo>
                  <a:lnTo>
                    <a:pt x="420" y="1318"/>
                  </a:lnTo>
                  <a:lnTo>
                    <a:pt x="421" y="1311"/>
                  </a:lnTo>
                  <a:lnTo>
                    <a:pt x="421" y="1304"/>
                  </a:lnTo>
                  <a:lnTo>
                    <a:pt x="420" y="1297"/>
                  </a:lnTo>
                  <a:lnTo>
                    <a:pt x="415" y="1280"/>
                  </a:lnTo>
                  <a:lnTo>
                    <a:pt x="411" y="1263"/>
                  </a:lnTo>
                  <a:lnTo>
                    <a:pt x="409" y="1255"/>
                  </a:lnTo>
                  <a:lnTo>
                    <a:pt x="409" y="1247"/>
                  </a:lnTo>
                  <a:lnTo>
                    <a:pt x="410" y="1238"/>
                  </a:lnTo>
                  <a:lnTo>
                    <a:pt x="412" y="1230"/>
                  </a:lnTo>
                  <a:lnTo>
                    <a:pt x="417" y="1223"/>
                  </a:lnTo>
                  <a:lnTo>
                    <a:pt x="423" y="1216"/>
                  </a:lnTo>
                  <a:lnTo>
                    <a:pt x="431" y="1210"/>
                  </a:lnTo>
                  <a:lnTo>
                    <a:pt x="438" y="1204"/>
                  </a:lnTo>
                  <a:lnTo>
                    <a:pt x="446" y="1198"/>
                  </a:lnTo>
                  <a:lnTo>
                    <a:pt x="453" y="1191"/>
                  </a:lnTo>
                  <a:lnTo>
                    <a:pt x="461" y="1184"/>
                  </a:lnTo>
                  <a:lnTo>
                    <a:pt x="466" y="1176"/>
                  </a:lnTo>
                  <a:lnTo>
                    <a:pt x="469" y="1169"/>
                  </a:lnTo>
                  <a:lnTo>
                    <a:pt x="471" y="1163"/>
                  </a:lnTo>
                  <a:lnTo>
                    <a:pt x="473" y="1157"/>
                  </a:lnTo>
                  <a:lnTo>
                    <a:pt x="473" y="1151"/>
                  </a:lnTo>
                  <a:lnTo>
                    <a:pt x="473" y="1139"/>
                  </a:lnTo>
                  <a:lnTo>
                    <a:pt x="471" y="1127"/>
                  </a:lnTo>
                  <a:lnTo>
                    <a:pt x="469" y="1114"/>
                  </a:lnTo>
                  <a:lnTo>
                    <a:pt x="466" y="1102"/>
                  </a:lnTo>
                  <a:lnTo>
                    <a:pt x="464" y="1089"/>
                  </a:lnTo>
                  <a:lnTo>
                    <a:pt x="463" y="1075"/>
                  </a:lnTo>
                  <a:lnTo>
                    <a:pt x="463" y="1049"/>
                  </a:lnTo>
                  <a:lnTo>
                    <a:pt x="463" y="1026"/>
                  </a:lnTo>
                  <a:lnTo>
                    <a:pt x="463" y="1006"/>
                  </a:lnTo>
                  <a:lnTo>
                    <a:pt x="464" y="986"/>
                  </a:lnTo>
                  <a:lnTo>
                    <a:pt x="466" y="967"/>
                  </a:lnTo>
                  <a:lnTo>
                    <a:pt x="470" y="946"/>
                  </a:lnTo>
                  <a:lnTo>
                    <a:pt x="474" y="924"/>
                  </a:lnTo>
                  <a:lnTo>
                    <a:pt x="481" y="900"/>
                  </a:lnTo>
                  <a:lnTo>
                    <a:pt x="487" y="897"/>
                  </a:lnTo>
                  <a:lnTo>
                    <a:pt x="492" y="892"/>
                  </a:lnTo>
                  <a:lnTo>
                    <a:pt x="497" y="887"/>
                  </a:lnTo>
                  <a:lnTo>
                    <a:pt x="502" y="881"/>
                  </a:lnTo>
                  <a:lnTo>
                    <a:pt x="513" y="867"/>
                  </a:lnTo>
                  <a:lnTo>
                    <a:pt x="521" y="851"/>
                  </a:lnTo>
                  <a:lnTo>
                    <a:pt x="524" y="844"/>
                  </a:lnTo>
                  <a:lnTo>
                    <a:pt x="528" y="836"/>
                  </a:lnTo>
                  <a:lnTo>
                    <a:pt x="530" y="827"/>
                  </a:lnTo>
                  <a:lnTo>
                    <a:pt x="532" y="819"/>
                  </a:lnTo>
                  <a:lnTo>
                    <a:pt x="533" y="811"/>
                  </a:lnTo>
                  <a:lnTo>
                    <a:pt x="533" y="803"/>
                  </a:lnTo>
                  <a:lnTo>
                    <a:pt x="532" y="796"/>
                  </a:lnTo>
                  <a:lnTo>
                    <a:pt x="531" y="790"/>
                  </a:lnTo>
                  <a:lnTo>
                    <a:pt x="528" y="784"/>
                  </a:lnTo>
                  <a:lnTo>
                    <a:pt x="525" y="779"/>
                  </a:lnTo>
                  <a:lnTo>
                    <a:pt x="522" y="774"/>
                  </a:lnTo>
                  <a:lnTo>
                    <a:pt x="518" y="770"/>
                  </a:lnTo>
                  <a:lnTo>
                    <a:pt x="511" y="763"/>
                  </a:lnTo>
                  <a:lnTo>
                    <a:pt x="502" y="755"/>
                  </a:lnTo>
                  <a:lnTo>
                    <a:pt x="483" y="743"/>
                  </a:lnTo>
                  <a:lnTo>
                    <a:pt x="464" y="730"/>
                  </a:lnTo>
                  <a:lnTo>
                    <a:pt x="452" y="721"/>
                  </a:lnTo>
                  <a:lnTo>
                    <a:pt x="439" y="708"/>
                  </a:lnTo>
                  <a:lnTo>
                    <a:pt x="432" y="701"/>
                  </a:lnTo>
                  <a:lnTo>
                    <a:pt x="424" y="694"/>
                  </a:lnTo>
                  <a:lnTo>
                    <a:pt x="418" y="685"/>
                  </a:lnTo>
                  <a:lnTo>
                    <a:pt x="412" y="677"/>
                  </a:lnTo>
                  <a:lnTo>
                    <a:pt x="407" y="668"/>
                  </a:lnTo>
                  <a:lnTo>
                    <a:pt x="402" y="659"/>
                  </a:lnTo>
                  <a:lnTo>
                    <a:pt x="400" y="651"/>
                  </a:lnTo>
                  <a:lnTo>
                    <a:pt x="398" y="643"/>
                  </a:lnTo>
                  <a:lnTo>
                    <a:pt x="398" y="634"/>
                  </a:lnTo>
                  <a:lnTo>
                    <a:pt x="400" y="626"/>
                  </a:lnTo>
                  <a:lnTo>
                    <a:pt x="402" y="622"/>
                  </a:lnTo>
                  <a:lnTo>
                    <a:pt x="404" y="619"/>
                  </a:lnTo>
                  <a:lnTo>
                    <a:pt x="408" y="614"/>
                  </a:lnTo>
                  <a:lnTo>
                    <a:pt x="411" y="611"/>
                  </a:lnTo>
                  <a:lnTo>
                    <a:pt x="418" y="605"/>
                  </a:lnTo>
                  <a:lnTo>
                    <a:pt x="426" y="601"/>
                  </a:lnTo>
                  <a:lnTo>
                    <a:pt x="436" y="598"/>
                  </a:lnTo>
                  <a:lnTo>
                    <a:pt x="445" y="596"/>
                  </a:lnTo>
                  <a:lnTo>
                    <a:pt x="465" y="594"/>
                  </a:lnTo>
                  <a:lnTo>
                    <a:pt x="486" y="594"/>
                  </a:lnTo>
                  <a:lnTo>
                    <a:pt x="508" y="595"/>
                  </a:lnTo>
                  <a:lnTo>
                    <a:pt x="529" y="594"/>
                  </a:lnTo>
                  <a:lnTo>
                    <a:pt x="539" y="592"/>
                  </a:lnTo>
                  <a:lnTo>
                    <a:pt x="548" y="590"/>
                  </a:lnTo>
                  <a:lnTo>
                    <a:pt x="558" y="587"/>
                  </a:lnTo>
                  <a:lnTo>
                    <a:pt x="567" y="583"/>
                  </a:lnTo>
                  <a:lnTo>
                    <a:pt x="568" y="568"/>
                  </a:lnTo>
                  <a:lnTo>
                    <a:pt x="567" y="553"/>
                  </a:lnTo>
                  <a:lnTo>
                    <a:pt x="566" y="538"/>
                  </a:lnTo>
                  <a:lnTo>
                    <a:pt x="564" y="524"/>
                  </a:lnTo>
                  <a:lnTo>
                    <a:pt x="562" y="508"/>
                  </a:lnTo>
                  <a:lnTo>
                    <a:pt x="561" y="493"/>
                  </a:lnTo>
                  <a:lnTo>
                    <a:pt x="561" y="479"/>
                  </a:lnTo>
                  <a:lnTo>
                    <a:pt x="562" y="464"/>
                  </a:lnTo>
                  <a:lnTo>
                    <a:pt x="562" y="453"/>
                  </a:lnTo>
                  <a:lnTo>
                    <a:pt x="562" y="442"/>
                  </a:lnTo>
                  <a:lnTo>
                    <a:pt x="560" y="432"/>
                  </a:lnTo>
                  <a:lnTo>
                    <a:pt x="557" y="422"/>
                  </a:lnTo>
                  <a:lnTo>
                    <a:pt x="553" y="413"/>
                  </a:lnTo>
                  <a:lnTo>
                    <a:pt x="547" y="405"/>
                  </a:lnTo>
                  <a:lnTo>
                    <a:pt x="540" y="397"/>
                  </a:lnTo>
                  <a:lnTo>
                    <a:pt x="532" y="389"/>
                  </a:lnTo>
                  <a:lnTo>
                    <a:pt x="514" y="374"/>
                  </a:lnTo>
                  <a:lnTo>
                    <a:pt x="497" y="363"/>
                  </a:lnTo>
                  <a:lnTo>
                    <a:pt x="485" y="351"/>
                  </a:lnTo>
                  <a:lnTo>
                    <a:pt x="474" y="340"/>
                  </a:lnTo>
                  <a:lnTo>
                    <a:pt x="470" y="334"/>
                  </a:lnTo>
                  <a:lnTo>
                    <a:pt x="466" y="326"/>
                  </a:lnTo>
                  <a:lnTo>
                    <a:pt x="463" y="319"/>
                  </a:lnTo>
                  <a:lnTo>
                    <a:pt x="461" y="311"/>
                  </a:lnTo>
                  <a:lnTo>
                    <a:pt x="459" y="301"/>
                  </a:lnTo>
                  <a:lnTo>
                    <a:pt x="457" y="291"/>
                  </a:lnTo>
                  <a:lnTo>
                    <a:pt x="457" y="279"/>
                  </a:lnTo>
                  <a:lnTo>
                    <a:pt x="456" y="266"/>
                  </a:lnTo>
                  <a:lnTo>
                    <a:pt x="456" y="254"/>
                  </a:lnTo>
                  <a:lnTo>
                    <a:pt x="455" y="243"/>
                  </a:lnTo>
                  <a:lnTo>
                    <a:pt x="452" y="232"/>
                  </a:lnTo>
                  <a:lnTo>
                    <a:pt x="450" y="220"/>
                  </a:lnTo>
                  <a:lnTo>
                    <a:pt x="445" y="198"/>
                  </a:lnTo>
                  <a:lnTo>
                    <a:pt x="439" y="176"/>
                  </a:lnTo>
                  <a:lnTo>
                    <a:pt x="433" y="154"/>
                  </a:lnTo>
                  <a:lnTo>
                    <a:pt x="428" y="131"/>
                  </a:lnTo>
                  <a:lnTo>
                    <a:pt x="427" y="121"/>
                  </a:lnTo>
                  <a:lnTo>
                    <a:pt x="426" y="109"/>
                  </a:lnTo>
                  <a:lnTo>
                    <a:pt x="426" y="97"/>
                  </a:lnTo>
                  <a:lnTo>
                    <a:pt x="427" y="85"/>
                  </a:lnTo>
                  <a:lnTo>
                    <a:pt x="435" y="77"/>
                  </a:lnTo>
                  <a:lnTo>
                    <a:pt x="442" y="67"/>
                  </a:lnTo>
                  <a:lnTo>
                    <a:pt x="449" y="56"/>
                  </a:lnTo>
                  <a:lnTo>
                    <a:pt x="456" y="45"/>
                  </a:lnTo>
                  <a:lnTo>
                    <a:pt x="462" y="33"/>
                  </a:lnTo>
                  <a:lnTo>
                    <a:pt x="467" y="22"/>
                  </a:lnTo>
                  <a:lnTo>
                    <a:pt x="472" y="10"/>
                  </a:lnTo>
                  <a:lnTo>
                    <a:pt x="475" y="0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3" name="Freeform 140">
              <a:extLst>
                <a:ext uri="{FF2B5EF4-FFF2-40B4-BE49-F238E27FC236}">
                  <a16:creationId xmlns:a16="http://schemas.microsoft.com/office/drawing/2014/main" id="{33540F92-AF51-43E9-824A-349A135B5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06" y="4146706"/>
              <a:ext cx="587846" cy="928194"/>
            </a:xfrm>
            <a:custGeom>
              <a:avLst/>
              <a:gdLst>
                <a:gd name="T0" fmla="*/ 806 w 2343"/>
                <a:gd name="T1" fmla="*/ 242 h 3817"/>
                <a:gd name="T2" fmla="*/ 1077 w 2343"/>
                <a:gd name="T3" fmla="*/ 285 h 3817"/>
                <a:gd name="T4" fmla="*/ 1284 w 2343"/>
                <a:gd name="T5" fmla="*/ 389 h 3817"/>
                <a:gd name="T6" fmla="*/ 1478 w 2343"/>
                <a:gd name="T7" fmla="*/ 332 h 3817"/>
                <a:gd name="T8" fmla="*/ 1671 w 2343"/>
                <a:gd name="T9" fmla="*/ 340 h 3817"/>
                <a:gd name="T10" fmla="*/ 1762 w 2343"/>
                <a:gd name="T11" fmla="*/ 442 h 3817"/>
                <a:gd name="T12" fmla="*/ 1908 w 2343"/>
                <a:gd name="T13" fmla="*/ 580 h 3817"/>
                <a:gd name="T14" fmla="*/ 1852 w 2343"/>
                <a:gd name="T15" fmla="*/ 746 h 3817"/>
                <a:gd name="T16" fmla="*/ 1747 w 2343"/>
                <a:gd name="T17" fmla="*/ 959 h 3817"/>
                <a:gd name="T18" fmla="*/ 1926 w 2343"/>
                <a:gd name="T19" fmla="*/ 1147 h 3817"/>
                <a:gd name="T20" fmla="*/ 2262 w 2343"/>
                <a:gd name="T21" fmla="*/ 1104 h 3817"/>
                <a:gd name="T22" fmla="*/ 2291 w 2343"/>
                <a:gd name="T23" fmla="*/ 1261 h 3817"/>
                <a:gd name="T24" fmla="*/ 2285 w 2343"/>
                <a:gd name="T25" fmla="*/ 1468 h 3817"/>
                <a:gd name="T26" fmla="*/ 2257 w 2343"/>
                <a:gd name="T27" fmla="*/ 1638 h 3817"/>
                <a:gd name="T28" fmla="*/ 2261 w 2343"/>
                <a:gd name="T29" fmla="*/ 1811 h 3817"/>
                <a:gd name="T30" fmla="*/ 2168 w 2343"/>
                <a:gd name="T31" fmla="*/ 1922 h 3817"/>
                <a:gd name="T32" fmla="*/ 2217 w 2343"/>
                <a:gd name="T33" fmla="*/ 2114 h 3817"/>
                <a:gd name="T34" fmla="*/ 2195 w 2343"/>
                <a:gd name="T35" fmla="*/ 2441 h 3817"/>
                <a:gd name="T36" fmla="*/ 2078 w 2343"/>
                <a:gd name="T37" fmla="*/ 2493 h 3817"/>
                <a:gd name="T38" fmla="*/ 2000 w 2343"/>
                <a:gd name="T39" fmla="*/ 2348 h 3817"/>
                <a:gd name="T40" fmla="*/ 1869 w 2343"/>
                <a:gd name="T41" fmla="*/ 2418 h 3817"/>
                <a:gd name="T42" fmla="*/ 1875 w 2343"/>
                <a:gd name="T43" fmla="*/ 2549 h 3817"/>
                <a:gd name="T44" fmla="*/ 1824 w 2343"/>
                <a:gd name="T45" fmla="*/ 2623 h 3817"/>
                <a:gd name="T46" fmla="*/ 1953 w 2343"/>
                <a:gd name="T47" fmla="*/ 2693 h 3817"/>
                <a:gd name="T48" fmla="*/ 2037 w 2343"/>
                <a:gd name="T49" fmla="*/ 2867 h 3817"/>
                <a:gd name="T50" fmla="*/ 1949 w 2343"/>
                <a:gd name="T51" fmla="*/ 2890 h 3817"/>
                <a:gd name="T52" fmla="*/ 1937 w 2343"/>
                <a:gd name="T53" fmla="*/ 3031 h 3817"/>
                <a:gd name="T54" fmla="*/ 1827 w 2343"/>
                <a:gd name="T55" fmla="*/ 3089 h 3817"/>
                <a:gd name="T56" fmla="*/ 1729 w 2343"/>
                <a:gd name="T57" fmla="*/ 3110 h 3817"/>
                <a:gd name="T58" fmla="*/ 1565 w 2343"/>
                <a:gd name="T59" fmla="*/ 3071 h 3817"/>
                <a:gd name="T60" fmla="*/ 1436 w 2343"/>
                <a:gd name="T61" fmla="*/ 3154 h 3817"/>
                <a:gd name="T62" fmla="*/ 1431 w 2343"/>
                <a:gd name="T63" fmla="*/ 3263 h 3817"/>
                <a:gd name="T64" fmla="*/ 1202 w 2343"/>
                <a:gd name="T65" fmla="*/ 3252 h 3817"/>
                <a:gd name="T66" fmla="*/ 1277 w 2343"/>
                <a:gd name="T67" fmla="*/ 3410 h 3817"/>
                <a:gd name="T68" fmla="*/ 1305 w 2343"/>
                <a:gd name="T69" fmla="*/ 3561 h 3817"/>
                <a:gd name="T70" fmla="*/ 1271 w 2343"/>
                <a:gd name="T71" fmla="*/ 3717 h 3817"/>
                <a:gd name="T72" fmla="*/ 1137 w 2343"/>
                <a:gd name="T73" fmla="*/ 3792 h 3817"/>
                <a:gd name="T74" fmla="*/ 945 w 2343"/>
                <a:gd name="T75" fmla="*/ 3522 h 3817"/>
                <a:gd name="T76" fmla="*/ 807 w 2343"/>
                <a:gd name="T77" fmla="*/ 3021 h 3817"/>
                <a:gd name="T78" fmla="*/ 691 w 2343"/>
                <a:gd name="T79" fmla="*/ 2670 h 3817"/>
                <a:gd name="T80" fmla="*/ 622 w 2343"/>
                <a:gd name="T81" fmla="*/ 2432 h 3817"/>
                <a:gd name="T82" fmla="*/ 705 w 2343"/>
                <a:gd name="T83" fmla="*/ 2449 h 3817"/>
                <a:gd name="T84" fmla="*/ 588 w 2343"/>
                <a:gd name="T85" fmla="*/ 2362 h 3817"/>
                <a:gd name="T86" fmla="*/ 488 w 2343"/>
                <a:gd name="T87" fmla="*/ 2256 h 3817"/>
                <a:gd name="T88" fmla="*/ 618 w 2343"/>
                <a:gd name="T89" fmla="*/ 2202 h 3817"/>
                <a:gd name="T90" fmla="*/ 465 w 2343"/>
                <a:gd name="T91" fmla="*/ 2176 h 3817"/>
                <a:gd name="T92" fmla="*/ 412 w 2343"/>
                <a:gd name="T93" fmla="*/ 1956 h 3817"/>
                <a:gd name="T94" fmla="*/ 337 w 2343"/>
                <a:gd name="T95" fmla="*/ 1873 h 3817"/>
                <a:gd name="T96" fmla="*/ 180 w 2343"/>
                <a:gd name="T97" fmla="*/ 1835 h 3817"/>
                <a:gd name="T98" fmla="*/ 145 w 2343"/>
                <a:gd name="T99" fmla="*/ 1668 h 3817"/>
                <a:gd name="T100" fmla="*/ 19 w 2343"/>
                <a:gd name="T101" fmla="*/ 1515 h 3817"/>
                <a:gd name="T102" fmla="*/ 147 w 2343"/>
                <a:gd name="T103" fmla="*/ 1430 h 3817"/>
                <a:gd name="T104" fmla="*/ 243 w 2343"/>
                <a:gd name="T105" fmla="*/ 1367 h 3817"/>
                <a:gd name="T106" fmla="*/ 372 w 2343"/>
                <a:gd name="T107" fmla="*/ 1333 h 3817"/>
                <a:gd name="T108" fmla="*/ 423 w 2343"/>
                <a:gd name="T109" fmla="*/ 1216 h 3817"/>
                <a:gd name="T110" fmla="*/ 463 w 2343"/>
                <a:gd name="T111" fmla="*/ 1006 h 3817"/>
                <a:gd name="T112" fmla="*/ 531 w 2343"/>
                <a:gd name="T113" fmla="*/ 790 h 3817"/>
                <a:gd name="T114" fmla="*/ 398 w 2343"/>
                <a:gd name="T115" fmla="*/ 634 h 3817"/>
                <a:gd name="T116" fmla="*/ 567 w 2343"/>
                <a:gd name="T117" fmla="*/ 553 h 3817"/>
                <a:gd name="T118" fmla="*/ 470 w 2343"/>
                <a:gd name="T119" fmla="*/ 334 h 3817"/>
                <a:gd name="T120" fmla="*/ 427 w 2343"/>
                <a:gd name="T121" fmla="*/ 85 h 3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43" h="3817">
                  <a:moveTo>
                    <a:pt x="475" y="0"/>
                  </a:moveTo>
                  <a:lnTo>
                    <a:pt x="571" y="0"/>
                  </a:lnTo>
                  <a:lnTo>
                    <a:pt x="587" y="4"/>
                  </a:lnTo>
                  <a:lnTo>
                    <a:pt x="603" y="9"/>
                  </a:lnTo>
                  <a:lnTo>
                    <a:pt x="617" y="16"/>
                  </a:lnTo>
                  <a:lnTo>
                    <a:pt x="631" y="23"/>
                  </a:lnTo>
                  <a:lnTo>
                    <a:pt x="643" y="31"/>
                  </a:lnTo>
                  <a:lnTo>
                    <a:pt x="656" y="41"/>
                  </a:lnTo>
                  <a:lnTo>
                    <a:pt x="667" y="51"/>
                  </a:lnTo>
                  <a:lnTo>
                    <a:pt x="679" y="61"/>
                  </a:lnTo>
                  <a:lnTo>
                    <a:pt x="689" y="73"/>
                  </a:lnTo>
                  <a:lnTo>
                    <a:pt x="700" y="85"/>
                  </a:lnTo>
                  <a:lnTo>
                    <a:pt x="709" y="98"/>
                  </a:lnTo>
                  <a:lnTo>
                    <a:pt x="719" y="110"/>
                  </a:lnTo>
                  <a:lnTo>
                    <a:pt x="737" y="138"/>
                  </a:lnTo>
                  <a:lnTo>
                    <a:pt x="755" y="165"/>
                  </a:lnTo>
                  <a:lnTo>
                    <a:pt x="771" y="192"/>
                  </a:lnTo>
                  <a:lnTo>
                    <a:pt x="788" y="218"/>
                  </a:lnTo>
                  <a:lnTo>
                    <a:pt x="806" y="242"/>
                  </a:lnTo>
                  <a:lnTo>
                    <a:pt x="824" y="265"/>
                  </a:lnTo>
                  <a:lnTo>
                    <a:pt x="833" y="274"/>
                  </a:lnTo>
                  <a:lnTo>
                    <a:pt x="842" y="284"/>
                  </a:lnTo>
                  <a:lnTo>
                    <a:pt x="853" y="292"/>
                  </a:lnTo>
                  <a:lnTo>
                    <a:pt x="863" y="299"/>
                  </a:lnTo>
                  <a:lnTo>
                    <a:pt x="874" y="306"/>
                  </a:lnTo>
                  <a:lnTo>
                    <a:pt x="885" y="310"/>
                  </a:lnTo>
                  <a:lnTo>
                    <a:pt x="897" y="314"/>
                  </a:lnTo>
                  <a:lnTo>
                    <a:pt x="909" y="316"/>
                  </a:lnTo>
                  <a:lnTo>
                    <a:pt x="922" y="317"/>
                  </a:lnTo>
                  <a:lnTo>
                    <a:pt x="933" y="317"/>
                  </a:lnTo>
                  <a:lnTo>
                    <a:pt x="946" y="315"/>
                  </a:lnTo>
                  <a:lnTo>
                    <a:pt x="957" y="314"/>
                  </a:lnTo>
                  <a:lnTo>
                    <a:pt x="981" y="308"/>
                  </a:lnTo>
                  <a:lnTo>
                    <a:pt x="1006" y="300"/>
                  </a:lnTo>
                  <a:lnTo>
                    <a:pt x="1030" y="294"/>
                  </a:lnTo>
                  <a:lnTo>
                    <a:pt x="1054" y="288"/>
                  </a:lnTo>
                  <a:lnTo>
                    <a:pt x="1066" y="286"/>
                  </a:lnTo>
                  <a:lnTo>
                    <a:pt x="1077" y="285"/>
                  </a:lnTo>
                  <a:lnTo>
                    <a:pt x="1088" y="285"/>
                  </a:lnTo>
                  <a:lnTo>
                    <a:pt x="1100" y="285"/>
                  </a:lnTo>
                  <a:lnTo>
                    <a:pt x="1106" y="286"/>
                  </a:lnTo>
                  <a:lnTo>
                    <a:pt x="1113" y="288"/>
                  </a:lnTo>
                  <a:lnTo>
                    <a:pt x="1120" y="291"/>
                  </a:lnTo>
                  <a:lnTo>
                    <a:pt x="1126" y="293"/>
                  </a:lnTo>
                  <a:lnTo>
                    <a:pt x="1138" y="301"/>
                  </a:lnTo>
                  <a:lnTo>
                    <a:pt x="1151" y="311"/>
                  </a:lnTo>
                  <a:lnTo>
                    <a:pt x="1177" y="333"/>
                  </a:lnTo>
                  <a:lnTo>
                    <a:pt x="1203" y="355"/>
                  </a:lnTo>
                  <a:lnTo>
                    <a:pt x="1218" y="365"/>
                  </a:lnTo>
                  <a:lnTo>
                    <a:pt x="1231" y="374"/>
                  </a:lnTo>
                  <a:lnTo>
                    <a:pt x="1239" y="378"/>
                  </a:lnTo>
                  <a:lnTo>
                    <a:pt x="1246" y="382"/>
                  </a:lnTo>
                  <a:lnTo>
                    <a:pt x="1253" y="385"/>
                  </a:lnTo>
                  <a:lnTo>
                    <a:pt x="1260" y="387"/>
                  </a:lnTo>
                  <a:lnTo>
                    <a:pt x="1269" y="388"/>
                  </a:lnTo>
                  <a:lnTo>
                    <a:pt x="1276" y="389"/>
                  </a:lnTo>
                  <a:lnTo>
                    <a:pt x="1284" y="389"/>
                  </a:lnTo>
                  <a:lnTo>
                    <a:pt x="1293" y="388"/>
                  </a:lnTo>
                  <a:lnTo>
                    <a:pt x="1301" y="387"/>
                  </a:lnTo>
                  <a:lnTo>
                    <a:pt x="1309" y="384"/>
                  </a:lnTo>
                  <a:lnTo>
                    <a:pt x="1318" y="381"/>
                  </a:lnTo>
                  <a:lnTo>
                    <a:pt x="1326" y="375"/>
                  </a:lnTo>
                  <a:lnTo>
                    <a:pt x="1343" y="365"/>
                  </a:lnTo>
                  <a:lnTo>
                    <a:pt x="1355" y="359"/>
                  </a:lnTo>
                  <a:lnTo>
                    <a:pt x="1365" y="354"/>
                  </a:lnTo>
                  <a:lnTo>
                    <a:pt x="1372" y="351"/>
                  </a:lnTo>
                  <a:lnTo>
                    <a:pt x="1380" y="349"/>
                  </a:lnTo>
                  <a:lnTo>
                    <a:pt x="1391" y="349"/>
                  </a:lnTo>
                  <a:lnTo>
                    <a:pt x="1404" y="349"/>
                  </a:lnTo>
                  <a:lnTo>
                    <a:pt x="1423" y="349"/>
                  </a:lnTo>
                  <a:lnTo>
                    <a:pt x="1430" y="349"/>
                  </a:lnTo>
                  <a:lnTo>
                    <a:pt x="1439" y="348"/>
                  </a:lnTo>
                  <a:lnTo>
                    <a:pt x="1446" y="346"/>
                  </a:lnTo>
                  <a:lnTo>
                    <a:pt x="1453" y="344"/>
                  </a:lnTo>
                  <a:lnTo>
                    <a:pt x="1466" y="339"/>
                  </a:lnTo>
                  <a:lnTo>
                    <a:pt x="1478" y="332"/>
                  </a:lnTo>
                  <a:lnTo>
                    <a:pt x="1491" y="325"/>
                  </a:lnTo>
                  <a:lnTo>
                    <a:pt x="1502" y="319"/>
                  </a:lnTo>
                  <a:lnTo>
                    <a:pt x="1509" y="316"/>
                  </a:lnTo>
                  <a:lnTo>
                    <a:pt x="1515" y="314"/>
                  </a:lnTo>
                  <a:lnTo>
                    <a:pt x="1521" y="312"/>
                  </a:lnTo>
                  <a:lnTo>
                    <a:pt x="1528" y="311"/>
                  </a:lnTo>
                  <a:lnTo>
                    <a:pt x="1524" y="312"/>
                  </a:lnTo>
                  <a:lnTo>
                    <a:pt x="1555" y="312"/>
                  </a:lnTo>
                  <a:lnTo>
                    <a:pt x="1590" y="313"/>
                  </a:lnTo>
                  <a:lnTo>
                    <a:pt x="1608" y="314"/>
                  </a:lnTo>
                  <a:lnTo>
                    <a:pt x="1625" y="316"/>
                  </a:lnTo>
                  <a:lnTo>
                    <a:pt x="1634" y="317"/>
                  </a:lnTo>
                  <a:lnTo>
                    <a:pt x="1641" y="319"/>
                  </a:lnTo>
                  <a:lnTo>
                    <a:pt x="1648" y="321"/>
                  </a:lnTo>
                  <a:lnTo>
                    <a:pt x="1656" y="324"/>
                  </a:lnTo>
                  <a:lnTo>
                    <a:pt x="1661" y="327"/>
                  </a:lnTo>
                  <a:lnTo>
                    <a:pt x="1665" y="332"/>
                  </a:lnTo>
                  <a:lnTo>
                    <a:pt x="1668" y="336"/>
                  </a:lnTo>
                  <a:lnTo>
                    <a:pt x="1671" y="340"/>
                  </a:lnTo>
                  <a:lnTo>
                    <a:pt x="1678" y="348"/>
                  </a:lnTo>
                  <a:lnTo>
                    <a:pt x="1686" y="357"/>
                  </a:lnTo>
                  <a:lnTo>
                    <a:pt x="1693" y="360"/>
                  </a:lnTo>
                  <a:lnTo>
                    <a:pt x="1703" y="361"/>
                  </a:lnTo>
                  <a:lnTo>
                    <a:pt x="1713" y="362"/>
                  </a:lnTo>
                  <a:lnTo>
                    <a:pt x="1724" y="363"/>
                  </a:lnTo>
                  <a:lnTo>
                    <a:pt x="1735" y="364"/>
                  </a:lnTo>
                  <a:lnTo>
                    <a:pt x="1743" y="365"/>
                  </a:lnTo>
                  <a:lnTo>
                    <a:pt x="1747" y="366"/>
                  </a:lnTo>
                  <a:lnTo>
                    <a:pt x="1751" y="368"/>
                  </a:lnTo>
                  <a:lnTo>
                    <a:pt x="1753" y="370"/>
                  </a:lnTo>
                  <a:lnTo>
                    <a:pt x="1754" y="372"/>
                  </a:lnTo>
                  <a:lnTo>
                    <a:pt x="1756" y="385"/>
                  </a:lnTo>
                  <a:lnTo>
                    <a:pt x="1757" y="396"/>
                  </a:lnTo>
                  <a:lnTo>
                    <a:pt x="1757" y="407"/>
                  </a:lnTo>
                  <a:lnTo>
                    <a:pt x="1757" y="417"/>
                  </a:lnTo>
                  <a:lnTo>
                    <a:pt x="1758" y="427"/>
                  </a:lnTo>
                  <a:lnTo>
                    <a:pt x="1760" y="437"/>
                  </a:lnTo>
                  <a:lnTo>
                    <a:pt x="1762" y="442"/>
                  </a:lnTo>
                  <a:lnTo>
                    <a:pt x="1765" y="447"/>
                  </a:lnTo>
                  <a:lnTo>
                    <a:pt x="1769" y="453"/>
                  </a:lnTo>
                  <a:lnTo>
                    <a:pt x="1775" y="458"/>
                  </a:lnTo>
                  <a:lnTo>
                    <a:pt x="1784" y="466"/>
                  </a:lnTo>
                  <a:lnTo>
                    <a:pt x="1796" y="474"/>
                  </a:lnTo>
                  <a:lnTo>
                    <a:pt x="1810" y="481"/>
                  </a:lnTo>
                  <a:lnTo>
                    <a:pt x="1824" y="489"/>
                  </a:lnTo>
                  <a:lnTo>
                    <a:pt x="1836" y="499"/>
                  </a:lnTo>
                  <a:lnTo>
                    <a:pt x="1847" y="508"/>
                  </a:lnTo>
                  <a:lnTo>
                    <a:pt x="1852" y="513"/>
                  </a:lnTo>
                  <a:lnTo>
                    <a:pt x="1856" y="518"/>
                  </a:lnTo>
                  <a:lnTo>
                    <a:pt x="1858" y="524"/>
                  </a:lnTo>
                  <a:lnTo>
                    <a:pt x="1859" y="530"/>
                  </a:lnTo>
                  <a:lnTo>
                    <a:pt x="1867" y="537"/>
                  </a:lnTo>
                  <a:lnTo>
                    <a:pt x="1876" y="548"/>
                  </a:lnTo>
                  <a:lnTo>
                    <a:pt x="1885" y="558"/>
                  </a:lnTo>
                  <a:lnTo>
                    <a:pt x="1894" y="567"/>
                  </a:lnTo>
                  <a:lnTo>
                    <a:pt x="1902" y="574"/>
                  </a:lnTo>
                  <a:lnTo>
                    <a:pt x="1908" y="580"/>
                  </a:lnTo>
                  <a:lnTo>
                    <a:pt x="1913" y="586"/>
                  </a:lnTo>
                  <a:lnTo>
                    <a:pt x="1917" y="592"/>
                  </a:lnTo>
                  <a:lnTo>
                    <a:pt x="1927" y="605"/>
                  </a:lnTo>
                  <a:lnTo>
                    <a:pt x="1936" y="620"/>
                  </a:lnTo>
                  <a:lnTo>
                    <a:pt x="1936" y="628"/>
                  </a:lnTo>
                  <a:lnTo>
                    <a:pt x="1935" y="636"/>
                  </a:lnTo>
                  <a:lnTo>
                    <a:pt x="1933" y="644"/>
                  </a:lnTo>
                  <a:lnTo>
                    <a:pt x="1931" y="651"/>
                  </a:lnTo>
                  <a:lnTo>
                    <a:pt x="1928" y="658"/>
                  </a:lnTo>
                  <a:lnTo>
                    <a:pt x="1925" y="664"/>
                  </a:lnTo>
                  <a:lnTo>
                    <a:pt x="1922" y="671"/>
                  </a:lnTo>
                  <a:lnTo>
                    <a:pt x="1916" y="676"/>
                  </a:lnTo>
                  <a:lnTo>
                    <a:pt x="1907" y="687"/>
                  </a:lnTo>
                  <a:lnTo>
                    <a:pt x="1897" y="697"/>
                  </a:lnTo>
                  <a:lnTo>
                    <a:pt x="1885" y="707"/>
                  </a:lnTo>
                  <a:lnTo>
                    <a:pt x="1874" y="719"/>
                  </a:lnTo>
                  <a:lnTo>
                    <a:pt x="1863" y="729"/>
                  </a:lnTo>
                  <a:lnTo>
                    <a:pt x="1856" y="737"/>
                  </a:lnTo>
                  <a:lnTo>
                    <a:pt x="1852" y="746"/>
                  </a:lnTo>
                  <a:lnTo>
                    <a:pt x="1850" y="754"/>
                  </a:lnTo>
                  <a:lnTo>
                    <a:pt x="1846" y="773"/>
                  </a:lnTo>
                  <a:lnTo>
                    <a:pt x="1842" y="798"/>
                  </a:lnTo>
                  <a:lnTo>
                    <a:pt x="1839" y="806"/>
                  </a:lnTo>
                  <a:lnTo>
                    <a:pt x="1834" y="815"/>
                  </a:lnTo>
                  <a:lnTo>
                    <a:pt x="1828" y="823"/>
                  </a:lnTo>
                  <a:lnTo>
                    <a:pt x="1819" y="831"/>
                  </a:lnTo>
                  <a:lnTo>
                    <a:pt x="1801" y="847"/>
                  </a:lnTo>
                  <a:lnTo>
                    <a:pt x="1781" y="864"/>
                  </a:lnTo>
                  <a:lnTo>
                    <a:pt x="1761" y="879"/>
                  </a:lnTo>
                  <a:lnTo>
                    <a:pt x="1744" y="896"/>
                  </a:lnTo>
                  <a:lnTo>
                    <a:pt x="1738" y="903"/>
                  </a:lnTo>
                  <a:lnTo>
                    <a:pt x="1733" y="912"/>
                  </a:lnTo>
                  <a:lnTo>
                    <a:pt x="1730" y="920"/>
                  </a:lnTo>
                  <a:lnTo>
                    <a:pt x="1728" y="928"/>
                  </a:lnTo>
                  <a:lnTo>
                    <a:pt x="1730" y="934"/>
                  </a:lnTo>
                  <a:lnTo>
                    <a:pt x="1734" y="941"/>
                  </a:lnTo>
                  <a:lnTo>
                    <a:pt x="1740" y="949"/>
                  </a:lnTo>
                  <a:lnTo>
                    <a:pt x="1747" y="959"/>
                  </a:lnTo>
                  <a:lnTo>
                    <a:pt x="1763" y="976"/>
                  </a:lnTo>
                  <a:lnTo>
                    <a:pt x="1773" y="988"/>
                  </a:lnTo>
                  <a:lnTo>
                    <a:pt x="1781" y="994"/>
                  </a:lnTo>
                  <a:lnTo>
                    <a:pt x="1789" y="999"/>
                  </a:lnTo>
                  <a:lnTo>
                    <a:pt x="1798" y="1005"/>
                  </a:lnTo>
                  <a:lnTo>
                    <a:pt x="1809" y="1009"/>
                  </a:lnTo>
                  <a:lnTo>
                    <a:pt x="1830" y="1015"/>
                  </a:lnTo>
                  <a:lnTo>
                    <a:pt x="1850" y="1020"/>
                  </a:lnTo>
                  <a:lnTo>
                    <a:pt x="1853" y="1029"/>
                  </a:lnTo>
                  <a:lnTo>
                    <a:pt x="1854" y="1035"/>
                  </a:lnTo>
                  <a:lnTo>
                    <a:pt x="1853" y="1042"/>
                  </a:lnTo>
                  <a:lnTo>
                    <a:pt x="1851" y="1049"/>
                  </a:lnTo>
                  <a:lnTo>
                    <a:pt x="1849" y="1056"/>
                  </a:lnTo>
                  <a:lnTo>
                    <a:pt x="1846" y="1063"/>
                  </a:lnTo>
                  <a:lnTo>
                    <a:pt x="1844" y="1070"/>
                  </a:lnTo>
                  <a:lnTo>
                    <a:pt x="1844" y="1079"/>
                  </a:lnTo>
                  <a:lnTo>
                    <a:pt x="1908" y="1151"/>
                  </a:lnTo>
                  <a:lnTo>
                    <a:pt x="1917" y="1150"/>
                  </a:lnTo>
                  <a:lnTo>
                    <a:pt x="1926" y="1147"/>
                  </a:lnTo>
                  <a:lnTo>
                    <a:pt x="1933" y="1144"/>
                  </a:lnTo>
                  <a:lnTo>
                    <a:pt x="1939" y="1140"/>
                  </a:lnTo>
                  <a:lnTo>
                    <a:pt x="1944" y="1136"/>
                  </a:lnTo>
                  <a:lnTo>
                    <a:pt x="1952" y="1131"/>
                  </a:lnTo>
                  <a:lnTo>
                    <a:pt x="1958" y="1127"/>
                  </a:lnTo>
                  <a:lnTo>
                    <a:pt x="1966" y="1123"/>
                  </a:lnTo>
                  <a:lnTo>
                    <a:pt x="1985" y="1118"/>
                  </a:lnTo>
                  <a:lnTo>
                    <a:pt x="2004" y="1115"/>
                  </a:lnTo>
                  <a:lnTo>
                    <a:pt x="2024" y="1114"/>
                  </a:lnTo>
                  <a:lnTo>
                    <a:pt x="2042" y="1114"/>
                  </a:lnTo>
                  <a:lnTo>
                    <a:pt x="2082" y="1116"/>
                  </a:lnTo>
                  <a:lnTo>
                    <a:pt x="2120" y="1119"/>
                  </a:lnTo>
                  <a:lnTo>
                    <a:pt x="2140" y="1120"/>
                  </a:lnTo>
                  <a:lnTo>
                    <a:pt x="2159" y="1119"/>
                  </a:lnTo>
                  <a:lnTo>
                    <a:pt x="2176" y="1118"/>
                  </a:lnTo>
                  <a:lnTo>
                    <a:pt x="2193" y="1117"/>
                  </a:lnTo>
                  <a:lnTo>
                    <a:pt x="2225" y="1111"/>
                  </a:lnTo>
                  <a:lnTo>
                    <a:pt x="2262" y="1104"/>
                  </a:lnTo>
                  <a:lnTo>
                    <a:pt x="2262" y="1104"/>
                  </a:lnTo>
                  <a:lnTo>
                    <a:pt x="2272" y="1106"/>
                  </a:lnTo>
                  <a:lnTo>
                    <a:pt x="2282" y="1109"/>
                  </a:lnTo>
                  <a:lnTo>
                    <a:pt x="2292" y="1111"/>
                  </a:lnTo>
                  <a:lnTo>
                    <a:pt x="2299" y="1115"/>
                  </a:lnTo>
                  <a:lnTo>
                    <a:pt x="2301" y="1115"/>
                  </a:lnTo>
                  <a:lnTo>
                    <a:pt x="2308" y="1123"/>
                  </a:lnTo>
                  <a:lnTo>
                    <a:pt x="2314" y="1131"/>
                  </a:lnTo>
                  <a:lnTo>
                    <a:pt x="2316" y="1138"/>
                  </a:lnTo>
                  <a:lnTo>
                    <a:pt x="2316" y="1145"/>
                  </a:lnTo>
                  <a:lnTo>
                    <a:pt x="2315" y="1153"/>
                  </a:lnTo>
                  <a:lnTo>
                    <a:pt x="2311" y="1161"/>
                  </a:lnTo>
                  <a:lnTo>
                    <a:pt x="2307" y="1171"/>
                  </a:lnTo>
                  <a:lnTo>
                    <a:pt x="2303" y="1182"/>
                  </a:lnTo>
                  <a:lnTo>
                    <a:pt x="2300" y="1190"/>
                  </a:lnTo>
                  <a:lnTo>
                    <a:pt x="2297" y="1199"/>
                  </a:lnTo>
                  <a:lnTo>
                    <a:pt x="2295" y="1208"/>
                  </a:lnTo>
                  <a:lnTo>
                    <a:pt x="2294" y="1218"/>
                  </a:lnTo>
                  <a:lnTo>
                    <a:pt x="2292" y="1239"/>
                  </a:lnTo>
                  <a:lnTo>
                    <a:pt x="2291" y="1261"/>
                  </a:lnTo>
                  <a:lnTo>
                    <a:pt x="2292" y="1284"/>
                  </a:lnTo>
                  <a:lnTo>
                    <a:pt x="2295" y="1305"/>
                  </a:lnTo>
                  <a:lnTo>
                    <a:pt x="2297" y="1314"/>
                  </a:lnTo>
                  <a:lnTo>
                    <a:pt x="2299" y="1324"/>
                  </a:lnTo>
                  <a:lnTo>
                    <a:pt x="2302" y="1332"/>
                  </a:lnTo>
                  <a:lnTo>
                    <a:pt x="2305" y="1340"/>
                  </a:lnTo>
                  <a:lnTo>
                    <a:pt x="2317" y="1362"/>
                  </a:lnTo>
                  <a:lnTo>
                    <a:pt x="2329" y="1384"/>
                  </a:lnTo>
                  <a:lnTo>
                    <a:pt x="2334" y="1396"/>
                  </a:lnTo>
                  <a:lnTo>
                    <a:pt x="2339" y="1407"/>
                  </a:lnTo>
                  <a:lnTo>
                    <a:pt x="2342" y="1419"/>
                  </a:lnTo>
                  <a:lnTo>
                    <a:pt x="2343" y="1432"/>
                  </a:lnTo>
                  <a:lnTo>
                    <a:pt x="2343" y="1436"/>
                  </a:lnTo>
                  <a:lnTo>
                    <a:pt x="2341" y="1440"/>
                  </a:lnTo>
                  <a:lnTo>
                    <a:pt x="2338" y="1444"/>
                  </a:lnTo>
                  <a:lnTo>
                    <a:pt x="2333" y="1447"/>
                  </a:lnTo>
                  <a:lnTo>
                    <a:pt x="2323" y="1453"/>
                  </a:lnTo>
                  <a:lnTo>
                    <a:pt x="2311" y="1458"/>
                  </a:lnTo>
                  <a:lnTo>
                    <a:pt x="2285" y="1468"/>
                  </a:lnTo>
                  <a:lnTo>
                    <a:pt x="2267" y="1475"/>
                  </a:lnTo>
                  <a:lnTo>
                    <a:pt x="2259" y="1479"/>
                  </a:lnTo>
                  <a:lnTo>
                    <a:pt x="2254" y="1484"/>
                  </a:lnTo>
                  <a:lnTo>
                    <a:pt x="2251" y="1491"/>
                  </a:lnTo>
                  <a:lnTo>
                    <a:pt x="2250" y="1497"/>
                  </a:lnTo>
                  <a:lnTo>
                    <a:pt x="2249" y="1503"/>
                  </a:lnTo>
                  <a:lnTo>
                    <a:pt x="2251" y="1511"/>
                  </a:lnTo>
                  <a:lnTo>
                    <a:pt x="2253" y="1518"/>
                  </a:lnTo>
                  <a:lnTo>
                    <a:pt x="2255" y="1526"/>
                  </a:lnTo>
                  <a:lnTo>
                    <a:pt x="2262" y="1542"/>
                  </a:lnTo>
                  <a:lnTo>
                    <a:pt x="2269" y="1557"/>
                  </a:lnTo>
                  <a:lnTo>
                    <a:pt x="2272" y="1565"/>
                  </a:lnTo>
                  <a:lnTo>
                    <a:pt x="2273" y="1572"/>
                  </a:lnTo>
                  <a:lnTo>
                    <a:pt x="2274" y="1579"/>
                  </a:lnTo>
                  <a:lnTo>
                    <a:pt x="2274" y="1587"/>
                  </a:lnTo>
                  <a:lnTo>
                    <a:pt x="2270" y="1600"/>
                  </a:lnTo>
                  <a:lnTo>
                    <a:pt x="2267" y="1613"/>
                  </a:lnTo>
                  <a:lnTo>
                    <a:pt x="2262" y="1625"/>
                  </a:lnTo>
                  <a:lnTo>
                    <a:pt x="2257" y="1638"/>
                  </a:lnTo>
                  <a:lnTo>
                    <a:pt x="2255" y="1648"/>
                  </a:lnTo>
                  <a:lnTo>
                    <a:pt x="2255" y="1657"/>
                  </a:lnTo>
                  <a:lnTo>
                    <a:pt x="2256" y="1665"/>
                  </a:lnTo>
                  <a:lnTo>
                    <a:pt x="2258" y="1672"/>
                  </a:lnTo>
                  <a:lnTo>
                    <a:pt x="2265" y="1687"/>
                  </a:lnTo>
                  <a:lnTo>
                    <a:pt x="2269" y="1704"/>
                  </a:lnTo>
                  <a:lnTo>
                    <a:pt x="2280" y="1719"/>
                  </a:lnTo>
                  <a:lnTo>
                    <a:pt x="2296" y="1742"/>
                  </a:lnTo>
                  <a:lnTo>
                    <a:pt x="2302" y="1754"/>
                  </a:lnTo>
                  <a:lnTo>
                    <a:pt x="2305" y="1764"/>
                  </a:lnTo>
                  <a:lnTo>
                    <a:pt x="2306" y="1769"/>
                  </a:lnTo>
                  <a:lnTo>
                    <a:pt x="2306" y="1774"/>
                  </a:lnTo>
                  <a:lnTo>
                    <a:pt x="2305" y="1779"/>
                  </a:lnTo>
                  <a:lnTo>
                    <a:pt x="2303" y="1783"/>
                  </a:lnTo>
                  <a:lnTo>
                    <a:pt x="2296" y="1790"/>
                  </a:lnTo>
                  <a:lnTo>
                    <a:pt x="2286" y="1796"/>
                  </a:lnTo>
                  <a:lnTo>
                    <a:pt x="2276" y="1803"/>
                  </a:lnTo>
                  <a:lnTo>
                    <a:pt x="2267" y="1808"/>
                  </a:lnTo>
                  <a:lnTo>
                    <a:pt x="2261" y="1811"/>
                  </a:lnTo>
                  <a:lnTo>
                    <a:pt x="2258" y="1815"/>
                  </a:lnTo>
                  <a:lnTo>
                    <a:pt x="2256" y="1819"/>
                  </a:lnTo>
                  <a:lnTo>
                    <a:pt x="2253" y="1825"/>
                  </a:lnTo>
                  <a:lnTo>
                    <a:pt x="2251" y="1830"/>
                  </a:lnTo>
                  <a:lnTo>
                    <a:pt x="2249" y="1834"/>
                  </a:lnTo>
                  <a:lnTo>
                    <a:pt x="2247" y="1837"/>
                  </a:lnTo>
                  <a:lnTo>
                    <a:pt x="2244" y="1840"/>
                  </a:lnTo>
                  <a:lnTo>
                    <a:pt x="2243" y="1851"/>
                  </a:lnTo>
                  <a:lnTo>
                    <a:pt x="2238" y="1861"/>
                  </a:lnTo>
                  <a:lnTo>
                    <a:pt x="2233" y="1870"/>
                  </a:lnTo>
                  <a:lnTo>
                    <a:pt x="2227" y="1880"/>
                  </a:lnTo>
                  <a:lnTo>
                    <a:pt x="2220" y="1888"/>
                  </a:lnTo>
                  <a:lnTo>
                    <a:pt x="2211" y="1895"/>
                  </a:lnTo>
                  <a:lnTo>
                    <a:pt x="2202" y="1901"/>
                  </a:lnTo>
                  <a:lnTo>
                    <a:pt x="2192" y="1905"/>
                  </a:lnTo>
                  <a:lnTo>
                    <a:pt x="2182" y="1908"/>
                  </a:lnTo>
                  <a:lnTo>
                    <a:pt x="2175" y="1912"/>
                  </a:lnTo>
                  <a:lnTo>
                    <a:pt x="2171" y="1916"/>
                  </a:lnTo>
                  <a:lnTo>
                    <a:pt x="2168" y="1922"/>
                  </a:lnTo>
                  <a:lnTo>
                    <a:pt x="2167" y="1927"/>
                  </a:lnTo>
                  <a:lnTo>
                    <a:pt x="2168" y="1932"/>
                  </a:lnTo>
                  <a:lnTo>
                    <a:pt x="2169" y="1938"/>
                  </a:lnTo>
                  <a:lnTo>
                    <a:pt x="2172" y="1946"/>
                  </a:lnTo>
                  <a:lnTo>
                    <a:pt x="2179" y="1959"/>
                  </a:lnTo>
                  <a:lnTo>
                    <a:pt x="2186" y="1973"/>
                  </a:lnTo>
                  <a:lnTo>
                    <a:pt x="2191" y="1980"/>
                  </a:lnTo>
                  <a:lnTo>
                    <a:pt x="2194" y="1987"/>
                  </a:lnTo>
                  <a:lnTo>
                    <a:pt x="2197" y="1995"/>
                  </a:lnTo>
                  <a:lnTo>
                    <a:pt x="2198" y="2001"/>
                  </a:lnTo>
                  <a:lnTo>
                    <a:pt x="2199" y="2015"/>
                  </a:lnTo>
                  <a:lnTo>
                    <a:pt x="2198" y="2029"/>
                  </a:lnTo>
                  <a:lnTo>
                    <a:pt x="2197" y="2044"/>
                  </a:lnTo>
                  <a:lnTo>
                    <a:pt x="2198" y="2058"/>
                  </a:lnTo>
                  <a:lnTo>
                    <a:pt x="2202" y="2073"/>
                  </a:lnTo>
                  <a:lnTo>
                    <a:pt x="2207" y="2086"/>
                  </a:lnTo>
                  <a:lnTo>
                    <a:pt x="2212" y="2099"/>
                  </a:lnTo>
                  <a:lnTo>
                    <a:pt x="2217" y="2114"/>
                  </a:lnTo>
                  <a:lnTo>
                    <a:pt x="2217" y="2114"/>
                  </a:lnTo>
                  <a:lnTo>
                    <a:pt x="2201" y="2134"/>
                  </a:lnTo>
                  <a:lnTo>
                    <a:pt x="2188" y="2154"/>
                  </a:lnTo>
                  <a:lnTo>
                    <a:pt x="2183" y="2164"/>
                  </a:lnTo>
                  <a:lnTo>
                    <a:pt x="2178" y="2174"/>
                  </a:lnTo>
                  <a:lnTo>
                    <a:pt x="2174" y="2183"/>
                  </a:lnTo>
                  <a:lnTo>
                    <a:pt x="2171" y="2194"/>
                  </a:lnTo>
                  <a:lnTo>
                    <a:pt x="2168" y="2204"/>
                  </a:lnTo>
                  <a:lnTo>
                    <a:pt x="2166" y="2215"/>
                  </a:lnTo>
                  <a:lnTo>
                    <a:pt x="2163" y="2226"/>
                  </a:lnTo>
                  <a:lnTo>
                    <a:pt x="2162" y="2238"/>
                  </a:lnTo>
                  <a:lnTo>
                    <a:pt x="2161" y="2262"/>
                  </a:lnTo>
                  <a:lnTo>
                    <a:pt x="2161" y="2289"/>
                  </a:lnTo>
                  <a:lnTo>
                    <a:pt x="2163" y="2316"/>
                  </a:lnTo>
                  <a:lnTo>
                    <a:pt x="2168" y="2342"/>
                  </a:lnTo>
                  <a:lnTo>
                    <a:pt x="2173" y="2368"/>
                  </a:lnTo>
                  <a:lnTo>
                    <a:pt x="2180" y="2394"/>
                  </a:lnTo>
                  <a:lnTo>
                    <a:pt x="2188" y="2418"/>
                  </a:lnTo>
                  <a:lnTo>
                    <a:pt x="2195" y="2437"/>
                  </a:lnTo>
                  <a:lnTo>
                    <a:pt x="2195" y="2441"/>
                  </a:lnTo>
                  <a:lnTo>
                    <a:pt x="2195" y="2445"/>
                  </a:lnTo>
                  <a:lnTo>
                    <a:pt x="2194" y="2449"/>
                  </a:lnTo>
                  <a:lnTo>
                    <a:pt x="2192" y="2454"/>
                  </a:lnTo>
                  <a:lnTo>
                    <a:pt x="2188" y="2458"/>
                  </a:lnTo>
                  <a:lnTo>
                    <a:pt x="2185" y="2462"/>
                  </a:lnTo>
                  <a:lnTo>
                    <a:pt x="2180" y="2466"/>
                  </a:lnTo>
                  <a:lnTo>
                    <a:pt x="2173" y="2470"/>
                  </a:lnTo>
                  <a:lnTo>
                    <a:pt x="2172" y="2477"/>
                  </a:lnTo>
                  <a:lnTo>
                    <a:pt x="2169" y="2482"/>
                  </a:lnTo>
                  <a:lnTo>
                    <a:pt x="2164" y="2486"/>
                  </a:lnTo>
                  <a:lnTo>
                    <a:pt x="2159" y="2490"/>
                  </a:lnTo>
                  <a:lnTo>
                    <a:pt x="2153" y="2493"/>
                  </a:lnTo>
                  <a:lnTo>
                    <a:pt x="2147" y="2494"/>
                  </a:lnTo>
                  <a:lnTo>
                    <a:pt x="2139" y="2496"/>
                  </a:lnTo>
                  <a:lnTo>
                    <a:pt x="2132" y="2496"/>
                  </a:lnTo>
                  <a:lnTo>
                    <a:pt x="2116" y="2497"/>
                  </a:lnTo>
                  <a:lnTo>
                    <a:pt x="2102" y="2496"/>
                  </a:lnTo>
                  <a:lnTo>
                    <a:pt x="2088" y="2494"/>
                  </a:lnTo>
                  <a:lnTo>
                    <a:pt x="2078" y="2493"/>
                  </a:lnTo>
                  <a:lnTo>
                    <a:pt x="2074" y="2485"/>
                  </a:lnTo>
                  <a:lnTo>
                    <a:pt x="2072" y="2476"/>
                  </a:lnTo>
                  <a:lnTo>
                    <a:pt x="2070" y="2465"/>
                  </a:lnTo>
                  <a:lnTo>
                    <a:pt x="2069" y="2455"/>
                  </a:lnTo>
                  <a:lnTo>
                    <a:pt x="2067" y="2434"/>
                  </a:lnTo>
                  <a:lnTo>
                    <a:pt x="2069" y="2411"/>
                  </a:lnTo>
                  <a:lnTo>
                    <a:pt x="2070" y="2389"/>
                  </a:lnTo>
                  <a:lnTo>
                    <a:pt x="2071" y="2366"/>
                  </a:lnTo>
                  <a:lnTo>
                    <a:pt x="2071" y="2355"/>
                  </a:lnTo>
                  <a:lnTo>
                    <a:pt x="2070" y="2344"/>
                  </a:lnTo>
                  <a:lnTo>
                    <a:pt x="2069" y="2334"/>
                  </a:lnTo>
                  <a:lnTo>
                    <a:pt x="2066" y="2323"/>
                  </a:lnTo>
                  <a:lnTo>
                    <a:pt x="2063" y="2323"/>
                  </a:lnTo>
                  <a:lnTo>
                    <a:pt x="2059" y="2324"/>
                  </a:lnTo>
                  <a:lnTo>
                    <a:pt x="2053" y="2325"/>
                  </a:lnTo>
                  <a:lnTo>
                    <a:pt x="2047" y="2327"/>
                  </a:lnTo>
                  <a:lnTo>
                    <a:pt x="2031" y="2334"/>
                  </a:lnTo>
                  <a:lnTo>
                    <a:pt x="2015" y="2341"/>
                  </a:lnTo>
                  <a:lnTo>
                    <a:pt x="2000" y="2348"/>
                  </a:lnTo>
                  <a:lnTo>
                    <a:pt x="1986" y="2356"/>
                  </a:lnTo>
                  <a:lnTo>
                    <a:pt x="1976" y="2362"/>
                  </a:lnTo>
                  <a:lnTo>
                    <a:pt x="1972" y="2365"/>
                  </a:lnTo>
                  <a:lnTo>
                    <a:pt x="1967" y="2384"/>
                  </a:lnTo>
                  <a:lnTo>
                    <a:pt x="1965" y="2398"/>
                  </a:lnTo>
                  <a:lnTo>
                    <a:pt x="1963" y="2401"/>
                  </a:lnTo>
                  <a:lnTo>
                    <a:pt x="1961" y="2404"/>
                  </a:lnTo>
                  <a:lnTo>
                    <a:pt x="1959" y="2406"/>
                  </a:lnTo>
                  <a:lnTo>
                    <a:pt x="1956" y="2408"/>
                  </a:lnTo>
                  <a:lnTo>
                    <a:pt x="1951" y="2409"/>
                  </a:lnTo>
                  <a:lnTo>
                    <a:pt x="1946" y="2410"/>
                  </a:lnTo>
                  <a:lnTo>
                    <a:pt x="1939" y="2411"/>
                  </a:lnTo>
                  <a:lnTo>
                    <a:pt x="1932" y="2411"/>
                  </a:lnTo>
                  <a:lnTo>
                    <a:pt x="1915" y="2411"/>
                  </a:lnTo>
                  <a:lnTo>
                    <a:pt x="1901" y="2411"/>
                  </a:lnTo>
                  <a:lnTo>
                    <a:pt x="1888" y="2411"/>
                  </a:lnTo>
                  <a:lnTo>
                    <a:pt x="1878" y="2414"/>
                  </a:lnTo>
                  <a:lnTo>
                    <a:pt x="1873" y="2415"/>
                  </a:lnTo>
                  <a:lnTo>
                    <a:pt x="1869" y="2418"/>
                  </a:lnTo>
                  <a:lnTo>
                    <a:pt x="1865" y="2421"/>
                  </a:lnTo>
                  <a:lnTo>
                    <a:pt x="1862" y="2425"/>
                  </a:lnTo>
                  <a:lnTo>
                    <a:pt x="1860" y="2432"/>
                  </a:lnTo>
                  <a:lnTo>
                    <a:pt x="1857" y="2438"/>
                  </a:lnTo>
                  <a:lnTo>
                    <a:pt x="1855" y="2445"/>
                  </a:lnTo>
                  <a:lnTo>
                    <a:pt x="1854" y="2455"/>
                  </a:lnTo>
                  <a:lnTo>
                    <a:pt x="1853" y="2462"/>
                  </a:lnTo>
                  <a:lnTo>
                    <a:pt x="1854" y="2468"/>
                  </a:lnTo>
                  <a:lnTo>
                    <a:pt x="1857" y="2476"/>
                  </a:lnTo>
                  <a:lnTo>
                    <a:pt x="1860" y="2481"/>
                  </a:lnTo>
                  <a:lnTo>
                    <a:pt x="1868" y="2492"/>
                  </a:lnTo>
                  <a:lnTo>
                    <a:pt x="1879" y="2503"/>
                  </a:lnTo>
                  <a:lnTo>
                    <a:pt x="1889" y="2512"/>
                  </a:lnTo>
                  <a:lnTo>
                    <a:pt x="1898" y="2522"/>
                  </a:lnTo>
                  <a:lnTo>
                    <a:pt x="1901" y="2528"/>
                  </a:lnTo>
                  <a:lnTo>
                    <a:pt x="1903" y="2533"/>
                  </a:lnTo>
                  <a:lnTo>
                    <a:pt x="1904" y="2538"/>
                  </a:lnTo>
                  <a:lnTo>
                    <a:pt x="1903" y="2544"/>
                  </a:lnTo>
                  <a:lnTo>
                    <a:pt x="1875" y="2549"/>
                  </a:lnTo>
                  <a:lnTo>
                    <a:pt x="1841" y="2553"/>
                  </a:lnTo>
                  <a:lnTo>
                    <a:pt x="1833" y="2555"/>
                  </a:lnTo>
                  <a:lnTo>
                    <a:pt x="1826" y="2558"/>
                  </a:lnTo>
                  <a:lnTo>
                    <a:pt x="1819" y="2560"/>
                  </a:lnTo>
                  <a:lnTo>
                    <a:pt x="1813" y="2564"/>
                  </a:lnTo>
                  <a:lnTo>
                    <a:pt x="1807" y="2568"/>
                  </a:lnTo>
                  <a:lnTo>
                    <a:pt x="1803" y="2573"/>
                  </a:lnTo>
                  <a:lnTo>
                    <a:pt x="1800" y="2579"/>
                  </a:lnTo>
                  <a:lnTo>
                    <a:pt x="1797" y="2586"/>
                  </a:lnTo>
                  <a:lnTo>
                    <a:pt x="1797" y="2590"/>
                  </a:lnTo>
                  <a:lnTo>
                    <a:pt x="1797" y="2596"/>
                  </a:lnTo>
                  <a:lnTo>
                    <a:pt x="1797" y="2600"/>
                  </a:lnTo>
                  <a:lnTo>
                    <a:pt x="1798" y="2603"/>
                  </a:lnTo>
                  <a:lnTo>
                    <a:pt x="1801" y="2606"/>
                  </a:lnTo>
                  <a:lnTo>
                    <a:pt x="1803" y="2609"/>
                  </a:lnTo>
                  <a:lnTo>
                    <a:pt x="1805" y="2612"/>
                  </a:lnTo>
                  <a:lnTo>
                    <a:pt x="1808" y="2614"/>
                  </a:lnTo>
                  <a:lnTo>
                    <a:pt x="1815" y="2618"/>
                  </a:lnTo>
                  <a:lnTo>
                    <a:pt x="1824" y="2623"/>
                  </a:lnTo>
                  <a:lnTo>
                    <a:pt x="1833" y="2625"/>
                  </a:lnTo>
                  <a:lnTo>
                    <a:pt x="1843" y="2628"/>
                  </a:lnTo>
                  <a:lnTo>
                    <a:pt x="1864" y="2632"/>
                  </a:lnTo>
                  <a:lnTo>
                    <a:pt x="1885" y="2638"/>
                  </a:lnTo>
                  <a:lnTo>
                    <a:pt x="1893" y="2641"/>
                  </a:lnTo>
                  <a:lnTo>
                    <a:pt x="1902" y="2647"/>
                  </a:lnTo>
                  <a:lnTo>
                    <a:pt x="1909" y="2653"/>
                  </a:lnTo>
                  <a:lnTo>
                    <a:pt x="1914" y="2660"/>
                  </a:lnTo>
                  <a:lnTo>
                    <a:pt x="1914" y="2666"/>
                  </a:lnTo>
                  <a:lnTo>
                    <a:pt x="1915" y="2672"/>
                  </a:lnTo>
                  <a:lnTo>
                    <a:pt x="1916" y="2677"/>
                  </a:lnTo>
                  <a:lnTo>
                    <a:pt x="1919" y="2680"/>
                  </a:lnTo>
                  <a:lnTo>
                    <a:pt x="1923" y="2682"/>
                  </a:lnTo>
                  <a:lnTo>
                    <a:pt x="1926" y="2684"/>
                  </a:lnTo>
                  <a:lnTo>
                    <a:pt x="1930" y="2686"/>
                  </a:lnTo>
                  <a:lnTo>
                    <a:pt x="1933" y="2687"/>
                  </a:lnTo>
                  <a:lnTo>
                    <a:pt x="1941" y="2688"/>
                  </a:lnTo>
                  <a:lnTo>
                    <a:pt x="1950" y="2691"/>
                  </a:lnTo>
                  <a:lnTo>
                    <a:pt x="1953" y="2693"/>
                  </a:lnTo>
                  <a:lnTo>
                    <a:pt x="1956" y="2696"/>
                  </a:lnTo>
                  <a:lnTo>
                    <a:pt x="1959" y="2699"/>
                  </a:lnTo>
                  <a:lnTo>
                    <a:pt x="1960" y="2703"/>
                  </a:lnTo>
                  <a:lnTo>
                    <a:pt x="1961" y="2710"/>
                  </a:lnTo>
                  <a:lnTo>
                    <a:pt x="1961" y="2718"/>
                  </a:lnTo>
                  <a:lnTo>
                    <a:pt x="1959" y="2726"/>
                  </a:lnTo>
                  <a:lnTo>
                    <a:pt x="1957" y="2734"/>
                  </a:lnTo>
                  <a:lnTo>
                    <a:pt x="1953" y="2751"/>
                  </a:lnTo>
                  <a:lnTo>
                    <a:pt x="1951" y="2766"/>
                  </a:lnTo>
                  <a:lnTo>
                    <a:pt x="1951" y="2771"/>
                  </a:lnTo>
                  <a:lnTo>
                    <a:pt x="1953" y="2776"/>
                  </a:lnTo>
                  <a:lnTo>
                    <a:pt x="1956" y="2781"/>
                  </a:lnTo>
                  <a:lnTo>
                    <a:pt x="1960" y="2786"/>
                  </a:lnTo>
                  <a:lnTo>
                    <a:pt x="1969" y="2799"/>
                  </a:lnTo>
                  <a:lnTo>
                    <a:pt x="1982" y="2811"/>
                  </a:lnTo>
                  <a:lnTo>
                    <a:pt x="2007" y="2834"/>
                  </a:lnTo>
                  <a:lnTo>
                    <a:pt x="2026" y="2851"/>
                  </a:lnTo>
                  <a:lnTo>
                    <a:pt x="2032" y="2858"/>
                  </a:lnTo>
                  <a:lnTo>
                    <a:pt x="2037" y="2867"/>
                  </a:lnTo>
                  <a:lnTo>
                    <a:pt x="2039" y="2871"/>
                  </a:lnTo>
                  <a:lnTo>
                    <a:pt x="2040" y="2875"/>
                  </a:lnTo>
                  <a:lnTo>
                    <a:pt x="2041" y="2879"/>
                  </a:lnTo>
                  <a:lnTo>
                    <a:pt x="2041" y="2883"/>
                  </a:lnTo>
                  <a:lnTo>
                    <a:pt x="2040" y="2887"/>
                  </a:lnTo>
                  <a:lnTo>
                    <a:pt x="2039" y="2890"/>
                  </a:lnTo>
                  <a:lnTo>
                    <a:pt x="2037" y="2893"/>
                  </a:lnTo>
                  <a:lnTo>
                    <a:pt x="2034" y="2895"/>
                  </a:lnTo>
                  <a:lnTo>
                    <a:pt x="2030" y="2896"/>
                  </a:lnTo>
                  <a:lnTo>
                    <a:pt x="2025" y="2896"/>
                  </a:lnTo>
                  <a:lnTo>
                    <a:pt x="2018" y="2896"/>
                  </a:lnTo>
                  <a:lnTo>
                    <a:pt x="2012" y="2894"/>
                  </a:lnTo>
                  <a:lnTo>
                    <a:pt x="1999" y="2891"/>
                  </a:lnTo>
                  <a:lnTo>
                    <a:pt x="1988" y="2888"/>
                  </a:lnTo>
                  <a:lnTo>
                    <a:pt x="1978" y="2887"/>
                  </a:lnTo>
                  <a:lnTo>
                    <a:pt x="1969" y="2886"/>
                  </a:lnTo>
                  <a:lnTo>
                    <a:pt x="1961" y="2887"/>
                  </a:lnTo>
                  <a:lnTo>
                    <a:pt x="1955" y="2888"/>
                  </a:lnTo>
                  <a:lnTo>
                    <a:pt x="1949" y="2890"/>
                  </a:lnTo>
                  <a:lnTo>
                    <a:pt x="1942" y="2893"/>
                  </a:lnTo>
                  <a:lnTo>
                    <a:pt x="1937" y="2897"/>
                  </a:lnTo>
                  <a:lnTo>
                    <a:pt x="1931" y="2901"/>
                  </a:lnTo>
                  <a:lnTo>
                    <a:pt x="1926" y="2906"/>
                  </a:lnTo>
                  <a:lnTo>
                    <a:pt x="1920" y="2913"/>
                  </a:lnTo>
                  <a:lnTo>
                    <a:pt x="1907" y="2927"/>
                  </a:lnTo>
                  <a:lnTo>
                    <a:pt x="1891" y="2943"/>
                  </a:lnTo>
                  <a:lnTo>
                    <a:pt x="1886" y="2950"/>
                  </a:lnTo>
                  <a:lnTo>
                    <a:pt x="1883" y="2958"/>
                  </a:lnTo>
                  <a:lnTo>
                    <a:pt x="1882" y="2964"/>
                  </a:lnTo>
                  <a:lnTo>
                    <a:pt x="1883" y="2969"/>
                  </a:lnTo>
                  <a:lnTo>
                    <a:pt x="1886" y="2975"/>
                  </a:lnTo>
                  <a:lnTo>
                    <a:pt x="1890" y="2980"/>
                  </a:lnTo>
                  <a:lnTo>
                    <a:pt x="1895" y="2987"/>
                  </a:lnTo>
                  <a:lnTo>
                    <a:pt x="1902" y="2992"/>
                  </a:lnTo>
                  <a:lnTo>
                    <a:pt x="1915" y="3003"/>
                  </a:lnTo>
                  <a:lnTo>
                    <a:pt x="1928" y="3017"/>
                  </a:lnTo>
                  <a:lnTo>
                    <a:pt x="1933" y="3023"/>
                  </a:lnTo>
                  <a:lnTo>
                    <a:pt x="1937" y="3031"/>
                  </a:lnTo>
                  <a:lnTo>
                    <a:pt x="1940" y="3039"/>
                  </a:lnTo>
                  <a:lnTo>
                    <a:pt x="1941" y="3047"/>
                  </a:lnTo>
                  <a:lnTo>
                    <a:pt x="1935" y="3051"/>
                  </a:lnTo>
                  <a:lnTo>
                    <a:pt x="1930" y="3058"/>
                  </a:lnTo>
                  <a:lnTo>
                    <a:pt x="1924" y="3065"/>
                  </a:lnTo>
                  <a:lnTo>
                    <a:pt x="1918" y="3073"/>
                  </a:lnTo>
                  <a:lnTo>
                    <a:pt x="1906" y="3089"/>
                  </a:lnTo>
                  <a:lnTo>
                    <a:pt x="1893" y="3104"/>
                  </a:lnTo>
                  <a:lnTo>
                    <a:pt x="1887" y="3110"/>
                  </a:lnTo>
                  <a:lnTo>
                    <a:pt x="1880" y="3115"/>
                  </a:lnTo>
                  <a:lnTo>
                    <a:pt x="1874" y="3118"/>
                  </a:lnTo>
                  <a:lnTo>
                    <a:pt x="1865" y="3118"/>
                  </a:lnTo>
                  <a:lnTo>
                    <a:pt x="1862" y="3118"/>
                  </a:lnTo>
                  <a:lnTo>
                    <a:pt x="1858" y="3117"/>
                  </a:lnTo>
                  <a:lnTo>
                    <a:pt x="1854" y="3115"/>
                  </a:lnTo>
                  <a:lnTo>
                    <a:pt x="1850" y="3113"/>
                  </a:lnTo>
                  <a:lnTo>
                    <a:pt x="1840" y="3106"/>
                  </a:lnTo>
                  <a:lnTo>
                    <a:pt x="1831" y="3095"/>
                  </a:lnTo>
                  <a:lnTo>
                    <a:pt x="1827" y="3089"/>
                  </a:lnTo>
                  <a:lnTo>
                    <a:pt x="1822" y="3086"/>
                  </a:lnTo>
                  <a:lnTo>
                    <a:pt x="1818" y="3083"/>
                  </a:lnTo>
                  <a:lnTo>
                    <a:pt x="1815" y="3082"/>
                  </a:lnTo>
                  <a:lnTo>
                    <a:pt x="1812" y="3082"/>
                  </a:lnTo>
                  <a:lnTo>
                    <a:pt x="1810" y="3083"/>
                  </a:lnTo>
                  <a:lnTo>
                    <a:pt x="1807" y="3085"/>
                  </a:lnTo>
                  <a:lnTo>
                    <a:pt x="1805" y="3087"/>
                  </a:lnTo>
                  <a:lnTo>
                    <a:pt x="1797" y="3101"/>
                  </a:lnTo>
                  <a:lnTo>
                    <a:pt x="1790" y="3114"/>
                  </a:lnTo>
                  <a:lnTo>
                    <a:pt x="1788" y="3117"/>
                  </a:lnTo>
                  <a:lnTo>
                    <a:pt x="1785" y="3119"/>
                  </a:lnTo>
                  <a:lnTo>
                    <a:pt x="1782" y="3120"/>
                  </a:lnTo>
                  <a:lnTo>
                    <a:pt x="1780" y="3121"/>
                  </a:lnTo>
                  <a:lnTo>
                    <a:pt x="1773" y="3121"/>
                  </a:lnTo>
                  <a:lnTo>
                    <a:pt x="1767" y="3120"/>
                  </a:lnTo>
                  <a:lnTo>
                    <a:pt x="1755" y="3115"/>
                  </a:lnTo>
                  <a:lnTo>
                    <a:pt x="1741" y="3111"/>
                  </a:lnTo>
                  <a:lnTo>
                    <a:pt x="1735" y="3110"/>
                  </a:lnTo>
                  <a:lnTo>
                    <a:pt x="1729" y="3110"/>
                  </a:lnTo>
                  <a:lnTo>
                    <a:pt x="1723" y="3111"/>
                  </a:lnTo>
                  <a:lnTo>
                    <a:pt x="1717" y="3112"/>
                  </a:lnTo>
                  <a:lnTo>
                    <a:pt x="1706" y="3116"/>
                  </a:lnTo>
                  <a:lnTo>
                    <a:pt x="1695" y="3121"/>
                  </a:lnTo>
                  <a:lnTo>
                    <a:pt x="1685" y="3128"/>
                  </a:lnTo>
                  <a:lnTo>
                    <a:pt x="1674" y="3132"/>
                  </a:lnTo>
                  <a:lnTo>
                    <a:pt x="1669" y="3134"/>
                  </a:lnTo>
                  <a:lnTo>
                    <a:pt x="1664" y="3135"/>
                  </a:lnTo>
                  <a:lnTo>
                    <a:pt x="1659" y="3135"/>
                  </a:lnTo>
                  <a:lnTo>
                    <a:pt x="1654" y="3135"/>
                  </a:lnTo>
                  <a:lnTo>
                    <a:pt x="1649" y="3133"/>
                  </a:lnTo>
                  <a:lnTo>
                    <a:pt x="1644" y="3131"/>
                  </a:lnTo>
                  <a:lnTo>
                    <a:pt x="1638" y="3128"/>
                  </a:lnTo>
                  <a:lnTo>
                    <a:pt x="1633" y="3123"/>
                  </a:lnTo>
                  <a:lnTo>
                    <a:pt x="1619" y="3114"/>
                  </a:lnTo>
                  <a:lnTo>
                    <a:pt x="1606" y="3103"/>
                  </a:lnTo>
                  <a:lnTo>
                    <a:pt x="1592" y="3091"/>
                  </a:lnTo>
                  <a:lnTo>
                    <a:pt x="1578" y="3081"/>
                  </a:lnTo>
                  <a:lnTo>
                    <a:pt x="1565" y="3071"/>
                  </a:lnTo>
                  <a:lnTo>
                    <a:pt x="1553" y="3065"/>
                  </a:lnTo>
                  <a:lnTo>
                    <a:pt x="1536" y="3058"/>
                  </a:lnTo>
                  <a:lnTo>
                    <a:pt x="1521" y="3052"/>
                  </a:lnTo>
                  <a:lnTo>
                    <a:pt x="1507" y="3049"/>
                  </a:lnTo>
                  <a:lnTo>
                    <a:pt x="1493" y="3046"/>
                  </a:lnTo>
                  <a:lnTo>
                    <a:pt x="1479" y="3044"/>
                  </a:lnTo>
                  <a:lnTo>
                    <a:pt x="1465" y="3043"/>
                  </a:lnTo>
                  <a:lnTo>
                    <a:pt x="1448" y="3043"/>
                  </a:lnTo>
                  <a:lnTo>
                    <a:pt x="1429" y="3042"/>
                  </a:lnTo>
                  <a:lnTo>
                    <a:pt x="1426" y="3047"/>
                  </a:lnTo>
                  <a:lnTo>
                    <a:pt x="1424" y="3053"/>
                  </a:lnTo>
                  <a:lnTo>
                    <a:pt x="1422" y="3060"/>
                  </a:lnTo>
                  <a:lnTo>
                    <a:pt x="1420" y="3067"/>
                  </a:lnTo>
                  <a:lnTo>
                    <a:pt x="1419" y="3082"/>
                  </a:lnTo>
                  <a:lnTo>
                    <a:pt x="1419" y="3098"/>
                  </a:lnTo>
                  <a:lnTo>
                    <a:pt x="1421" y="3114"/>
                  </a:lnTo>
                  <a:lnTo>
                    <a:pt x="1425" y="3130"/>
                  </a:lnTo>
                  <a:lnTo>
                    <a:pt x="1429" y="3143"/>
                  </a:lnTo>
                  <a:lnTo>
                    <a:pt x="1436" y="3154"/>
                  </a:lnTo>
                  <a:lnTo>
                    <a:pt x="1437" y="3161"/>
                  </a:lnTo>
                  <a:lnTo>
                    <a:pt x="1438" y="3170"/>
                  </a:lnTo>
                  <a:lnTo>
                    <a:pt x="1441" y="3179"/>
                  </a:lnTo>
                  <a:lnTo>
                    <a:pt x="1444" y="3188"/>
                  </a:lnTo>
                  <a:lnTo>
                    <a:pt x="1452" y="3206"/>
                  </a:lnTo>
                  <a:lnTo>
                    <a:pt x="1462" y="3220"/>
                  </a:lnTo>
                  <a:lnTo>
                    <a:pt x="1471" y="3233"/>
                  </a:lnTo>
                  <a:lnTo>
                    <a:pt x="1482" y="3248"/>
                  </a:lnTo>
                  <a:lnTo>
                    <a:pt x="1485" y="3256"/>
                  </a:lnTo>
                  <a:lnTo>
                    <a:pt x="1487" y="3263"/>
                  </a:lnTo>
                  <a:lnTo>
                    <a:pt x="1487" y="3267"/>
                  </a:lnTo>
                  <a:lnTo>
                    <a:pt x="1486" y="3270"/>
                  </a:lnTo>
                  <a:lnTo>
                    <a:pt x="1484" y="3274"/>
                  </a:lnTo>
                  <a:lnTo>
                    <a:pt x="1480" y="3278"/>
                  </a:lnTo>
                  <a:lnTo>
                    <a:pt x="1473" y="3278"/>
                  </a:lnTo>
                  <a:lnTo>
                    <a:pt x="1465" y="3277"/>
                  </a:lnTo>
                  <a:lnTo>
                    <a:pt x="1457" y="3275"/>
                  </a:lnTo>
                  <a:lnTo>
                    <a:pt x="1448" y="3272"/>
                  </a:lnTo>
                  <a:lnTo>
                    <a:pt x="1431" y="3263"/>
                  </a:lnTo>
                  <a:lnTo>
                    <a:pt x="1417" y="3257"/>
                  </a:lnTo>
                  <a:lnTo>
                    <a:pt x="1400" y="3252"/>
                  </a:lnTo>
                  <a:lnTo>
                    <a:pt x="1375" y="3243"/>
                  </a:lnTo>
                  <a:lnTo>
                    <a:pt x="1346" y="3236"/>
                  </a:lnTo>
                  <a:lnTo>
                    <a:pt x="1315" y="3229"/>
                  </a:lnTo>
                  <a:lnTo>
                    <a:pt x="1298" y="3226"/>
                  </a:lnTo>
                  <a:lnTo>
                    <a:pt x="1283" y="3224"/>
                  </a:lnTo>
                  <a:lnTo>
                    <a:pt x="1268" y="3224"/>
                  </a:lnTo>
                  <a:lnTo>
                    <a:pt x="1254" y="3224"/>
                  </a:lnTo>
                  <a:lnTo>
                    <a:pt x="1242" y="3226"/>
                  </a:lnTo>
                  <a:lnTo>
                    <a:pt x="1231" y="3229"/>
                  </a:lnTo>
                  <a:lnTo>
                    <a:pt x="1227" y="3231"/>
                  </a:lnTo>
                  <a:lnTo>
                    <a:pt x="1223" y="3234"/>
                  </a:lnTo>
                  <a:lnTo>
                    <a:pt x="1219" y="3237"/>
                  </a:lnTo>
                  <a:lnTo>
                    <a:pt x="1217" y="3241"/>
                  </a:lnTo>
                  <a:lnTo>
                    <a:pt x="1211" y="3243"/>
                  </a:lnTo>
                  <a:lnTo>
                    <a:pt x="1207" y="3245"/>
                  </a:lnTo>
                  <a:lnTo>
                    <a:pt x="1204" y="3249"/>
                  </a:lnTo>
                  <a:lnTo>
                    <a:pt x="1202" y="3252"/>
                  </a:lnTo>
                  <a:lnTo>
                    <a:pt x="1200" y="3255"/>
                  </a:lnTo>
                  <a:lnTo>
                    <a:pt x="1199" y="3258"/>
                  </a:lnTo>
                  <a:lnTo>
                    <a:pt x="1199" y="3262"/>
                  </a:lnTo>
                  <a:lnTo>
                    <a:pt x="1199" y="3265"/>
                  </a:lnTo>
                  <a:lnTo>
                    <a:pt x="1201" y="3274"/>
                  </a:lnTo>
                  <a:lnTo>
                    <a:pt x="1204" y="3281"/>
                  </a:lnTo>
                  <a:lnTo>
                    <a:pt x="1209" y="3289"/>
                  </a:lnTo>
                  <a:lnTo>
                    <a:pt x="1216" y="3298"/>
                  </a:lnTo>
                  <a:lnTo>
                    <a:pt x="1229" y="3314"/>
                  </a:lnTo>
                  <a:lnTo>
                    <a:pt x="1244" y="3328"/>
                  </a:lnTo>
                  <a:lnTo>
                    <a:pt x="1256" y="3339"/>
                  </a:lnTo>
                  <a:lnTo>
                    <a:pt x="1264" y="3346"/>
                  </a:lnTo>
                  <a:lnTo>
                    <a:pt x="1268" y="3351"/>
                  </a:lnTo>
                  <a:lnTo>
                    <a:pt x="1272" y="3355"/>
                  </a:lnTo>
                  <a:lnTo>
                    <a:pt x="1274" y="3360"/>
                  </a:lnTo>
                  <a:lnTo>
                    <a:pt x="1276" y="3365"/>
                  </a:lnTo>
                  <a:lnTo>
                    <a:pt x="1279" y="3376"/>
                  </a:lnTo>
                  <a:lnTo>
                    <a:pt x="1279" y="3387"/>
                  </a:lnTo>
                  <a:lnTo>
                    <a:pt x="1277" y="3410"/>
                  </a:lnTo>
                  <a:lnTo>
                    <a:pt x="1275" y="3434"/>
                  </a:lnTo>
                  <a:lnTo>
                    <a:pt x="1275" y="3450"/>
                  </a:lnTo>
                  <a:lnTo>
                    <a:pt x="1274" y="3466"/>
                  </a:lnTo>
                  <a:lnTo>
                    <a:pt x="1274" y="3482"/>
                  </a:lnTo>
                  <a:lnTo>
                    <a:pt x="1272" y="3498"/>
                  </a:lnTo>
                  <a:lnTo>
                    <a:pt x="1271" y="3505"/>
                  </a:lnTo>
                  <a:lnTo>
                    <a:pt x="1271" y="3511"/>
                  </a:lnTo>
                  <a:lnTo>
                    <a:pt x="1271" y="3517"/>
                  </a:lnTo>
                  <a:lnTo>
                    <a:pt x="1273" y="3521"/>
                  </a:lnTo>
                  <a:lnTo>
                    <a:pt x="1275" y="3525"/>
                  </a:lnTo>
                  <a:lnTo>
                    <a:pt x="1278" y="3528"/>
                  </a:lnTo>
                  <a:lnTo>
                    <a:pt x="1280" y="3531"/>
                  </a:lnTo>
                  <a:lnTo>
                    <a:pt x="1284" y="3534"/>
                  </a:lnTo>
                  <a:lnTo>
                    <a:pt x="1291" y="3540"/>
                  </a:lnTo>
                  <a:lnTo>
                    <a:pt x="1297" y="3545"/>
                  </a:lnTo>
                  <a:lnTo>
                    <a:pt x="1300" y="3548"/>
                  </a:lnTo>
                  <a:lnTo>
                    <a:pt x="1302" y="3552"/>
                  </a:lnTo>
                  <a:lnTo>
                    <a:pt x="1304" y="3555"/>
                  </a:lnTo>
                  <a:lnTo>
                    <a:pt x="1305" y="3561"/>
                  </a:lnTo>
                  <a:lnTo>
                    <a:pt x="1308" y="3564"/>
                  </a:lnTo>
                  <a:lnTo>
                    <a:pt x="1311" y="3567"/>
                  </a:lnTo>
                  <a:lnTo>
                    <a:pt x="1311" y="3570"/>
                  </a:lnTo>
                  <a:lnTo>
                    <a:pt x="1311" y="3574"/>
                  </a:lnTo>
                  <a:lnTo>
                    <a:pt x="1307" y="3582"/>
                  </a:lnTo>
                  <a:lnTo>
                    <a:pt x="1302" y="3592"/>
                  </a:lnTo>
                  <a:lnTo>
                    <a:pt x="1290" y="3609"/>
                  </a:lnTo>
                  <a:lnTo>
                    <a:pt x="1281" y="3622"/>
                  </a:lnTo>
                  <a:lnTo>
                    <a:pt x="1279" y="3631"/>
                  </a:lnTo>
                  <a:lnTo>
                    <a:pt x="1279" y="3640"/>
                  </a:lnTo>
                  <a:lnTo>
                    <a:pt x="1280" y="3648"/>
                  </a:lnTo>
                  <a:lnTo>
                    <a:pt x="1281" y="3656"/>
                  </a:lnTo>
                  <a:lnTo>
                    <a:pt x="1286" y="3673"/>
                  </a:lnTo>
                  <a:lnTo>
                    <a:pt x="1288" y="3691"/>
                  </a:lnTo>
                  <a:lnTo>
                    <a:pt x="1288" y="3691"/>
                  </a:lnTo>
                  <a:lnTo>
                    <a:pt x="1281" y="3697"/>
                  </a:lnTo>
                  <a:lnTo>
                    <a:pt x="1277" y="3703"/>
                  </a:lnTo>
                  <a:lnTo>
                    <a:pt x="1273" y="3711"/>
                  </a:lnTo>
                  <a:lnTo>
                    <a:pt x="1271" y="3717"/>
                  </a:lnTo>
                  <a:lnTo>
                    <a:pt x="1267" y="3731"/>
                  </a:lnTo>
                  <a:lnTo>
                    <a:pt x="1264" y="3744"/>
                  </a:lnTo>
                  <a:lnTo>
                    <a:pt x="1262" y="3750"/>
                  </a:lnTo>
                  <a:lnTo>
                    <a:pt x="1259" y="3757"/>
                  </a:lnTo>
                  <a:lnTo>
                    <a:pt x="1256" y="3764"/>
                  </a:lnTo>
                  <a:lnTo>
                    <a:pt x="1253" y="3770"/>
                  </a:lnTo>
                  <a:lnTo>
                    <a:pt x="1248" y="3776"/>
                  </a:lnTo>
                  <a:lnTo>
                    <a:pt x="1243" y="3783"/>
                  </a:lnTo>
                  <a:lnTo>
                    <a:pt x="1235" y="3789"/>
                  </a:lnTo>
                  <a:lnTo>
                    <a:pt x="1226" y="3794"/>
                  </a:lnTo>
                  <a:lnTo>
                    <a:pt x="1218" y="3799"/>
                  </a:lnTo>
                  <a:lnTo>
                    <a:pt x="1208" y="3802"/>
                  </a:lnTo>
                  <a:lnTo>
                    <a:pt x="1200" y="3802"/>
                  </a:lnTo>
                  <a:lnTo>
                    <a:pt x="1191" y="3800"/>
                  </a:lnTo>
                  <a:lnTo>
                    <a:pt x="1174" y="3797"/>
                  </a:lnTo>
                  <a:lnTo>
                    <a:pt x="1155" y="3794"/>
                  </a:lnTo>
                  <a:lnTo>
                    <a:pt x="1151" y="3792"/>
                  </a:lnTo>
                  <a:lnTo>
                    <a:pt x="1144" y="3792"/>
                  </a:lnTo>
                  <a:lnTo>
                    <a:pt x="1137" y="3792"/>
                  </a:lnTo>
                  <a:lnTo>
                    <a:pt x="1132" y="3793"/>
                  </a:lnTo>
                  <a:lnTo>
                    <a:pt x="1093" y="3817"/>
                  </a:lnTo>
                  <a:lnTo>
                    <a:pt x="1093" y="3817"/>
                  </a:lnTo>
                  <a:lnTo>
                    <a:pt x="1082" y="3799"/>
                  </a:lnTo>
                  <a:lnTo>
                    <a:pt x="1074" y="3783"/>
                  </a:lnTo>
                  <a:lnTo>
                    <a:pt x="1068" y="3768"/>
                  </a:lnTo>
                  <a:lnTo>
                    <a:pt x="1066" y="3759"/>
                  </a:lnTo>
                  <a:lnTo>
                    <a:pt x="1053" y="3750"/>
                  </a:lnTo>
                  <a:lnTo>
                    <a:pt x="1043" y="3741"/>
                  </a:lnTo>
                  <a:lnTo>
                    <a:pt x="1032" y="3728"/>
                  </a:lnTo>
                  <a:lnTo>
                    <a:pt x="1023" y="3716"/>
                  </a:lnTo>
                  <a:lnTo>
                    <a:pt x="1014" y="3700"/>
                  </a:lnTo>
                  <a:lnTo>
                    <a:pt x="1006" y="3685"/>
                  </a:lnTo>
                  <a:lnTo>
                    <a:pt x="998" y="3668"/>
                  </a:lnTo>
                  <a:lnTo>
                    <a:pt x="990" y="3651"/>
                  </a:lnTo>
                  <a:lnTo>
                    <a:pt x="978" y="3616"/>
                  </a:lnTo>
                  <a:lnTo>
                    <a:pt x="965" y="3581"/>
                  </a:lnTo>
                  <a:lnTo>
                    <a:pt x="955" y="3549"/>
                  </a:lnTo>
                  <a:lnTo>
                    <a:pt x="945" y="3522"/>
                  </a:lnTo>
                  <a:lnTo>
                    <a:pt x="930" y="3484"/>
                  </a:lnTo>
                  <a:lnTo>
                    <a:pt x="916" y="3448"/>
                  </a:lnTo>
                  <a:lnTo>
                    <a:pt x="904" y="3412"/>
                  </a:lnTo>
                  <a:lnTo>
                    <a:pt x="893" y="3377"/>
                  </a:lnTo>
                  <a:lnTo>
                    <a:pt x="882" y="3341"/>
                  </a:lnTo>
                  <a:lnTo>
                    <a:pt x="873" y="3306"/>
                  </a:lnTo>
                  <a:lnTo>
                    <a:pt x="863" y="3268"/>
                  </a:lnTo>
                  <a:lnTo>
                    <a:pt x="854" y="3230"/>
                  </a:lnTo>
                  <a:lnTo>
                    <a:pt x="849" y="3207"/>
                  </a:lnTo>
                  <a:lnTo>
                    <a:pt x="841" y="3185"/>
                  </a:lnTo>
                  <a:lnTo>
                    <a:pt x="833" y="3162"/>
                  </a:lnTo>
                  <a:lnTo>
                    <a:pt x="826" y="3139"/>
                  </a:lnTo>
                  <a:lnTo>
                    <a:pt x="818" y="3116"/>
                  </a:lnTo>
                  <a:lnTo>
                    <a:pt x="813" y="3093"/>
                  </a:lnTo>
                  <a:lnTo>
                    <a:pt x="812" y="3082"/>
                  </a:lnTo>
                  <a:lnTo>
                    <a:pt x="811" y="3070"/>
                  </a:lnTo>
                  <a:lnTo>
                    <a:pt x="811" y="3058"/>
                  </a:lnTo>
                  <a:lnTo>
                    <a:pt x="811" y="3046"/>
                  </a:lnTo>
                  <a:lnTo>
                    <a:pt x="807" y="3021"/>
                  </a:lnTo>
                  <a:lnTo>
                    <a:pt x="803" y="2997"/>
                  </a:lnTo>
                  <a:lnTo>
                    <a:pt x="798" y="2973"/>
                  </a:lnTo>
                  <a:lnTo>
                    <a:pt x="792" y="2950"/>
                  </a:lnTo>
                  <a:lnTo>
                    <a:pt x="786" y="2928"/>
                  </a:lnTo>
                  <a:lnTo>
                    <a:pt x="779" y="2906"/>
                  </a:lnTo>
                  <a:lnTo>
                    <a:pt x="774" y="2895"/>
                  </a:lnTo>
                  <a:lnTo>
                    <a:pt x="768" y="2883"/>
                  </a:lnTo>
                  <a:lnTo>
                    <a:pt x="762" y="2872"/>
                  </a:lnTo>
                  <a:lnTo>
                    <a:pt x="756" y="2860"/>
                  </a:lnTo>
                  <a:lnTo>
                    <a:pt x="744" y="2843"/>
                  </a:lnTo>
                  <a:lnTo>
                    <a:pt x="735" y="2824"/>
                  </a:lnTo>
                  <a:lnTo>
                    <a:pt x="727" y="2805"/>
                  </a:lnTo>
                  <a:lnTo>
                    <a:pt x="718" y="2785"/>
                  </a:lnTo>
                  <a:lnTo>
                    <a:pt x="712" y="2766"/>
                  </a:lnTo>
                  <a:lnTo>
                    <a:pt x="706" y="2746"/>
                  </a:lnTo>
                  <a:lnTo>
                    <a:pt x="702" y="2725"/>
                  </a:lnTo>
                  <a:lnTo>
                    <a:pt x="698" y="2704"/>
                  </a:lnTo>
                  <a:lnTo>
                    <a:pt x="695" y="2686"/>
                  </a:lnTo>
                  <a:lnTo>
                    <a:pt x="691" y="2670"/>
                  </a:lnTo>
                  <a:lnTo>
                    <a:pt x="686" y="2653"/>
                  </a:lnTo>
                  <a:lnTo>
                    <a:pt x="681" y="2636"/>
                  </a:lnTo>
                  <a:lnTo>
                    <a:pt x="668" y="2604"/>
                  </a:lnTo>
                  <a:lnTo>
                    <a:pt x="655" y="2572"/>
                  </a:lnTo>
                  <a:lnTo>
                    <a:pt x="640" y="2540"/>
                  </a:lnTo>
                  <a:lnTo>
                    <a:pt x="628" y="2509"/>
                  </a:lnTo>
                  <a:lnTo>
                    <a:pt x="621" y="2493"/>
                  </a:lnTo>
                  <a:lnTo>
                    <a:pt x="616" y="2478"/>
                  </a:lnTo>
                  <a:lnTo>
                    <a:pt x="612" y="2462"/>
                  </a:lnTo>
                  <a:lnTo>
                    <a:pt x="608" y="2445"/>
                  </a:lnTo>
                  <a:lnTo>
                    <a:pt x="607" y="2440"/>
                  </a:lnTo>
                  <a:lnTo>
                    <a:pt x="607" y="2436"/>
                  </a:lnTo>
                  <a:lnTo>
                    <a:pt x="607" y="2433"/>
                  </a:lnTo>
                  <a:lnTo>
                    <a:pt x="608" y="2430"/>
                  </a:lnTo>
                  <a:lnTo>
                    <a:pt x="609" y="2429"/>
                  </a:lnTo>
                  <a:lnTo>
                    <a:pt x="611" y="2428"/>
                  </a:lnTo>
                  <a:lnTo>
                    <a:pt x="613" y="2428"/>
                  </a:lnTo>
                  <a:lnTo>
                    <a:pt x="616" y="2429"/>
                  </a:lnTo>
                  <a:lnTo>
                    <a:pt x="622" y="2432"/>
                  </a:lnTo>
                  <a:lnTo>
                    <a:pt x="630" y="2438"/>
                  </a:lnTo>
                  <a:lnTo>
                    <a:pt x="638" y="2445"/>
                  </a:lnTo>
                  <a:lnTo>
                    <a:pt x="647" y="2455"/>
                  </a:lnTo>
                  <a:lnTo>
                    <a:pt x="666" y="2477"/>
                  </a:lnTo>
                  <a:lnTo>
                    <a:pt x="683" y="2500"/>
                  </a:lnTo>
                  <a:lnTo>
                    <a:pt x="690" y="2510"/>
                  </a:lnTo>
                  <a:lnTo>
                    <a:pt x="695" y="2519"/>
                  </a:lnTo>
                  <a:lnTo>
                    <a:pt x="700" y="2528"/>
                  </a:lnTo>
                  <a:lnTo>
                    <a:pt x="703" y="2535"/>
                  </a:lnTo>
                  <a:lnTo>
                    <a:pt x="707" y="2535"/>
                  </a:lnTo>
                  <a:lnTo>
                    <a:pt x="710" y="2526"/>
                  </a:lnTo>
                  <a:lnTo>
                    <a:pt x="713" y="2516"/>
                  </a:lnTo>
                  <a:lnTo>
                    <a:pt x="714" y="2508"/>
                  </a:lnTo>
                  <a:lnTo>
                    <a:pt x="715" y="2498"/>
                  </a:lnTo>
                  <a:lnTo>
                    <a:pt x="715" y="2490"/>
                  </a:lnTo>
                  <a:lnTo>
                    <a:pt x="714" y="2482"/>
                  </a:lnTo>
                  <a:lnTo>
                    <a:pt x="713" y="2473"/>
                  </a:lnTo>
                  <a:lnTo>
                    <a:pt x="711" y="2465"/>
                  </a:lnTo>
                  <a:lnTo>
                    <a:pt x="705" y="2449"/>
                  </a:lnTo>
                  <a:lnTo>
                    <a:pt x="697" y="2433"/>
                  </a:lnTo>
                  <a:lnTo>
                    <a:pt x="689" y="2415"/>
                  </a:lnTo>
                  <a:lnTo>
                    <a:pt x="681" y="2397"/>
                  </a:lnTo>
                  <a:lnTo>
                    <a:pt x="673" y="2383"/>
                  </a:lnTo>
                  <a:lnTo>
                    <a:pt x="665" y="2365"/>
                  </a:lnTo>
                  <a:lnTo>
                    <a:pt x="655" y="2348"/>
                  </a:lnTo>
                  <a:lnTo>
                    <a:pt x="642" y="2333"/>
                  </a:lnTo>
                  <a:lnTo>
                    <a:pt x="636" y="2326"/>
                  </a:lnTo>
                  <a:lnTo>
                    <a:pt x="630" y="2321"/>
                  </a:lnTo>
                  <a:lnTo>
                    <a:pt x="624" y="2318"/>
                  </a:lnTo>
                  <a:lnTo>
                    <a:pt x="618" y="2317"/>
                  </a:lnTo>
                  <a:lnTo>
                    <a:pt x="615" y="2317"/>
                  </a:lnTo>
                  <a:lnTo>
                    <a:pt x="612" y="2318"/>
                  </a:lnTo>
                  <a:lnTo>
                    <a:pt x="609" y="2319"/>
                  </a:lnTo>
                  <a:lnTo>
                    <a:pt x="607" y="2321"/>
                  </a:lnTo>
                  <a:lnTo>
                    <a:pt x="602" y="2328"/>
                  </a:lnTo>
                  <a:lnTo>
                    <a:pt x="596" y="2338"/>
                  </a:lnTo>
                  <a:lnTo>
                    <a:pt x="592" y="2348"/>
                  </a:lnTo>
                  <a:lnTo>
                    <a:pt x="588" y="2362"/>
                  </a:lnTo>
                  <a:lnTo>
                    <a:pt x="582" y="2375"/>
                  </a:lnTo>
                  <a:lnTo>
                    <a:pt x="575" y="2389"/>
                  </a:lnTo>
                  <a:lnTo>
                    <a:pt x="571" y="2395"/>
                  </a:lnTo>
                  <a:lnTo>
                    <a:pt x="567" y="2399"/>
                  </a:lnTo>
                  <a:lnTo>
                    <a:pt x="563" y="2403"/>
                  </a:lnTo>
                  <a:lnTo>
                    <a:pt x="558" y="2405"/>
                  </a:lnTo>
                  <a:lnTo>
                    <a:pt x="554" y="2405"/>
                  </a:lnTo>
                  <a:lnTo>
                    <a:pt x="547" y="2403"/>
                  </a:lnTo>
                  <a:lnTo>
                    <a:pt x="542" y="2398"/>
                  </a:lnTo>
                  <a:lnTo>
                    <a:pt x="536" y="2391"/>
                  </a:lnTo>
                  <a:lnTo>
                    <a:pt x="532" y="2385"/>
                  </a:lnTo>
                  <a:lnTo>
                    <a:pt x="528" y="2377"/>
                  </a:lnTo>
                  <a:lnTo>
                    <a:pt x="524" y="2370"/>
                  </a:lnTo>
                  <a:lnTo>
                    <a:pt x="521" y="2363"/>
                  </a:lnTo>
                  <a:lnTo>
                    <a:pt x="515" y="2346"/>
                  </a:lnTo>
                  <a:lnTo>
                    <a:pt x="511" y="2329"/>
                  </a:lnTo>
                  <a:lnTo>
                    <a:pt x="501" y="2296"/>
                  </a:lnTo>
                  <a:lnTo>
                    <a:pt x="492" y="2264"/>
                  </a:lnTo>
                  <a:lnTo>
                    <a:pt x="488" y="2256"/>
                  </a:lnTo>
                  <a:lnTo>
                    <a:pt x="485" y="2249"/>
                  </a:lnTo>
                  <a:lnTo>
                    <a:pt x="483" y="2243"/>
                  </a:lnTo>
                  <a:lnTo>
                    <a:pt x="482" y="2238"/>
                  </a:lnTo>
                  <a:lnTo>
                    <a:pt x="482" y="2232"/>
                  </a:lnTo>
                  <a:lnTo>
                    <a:pt x="483" y="2228"/>
                  </a:lnTo>
                  <a:lnTo>
                    <a:pt x="484" y="2224"/>
                  </a:lnTo>
                  <a:lnTo>
                    <a:pt x="486" y="2221"/>
                  </a:lnTo>
                  <a:lnTo>
                    <a:pt x="489" y="2219"/>
                  </a:lnTo>
                  <a:lnTo>
                    <a:pt x="493" y="2217"/>
                  </a:lnTo>
                  <a:lnTo>
                    <a:pt x="497" y="2215"/>
                  </a:lnTo>
                  <a:lnTo>
                    <a:pt x="502" y="2214"/>
                  </a:lnTo>
                  <a:lnTo>
                    <a:pt x="514" y="2212"/>
                  </a:lnTo>
                  <a:lnTo>
                    <a:pt x="526" y="2211"/>
                  </a:lnTo>
                  <a:lnTo>
                    <a:pt x="554" y="2211"/>
                  </a:lnTo>
                  <a:lnTo>
                    <a:pt x="583" y="2210"/>
                  </a:lnTo>
                  <a:lnTo>
                    <a:pt x="595" y="2208"/>
                  </a:lnTo>
                  <a:lnTo>
                    <a:pt x="608" y="2206"/>
                  </a:lnTo>
                  <a:lnTo>
                    <a:pt x="613" y="2204"/>
                  </a:lnTo>
                  <a:lnTo>
                    <a:pt x="618" y="2202"/>
                  </a:lnTo>
                  <a:lnTo>
                    <a:pt x="622" y="2199"/>
                  </a:lnTo>
                  <a:lnTo>
                    <a:pt x="627" y="2196"/>
                  </a:lnTo>
                  <a:lnTo>
                    <a:pt x="627" y="2192"/>
                  </a:lnTo>
                  <a:lnTo>
                    <a:pt x="626" y="2189"/>
                  </a:lnTo>
                  <a:lnTo>
                    <a:pt x="619" y="2183"/>
                  </a:lnTo>
                  <a:lnTo>
                    <a:pt x="611" y="2179"/>
                  </a:lnTo>
                  <a:lnTo>
                    <a:pt x="603" y="2176"/>
                  </a:lnTo>
                  <a:lnTo>
                    <a:pt x="593" y="2174"/>
                  </a:lnTo>
                  <a:lnTo>
                    <a:pt x="583" y="2173"/>
                  </a:lnTo>
                  <a:lnTo>
                    <a:pt x="571" y="2172"/>
                  </a:lnTo>
                  <a:lnTo>
                    <a:pt x="561" y="2172"/>
                  </a:lnTo>
                  <a:lnTo>
                    <a:pt x="549" y="2173"/>
                  </a:lnTo>
                  <a:lnTo>
                    <a:pt x="526" y="2175"/>
                  </a:lnTo>
                  <a:lnTo>
                    <a:pt x="505" y="2177"/>
                  </a:lnTo>
                  <a:lnTo>
                    <a:pt x="494" y="2178"/>
                  </a:lnTo>
                  <a:lnTo>
                    <a:pt x="484" y="2178"/>
                  </a:lnTo>
                  <a:lnTo>
                    <a:pt x="475" y="2178"/>
                  </a:lnTo>
                  <a:lnTo>
                    <a:pt x="467" y="2177"/>
                  </a:lnTo>
                  <a:lnTo>
                    <a:pt x="465" y="2176"/>
                  </a:lnTo>
                  <a:lnTo>
                    <a:pt x="463" y="2175"/>
                  </a:lnTo>
                  <a:lnTo>
                    <a:pt x="462" y="2173"/>
                  </a:lnTo>
                  <a:lnTo>
                    <a:pt x="460" y="2170"/>
                  </a:lnTo>
                  <a:lnTo>
                    <a:pt x="458" y="2163"/>
                  </a:lnTo>
                  <a:lnTo>
                    <a:pt x="456" y="2153"/>
                  </a:lnTo>
                  <a:lnTo>
                    <a:pt x="453" y="2129"/>
                  </a:lnTo>
                  <a:lnTo>
                    <a:pt x="453" y="2101"/>
                  </a:lnTo>
                  <a:lnTo>
                    <a:pt x="453" y="2071"/>
                  </a:lnTo>
                  <a:lnTo>
                    <a:pt x="455" y="2043"/>
                  </a:lnTo>
                  <a:lnTo>
                    <a:pt x="453" y="2030"/>
                  </a:lnTo>
                  <a:lnTo>
                    <a:pt x="453" y="2019"/>
                  </a:lnTo>
                  <a:lnTo>
                    <a:pt x="452" y="2009"/>
                  </a:lnTo>
                  <a:lnTo>
                    <a:pt x="450" y="2002"/>
                  </a:lnTo>
                  <a:lnTo>
                    <a:pt x="448" y="1995"/>
                  </a:lnTo>
                  <a:lnTo>
                    <a:pt x="444" y="1988"/>
                  </a:lnTo>
                  <a:lnTo>
                    <a:pt x="440" y="1982"/>
                  </a:lnTo>
                  <a:lnTo>
                    <a:pt x="436" y="1976"/>
                  </a:lnTo>
                  <a:lnTo>
                    <a:pt x="424" y="1965"/>
                  </a:lnTo>
                  <a:lnTo>
                    <a:pt x="412" y="1956"/>
                  </a:lnTo>
                  <a:lnTo>
                    <a:pt x="400" y="1947"/>
                  </a:lnTo>
                  <a:lnTo>
                    <a:pt x="390" y="1936"/>
                  </a:lnTo>
                  <a:lnTo>
                    <a:pt x="386" y="1931"/>
                  </a:lnTo>
                  <a:lnTo>
                    <a:pt x="382" y="1926"/>
                  </a:lnTo>
                  <a:lnTo>
                    <a:pt x="378" y="1919"/>
                  </a:lnTo>
                  <a:lnTo>
                    <a:pt x="377" y="1913"/>
                  </a:lnTo>
                  <a:lnTo>
                    <a:pt x="377" y="1902"/>
                  </a:lnTo>
                  <a:lnTo>
                    <a:pt x="378" y="1888"/>
                  </a:lnTo>
                  <a:lnTo>
                    <a:pt x="378" y="1882"/>
                  </a:lnTo>
                  <a:lnTo>
                    <a:pt x="376" y="1877"/>
                  </a:lnTo>
                  <a:lnTo>
                    <a:pt x="374" y="1874"/>
                  </a:lnTo>
                  <a:lnTo>
                    <a:pt x="371" y="1871"/>
                  </a:lnTo>
                  <a:lnTo>
                    <a:pt x="368" y="1870"/>
                  </a:lnTo>
                  <a:lnTo>
                    <a:pt x="364" y="1868"/>
                  </a:lnTo>
                  <a:lnTo>
                    <a:pt x="360" y="1868"/>
                  </a:lnTo>
                  <a:lnTo>
                    <a:pt x="355" y="1868"/>
                  </a:lnTo>
                  <a:lnTo>
                    <a:pt x="350" y="1868"/>
                  </a:lnTo>
                  <a:lnTo>
                    <a:pt x="346" y="1869"/>
                  </a:lnTo>
                  <a:lnTo>
                    <a:pt x="337" y="1873"/>
                  </a:lnTo>
                  <a:lnTo>
                    <a:pt x="327" y="1877"/>
                  </a:lnTo>
                  <a:lnTo>
                    <a:pt x="310" y="1887"/>
                  </a:lnTo>
                  <a:lnTo>
                    <a:pt x="293" y="1897"/>
                  </a:lnTo>
                  <a:lnTo>
                    <a:pt x="275" y="1907"/>
                  </a:lnTo>
                  <a:lnTo>
                    <a:pt x="261" y="1913"/>
                  </a:lnTo>
                  <a:lnTo>
                    <a:pt x="253" y="1914"/>
                  </a:lnTo>
                  <a:lnTo>
                    <a:pt x="247" y="1916"/>
                  </a:lnTo>
                  <a:lnTo>
                    <a:pt x="242" y="1916"/>
                  </a:lnTo>
                  <a:lnTo>
                    <a:pt x="237" y="1916"/>
                  </a:lnTo>
                  <a:lnTo>
                    <a:pt x="232" y="1915"/>
                  </a:lnTo>
                  <a:lnTo>
                    <a:pt x="227" y="1914"/>
                  </a:lnTo>
                  <a:lnTo>
                    <a:pt x="224" y="1913"/>
                  </a:lnTo>
                  <a:lnTo>
                    <a:pt x="220" y="1910"/>
                  </a:lnTo>
                  <a:lnTo>
                    <a:pt x="214" y="1905"/>
                  </a:lnTo>
                  <a:lnTo>
                    <a:pt x="208" y="1897"/>
                  </a:lnTo>
                  <a:lnTo>
                    <a:pt x="199" y="1878"/>
                  </a:lnTo>
                  <a:lnTo>
                    <a:pt x="191" y="1857"/>
                  </a:lnTo>
                  <a:lnTo>
                    <a:pt x="186" y="1845"/>
                  </a:lnTo>
                  <a:lnTo>
                    <a:pt x="180" y="1835"/>
                  </a:lnTo>
                  <a:lnTo>
                    <a:pt x="173" y="1825"/>
                  </a:lnTo>
                  <a:lnTo>
                    <a:pt x="165" y="1815"/>
                  </a:lnTo>
                  <a:lnTo>
                    <a:pt x="143" y="1798"/>
                  </a:lnTo>
                  <a:lnTo>
                    <a:pt x="114" y="1780"/>
                  </a:lnTo>
                  <a:lnTo>
                    <a:pt x="107" y="1776"/>
                  </a:lnTo>
                  <a:lnTo>
                    <a:pt x="101" y="1770"/>
                  </a:lnTo>
                  <a:lnTo>
                    <a:pt x="95" y="1765"/>
                  </a:lnTo>
                  <a:lnTo>
                    <a:pt x="91" y="1760"/>
                  </a:lnTo>
                  <a:lnTo>
                    <a:pt x="86" y="1754"/>
                  </a:lnTo>
                  <a:lnTo>
                    <a:pt x="83" y="1748"/>
                  </a:lnTo>
                  <a:lnTo>
                    <a:pt x="82" y="1742"/>
                  </a:lnTo>
                  <a:lnTo>
                    <a:pt x="81" y="1736"/>
                  </a:lnTo>
                  <a:lnTo>
                    <a:pt x="105" y="1717"/>
                  </a:lnTo>
                  <a:lnTo>
                    <a:pt x="130" y="1696"/>
                  </a:lnTo>
                  <a:lnTo>
                    <a:pt x="135" y="1691"/>
                  </a:lnTo>
                  <a:lnTo>
                    <a:pt x="140" y="1686"/>
                  </a:lnTo>
                  <a:lnTo>
                    <a:pt x="143" y="1681"/>
                  </a:lnTo>
                  <a:lnTo>
                    <a:pt x="144" y="1674"/>
                  </a:lnTo>
                  <a:lnTo>
                    <a:pt x="145" y="1668"/>
                  </a:lnTo>
                  <a:lnTo>
                    <a:pt x="144" y="1662"/>
                  </a:lnTo>
                  <a:lnTo>
                    <a:pt x="141" y="1656"/>
                  </a:lnTo>
                  <a:lnTo>
                    <a:pt x="137" y="1648"/>
                  </a:lnTo>
                  <a:lnTo>
                    <a:pt x="130" y="1642"/>
                  </a:lnTo>
                  <a:lnTo>
                    <a:pt x="124" y="1636"/>
                  </a:lnTo>
                  <a:lnTo>
                    <a:pt x="118" y="1631"/>
                  </a:lnTo>
                  <a:lnTo>
                    <a:pt x="110" y="1626"/>
                  </a:lnTo>
                  <a:lnTo>
                    <a:pt x="97" y="1617"/>
                  </a:lnTo>
                  <a:lnTo>
                    <a:pt x="82" y="1609"/>
                  </a:lnTo>
                  <a:lnTo>
                    <a:pt x="69" y="1600"/>
                  </a:lnTo>
                  <a:lnTo>
                    <a:pt x="56" y="1591"/>
                  </a:lnTo>
                  <a:lnTo>
                    <a:pt x="50" y="1585"/>
                  </a:lnTo>
                  <a:lnTo>
                    <a:pt x="45" y="1578"/>
                  </a:lnTo>
                  <a:lnTo>
                    <a:pt x="41" y="1571"/>
                  </a:lnTo>
                  <a:lnTo>
                    <a:pt x="35" y="1564"/>
                  </a:lnTo>
                  <a:lnTo>
                    <a:pt x="30" y="1547"/>
                  </a:lnTo>
                  <a:lnTo>
                    <a:pt x="25" y="1530"/>
                  </a:lnTo>
                  <a:lnTo>
                    <a:pt x="23" y="1522"/>
                  </a:lnTo>
                  <a:lnTo>
                    <a:pt x="19" y="1515"/>
                  </a:lnTo>
                  <a:lnTo>
                    <a:pt x="15" y="1507"/>
                  </a:lnTo>
                  <a:lnTo>
                    <a:pt x="8" y="1500"/>
                  </a:lnTo>
                  <a:lnTo>
                    <a:pt x="5" y="1497"/>
                  </a:lnTo>
                  <a:lnTo>
                    <a:pt x="0" y="1494"/>
                  </a:lnTo>
                  <a:lnTo>
                    <a:pt x="0" y="1494"/>
                  </a:lnTo>
                  <a:lnTo>
                    <a:pt x="44" y="1438"/>
                  </a:lnTo>
                  <a:lnTo>
                    <a:pt x="54" y="1430"/>
                  </a:lnTo>
                  <a:lnTo>
                    <a:pt x="66" y="1425"/>
                  </a:lnTo>
                  <a:lnTo>
                    <a:pt x="68" y="1423"/>
                  </a:lnTo>
                  <a:lnTo>
                    <a:pt x="71" y="1422"/>
                  </a:lnTo>
                  <a:lnTo>
                    <a:pt x="74" y="1421"/>
                  </a:lnTo>
                  <a:lnTo>
                    <a:pt x="79" y="1421"/>
                  </a:lnTo>
                  <a:lnTo>
                    <a:pt x="90" y="1423"/>
                  </a:lnTo>
                  <a:lnTo>
                    <a:pt x="101" y="1425"/>
                  </a:lnTo>
                  <a:lnTo>
                    <a:pt x="113" y="1428"/>
                  </a:lnTo>
                  <a:lnTo>
                    <a:pt x="124" y="1431"/>
                  </a:lnTo>
                  <a:lnTo>
                    <a:pt x="134" y="1432"/>
                  </a:lnTo>
                  <a:lnTo>
                    <a:pt x="143" y="1431"/>
                  </a:lnTo>
                  <a:lnTo>
                    <a:pt x="147" y="1430"/>
                  </a:lnTo>
                  <a:lnTo>
                    <a:pt x="151" y="1427"/>
                  </a:lnTo>
                  <a:lnTo>
                    <a:pt x="155" y="1425"/>
                  </a:lnTo>
                  <a:lnTo>
                    <a:pt x="158" y="1422"/>
                  </a:lnTo>
                  <a:lnTo>
                    <a:pt x="164" y="1414"/>
                  </a:lnTo>
                  <a:lnTo>
                    <a:pt x="168" y="1405"/>
                  </a:lnTo>
                  <a:lnTo>
                    <a:pt x="172" y="1397"/>
                  </a:lnTo>
                  <a:lnTo>
                    <a:pt x="176" y="1387"/>
                  </a:lnTo>
                  <a:lnTo>
                    <a:pt x="180" y="1378"/>
                  </a:lnTo>
                  <a:lnTo>
                    <a:pt x="186" y="1371"/>
                  </a:lnTo>
                  <a:lnTo>
                    <a:pt x="195" y="1360"/>
                  </a:lnTo>
                  <a:lnTo>
                    <a:pt x="203" y="1354"/>
                  </a:lnTo>
                  <a:lnTo>
                    <a:pt x="207" y="1353"/>
                  </a:lnTo>
                  <a:lnTo>
                    <a:pt x="211" y="1351"/>
                  </a:lnTo>
                  <a:lnTo>
                    <a:pt x="215" y="1351"/>
                  </a:lnTo>
                  <a:lnTo>
                    <a:pt x="218" y="1351"/>
                  </a:lnTo>
                  <a:lnTo>
                    <a:pt x="225" y="1353"/>
                  </a:lnTo>
                  <a:lnTo>
                    <a:pt x="231" y="1356"/>
                  </a:lnTo>
                  <a:lnTo>
                    <a:pt x="238" y="1360"/>
                  </a:lnTo>
                  <a:lnTo>
                    <a:pt x="243" y="1367"/>
                  </a:lnTo>
                  <a:lnTo>
                    <a:pt x="255" y="1379"/>
                  </a:lnTo>
                  <a:lnTo>
                    <a:pt x="268" y="1390"/>
                  </a:lnTo>
                  <a:lnTo>
                    <a:pt x="275" y="1394"/>
                  </a:lnTo>
                  <a:lnTo>
                    <a:pt x="284" y="1396"/>
                  </a:lnTo>
                  <a:lnTo>
                    <a:pt x="288" y="1397"/>
                  </a:lnTo>
                  <a:lnTo>
                    <a:pt x="292" y="1397"/>
                  </a:lnTo>
                  <a:lnTo>
                    <a:pt x="296" y="1396"/>
                  </a:lnTo>
                  <a:lnTo>
                    <a:pt x="301" y="1394"/>
                  </a:lnTo>
                  <a:lnTo>
                    <a:pt x="308" y="1392"/>
                  </a:lnTo>
                  <a:lnTo>
                    <a:pt x="314" y="1387"/>
                  </a:lnTo>
                  <a:lnTo>
                    <a:pt x="319" y="1383"/>
                  </a:lnTo>
                  <a:lnTo>
                    <a:pt x="324" y="1379"/>
                  </a:lnTo>
                  <a:lnTo>
                    <a:pt x="333" y="1369"/>
                  </a:lnTo>
                  <a:lnTo>
                    <a:pt x="341" y="1358"/>
                  </a:lnTo>
                  <a:lnTo>
                    <a:pt x="349" y="1349"/>
                  </a:lnTo>
                  <a:lnTo>
                    <a:pt x="357" y="1340"/>
                  </a:lnTo>
                  <a:lnTo>
                    <a:pt x="362" y="1337"/>
                  </a:lnTo>
                  <a:lnTo>
                    <a:pt x="367" y="1335"/>
                  </a:lnTo>
                  <a:lnTo>
                    <a:pt x="372" y="1333"/>
                  </a:lnTo>
                  <a:lnTo>
                    <a:pt x="377" y="1333"/>
                  </a:lnTo>
                  <a:lnTo>
                    <a:pt x="392" y="1332"/>
                  </a:lnTo>
                  <a:lnTo>
                    <a:pt x="403" y="1330"/>
                  </a:lnTo>
                  <a:lnTo>
                    <a:pt x="408" y="1329"/>
                  </a:lnTo>
                  <a:lnTo>
                    <a:pt x="411" y="1327"/>
                  </a:lnTo>
                  <a:lnTo>
                    <a:pt x="414" y="1325"/>
                  </a:lnTo>
                  <a:lnTo>
                    <a:pt x="417" y="1323"/>
                  </a:lnTo>
                  <a:lnTo>
                    <a:pt x="420" y="1318"/>
                  </a:lnTo>
                  <a:lnTo>
                    <a:pt x="421" y="1311"/>
                  </a:lnTo>
                  <a:lnTo>
                    <a:pt x="421" y="1304"/>
                  </a:lnTo>
                  <a:lnTo>
                    <a:pt x="420" y="1297"/>
                  </a:lnTo>
                  <a:lnTo>
                    <a:pt x="415" y="1280"/>
                  </a:lnTo>
                  <a:lnTo>
                    <a:pt x="411" y="1263"/>
                  </a:lnTo>
                  <a:lnTo>
                    <a:pt x="409" y="1255"/>
                  </a:lnTo>
                  <a:lnTo>
                    <a:pt x="409" y="1247"/>
                  </a:lnTo>
                  <a:lnTo>
                    <a:pt x="410" y="1238"/>
                  </a:lnTo>
                  <a:lnTo>
                    <a:pt x="412" y="1230"/>
                  </a:lnTo>
                  <a:lnTo>
                    <a:pt x="417" y="1223"/>
                  </a:lnTo>
                  <a:lnTo>
                    <a:pt x="423" y="1216"/>
                  </a:lnTo>
                  <a:lnTo>
                    <a:pt x="431" y="1210"/>
                  </a:lnTo>
                  <a:lnTo>
                    <a:pt x="438" y="1204"/>
                  </a:lnTo>
                  <a:lnTo>
                    <a:pt x="446" y="1198"/>
                  </a:lnTo>
                  <a:lnTo>
                    <a:pt x="453" y="1191"/>
                  </a:lnTo>
                  <a:lnTo>
                    <a:pt x="461" y="1184"/>
                  </a:lnTo>
                  <a:lnTo>
                    <a:pt x="466" y="1176"/>
                  </a:lnTo>
                  <a:lnTo>
                    <a:pt x="469" y="1169"/>
                  </a:lnTo>
                  <a:lnTo>
                    <a:pt x="471" y="1163"/>
                  </a:lnTo>
                  <a:lnTo>
                    <a:pt x="473" y="1157"/>
                  </a:lnTo>
                  <a:lnTo>
                    <a:pt x="473" y="1151"/>
                  </a:lnTo>
                  <a:lnTo>
                    <a:pt x="473" y="1139"/>
                  </a:lnTo>
                  <a:lnTo>
                    <a:pt x="471" y="1127"/>
                  </a:lnTo>
                  <a:lnTo>
                    <a:pt x="469" y="1114"/>
                  </a:lnTo>
                  <a:lnTo>
                    <a:pt x="466" y="1102"/>
                  </a:lnTo>
                  <a:lnTo>
                    <a:pt x="464" y="1089"/>
                  </a:lnTo>
                  <a:lnTo>
                    <a:pt x="463" y="1075"/>
                  </a:lnTo>
                  <a:lnTo>
                    <a:pt x="463" y="1049"/>
                  </a:lnTo>
                  <a:lnTo>
                    <a:pt x="463" y="1026"/>
                  </a:lnTo>
                  <a:lnTo>
                    <a:pt x="463" y="1006"/>
                  </a:lnTo>
                  <a:lnTo>
                    <a:pt x="464" y="986"/>
                  </a:lnTo>
                  <a:lnTo>
                    <a:pt x="466" y="967"/>
                  </a:lnTo>
                  <a:lnTo>
                    <a:pt x="470" y="946"/>
                  </a:lnTo>
                  <a:lnTo>
                    <a:pt x="474" y="924"/>
                  </a:lnTo>
                  <a:lnTo>
                    <a:pt x="481" y="900"/>
                  </a:lnTo>
                  <a:lnTo>
                    <a:pt x="487" y="897"/>
                  </a:lnTo>
                  <a:lnTo>
                    <a:pt x="492" y="892"/>
                  </a:lnTo>
                  <a:lnTo>
                    <a:pt x="497" y="887"/>
                  </a:lnTo>
                  <a:lnTo>
                    <a:pt x="502" y="881"/>
                  </a:lnTo>
                  <a:lnTo>
                    <a:pt x="513" y="867"/>
                  </a:lnTo>
                  <a:lnTo>
                    <a:pt x="521" y="851"/>
                  </a:lnTo>
                  <a:lnTo>
                    <a:pt x="524" y="844"/>
                  </a:lnTo>
                  <a:lnTo>
                    <a:pt x="528" y="836"/>
                  </a:lnTo>
                  <a:lnTo>
                    <a:pt x="530" y="827"/>
                  </a:lnTo>
                  <a:lnTo>
                    <a:pt x="532" y="819"/>
                  </a:lnTo>
                  <a:lnTo>
                    <a:pt x="533" y="811"/>
                  </a:lnTo>
                  <a:lnTo>
                    <a:pt x="533" y="803"/>
                  </a:lnTo>
                  <a:lnTo>
                    <a:pt x="532" y="796"/>
                  </a:lnTo>
                  <a:lnTo>
                    <a:pt x="531" y="790"/>
                  </a:lnTo>
                  <a:lnTo>
                    <a:pt x="528" y="784"/>
                  </a:lnTo>
                  <a:lnTo>
                    <a:pt x="525" y="779"/>
                  </a:lnTo>
                  <a:lnTo>
                    <a:pt x="522" y="774"/>
                  </a:lnTo>
                  <a:lnTo>
                    <a:pt x="518" y="770"/>
                  </a:lnTo>
                  <a:lnTo>
                    <a:pt x="511" y="763"/>
                  </a:lnTo>
                  <a:lnTo>
                    <a:pt x="502" y="755"/>
                  </a:lnTo>
                  <a:lnTo>
                    <a:pt x="483" y="743"/>
                  </a:lnTo>
                  <a:lnTo>
                    <a:pt x="464" y="730"/>
                  </a:lnTo>
                  <a:lnTo>
                    <a:pt x="452" y="721"/>
                  </a:lnTo>
                  <a:lnTo>
                    <a:pt x="439" y="708"/>
                  </a:lnTo>
                  <a:lnTo>
                    <a:pt x="432" y="701"/>
                  </a:lnTo>
                  <a:lnTo>
                    <a:pt x="424" y="694"/>
                  </a:lnTo>
                  <a:lnTo>
                    <a:pt x="418" y="685"/>
                  </a:lnTo>
                  <a:lnTo>
                    <a:pt x="412" y="677"/>
                  </a:lnTo>
                  <a:lnTo>
                    <a:pt x="407" y="668"/>
                  </a:lnTo>
                  <a:lnTo>
                    <a:pt x="402" y="659"/>
                  </a:lnTo>
                  <a:lnTo>
                    <a:pt x="400" y="651"/>
                  </a:lnTo>
                  <a:lnTo>
                    <a:pt x="398" y="643"/>
                  </a:lnTo>
                  <a:lnTo>
                    <a:pt x="398" y="634"/>
                  </a:lnTo>
                  <a:lnTo>
                    <a:pt x="400" y="626"/>
                  </a:lnTo>
                  <a:lnTo>
                    <a:pt x="402" y="622"/>
                  </a:lnTo>
                  <a:lnTo>
                    <a:pt x="404" y="619"/>
                  </a:lnTo>
                  <a:lnTo>
                    <a:pt x="408" y="614"/>
                  </a:lnTo>
                  <a:lnTo>
                    <a:pt x="411" y="611"/>
                  </a:lnTo>
                  <a:lnTo>
                    <a:pt x="418" y="605"/>
                  </a:lnTo>
                  <a:lnTo>
                    <a:pt x="426" y="601"/>
                  </a:lnTo>
                  <a:lnTo>
                    <a:pt x="436" y="598"/>
                  </a:lnTo>
                  <a:lnTo>
                    <a:pt x="445" y="596"/>
                  </a:lnTo>
                  <a:lnTo>
                    <a:pt x="465" y="594"/>
                  </a:lnTo>
                  <a:lnTo>
                    <a:pt x="486" y="594"/>
                  </a:lnTo>
                  <a:lnTo>
                    <a:pt x="508" y="595"/>
                  </a:lnTo>
                  <a:lnTo>
                    <a:pt x="529" y="594"/>
                  </a:lnTo>
                  <a:lnTo>
                    <a:pt x="539" y="592"/>
                  </a:lnTo>
                  <a:lnTo>
                    <a:pt x="548" y="590"/>
                  </a:lnTo>
                  <a:lnTo>
                    <a:pt x="558" y="587"/>
                  </a:lnTo>
                  <a:lnTo>
                    <a:pt x="567" y="583"/>
                  </a:lnTo>
                  <a:lnTo>
                    <a:pt x="568" y="568"/>
                  </a:lnTo>
                  <a:lnTo>
                    <a:pt x="567" y="553"/>
                  </a:lnTo>
                  <a:lnTo>
                    <a:pt x="566" y="538"/>
                  </a:lnTo>
                  <a:lnTo>
                    <a:pt x="564" y="524"/>
                  </a:lnTo>
                  <a:lnTo>
                    <a:pt x="562" y="508"/>
                  </a:lnTo>
                  <a:lnTo>
                    <a:pt x="561" y="493"/>
                  </a:lnTo>
                  <a:lnTo>
                    <a:pt x="561" y="479"/>
                  </a:lnTo>
                  <a:lnTo>
                    <a:pt x="562" y="464"/>
                  </a:lnTo>
                  <a:lnTo>
                    <a:pt x="562" y="453"/>
                  </a:lnTo>
                  <a:lnTo>
                    <a:pt x="562" y="442"/>
                  </a:lnTo>
                  <a:lnTo>
                    <a:pt x="560" y="432"/>
                  </a:lnTo>
                  <a:lnTo>
                    <a:pt x="557" y="422"/>
                  </a:lnTo>
                  <a:lnTo>
                    <a:pt x="553" y="413"/>
                  </a:lnTo>
                  <a:lnTo>
                    <a:pt x="547" y="405"/>
                  </a:lnTo>
                  <a:lnTo>
                    <a:pt x="540" y="397"/>
                  </a:lnTo>
                  <a:lnTo>
                    <a:pt x="532" y="389"/>
                  </a:lnTo>
                  <a:lnTo>
                    <a:pt x="514" y="374"/>
                  </a:lnTo>
                  <a:lnTo>
                    <a:pt x="497" y="363"/>
                  </a:lnTo>
                  <a:lnTo>
                    <a:pt x="485" y="351"/>
                  </a:lnTo>
                  <a:lnTo>
                    <a:pt x="474" y="340"/>
                  </a:lnTo>
                  <a:lnTo>
                    <a:pt x="470" y="334"/>
                  </a:lnTo>
                  <a:lnTo>
                    <a:pt x="466" y="326"/>
                  </a:lnTo>
                  <a:lnTo>
                    <a:pt x="463" y="319"/>
                  </a:lnTo>
                  <a:lnTo>
                    <a:pt x="461" y="311"/>
                  </a:lnTo>
                  <a:lnTo>
                    <a:pt x="459" y="301"/>
                  </a:lnTo>
                  <a:lnTo>
                    <a:pt x="457" y="291"/>
                  </a:lnTo>
                  <a:lnTo>
                    <a:pt x="457" y="279"/>
                  </a:lnTo>
                  <a:lnTo>
                    <a:pt x="456" y="266"/>
                  </a:lnTo>
                  <a:lnTo>
                    <a:pt x="456" y="254"/>
                  </a:lnTo>
                  <a:lnTo>
                    <a:pt x="455" y="243"/>
                  </a:lnTo>
                  <a:lnTo>
                    <a:pt x="452" y="232"/>
                  </a:lnTo>
                  <a:lnTo>
                    <a:pt x="450" y="220"/>
                  </a:lnTo>
                  <a:lnTo>
                    <a:pt x="445" y="198"/>
                  </a:lnTo>
                  <a:lnTo>
                    <a:pt x="439" y="176"/>
                  </a:lnTo>
                  <a:lnTo>
                    <a:pt x="433" y="154"/>
                  </a:lnTo>
                  <a:lnTo>
                    <a:pt x="428" y="131"/>
                  </a:lnTo>
                  <a:lnTo>
                    <a:pt x="427" y="121"/>
                  </a:lnTo>
                  <a:lnTo>
                    <a:pt x="426" y="109"/>
                  </a:lnTo>
                  <a:lnTo>
                    <a:pt x="426" y="97"/>
                  </a:lnTo>
                  <a:lnTo>
                    <a:pt x="427" y="85"/>
                  </a:lnTo>
                  <a:lnTo>
                    <a:pt x="435" y="77"/>
                  </a:lnTo>
                  <a:lnTo>
                    <a:pt x="442" y="67"/>
                  </a:lnTo>
                  <a:lnTo>
                    <a:pt x="449" y="56"/>
                  </a:lnTo>
                  <a:lnTo>
                    <a:pt x="456" y="45"/>
                  </a:lnTo>
                  <a:lnTo>
                    <a:pt x="462" y="33"/>
                  </a:lnTo>
                  <a:lnTo>
                    <a:pt x="467" y="22"/>
                  </a:lnTo>
                  <a:lnTo>
                    <a:pt x="472" y="10"/>
                  </a:lnTo>
                  <a:lnTo>
                    <a:pt x="475" y="0"/>
                  </a:lnTo>
                  <a:lnTo>
                    <a:pt x="475" y="0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4" name="Freeform 141">
              <a:extLst>
                <a:ext uri="{FF2B5EF4-FFF2-40B4-BE49-F238E27FC236}">
                  <a16:creationId xmlns:a16="http://schemas.microsoft.com/office/drawing/2014/main" id="{7BEEE580-8C81-4F01-9F49-044B9BDE7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558" y="4656703"/>
              <a:ext cx="735562" cy="695053"/>
            </a:xfrm>
            <a:custGeom>
              <a:avLst/>
              <a:gdLst>
                <a:gd name="T0" fmla="*/ 101 w 2925"/>
                <a:gd name="T1" fmla="*/ 1453 h 2866"/>
                <a:gd name="T2" fmla="*/ 80 w 2925"/>
                <a:gd name="T3" fmla="*/ 1281 h 2866"/>
                <a:gd name="T4" fmla="*/ 5 w 2925"/>
                <a:gd name="T5" fmla="*/ 1154 h 2866"/>
                <a:gd name="T6" fmla="*/ 232 w 2925"/>
                <a:gd name="T7" fmla="*/ 1168 h 2866"/>
                <a:gd name="T8" fmla="*/ 238 w 2925"/>
                <a:gd name="T9" fmla="*/ 1066 h 2866"/>
                <a:gd name="T10" fmla="*/ 337 w 2925"/>
                <a:gd name="T11" fmla="*/ 963 h 2866"/>
                <a:gd name="T12" fmla="*/ 507 w 2925"/>
                <a:gd name="T13" fmla="*/ 1021 h 2866"/>
                <a:gd name="T14" fmla="*/ 613 w 2925"/>
                <a:gd name="T15" fmla="*/ 987 h 2866"/>
                <a:gd name="T16" fmla="*/ 725 w 2925"/>
                <a:gd name="T17" fmla="*/ 970 h 2866"/>
                <a:gd name="T18" fmla="*/ 708 w 2925"/>
                <a:gd name="T19" fmla="*/ 832 h 2866"/>
                <a:gd name="T20" fmla="*/ 838 w 2925"/>
                <a:gd name="T21" fmla="*/ 798 h 2866"/>
                <a:gd name="T22" fmla="*/ 754 w 2925"/>
                <a:gd name="T23" fmla="*/ 656 h 2866"/>
                <a:gd name="T24" fmla="*/ 715 w 2925"/>
                <a:gd name="T25" fmla="*/ 571 h 2866"/>
                <a:gd name="T26" fmla="*/ 598 w 2925"/>
                <a:gd name="T27" fmla="*/ 495 h 2866"/>
                <a:gd name="T28" fmla="*/ 669 w 2925"/>
                <a:gd name="T29" fmla="*/ 397 h 2866"/>
                <a:gd name="T30" fmla="*/ 740 w 2925"/>
                <a:gd name="T31" fmla="*/ 316 h 2866"/>
                <a:gd name="T32" fmla="*/ 864 w 2925"/>
                <a:gd name="T33" fmla="*/ 228 h 2866"/>
                <a:gd name="T34" fmla="*/ 940 w 2925"/>
                <a:gd name="T35" fmla="*/ 401 h 2866"/>
                <a:gd name="T36" fmla="*/ 974 w 2925"/>
                <a:gd name="T37" fmla="*/ 273 h 2866"/>
                <a:gd name="T38" fmla="*/ 1074 w 2925"/>
                <a:gd name="T39" fmla="*/ 3 h 2866"/>
                <a:gd name="T40" fmla="*/ 1240 w 2925"/>
                <a:gd name="T41" fmla="*/ 64 h 2866"/>
                <a:gd name="T42" fmla="*/ 1357 w 2925"/>
                <a:gd name="T43" fmla="*/ 144 h 2866"/>
                <a:gd name="T44" fmla="*/ 1442 w 2925"/>
                <a:gd name="T45" fmla="*/ 210 h 2866"/>
                <a:gd name="T46" fmla="*/ 1501 w 2925"/>
                <a:gd name="T47" fmla="*/ 156 h 2866"/>
                <a:gd name="T48" fmla="*/ 1581 w 2925"/>
                <a:gd name="T49" fmla="*/ 263 h 2866"/>
                <a:gd name="T50" fmla="*/ 1595 w 2925"/>
                <a:gd name="T51" fmla="*/ 320 h 2866"/>
                <a:gd name="T52" fmla="*/ 1719 w 2925"/>
                <a:gd name="T53" fmla="*/ 505 h 2866"/>
                <a:gd name="T54" fmla="*/ 1769 w 2925"/>
                <a:gd name="T55" fmla="*/ 601 h 2866"/>
                <a:gd name="T56" fmla="*/ 1917 w 2925"/>
                <a:gd name="T57" fmla="*/ 762 h 2866"/>
                <a:gd name="T58" fmla="*/ 2046 w 2925"/>
                <a:gd name="T59" fmla="*/ 724 h 2866"/>
                <a:gd name="T60" fmla="*/ 2093 w 2925"/>
                <a:gd name="T61" fmla="*/ 865 h 2866"/>
                <a:gd name="T62" fmla="*/ 2063 w 2925"/>
                <a:gd name="T63" fmla="*/ 1049 h 2866"/>
                <a:gd name="T64" fmla="*/ 2011 w 2925"/>
                <a:gd name="T65" fmla="*/ 1129 h 2866"/>
                <a:gd name="T66" fmla="*/ 1876 w 2925"/>
                <a:gd name="T67" fmla="*/ 1265 h 2866"/>
                <a:gd name="T68" fmla="*/ 2074 w 2925"/>
                <a:gd name="T69" fmla="*/ 1337 h 2866"/>
                <a:gd name="T70" fmla="*/ 2279 w 2925"/>
                <a:gd name="T71" fmla="*/ 1407 h 2866"/>
                <a:gd name="T72" fmla="*/ 2486 w 2925"/>
                <a:gd name="T73" fmla="*/ 1371 h 2866"/>
                <a:gd name="T74" fmla="*/ 2710 w 2925"/>
                <a:gd name="T75" fmla="*/ 1363 h 2866"/>
                <a:gd name="T76" fmla="*/ 2724 w 2925"/>
                <a:gd name="T77" fmla="*/ 1535 h 2866"/>
                <a:gd name="T78" fmla="*/ 2805 w 2925"/>
                <a:gd name="T79" fmla="*/ 1749 h 2866"/>
                <a:gd name="T80" fmla="*/ 2925 w 2925"/>
                <a:gd name="T81" fmla="*/ 2034 h 2866"/>
                <a:gd name="T82" fmla="*/ 2726 w 2925"/>
                <a:gd name="T83" fmla="*/ 2091 h 2866"/>
                <a:gd name="T84" fmla="*/ 2393 w 2925"/>
                <a:gd name="T85" fmla="*/ 2145 h 2866"/>
                <a:gd name="T86" fmla="*/ 2340 w 2925"/>
                <a:gd name="T87" fmla="*/ 2258 h 2866"/>
                <a:gd name="T88" fmla="*/ 2271 w 2925"/>
                <a:gd name="T89" fmla="*/ 2146 h 2866"/>
                <a:gd name="T90" fmla="*/ 2114 w 2925"/>
                <a:gd name="T91" fmla="*/ 2219 h 2866"/>
                <a:gd name="T92" fmla="*/ 1987 w 2925"/>
                <a:gd name="T93" fmla="*/ 2192 h 2866"/>
                <a:gd name="T94" fmla="*/ 1865 w 2925"/>
                <a:gd name="T95" fmla="*/ 2265 h 2866"/>
                <a:gd name="T96" fmla="*/ 1751 w 2925"/>
                <a:gd name="T97" fmla="*/ 2292 h 2866"/>
                <a:gd name="T98" fmla="*/ 1772 w 2925"/>
                <a:gd name="T99" fmla="*/ 2445 h 2866"/>
                <a:gd name="T100" fmla="*/ 1574 w 2925"/>
                <a:gd name="T101" fmla="*/ 2529 h 2866"/>
                <a:gd name="T102" fmla="*/ 1370 w 2925"/>
                <a:gd name="T103" fmla="*/ 2506 h 2866"/>
                <a:gd name="T104" fmla="*/ 1302 w 2925"/>
                <a:gd name="T105" fmla="*/ 2700 h 2866"/>
                <a:gd name="T106" fmla="*/ 1158 w 2925"/>
                <a:gd name="T107" fmla="*/ 2866 h 2866"/>
                <a:gd name="T108" fmla="*/ 936 w 2925"/>
                <a:gd name="T109" fmla="*/ 2602 h 2866"/>
                <a:gd name="T110" fmla="*/ 920 w 2925"/>
                <a:gd name="T111" fmla="*/ 2341 h 2866"/>
                <a:gd name="T112" fmla="*/ 835 w 2925"/>
                <a:gd name="T113" fmla="*/ 2193 h 2866"/>
                <a:gd name="T114" fmla="*/ 661 w 2925"/>
                <a:gd name="T115" fmla="*/ 1922 h 2866"/>
                <a:gd name="T116" fmla="*/ 501 w 2925"/>
                <a:gd name="T117" fmla="*/ 1816 h 2866"/>
                <a:gd name="T118" fmla="*/ 287 w 2925"/>
                <a:gd name="T119" fmla="*/ 1741 h 2866"/>
                <a:gd name="T120" fmla="*/ 99 w 2925"/>
                <a:gd name="T121" fmla="*/ 1604 h 2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25" h="2866">
                  <a:moveTo>
                    <a:pt x="89" y="1596"/>
                  </a:moveTo>
                  <a:lnTo>
                    <a:pt x="87" y="1578"/>
                  </a:lnTo>
                  <a:lnTo>
                    <a:pt x="82" y="1561"/>
                  </a:lnTo>
                  <a:lnTo>
                    <a:pt x="81" y="1553"/>
                  </a:lnTo>
                  <a:lnTo>
                    <a:pt x="80" y="1545"/>
                  </a:lnTo>
                  <a:lnTo>
                    <a:pt x="80" y="1536"/>
                  </a:lnTo>
                  <a:lnTo>
                    <a:pt x="82" y="1527"/>
                  </a:lnTo>
                  <a:lnTo>
                    <a:pt x="91" y="1514"/>
                  </a:lnTo>
                  <a:lnTo>
                    <a:pt x="103" y="1497"/>
                  </a:lnTo>
                  <a:lnTo>
                    <a:pt x="108" y="1487"/>
                  </a:lnTo>
                  <a:lnTo>
                    <a:pt x="112" y="1479"/>
                  </a:lnTo>
                  <a:lnTo>
                    <a:pt x="112" y="1475"/>
                  </a:lnTo>
                  <a:lnTo>
                    <a:pt x="112" y="1472"/>
                  </a:lnTo>
                  <a:lnTo>
                    <a:pt x="109" y="1469"/>
                  </a:lnTo>
                  <a:lnTo>
                    <a:pt x="106" y="1466"/>
                  </a:lnTo>
                  <a:lnTo>
                    <a:pt x="105" y="1460"/>
                  </a:lnTo>
                  <a:lnTo>
                    <a:pt x="103" y="1457"/>
                  </a:lnTo>
                  <a:lnTo>
                    <a:pt x="101" y="1453"/>
                  </a:lnTo>
                  <a:lnTo>
                    <a:pt x="98" y="1450"/>
                  </a:lnTo>
                  <a:lnTo>
                    <a:pt x="92" y="1445"/>
                  </a:lnTo>
                  <a:lnTo>
                    <a:pt x="85" y="1439"/>
                  </a:lnTo>
                  <a:lnTo>
                    <a:pt x="81" y="1436"/>
                  </a:lnTo>
                  <a:lnTo>
                    <a:pt x="79" y="1433"/>
                  </a:lnTo>
                  <a:lnTo>
                    <a:pt x="76" y="1430"/>
                  </a:lnTo>
                  <a:lnTo>
                    <a:pt x="74" y="1426"/>
                  </a:lnTo>
                  <a:lnTo>
                    <a:pt x="72" y="1422"/>
                  </a:lnTo>
                  <a:lnTo>
                    <a:pt x="72" y="1416"/>
                  </a:lnTo>
                  <a:lnTo>
                    <a:pt x="72" y="1410"/>
                  </a:lnTo>
                  <a:lnTo>
                    <a:pt x="73" y="1403"/>
                  </a:lnTo>
                  <a:lnTo>
                    <a:pt x="75" y="1387"/>
                  </a:lnTo>
                  <a:lnTo>
                    <a:pt x="75" y="1371"/>
                  </a:lnTo>
                  <a:lnTo>
                    <a:pt x="76" y="1355"/>
                  </a:lnTo>
                  <a:lnTo>
                    <a:pt x="76" y="1339"/>
                  </a:lnTo>
                  <a:lnTo>
                    <a:pt x="78" y="1315"/>
                  </a:lnTo>
                  <a:lnTo>
                    <a:pt x="80" y="1292"/>
                  </a:lnTo>
                  <a:lnTo>
                    <a:pt x="80" y="1281"/>
                  </a:lnTo>
                  <a:lnTo>
                    <a:pt x="77" y="1270"/>
                  </a:lnTo>
                  <a:lnTo>
                    <a:pt x="75" y="1265"/>
                  </a:lnTo>
                  <a:lnTo>
                    <a:pt x="73" y="1260"/>
                  </a:lnTo>
                  <a:lnTo>
                    <a:pt x="69" y="1256"/>
                  </a:lnTo>
                  <a:lnTo>
                    <a:pt x="65" y="1251"/>
                  </a:lnTo>
                  <a:lnTo>
                    <a:pt x="57" y="1244"/>
                  </a:lnTo>
                  <a:lnTo>
                    <a:pt x="45" y="1233"/>
                  </a:lnTo>
                  <a:lnTo>
                    <a:pt x="30" y="1219"/>
                  </a:lnTo>
                  <a:lnTo>
                    <a:pt x="17" y="1203"/>
                  </a:lnTo>
                  <a:lnTo>
                    <a:pt x="10" y="1194"/>
                  </a:lnTo>
                  <a:lnTo>
                    <a:pt x="5" y="1186"/>
                  </a:lnTo>
                  <a:lnTo>
                    <a:pt x="2" y="1179"/>
                  </a:lnTo>
                  <a:lnTo>
                    <a:pt x="0" y="1170"/>
                  </a:lnTo>
                  <a:lnTo>
                    <a:pt x="0" y="1167"/>
                  </a:lnTo>
                  <a:lnTo>
                    <a:pt x="0" y="1163"/>
                  </a:lnTo>
                  <a:lnTo>
                    <a:pt x="1" y="1160"/>
                  </a:lnTo>
                  <a:lnTo>
                    <a:pt x="3" y="1157"/>
                  </a:lnTo>
                  <a:lnTo>
                    <a:pt x="5" y="1154"/>
                  </a:lnTo>
                  <a:lnTo>
                    <a:pt x="8" y="1150"/>
                  </a:lnTo>
                  <a:lnTo>
                    <a:pt x="12" y="1148"/>
                  </a:lnTo>
                  <a:lnTo>
                    <a:pt x="18" y="1146"/>
                  </a:lnTo>
                  <a:lnTo>
                    <a:pt x="20" y="1142"/>
                  </a:lnTo>
                  <a:lnTo>
                    <a:pt x="24" y="1139"/>
                  </a:lnTo>
                  <a:lnTo>
                    <a:pt x="28" y="1136"/>
                  </a:lnTo>
                  <a:lnTo>
                    <a:pt x="32" y="1134"/>
                  </a:lnTo>
                  <a:lnTo>
                    <a:pt x="43" y="1131"/>
                  </a:lnTo>
                  <a:lnTo>
                    <a:pt x="55" y="1129"/>
                  </a:lnTo>
                  <a:lnTo>
                    <a:pt x="69" y="1129"/>
                  </a:lnTo>
                  <a:lnTo>
                    <a:pt x="84" y="1129"/>
                  </a:lnTo>
                  <a:lnTo>
                    <a:pt x="99" y="1131"/>
                  </a:lnTo>
                  <a:lnTo>
                    <a:pt x="116" y="1134"/>
                  </a:lnTo>
                  <a:lnTo>
                    <a:pt x="147" y="1141"/>
                  </a:lnTo>
                  <a:lnTo>
                    <a:pt x="176" y="1148"/>
                  </a:lnTo>
                  <a:lnTo>
                    <a:pt x="201" y="1157"/>
                  </a:lnTo>
                  <a:lnTo>
                    <a:pt x="218" y="1162"/>
                  </a:lnTo>
                  <a:lnTo>
                    <a:pt x="232" y="1168"/>
                  </a:lnTo>
                  <a:lnTo>
                    <a:pt x="249" y="1177"/>
                  </a:lnTo>
                  <a:lnTo>
                    <a:pt x="258" y="1180"/>
                  </a:lnTo>
                  <a:lnTo>
                    <a:pt x="266" y="1182"/>
                  </a:lnTo>
                  <a:lnTo>
                    <a:pt x="274" y="1183"/>
                  </a:lnTo>
                  <a:lnTo>
                    <a:pt x="281" y="1183"/>
                  </a:lnTo>
                  <a:lnTo>
                    <a:pt x="285" y="1179"/>
                  </a:lnTo>
                  <a:lnTo>
                    <a:pt x="287" y="1175"/>
                  </a:lnTo>
                  <a:lnTo>
                    <a:pt x="288" y="1172"/>
                  </a:lnTo>
                  <a:lnTo>
                    <a:pt x="288" y="1168"/>
                  </a:lnTo>
                  <a:lnTo>
                    <a:pt x="286" y="1161"/>
                  </a:lnTo>
                  <a:lnTo>
                    <a:pt x="283" y="1153"/>
                  </a:lnTo>
                  <a:lnTo>
                    <a:pt x="272" y="1138"/>
                  </a:lnTo>
                  <a:lnTo>
                    <a:pt x="263" y="1125"/>
                  </a:lnTo>
                  <a:lnTo>
                    <a:pt x="253" y="1111"/>
                  </a:lnTo>
                  <a:lnTo>
                    <a:pt x="245" y="1093"/>
                  </a:lnTo>
                  <a:lnTo>
                    <a:pt x="242" y="1084"/>
                  </a:lnTo>
                  <a:lnTo>
                    <a:pt x="239" y="1075"/>
                  </a:lnTo>
                  <a:lnTo>
                    <a:pt x="238" y="1066"/>
                  </a:lnTo>
                  <a:lnTo>
                    <a:pt x="237" y="1059"/>
                  </a:lnTo>
                  <a:lnTo>
                    <a:pt x="230" y="1048"/>
                  </a:lnTo>
                  <a:lnTo>
                    <a:pt x="226" y="1035"/>
                  </a:lnTo>
                  <a:lnTo>
                    <a:pt x="222" y="1019"/>
                  </a:lnTo>
                  <a:lnTo>
                    <a:pt x="220" y="1003"/>
                  </a:lnTo>
                  <a:lnTo>
                    <a:pt x="220" y="987"/>
                  </a:lnTo>
                  <a:lnTo>
                    <a:pt x="221" y="972"/>
                  </a:lnTo>
                  <a:lnTo>
                    <a:pt x="223" y="965"/>
                  </a:lnTo>
                  <a:lnTo>
                    <a:pt x="225" y="958"/>
                  </a:lnTo>
                  <a:lnTo>
                    <a:pt x="227" y="952"/>
                  </a:lnTo>
                  <a:lnTo>
                    <a:pt x="230" y="947"/>
                  </a:lnTo>
                  <a:lnTo>
                    <a:pt x="249" y="948"/>
                  </a:lnTo>
                  <a:lnTo>
                    <a:pt x="266" y="948"/>
                  </a:lnTo>
                  <a:lnTo>
                    <a:pt x="280" y="949"/>
                  </a:lnTo>
                  <a:lnTo>
                    <a:pt x="294" y="951"/>
                  </a:lnTo>
                  <a:lnTo>
                    <a:pt x="308" y="954"/>
                  </a:lnTo>
                  <a:lnTo>
                    <a:pt x="322" y="957"/>
                  </a:lnTo>
                  <a:lnTo>
                    <a:pt x="337" y="963"/>
                  </a:lnTo>
                  <a:lnTo>
                    <a:pt x="354" y="970"/>
                  </a:lnTo>
                  <a:lnTo>
                    <a:pt x="366" y="976"/>
                  </a:lnTo>
                  <a:lnTo>
                    <a:pt x="379" y="986"/>
                  </a:lnTo>
                  <a:lnTo>
                    <a:pt x="393" y="996"/>
                  </a:lnTo>
                  <a:lnTo>
                    <a:pt x="407" y="1008"/>
                  </a:lnTo>
                  <a:lnTo>
                    <a:pt x="420" y="1019"/>
                  </a:lnTo>
                  <a:lnTo>
                    <a:pt x="434" y="1028"/>
                  </a:lnTo>
                  <a:lnTo>
                    <a:pt x="439" y="1033"/>
                  </a:lnTo>
                  <a:lnTo>
                    <a:pt x="445" y="1036"/>
                  </a:lnTo>
                  <a:lnTo>
                    <a:pt x="450" y="1038"/>
                  </a:lnTo>
                  <a:lnTo>
                    <a:pt x="455" y="1040"/>
                  </a:lnTo>
                  <a:lnTo>
                    <a:pt x="460" y="1040"/>
                  </a:lnTo>
                  <a:lnTo>
                    <a:pt x="465" y="1040"/>
                  </a:lnTo>
                  <a:lnTo>
                    <a:pt x="470" y="1039"/>
                  </a:lnTo>
                  <a:lnTo>
                    <a:pt x="475" y="1037"/>
                  </a:lnTo>
                  <a:lnTo>
                    <a:pt x="486" y="1033"/>
                  </a:lnTo>
                  <a:lnTo>
                    <a:pt x="496" y="1026"/>
                  </a:lnTo>
                  <a:lnTo>
                    <a:pt x="507" y="1021"/>
                  </a:lnTo>
                  <a:lnTo>
                    <a:pt x="518" y="1017"/>
                  </a:lnTo>
                  <a:lnTo>
                    <a:pt x="524" y="1016"/>
                  </a:lnTo>
                  <a:lnTo>
                    <a:pt x="530" y="1015"/>
                  </a:lnTo>
                  <a:lnTo>
                    <a:pt x="536" y="1015"/>
                  </a:lnTo>
                  <a:lnTo>
                    <a:pt x="542" y="1016"/>
                  </a:lnTo>
                  <a:lnTo>
                    <a:pt x="556" y="1020"/>
                  </a:lnTo>
                  <a:lnTo>
                    <a:pt x="568" y="1025"/>
                  </a:lnTo>
                  <a:lnTo>
                    <a:pt x="574" y="1026"/>
                  </a:lnTo>
                  <a:lnTo>
                    <a:pt x="581" y="1026"/>
                  </a:lnTo>
                  <a:lnTo>
                    <a:pt x="583" y="1025"/>
                  </a:lnTo>
                  <a:lnTo>
                    <a:pt x="586" y="1024"/>
                  </a:lnTo>
                  <a:lnTo>
                    <a:pt x="589" y="1022"/>
                  </a:lnTo>
                  <a:lnTo>
                    <a:pt x="591" y="1019"/>
                  </a:lnTo>
                  <a:lnTo>
                    <a:pt x="598" y="1006"/>
                  </a:lnTo>
                  <a:lnTo>
                    <a:pt x="606" y="992"/>
                  </a:lnTo>
                  <a:lnTo>
                    <a:pt x="608" y="990"/>
                  </a:lnTo>
                  <a:lnTo>
                    <a:pt x="611" y="988"/>
                  </a:lnTo>
                  <a:lnTo>
                    <a:pt x="613" y="987"/>
                  </a:lnTo>
                  <a:lnTo>
                    <a:pt x="616" y="987"/>
                  </a:lnTo>
                  <a:lnTo>
                    <a:pt x="619" y="988"/>
                  </a:lnTo>
                  <a:lnTo>
                    <a:pt x="623" y="991"/>
                  </a:lnTo>
                  <a:lnTo>
                    <a:pt x="628" y="994"/>
                  </a:lnTo>
                  <a:lnTo>
                    <a:pt x="632" y="1000"/>
                  </a:lnTo>
                  <a:lnTo>
                    <a:pt x="641" y="1011"/>
                  </a:lnTo>
                  <a:lnTo>
                    <a:pt x="651" y="1018"/>
                  </a:lnTo>
                  <a:lnTo>
                    <a:pt x="655" y="1020"/>
                  </a:lnTo>
                  <a:lnTo>
                    <a:pt x="659" y="1022"/>
                  </a:lnTo>
                  <a:lnTo>
                    <a:pt x="663" y="1023"/>
                  </a:lnTo>
                  <a:lnTo>
                    <a:pt x="666" y="1023"/>
                  </a:lnTo>
                  <a:lnTo>
                    <a:pt x="675" y="1023"/>
                  </a:lnTo>
                  <a:lnTo>
                    <a:pt x="681" y="1020"/>
                  </a:lnTo>
                  <a:lnTo>
                    <a:pt x="688" y="1015"/>
                  </a:lnTo>
                  <a:lnTo>
                    <a:pt x="694" y="1009"/>
                  </a:lnTo>
                  <a:lnTo>
                    <a:pt x="707" y="994"/>
                  </a:lnTo>
                  <a:lnTo>
                    <a:pt x="719" y="978"/>
                  </a:lnTo>
                  <a:lnTo>
                    <a:pt x="725" y="970"/>
                  </a:lnTo>
                  <a:lnTo>
                    <a:pt x="731" y="963"/>
                  </a:lnTo>
                  <a:lnTo>
                    <a:pt x="736" y="956"/>
                  </a:lnTo>
                  <a:lnTo>
                    <a:pt x="742" y="952"/>
                  </a:lnTo>
                  <a:lnTo>
                    <a:pt x="741" y="944"/>
                  </a:lnTo>
                  <a:lnTo>
                    <a:pt x="738" y="936"/>
                  </a:lnTo>
                  <a:lnTo>
                    <a:pt x="734" y="928"/>
                  </a:lnTo>
                  <a:lnTo>
                    <a:pt x="729" y="922"/>
                  </a:lnTo>
                  <a:lnTo>
                    <a:pt x="716" y="908"/>
                  </a:lnTo>
                  <a:lnTo>
                    <a:pt x="703" y="897"/>
                  </a:lnTo>
                  <a:lnTo>
                    <a:pt x="696" y="892"/>
                  </a:lnTo>
                  <a:lnTo>
                    <a:pt x="691" y="885"/>
                  </a:lnTo>
                  <a:lnTo>
                    <a:pt x="687" y="880"/>
                  </a:lnTo>
                  <a:lnTo>
                    <a:pt x="684" y="874"/>
                  </a:lnTo>
                  <a:lnTo>
                    <a:pt x="683" y="869"/>
                  </a:lnTo>
                  <a:lnTo>
                    <a:pt x="684" y="863"/>
                  </a:lnTo>
                  <a:lnTo>
                    <a:pt x="687" y="855"/>
                  </a:lnTo>
                  <a:lnTo>
                    <a:pt x="692" y="848"/>
                  </a:lnTo>
                  <a:lnTo>
                    <a:pt x="708" y="832"/>
                  </a:lnTo>
                  <a:lnTo>
                    <a:pt x="721" y="818"/>
                  </a:lnTo>
                  <a:lnTo>
                    <a:pt x="727" y="811"/>
                  </a:lnTo>
                  <a:lnTo>
                    <a:pt x="732" y="806"/>
                  </a:lnTo>
                  <a:lnTo>
                    <a:pt x="738" y="802"/>
                  </a:lnTo>
                  <a:lnTo>
                    <a:pt x="743" y="798"/>
                  </a:lnTo>
                  <a:lnTo>
                    <a:pt x="750" y="795"/>
                  </a:lnTo>
                  <a:lnTo>
                    <a:pt x="756" y="793"/>
                  </a:lnTo>
                  <a:lnTo>
                    <a:pt x="762" y="792"/>
                  </a:lnTo>
                  <a:lnTo>
                    <a:pt x="770" y="791"/>
                  </a:lnTo>
                  <a:lnTo>
                    <a:pt x="779" y="792"/>
                  </a:lnTo>
                  <a:lnTo>
                    <a:pt x="789" y="793"/>
                  </a:lnTo>
                  <a:lnTo>
                    <a:pt x="800" y="796"/>
                  </a:lnTo>
                  <a:lnTo>
                    <a:pt x="813" y="799"/>
                  </a:lnTo>
                  <a:lnTo>
                    <a:pt x="819" y="801"/>
                  </a:lnTo>
                  <a:lnTo>
                    <a:pt x="826" y="801"/>
                  </a:lnTo>
                  <a:lnTo>
                    <a:pt x="831" y="801"/>
                  </a:lnTo>
                  <a:lnTo>
                    <a:pt x="835" y="800"/>
                  </a:lnTo>
                  <a:lnTo>
                    <a:pt x="838" y="798"/>
                  </a:lnTo>
                  <a:lnTo>
                    <a:pt x="840" y="795"/>
                  </a:lnTo>
                  <a:lnTo>
                    <a:pt x="841" y="792"/>
                  </a:lnTo>
                  <a:lnTo>
                    <a:pt x="842" y="788"/>
                  </a:lnTo>
                  <a:lnTo>
                    <a:pt x="842" y="784"/>
                  </a:lnTo>
                  <a:lnTo>
                    <a:pt x="841" y="780"/>
                  </a:lnTo>
                  <a:lnTo>
                    <a:pt x="840" y="776"/>
                  </a:lnTo>
                  <a:lnTo>
                    <a:pt x="838" y="772"/>
                  </a:lnTo>
                  <a:lnTo>
                    <a:pt x="833" y="763"/>
                  </a:lnTo>
                  <a:lnTo>
                    <a:pt x="827" y="756"/>
                  </a:lnTo>
                  <a:lnTo>
                    <a:pt x="808" y="739"/>
                  </a:lnTo>
                  <a:lnTo>
                    <a:pt x="783" y="716"/>
                  </a:lnTo>
                  <a:lnTo>
                    <a:pt x="770" y="704"/>
                  </a:lnTo>
                  <a:lnTo>
                    <a:pt x="761" y="691"/>
                  </a:lnTo>
                  <a:lnTo>
                    <a:pt x="757" y="686"/>
                  </a:lnTo>
                  <a:lnTo>
                    <a:pt x="754" y="681"/>
                  </a:lnTo>
                  <a:lnTo>
                    <a:pt x="752" y="676"/>
                  </a:lnTo>
                  <a:lnTo>
                    <a:pt x="752" y="671"/>
                  </a:lnTo>
                  <a:lnTo>
                    <a:pt x="754" y="656"/>
                  </a:lnTo>
                  <a:lnTo>
                    <a:pt x="758" y="639"/>
                  </a:lnTo>
                  <a:lnTo>
                    <a:pt x="760" y="631"/>
                  </a:lnTo>
                  <a:lnTo>
                    <a:pt x="762" y="623"/>
                  </a:lnTo>
                  <a:lnTo>
                    <a:pt x="762" y="615"/>
                  </a:lnTo>
                  <a:lnTo>
                    <a:pt x="761" y="608"/>
                  </a:lnTo>
                  <a:lnTo>
                    <a:pt x="760" y="604"/>
                  </a:lnTo>
                  <a:lnTo>
                    <a:pt x="757" y="601"/>
                  </a:lnTo>
                  <a:lnTo>
                    <a:pt x="754" y="598"/>
                  </a:lnTo>
                  <a:lnTo>
                    <a:pt x="751" y="596"/>
                  </a:lnTo>
                  <a:lnTo>
                    <a:pt x="742" y="593"/>
                  </a:lnTo>
                  <a:lnTo>
                    <a:pt x="734" y="592"/>
                  </a:lnTo>
                  <a:lnTo>
                    <a:pt x="731" y="591"/>
                  </a:lnTo>
                  <a:lnTo>
                    <a:pt x="727" y="589"/>
                  </a:lnTo>
                  <a:lnTo>
                    <a:pt x="724" y="587"/>
                  </a:lnTo>
                  <a:lnTo>
                    <a:pt x="720" y="585"/>
                  </a:lnTo>
                  <a:lnTo>
                    <a:pt x="717" y="582"/>
                  </a:lnTo>
                  <a:lnTo>
                    <a:pt x="716" y="577"/>
                  </a:lnTo>
                  <a:lnTo>
                    <a:pt x="715" y="571"/>
                  </a:lnTo>
                  <a:lnTo>
                    <a:pt x="715" y="565"/>
                  </a:lnTo>
                  <a:lnTo>
                    <a:pt x="710" y="558"/>
                  </a:lnTo>
                  <a:lnTo>
                    <a:pt x="703" y="552"/>
                  </a:lnTo>
                  <a:lnTo>
                    <a:pt x="694" y="546"/>
                  </a:lnTo>
                  <a:lnTo>
                    <a:pt x="686" y="543"/>
                  </a:lnTo>
                  <a:lnTo>
                    <a:pt x="665" y="537"/>
                  </a:lnTo>
                  <a:lnTo>
                    <a:pt x="644" y="533"/>
                  </a:lnTo>
                  <a:lnTo>
                    <a:pt x="634" y="530"/>
                  </a:lnTo>
                  <a:lnTo>
                    <a:pt x="625" y="528"/>
                  </a:lnTo>
                  <a:lnTo>
                    <a:pt x="616" y="523"/>
                  </a:lnTo>
                  <a:lnTo>
                    <a:pt x="609" y="519"/>
                  </a:lnTo>
                  <a:lnTo>
                    <a:pt x="606" y="517"/>
                  </a:lnTo>
                  <a:lnTo>
                    <a:pt x="604" y="514"/>
                  </a:lnTo>
                  <a:lnTo>
                    <a:pt x="602" y="511"/>
                  </a:lnTo>
                  <a:lnTo>
                    <a:pt x="599" y="508"/>
                  </a:lnTo>
                  <a:lnTo>
                    <a:pt x="598" y="505"/>
                  </a:lnTo>
                  <a:lnTo>
                    <a:pt x="598" y="501"/>
                  </a:lnTo>
                  <a:lnTo>
                    <a:pt x="598" y="495"/>
                  </a:lnTo>
                  <a:lnTo>
                    <a:pt x="598" y="491"/>
                  </a:lnTo>
                  <a:lnTo>
                    <a:pt x="601" y="484"/>
                  </a:lnTo>
                  <a:lnTo>
                    <a:pt x="604" y="478"/>
                  </a:lnTo>
                  <a:lnTo>
                    <a:pt x="608" y="473"/>
                  </a:lnTo>
                  <a:lnTo>
                    <a:pt x="614" y="469"/>
                  </a:lnTo>
                  <a:lnTo>
                    <a:pt x="620" y="465"/>
                  </a:lnTo>
                  <a:lnTo>
                    <a:pt x="627" y="463"/>
                  </a:lnTo>
                  <a:lnTo>
                    <a:pt x="634" y="460"/>
                  </a:lnTo>
                  <a:lnTo>
                    <a:pt x="642" y="458"/>
                  </a:lnTo>
                  <a:lnTo>
                    <a:pt x="676" y="454"/>
                  </a:lnTo>
                  <a:lnTo>
                    <a:pt x="704" y="449"/>
                  </a:lnTo>
                  <a:lnTo>
                    <a:pt x="705" y="443"/>
                  </a:lnTo>
                  <a:lnTo>
                    <a:pt x="704" y="438"/>
                  </a:lnTo>
                  <a:lnTo>
                    <a:pt x="702" y="433"/>
                  </a:lnTo>
                  <a:lnTo>
                    <a:pt x="699" y="427"/>
                  </a:lnTo>
                  <a:lnTo>
                    <a:pt x="690" y="417"/>
                  </a:lnTo>
                  <a:lnTo>
                    <a:pt x="680" y="408"/>
                  </a:lnTo>
                  <a:lnTo>
                    <a:pt x="669" y="397"/>
                  </a:lnTo>
                  <a:lnTo>
                    <a:pt x="661" y="386"/>
                  </a:lnTo>
                  <a:lnTo>
                    <a:pt x="658" y="381"/>
                  </a:lnTo>
                  <a:lnTo>
                    <a:pt x="655" y="373"/>
                  </a:lnTo>
                  <a:lnTo>
                    <a:pt x="654" y="367"/>
                  </a:lnTo>
                  <a:lnTo>
                    <a:pt x="655" y="360"/>
                  </a:lnTo>
                  <a:lnTo>
                    <a:pt x="656" y="350"/>
                  </a:lnTo>
                  <a:lnTo>
                    <a:pt x="658" y="343"/>
                  </a:lnTo>
                  <a:lnTo>
                    <a:pt x="661" y="337"/>
                  </a:lnTo>
                  <a:lnTo>
                    <a:pt x="663" y="330"/>
                  </a:lnTo>
                  <a:lnTo>
                    <a:pt x="666" y="326"/>
                  </a:lnTo>
                  <a:lnTo>
                    <a:pt x="670" y="323"/>
                  </a:lnTo>
                  <a:lnTo>
                    <a:pt x="674" y="320"/>
                  </a:lnTo>
                  <a:lnTo>
                    <a:pt x="679" y="319"/>
                  </a:lnTo>
                  <a:lnTo>
                    <a:pt x="689" y="316"/>
                  </a:lnTo>
                  <a:lnTo>
                    <a:pt x="702" y="316"/>
                  </a:lnTo>
                  <a:lnTo>
                    <a:pt x="716" y="316"/>
                  </a:lnTo>
                  <a:lnTo>
                    <a:pt x="733" y="316"/>
                  </a:lnTo>
                  <a:lnTo>
                    <a:pt x="740" y="316"/>
                  </a:lnTo>
                  <a:lnTo>
                    <a:pt x="747" y="315"/>
                  </a:lnTo>
                  <a:lnTo>
                    <a:pt x="752" y="314"/>
                  </a:lnTo>
                  <a:lnTo>
                    <a:pt x="757" y="313"/>
                  </a:lnTo>
                  <a:lnTo>
                    <a:pt x="760" y="311"/>
                  </a:lnTo>
                  <a:lnTo>
                    <a:pt x="762" y="309"/>
                  </a:lnTo>
                  <a:lnTo>
                    <a:pt x="764" y="306"/>
                  </a:lnTo>
                  <a:lnTo>
                    <a:pt x="766" y="303"/>
                  </a:lnTo>
                  <a:lnTo>
                    <a:pt x="768" y="289"/>
                  </a:lnTo>
                  <a:lnTo>
                    <a:pt x="773" y="270"/>
                  </a:lnTo>
                  <a:lnTo>
                    <a:pt x="777" y="267"/>
                  </a:lnTo>
                  <a:lnTo>
                    <a:pt x="787" y="261"/>
                  </a:lnTo>
                  <a:lnTo>
                    <a:pt x="801" y="253"/>
                  </a:lnTo>
                  <a:lnTo>
                    <a:pt x="816" y="246"/>
                  </a:lnTo>
                  <a:lnTo>
                    <a:pt x="832" y="239"/>
                  </a:lnTo>
                  <a:lnTo>
                    <a:pt x="848" y="232"/>
                  </a:lnTo>
                  <a:lnTo>
                    <a:pt x="854" y="230"/>
                  </a:lnTo>
                  <a:lnTo>
                    <a:pt x="860" y="229"/>
                  </a:lnTo>
                  <a:lnTo>
                    <a:pt x="864" y="228"/>
                  </a:lnTo>
                  <a:lnTo>
                    <a:pt x="867" y="228"/>
                  </a:lnTo>
                  <a:lnTo>
                    <a:pt x="870" y="239"/>
                  </a:lnTo>
                  <a:lnTo>
                    <a:pt x="871" y="249"/>
                  </a:lnTo>
                  <a:lnTo>
                    <a:pt x="872" y="260"/>
                  </a:lnTo>
                  <a:lnTo>
                    <a:pt x="872" y="271"/>
                  </a:lnTo>
                  <a:lnTo>
                    <a:pt x="871" y="294"/>
                  </a:lnTo>
                  <a:lnTo>
                    <a:pt x="870" y="316"/>
                  </a:lnTo>
                  <a:lnTo>
                    <a:pt x="868" y="339"/>
                  </a:lnTo>
                  <a:lnTo>
                    <a:pt x="870" y="360"/>
                  </a:lnTo>
                  <a:lnTo>
                    <a:pt x="871" y="370"/>
                  </a:lnTo>
                  <a:lnTo>
                    <a:pt x="873" y="381"/>
                  </a:lnTo>
                  <a:lnTo>
                    <a:pt x="875" y="390"/>
                  </a:lnTo>
                  <a:lnTo>
                    <a:pt x="879" y="398"/>
                  </a:lnTo>
                  <a:lnTo>
                    <a:pt x="889" y="399"/>
                  </a:lnTo>
                  <a:lnTo>
                    <a:pt x="903" y="401"/>
                  </a:lnTo>
                  <a:lnTo>
                    <a:pt x="917" y="402"/>
                  </a:lnTo>
                  <a:lnTo>
                    <a:pt x="933" y="401"/>
                  </a:lnTo>
                  <a:lnTo>
                    <a:pt x="940" y="401"/>
                  </a:lnTo>
                  <a:lnTo>
                    <a:pt x="948" y="399"/>
                  </a:lnTo>
                  <a:lnTo>
                    <a:pt x="954" y="398"/>
                  </a:lnTo>
                  <a:lnTo>
                    <a:pt x="960" y="395"/>
                  </a:lnTo>
                  <a:lnTo>
                    <a:pt x="965" y="391"/>
                  </a:lnTo>
                  <a:lnTo>
                    <a:pt x="970" y="387"/>
                  </a:lnTo>
                  <a:lnTo>
                    <a:pt x="973" y="382"/>
                  </a:lnTo>
                  <a:lnTo>
                    <a:pt x="974" y="375"/>
                  </a:lnTo>
                  <a:lnTo>
                    <a:pt x="981" y="371"/>
                  </a:lnTo>
                  <a:lnTo>
                    <a:pt x="986" y="367"/>
                  </a:lnTo>
                  <a:lnTo>
                    <a:pt x="989" y="363"/>
                  </a:lnTo>
                  <a:lnTo>
                    <a:pt x="993" y="359"/>
                  </a:lnTo>
                  <a:lnTo>
                    <a:pt x="995" y="354"/>
                  </a:lnTo>
                  <a:lnTo>
                    <a:pt x="996" y="350"/>
                  </a:lnTo>
                  <a:lnTo>
                    <a:pt x="996" y="346"/>
                  </a:lnTo>
                  <a:lnTo>
                    <a:pt x="996" y="342"/>
                  </a:lnTo>
                  <a:lnTo>
                    <a:pt x="989" y="323"/>
                  </a:lnTo>
                  <a:lnTo>
                    <a:pt x="981" y="299"/>
                  </a:lnTo>
                  <a:lnTo>
                    <a:pt x="974" y="273"/>
                  </a:lnTo>
                  <a:lnTo>
                    <a:pt x="969" y="247"/>
                  </a:lnTo>
                  <a:lnTo>
                    <a:pt x="964" y="221"/>
                  </a:lnTo>
                  <a:lnTo>
                    <a:pt x="962" y="194"/>
                  </a:lnTo>
                  <a:lnTo>
                    <a:pt x="962" y="167"/>
                  </a:lnTo>
                  <a:lnTo>
                    <a:pt x="963" y="143"/>
                  </a:lnTo>
                  <a:lnTo>
                    <a:pt x="964" y="131"/>
                  </a:lnTo>
                  <a:lnTo>
                    <a:pt x="967" y="120"/>
                  </a:lnTo>
                  <a:lnTo>
                    <a:pt x="969" y="109"/>
                  </a:lnTo>
                  <a:lnTo>
                    <a:pt x="972" y="99"/>
                  </a:lnTo>
                  <a:lnTo>
                    <a:pt x="975" y="88"/>
                  </a:lnTo>
                  <a:lnTo>
                    <a:pt x="979" y="79"/>
                  </a:lnTo>
                  <a:lnTo>
                    <a:pt x="984" y="69"/>
                  </a:lnTo>
                  <a:lnTo>
                    <a:pt x="989" y="59"/>
                  </a:lnTo>
                  <a:lnTo>
                    <a:pt x="1002" y="39"/>
                  </a:lnTo>
                  <a:lnTo>
                    <a:pt x="1018" y="19"/>
                  </a:lnTo>
                  <a:lnTo>
                    <a:pt x="1018" y="19"/>
                  </a:lnTo>
                  <a:lnTo>
                    <a:pt x="1046" y="11"/>
                  </a:lnTo>
                  <a:lnTo>
                    <a:pt x="1074" y="3"/>
                  </a:lnTo>
                  <a:lnTo>
                    <a:pt x="1088" y="1"/>
                  </a:lnTo>
                  <a:lnTo>
                    <a:pt x="1103" y="0"/>
                  </a:lnTo>
                  <a:lnTo>
                    <a:pt x="1110" y="1"/>
                  </a:lnTo>
                  <a:lnTo>
                    <a:pt x="1118" y="3"/>
                  </a:lnTo>
                  <a:lnTo>
                    <a:pt x="1125" y="5"/>
                  </a:lnTo>
                  <a:lnTo>
                    <a:pt x="1132" y="8"/>
                  </a:lnTo>
                  <a:lnTo>
                    <a:pt x="1141" y="13"/>
                  </a:lnTo>
                  <a:lnTo>
                    <a:pt x="1148" y="19"/>
                  </a:lnTo>
                  <a:lnTo>
                    <a:pt x="1154" y="24"/>
                  </a:lnTo>
                  <a:lnTo>
                    <a:pt x="1160" y="29"/>
                  </a:lnTo>
                  <a:lnTo>
                    <a:pt x="1171" y="41"/>
                  </a:lnTo>
                  <a:lnTo>
                    <a:pt x="1184" y="54"/>
                  </a:lnTo>
                  <a:lnTo>
                    <a:pt x="1189" y="57"/>
                  </a:lnTo>
                  <a:lnTo>
                    <a:pt x="1195" y="60"/>
                  </a:lnTo>
                  <a:lnTo>
                    <a:pt x="1201" y="62"/>
                  </a:lnTo>
                  <a:lnTo>
                    <a:pt x="1208" y="63"/>
                  </a:lnTo>
                  <a:lnTo>
                    <a:pt x="1223" y="64"/>
                  </a:lnTo>
                  <a:lnTo>
                    <a:pt x="1240" y="64"/>
                  </a:lnTo>
                  <a:lnTo>
                    <a:pt x="1273" y="61"/>
                  </a:lnTo>
                  <a:lnTo>
                    <a:pt x="1301" y="59"/>
                  </a:lnTo>
                  <a:lnTo>
                    <a:pt x="1325" y="59"/>
                  </a:lnTo>
                  <a:lnTo>
                    <a:pt x="1350" y="58"/>
                  </a:lnTo>
                  <a:lnTo>
                    <a:pt x="1362" y="59"/>
                  </a:lnTo>
                  <a:lnTo>
                    <a:pt x="1373" y="60"/>
                  </a:lnTo>
                  <a:lnTo>
                    <a:pt x="1386" y="61"/>
                  </a:lnTo>
                  <a:lnTo>
                    <a:pt x="1397" y="64"/>
                  </a:lnTo>
                  <a:lnTo>
                    <a:pt x="1398" y="73"/>
                  </a:lnTo>
                  <a:lnTo>
                    <a:pt x="1399" y="80"/>
                  </a:lnTo>
                  <a:lnTo>
                    <a:pt x="1397" y="86"/>
                  </a:lnTo>
                  <a:lnTo>
                    <a:pt x="1395" y="92"/>
                  </a:lnTo>
                  <a:lnTo>
                    <a:pt x="1388" y="103"/>
                  </a:lnTo>
                  <a:lnTo>
                    <a:pt x="1378" y="118"/>
                  </a:lnTo>
                  <a:lnTo>
                    <a:pt x="1370" y="124"/>
                  </a:lnTo>
                  <a:lnTo>
                    <a:pt x="1363" y="133"/>
                  </a:lnTo>
                  <a:lnTo>
                    <a:pt x="1360" y="139"/>
                  </a:lnTo>
                  <a:lnTo>
                    <a:pt x="1357" y="144"/>
                  </a:lnTo>
                  <a:lnTo>
                    <a:pt x="1356" y="149"/>
                  </a:lnTo>
                  <a:lnTo>
                    <a:pt x="1359" y="153"/>
                  </a:lnTo>
                  <a:lnTo>
                    <a:pt x="1385" y="154"/>
                  </a:lnTo>
                  <a:lnTo>
                    <a:pt x="1409" y="155"/>
                  </a:lnTo>
                  <a:lnTo>
                    <a:pt x="1414" y="156"/>
                  </a:lnTo>
                  <a:lnTo>
                    <a:pt x="1418" y="158"/>
                  </a:lnTo>
                  <a:lnTo>
                    <a:pt x="1422" y="160"/>
                  </a:lnTo>
                  <a:lnTo>
                    <a:pt x="1425" y="164"/>
                  </a:lnTo>
                  <a:lnTo>
                    <a:pt x="1428" y="168"/>
                  </a:lnTo>
                  <a:lnTo>
                    <a:pt x="1429" y="173"/>
                  </a:lnTo>
                  <a:lnTo>
                    <a:pt x="1430" y="178"/>
                  </a:lnTo>
                  <a:lnTo>
                    <a:pt x="1430" y="185"/>
                  </a:lnTo>
                  <a:lnTo>
                    <a:pt x="1430" y="193"/>
                  </a:lnTo>
                  <a:lnTo>
                    <a:pt x="1432" y="198"/>
                  </a:lnTo>
                  <a:lnTo>
                    <a:pt x="1434" y="203"/>
                  </a:lnTo>
                  <a:lnTo>
                    <a:pt x="1436" y="206"/>
                  </a:lnTo>
                  <a:lnTo>
                    <a:pt x="1439" y="209"/>
                  </a:lnTo>
                  <a:lnTo>
                    <a:pt x="1442" y="210"/>
                  </a:lnTo>
                  <a:lnTo>
                    <a:pt x="1446" y="212"/>
                  </a:lnTo>
                  <a:lnTo>
                    <a:pt x="1450" y="212"/>
                  </a:lnTo>
                  <a:lnTo>
                    <a:pt x="1454" y="212"/>
                  </a:lnTo>
                  <a:lnTo>
                    <a:pt x="1459" y="209"/>
                  </a:lnTo>
                  <a:lnTo>
                    <a:pt x="1463" y="207"/>
                  </a:lnTo>
                  <a:lnTo>
                    <a:pt x="1467" y="204"/>
                  </a:lnTo>
                  <a:lnTo>
                    <a:pt x="1470" y="200"/>
                  </a:lnTo>
                  <a:lnTo>
                    <a:pt x="1473" y="196"/>
                  </a:lnTo>
                  <a:lnTo>
                    <a:pt x="1476" y="191"/>
                  </a:lnTo>
                  <a:lnTo>
                    <a:pt x="1478" y="185"/>
                  </a:lnTo>
                  <a:lnTo>
                    <a:pt x="1479" y="179"/>
                  </a:lnTo>
                  <a:lnTo>
                    <a:pt x="1483" y="173"/>
                  </a:lnTo>
                  <a:lnTo>
                    <a:pt x="1485" y="169"/>
                  </a:lnTo>
                  <a:lnTo>
                    <a:pt x="1488" y="165"/>
                  </a:lnTo>
                  <a:lnTo>
                    <a:pt x="1491" y="161"/>
                  </a:lnTo>
                  <a:lnTo>
                    <a:pt x="1494" y="158"/>
                  </a:lnTo>
                  <a:lnTo>
                    <a:pt x="1497" y="157"/>
                  </a:lnTo>
                  <a:lnTo>
                    <a:pt x="1501" y="156"/>
                  </a:lnTo>
                  <a:lnTo>
                    <a:pt x="1505" y="155"/>
                  </a:lnTo>
                  <a:lnTo>
                    <a:pt x="1509" y="155"/>
                  </a:lnTo>
                  <a:lnTo>
                    <a:pt x="1513" y="156"/>
                  </a:lnTo>
                  <a:lnTo>
                    <a:pt x="1517" y="157"/>
                  </a:lnTo>
                  <a:lnTo>
                    <a:pt x="1525" y="161"/>
                  </a:lnTo>
                  <a:lnTo>
                    <a:pt x="1534" y="167"/>
                  </a:lnTo>
                  <a:lnTo>
                    <a:pt x="1542" y="174"/>
                  </a:lnTo>
                  <a:lnTo>
                    <a:pt x="1549" y="181"/>
                  </a:lnTo>
                  <a:lnTo>
                    <a:pt x="1558" y="191"/>
                  </a:lnTo>
                  <a:lnTo>
                    <a:pt x="1564" y="199"/>
                  </a:lnTo>
                  <a:lnTo>
                    <a:pt x="1570" y="208"/>
                  </a:lnTo>
                  <a:lnTo>
                    <a:pt x="1575" y="218"/>
                  </a:lnTo>
                  <a:lnTo>
                    <a:pt x="1580" y="226"/>
                  </a:lnTo>
                  <a:lnTo>
                    <a:pt x="1583" y="233"/>
                  </a:lnTo>
                  <a:lnTo>
                    <a:pt x="1585" y="243"/>
                  </a:lnTo>
                  <a:lnTo>
                    <a:pt x="1585" y="251"/>
                  </a:lnTo>
                  <a:lnTo>
                    <a:pt x="1584" y="257"/>
                  </a:lnTo>
                  <a:lnTo>
                    <a:pt x="1581" y="263"/>
                  </a:lnTo>
                  <a:lnTo>
                    <a:pt x="1576" y="267"/>
                  </a:lnTo>
                  <a:lnTo>
                    <a:pt x="1571" y="270"/>
                  </a:lnTo>
                  <a:lnTo>
                    <a:pt x="1566" y="273"/>
                  </a:lnTo>
                  <a:lnTo>
                    <a:pt x="1560" y="275"/>
                  </a:lnTo>
                  <a:lnTo>
                    <a:pt x="1547" y="280"/>
                  </a:lnTo>
                  <a:lnTo>
                    <a:pt x="1535" y="288"/>
                  </a:lnTo>
                  <a:lnTo>
                    <a:pt x="1531" y="292"/>
                  </a:lnTo>
                  <a:lnTo>
                    <a:pt x="1526" y="298"/>
                  </a:lnTo>
                  <a:lnTo>
                    <a:pt x="1523" y="304"/>
                  </a:lnTo>
                  <a:lnTo>
                    <a:pt x="1522" y="314"/>
                  </a:lnTo>
                  <a:lnTo>
                    <a:pt x="1523" y="319"/>
                  </a:lnTo>
                  <a:lnTo>
                    <a:pt x="1525" y="322"/>
                  </a:lnTo>
                  <a:lnTo>
                    <a:pt x="1528" y="325"/>
                  </a:lnTo>
                  <a:lnTo>
                    <a:pt x="1534" y="326"/>
                  </a:lnTo>
                  <a:lnTo>
                    <a:pt x="1546" y="326"/>
                  </a:lnTo>
                  <a:lnTo>
                    <a:pt x="1562" y="324"/>
                  </a:lnTo>
                  <a:lnTo>
                    <a:pt x="1579" y="322"/>
                  </a:lnTo>
                  <a:lnTo>
                    <a:pt x="1595" y="320"/>
                  </a:lnTo>
                  <a:lnTo>
                    <a:pt x="1603" y="321"/>
                  </a:lnTo>
                  <a:lnTo>
                    <a:pt x="1609" y="322"/>
                  </a:lnTo>
                  <a:lnTo>
                    <a:pt x="1615" y="324"/>
                  </a:lnTo>
                  <a:lnTo>
                    <a:pt x="1620" y="327"/>
                  </a:lnTo>
                  <a:lnTo>
                    <a:pt x="1644" y="351"/>
                  </a:lnTo>
                  <a:lnTo>
                    <a:pt x="1678" y="385"/>
                  </a:lnTo>
                  <a:lnTo>
                    <a:pt x="1693" y="402"/>
                  </a:lnTo>
                  <a:lnTo>
                    <a:pt x="1707" y="420"/>
                  </a:lnTo>
                  <a:lnTo>
                    <a:pt x="1712" y="427"/>
                  </a:lnTo>
                  <a:lnTo>
                    <a:pt x="1716" y="435"/>
                  </a:lnTo>
                  <a:lnTo>
                    <a:pt x="1719" y="441"/>
                  </a:lnTo>
                  <a:lnTo>
                    <a:pt x="1720" y="447"/>
                  </a:lnTo>
                  <a:lnTo>
                    <a:pt x="1718" y="464"/>
                  </a:lnTo>
                  <a:lnTo>
                    <a:pt x="1715" y="481"/>
                  </a:lnTo>
                  <a:lnTo>
                    <a:pt x="1714" y="489"/>
                  </a:lnTo>
                  <a:lnTo>
                    <a:pt x="1715" y="497"/>
                  </a:lnTo>
                  <a:lnTo>
                    <a:pt x="1717" y="502"/>
                  </a:lnTo>
                  <a:lnTo>
                    <a:pt x="1719" y="505"/>
                  </a:lnTo>
                  <a:lnTo>
                    <a:pt x="1722" y="509"/>
                  </a:lnTo>
                  <a:lnTo>
                    <a:pt x="1726" y="512"/>
                  </a:lnTo>
                  <a:lnTo>
                    <a:pt x="1733" y="517"/>
                  </a:lnTo>
                  <a:lnTo>
                    <a:pt x="1742" y="521"/>
                  </a:lnTo>
                  <a:lnTo>
                    <a:pt x="1751" y="525"/>
                  </a:lnTo>
                  <a:lnTo>
                    <a:pt x="1760" y="528"/>
                  </a:lnTo>
                  <a:lnTo>
                    <a:pt x="1780" y="532"/>
                  </a:lnTo>
                  <a:lnTo>
                    <a:pt x="1797" y="535"/>
                  </a:lnTo>
                  <a:lnTo>
                    <a:pt x="1800" y="549"/>
                  </a:lnTo>
                  <a:lnTo>
                    <a:pt x="1800" y="560"/>
                  </a:lnTo>
                  <a:lnTo>
                    <a:pt x="1800" y="568"/>
                  </a:lnTo>
                  <a:lnTo>
                    <a:pt x="1800" y="576"/>
                  </a:lnTo>
                  <a:lnTo>
                    <a:pt x="1797" y="582"/>
                  </a:lnTo>
                  <a:lnTo>
                    <a:pt x="1795" y="586"/>
                  </a:lnTo>
                  <a:lnTo>
                    <a:pt x="1793" y="589"/>
                  </a:lnTo>
                  <a:lnTo>
                    <a:pt x="1789" y="592"/>
                  </a:lnTo>
                  <a:lnTo>
                    <a:pt x="1781" y="596"/>
                  </a:lnTo>
                  <a:lnTo>
                    <a:pt x="1769" y="601"/>
                  </a:lnTo>
                  <a:lnTo>
                    <a:pt x="1762" y="604"/>
                  </a:lnTo>
                  <a:lnTo>
                    <a:pt x="1755" y="607"/>
                  </a:lnTo>
                  <a:lnTo>
                    <a:pt x="1746" y="612"/>
                  </a:lnTo>
                  <a:lnTo>
                    <a:pt x="1738" y="618"/>
                  </a:lnTo>
                  <a:lnTo>
                    <a:pt x="1737" y="620"/>
                  </a:lnTo>
                  <a:lnTo>
                    <a:pt x="1737" y="624"/>
                  </a:lnTo>
                  <a:lnTo>
                    <a:pt x="1738" y="628"/>
                  </a:lnTo>
                  <a:lnTo>
                    <a:pt x="1740" y="632"/>
                  </a:lnTo>
                  <a:lnTo>
                    <a:pt x="1748" y="642"/>
                  </a:lnTo>
                  <a:lnTo>
                    <a:pt x="1760" y="655"/>
                  </a:lnTo>
                  <a:lnTo>
                    <a:pt x="1775" y="668"/>
                  </a:lnTo>
                  <a:lnTo>
                    <a:pt x="1792" y="683"/>
                  </a:lnTo>
                  <a:lnTo>
                    <a:pt x="1812" y="699"/>
                  </a:lnTo>
                  <a:lnTo>
                    <a:pt x="1833" y="713"/>
                  </a:lnTo>
                  <a:lnTo>
                    <a:pt x="1855" y="728"/>
                  </a:lnTo>
                  <a:lnTo>
                    <a:pt x="1877" y="742"/>
                  </a:lnTo>
                  <a:lnTo>
                    <a:pt x="1898" y="753"/>
                  </a:lnTo>
                  <a:lnTo>
                    <a:pt x="1917" y="762"/>
                  </a:lnTo>
                  <a:lnTo>
                    <a:pt x="1927" y="767"/>
                  </a:lnTo>
                  <a:lnTo>
                    <a:pt x="1936" y="770"/>
                  </a:lnTo>
                  <a:lnTo>
                    <a:pt x="1945" y="773"/>
                  </a:lnTo>
                  <a:lnTo>
                    <a:pt x="1952" y="774"/>
                  </a:lnTo>
                  <a:lnTo>
                    <a:pt x="1959" y="775"/>
                  </a:lnTo>
                  <a:lnTo>
                    <a:pt x="1965" y="775"/>
                  </a:lnTo>
                  <a:lnTo>
                    <a:pt x="1971" y="774"/>
                  </a:lnTo>
                  <a:lnTo>
                    <a:pt x="1975" y="772"/>
                  </a:lnTo>
                  <a:lnTo>
                    <a:pt x="1983" y="763"/>
                  </a:lnTo>
                  <a:lnTo>
                    <a:pt x="1991" y="754"/>
                  </a:lnTo>
                  <a:lnTo>
                    <a:pt x="1999" y="746"/>
                  </a:lnTo>
                  <a:lnTo>
                    <a:pt x="2008" y="737"/>
                  </a:lnTo>
                  <a:lnTo>
                    <a:pt x="2016" y="733"/>
                  </a:lnTo>
                  <a:lnTo>
                    <a:pt x="2029" y="727"/>
                  </a:lnTo>
                  <a:lnTo>
                    <a:pt x="2035" y="724"/>
                  </a:lnTo>
                  <a:lnTo>
                    <a:pt x="2041" y="723"/>
                  </a:lnTo>
                  <a:lnTo>
                    <a:pt x="2044" y="723"/>
                  </a:lnTo>
                  <a:lnTo>
                    <a:pt x="2046" y="724"/>
                  </a:lnTo>
                  <a:lnTo>
                    <a:pt x="2047" y="725"/>
                  </a:lnTo>
                  <a:lnTo>
                    <a:pt x="2048" y="727"/>
                  </a:lnTo>
                  <a:lnTo>
                    <a:pt x="2051" y="730"/>
                  </a:lnTo>
                  <a:lnTo>
                    <a:pt x="2052" y="734"/>
                  </a:lnTo>
                  <a:lnTo>
                    <a:pt x="2054" y="740"/>
                  </a:lnTo>
                  <a:lnTo>
                    <a:pt x="2055" y="747"/>
                  </a:lnTo>
                  <a:lnTo>
                    <a:pt x="2055" y="760"/>
                  </a:lnTo>
                  <a:lnTo>
                    <a:pt x="2054" y="770"/>
                  </a:lnTo>
                  <a:lnTo>
                    <a:pt x="2053" y="780"/>
                  </a:lnTo>
                  <a:lnTo>
                    <a:pt x="2053" y="791"/>
                  </a:lnTo>
                  <a:lnTo>
                    <a:pt x="2054" y="800"/>
                  </a:lnTo>
                  <a:lnTo>
                    <a:pt x="2057" y="810"/>
                  </a:lnTo>
                  <a:lnTo>
                    <a:pt x="2060" y="820"/>
                  </a:lnTo>
                  <a:lnTo>
                    <a:pt x="2065" y="829"/>
                  </a:lnTo>
                  <a:lnTo>
                    <a:pt x="2072" y="839"/>
                  </a:lnTo>
                  <a:lnTo>
                    <a:pt x="2078" y="848"/>
                  </a:lnTo>
                  <a:lnTo>
                    <a:pt x="2085" y="856"/>
                  </a:lnTo>
                  <a:lnTo>
                    <a:pt x="2093" y="865"/>
                  </a:lnTo>
                  <a:lnTo>
                    <a:pt x="2101" y="872"/>
                  </a:lnTo>
                  <a:lnTo>
                    <a:pt x="2109" y="879"/>
                  </a:lnTo>
                  <a:lnTo>
                    <a:pt x="2118" y="885"/>
                  </a:lnTo>
                  <a:lnTo>
                    <a:pt x="2126" y="892"/>
                  </a:lnTo>
                  <a:lnTo>
                    <a:pt x="2134" y="897"/>
                  </a:lnTo>
                  <a:lnTo>
                    <a:pt x="2143" y="901"/>
                  </a:lnTo>
                  <a:lnTo>
                    <a:pt x="2143" y="901"/>
                  </a:lnTo>
                  <a:lnTo>
                    <a:pt x="2118" y="928"/>
                  </a:lnTo>
                  <a:lnTo>
                    <a:pt x="2093" y="956"/>
                  </a:lnTo>
                  <a:lnTo>
                    <a:pt x="2082" y="972"/>
                  </a:lnTo>
                  <a:lnTo>
                    <a:pt x="2072" y="988"/>
                  </a:lnTo>
                  <a:lnTo>
                    <a:pt x="2069" y="996"/>
                  </a:lnTo>
                  <a:lnTo>
                    <a:pt x="2064" y="1005"/>
                  </a:lnTo>
                  <a:lnTo>
                    <a:pt x="2062" y="1014"/>
                  </a:lnTo>
                  <a:lnTo>
                    <a:pt x="2060" y="1023"/>
                  </a:lnTo>
                  <a:lnTo>
                    <a:pt x="2059" y="1030"/>
                  </a:lnTo>
                  <a:lnTo>
                    <a:pt x="2061" y="1040"/>
                  </a:lnTo>
                  <a:lnTo>
                    <a:pt x="2063" y="1049"/>
                  </a:lnTo>
                  <a:lnTo>
                    <a:pt x="2066" y="1059"/>
                  </a:lnTo>
                  <a:lnTo>
                    <a:pt x="2071" y="1069"/>
                  </a:lnTo>
                  <a:lnTo>
                    <a:pt x="2074" y="1080"/>
                  </a:lnTo>
                  <a:lnTo>
                    <a:pt x="2076" y="1089"/>
                  </a:lnTo>
                  <a:lnTo>
                    <a:pt x="2077" y="1097"/>
                  </a:lnTo>
                  <a:lnTo>
                    <a:pt x="2077" y="1106"/>
                  </a:lnTo>
                  <a:lnTo>
                    <a:pt x="2076" y="1113"/>
                  </a:lnTo>
                  <a:lnTo>
                    <a:pt x="2073" y="1120"/>
                  </a:lnTo>
                  <a:lnTo>
                    <a:pt x="2070" y="1126"/>
                  </a:lnTo>
                  <a:lnTo>
                    <a:pt x="2065" y="1133"/>
                  </a:lnTo>
                  <a:lnTo>
                    <a:pt x="2059" y="1137"/>
                  </a:lnTo>
                  <a:lnTo>
                    <a:pt x="2052" y="1140"/>
                  </a:lnTo>
                  <a:lnTo>
                    <a:pt x="2045" y="1141"/>
                  </a:lnTo>
                  <a:lnTo>
                    <a:pt x="2037" y="1141"/>
                  </a:lnTo>
                  <a:lnTo>
                    <a:pt x="2032" y="1140"/>
                  </a:lnTo>
                  <a:lnTo>
                    <a:pt x="2026" y="1138"/>
                  </a:lnTo>
                  <a:lnTo>
                    <a:pt x="2022" y="1136"/>
                  </a:lnTo>
                  <a:lnTo>
                    <a:pt x="2011" y="1129"/>
                  </a:lnTo>
                  <a:lnTo>
                    <a:pt x="2002" y="1122"/>
                  </a:lnTo>
                  <a:lnTo>
                    <a:pt x="1992" y="1115"/>
                  </a:lnTo>
                  <a:lnTo>
                    <a:pt x="1982" y="1110"/>
                  </a:lnTo>
                  <a:lnTo>
                    <a:pt x="1976" y="1109"/>
                  </a:lnTo>
                  <a:lnTo>
                    <a:pt x="1970" y="1108"/>
                  </a:lnTo>
                  <a:lnTo>
                    <a:pt x="1963" y="1108"/>
                  </a:lnTo>
                  <a:lnTo>
                    <a:pt x="1955" y="1109"/>
                  </a:lnTo>
                  <a:lnTo>
                    <a:pt x="1950" y="1112"/>
                  </a:lnTo>
                  <a:lnTo>
                    <a:pt x="1945" y="1116"/>
                  </a:lnTo>
                  <a:lnTo>
                    <a:pt x="1938" y="1121"/>
                  </a:lnTo>
                  <a:lnTo>
                    <a:pt x="1932" y="1129"/>
                  </a:lnTo>
                  <a:lnTo>
                    <a:pt x="1918" y="1146"/>
                  </a:lnTo>
                  <a:lnTo>
                    <a:pt x="1905" y="1166"/>
                  </a:lnTo>
                  <a:lnTo>
                    <a:pt x="1881" y="1207"/>
                  </a:lnTo>
                  <a:lnTo>
                    <a:pt x="1865" y="1236"/>
                  </a:lnTo>
                  <a:lnTo>
                    <a:pt x="1866" y="1241"/>
                  </a:lnTo>
                  <a:lnTo>
                    <a:pt x="1869" y="1252"/>
                  </a:lnTo>
                  <a:lnTo>
                    <a:pt x="1876" y="1265"/>
                  </a:lnTo>
                  <a:lnTo>
                    <a:pt x="1882" y="1281"/>
                  </a:lnTo>
                  <a:lnTo>
                    <a:pt x="1889" y="1297"/>
                  </a:lnTo>
                  <a:lnTo>
                    <a:pt x="1897" y="1309"/>
                  </a:lnTo>
                  <a:lnTo>
                    <a:pt x="1903" y="1318"/>
                  </a:lnTo>
                  <a:lnTo>
                    <a:pt x="1907" y="1323"/>
                  </a:lnTo>
                  <a:lnTo>
                    <a:pt x="1916" y="1324"/>
                  </a:lnTo>
                  <a:lnTo>
                    <a:pt x="1927" y="1325"/>
                  </a:lnTo>
                  <a:lnTo>
                    <a:pt x="1937" y="1325"/>
                  </a:lnTo>
                  <a:lnTo>
                    <a:pt x="1948" y="1324"/>
                  </a:lnTo>
                  <a:lnTo>
                    <a:pt x="1970" y="1322"/>
                  </a:lnTo>
                  <a:lnTo>
                    <a:pt x="1990" y="1319"/>
                  </a:lnTo>
                  <a:lnTo>
                    <a:pt x="2012" y="1317"/>
                  </a:lnTo>
                  <a:lnTo>
                    <a:pt x="2033" y="1315"/>
                  </a:lnTo>
                  <a:lnTo>
                    <a:pt x="2044" y="1315"/>
                  </a:lnTo>
                  <a:lnTo>
                    <a:pt x="2053" y="1316"/>
                  </a:lnTo>
                  <a:lnTo>
                    <a:pt x="2063" y="1317"/>
                  </a:lnTo>
                  <a:lnTo>
                    <a:pt x="2073" y="1318"/>
                  </a:lnTo>
                  <a:lnTo>
                    <a:pt x="2074" y="1337"/>
                  </a:lnTo>
                  <a:lnTo>
                    <a:pt x="2076" y="1355"/>
                  </a:lnTo>
                  <a:lnTo>
                    <a:pt x="2080" y="1370"/>
                  </a:lnTo>
                  <a:lnTo>
                    <a:pt x="2085" y="1383"/>
                  </a:lnTo>
                  <a:lnTo>
                    <a:pt x="2092" y="1396"/>
                  </a:lnTo>
                  <a:lnTo>
                    <a:pt x="2100" y="1406"/>
                  </a:lnTo>
                  <a:lnTo>
                    <a:pt x="2109" y="1414"/>
                  </a:lnTo>
                  <a:lnTo>
                    <a:pt x="2120" y="1422"/>
                  </a:lnTo>
                  <a:lnTo>
                    <a:pt x="2131" y="1427"/>
                  </a:lnTo>
                  <a:lnTo>
                    <a:pt x="2144" y="1431"/>
                  </a:lnTo>
                  <a:lnTo>
                    <a:pt x="2158" y="1433"/>
                  </a:lnTo>
                  <a:lnTo>
                    <a:pt x="2173" y="1434"/>
                  </a:lnTo>
                  <a:lnTo>
                    <a:pt x="2190" y="1433"/>
                  </a:lnTo>
                  <a:lnTo>
                    <a:pt x="2206" y="1431"/>
                  </a:lnTo>
                  <a:lnTo>
                    <a:pt x="2224" y="1428"/>
                  </a:lnTo>
                  <a:lnTo>
                    <a:pt x="2243" y="1423"/>
                  </a:lnTo>
                  <a:lnTo>
                    <a:pt x="2255" y="1418"/>
                  </a:lnTo>
                  <a:lnTo>
                    <a:pt x="2268" y="1413"/>
                  </a:lnTo>
                  <a:lnTo>
                    <a:pt x="2279" y="1407"/>
                  </a:lnTo>
                  <a:lnTo>
                    <a:pt x="2291" y="1402"/>
                  </a:lnTo>
                  <a:lnTo>
                    <a:pt x="2314" y="1389"/>
                  </a:lnTo>
                  <a:lnTo>
                    <a:pt x="2338" y="1379"/>
                  </a:lnTo>
                  <a:lnTo>
                    <a:pt x="2346" y="1377"/>
                  </a:lnTo>
                  <a:lnTo>
                    <a:pt x="2354" y="1377"/>
                  </a:lnTo>
                  <a:lnTo>
                    <a:pt x="2362" y="1378"/>
                  </a:lnTo>
                  <a:lnTo>
                    <a:pt x="2370" y="1380"/>
                  </a:lnTo>
                  <a:lnTo>
                    <a:pt x="2387" y="1386"/>
                  </a:lnTo>
                  <a:lnTo>
                    <a:pt x="2403" y="1394"/>
                  </a:lnTo>
                  <a:lnTo>
                    <a:pt x="2412" y="1397"/>
                  </a:lnTo>
                  <a:lnTo>
                    <a:pt x="2420" y="1399"/>
                  </a:lnTo>
                  <a:lnTo>
                    <a:pt x="2428" y="1400"/>
                  </a:lnTo>
                  <a:lnTo>
                    <a:pt x="2438" y="1400"/>
                  </a:lnTo>
                  <a:lnTo>
                    <a:pt x="2447" y="1398"/>
                  </a:lnTo>
                  <a:lnTo>
                    <a:pt x="2456" y="1394"/>
                  </a:lnTo>
                  <a:lnTo>
                    <a:pt x="2467" y="1387"/>
                  </a:lnTo>
                  <a:lnTo>
                    <a:pt x="2477" y="1378"/>
                  </a:lnTo>
                  <a:lnTo>
                    <a:pt x="2486" y="1371"/>
                  </a:lnTo>
                  <a:lnTo>
                    <a:pt x="2496" y="1365"/>
                  </a:lnTo>
                  <a:lnTo>
                    <a:pt x="2508" y="1360"/>
                  </a:lnTo>
                  <a:lnTo>
                    <a:pt x="2521" y="1356"/>
                  </a:lnTo>
                  <a:lnTo>
                    <a:pt x="2536" y="1352"/>
                  </a:lnTo>
                  <a:lnTo>
                    <a:pt x="2551" y="1349"/>
                  </a:lnTo>
                  <a:lnTo>
                    <a:pt x="2568" y="1347"/>
                  </a:lnTo>
                  <a:lnTo>
                    <a:pt x="2585" y="1346"/>
                  </a:lnTo>
                  <a:lnTo>
                    <a:pt x="2602" y="1345"/>
                  </a:lnTo>
                  <a:lnTo>
                    <a:pt x="2619" y="1345"/>
                  </a:lnTo>
                  <a:lnTo>
                    <a:pt x="2635" y="1345"/>
                  </a:lnTo>
                  <a:lnTo>
                    <a:pt x="2650" y="1346"/>
                  </a:lnTo>
                  <a:lnTo>
                    <a:pt x="2666" y="1348"/>
                  </a:lnTo>
                  <a:lnTo>
                    <a:pt x="2680" y="1350"/>
                  </a:lnTo>
                  <a:lnTo>
                    <a:pt x="2691" y="1353"/>
                  </a:lnTo>
                  <a:lnTo>
                    <a:pt x="2701" y="1356"/>
                  </a:lnTo>
                  <a:lnTo>
                    <a:pt x="2705" y="1358"/>
                  </a:lnTo>
                  <a:lnTo>
                    <a:pt x="2708" y="1360"/>
                  </a:lnTo>
                  <a:lnTo>
                    <a:pt x="2710" y="1363"/>
                  </a:lnTo>
                  <a:lnTo>
                    <a:pt x="2712" y="1366"/>
                  </a:lnTo>
                  <a:lnTo>
                    <a:pt x="2714" y="1374"/>
                  </a:lnTo>
                  <a:lnTo>
                    <a:pt x="2714" y="1382"/>
                  </a:lnTo>
                  <a:lnTo>
                    <a:pt x="2713" y="1391"/>
                  </a:lnTo>
                  <a:lnTo>
                    <a:pt x="2711" y="1402"/>
                  </a:lnTo>
                  <a:lnTo>
                    <a:pt x="2708" y="1413"/>
                  </a:lnTo>
                  <a:lnTo>
                    <a:pt x="2704" y="1426"/>
                  </a:lnTo>
                  <a:lnTo>
                    <a:pt x="2700" y="1438"/>
                  </a:lnTo>
                  <a:lnTo>
                    <a:pt x="2697" y="1451"/>
                  </a:lnTo>
                  <a:lnTo>
                    <a:pt x="2695" y="1463"/>
                  </a:lnTo>
                  <a:lnTo>
                    <a:pt x="2694" y="1475"/>
                  </a:lnTo>
                  <a:lnTo>
                    <a:pt x="2694" y="1487"/>
                  </a:lnTo>
                  <a:lnTo>
                    <a:pt x="2696" y="1499"/>
                  </a:lnTo>
                  <a:lnTo>
                    <a:pt x="2697" y="1504"/>
                  </a:lnTo>
                  <a:lnTo>
                    <a:pt x="2700" y="1509"/>
                  </a:lnTo>
                  <a:lnTo>
                    <a:pt x="2703" y="1514"/>
                  </a:lnTo>
                  <a:lnTo>
                    <a:pt x="2707" y="1519"/>
                  </a:lnTo>
                  <a:lnTo>
                    <a:pt x="2724" y="1535"/>
                  </a:lnTo>
                  <a:lnTo>
                    <a:pt x="2743" y="1552"/>
                  </a:lnTo>
                  <a:lnTo>
                    <a:pt x="2762" y="1568"/>
                  </a:lnTo>
                  <a:lnTo>
                    <a:pt x="2783" y="1582"/>
                  </a:lnTo>
                  <a:lnTo>
                    <a:pt x="2787" y="1594"/>
                  </a:lnTo>
                  <a:lnTo>
                    <a:pt x="2790" y="1606"/>
                  </a:lnTo>
                  <a:lnTo>
                    <a:pt x="2792" y="1619"/>
                  </a:lnTo>
                  <a:lnTo>
                    <a:pt x="2793" y="1631"/>
                  </a:lnTo>
                  <a:lnTo>
                    <a:pt x="2794" y="1644"/>
                  </a:lnTo>
                  <a:lnTo>
                    <a:pt x="2793" y="1656"/>
                  </a:lnTo>
                  <a:lnTo>
                    <a:pt x="2792" y="1669"/>
                  </a:lnTo>
                  <a:lnTo>
                    <a:pt x="2790" y="1683"/>
                  </a:lnTo>
                  <a:lnTo>
                    <a:pt x="2788" y="1697"/>
                  </a:lnTo>
                  <a:lnTo>
                    <a:pt x="2787" y="1709"/>
                  </a:lnTo>
                  <a:lnTo>
                    <a:pt x="2788" y="1718"/>
                  </a:lnTo>
                  <a:lnTo>
                    <a:pt x="2790" y="1725"/>
                  </a:lnTo>
                  <a:lnTo>
                    <a:pt x="2793" y="1734"/>
                  </a:lnTo>
                  <a:lnTo>
                    <a:pt x="2798" y="1741"/>
                  </a:lnTo>
                  <a:lnTo>
                    <a:pt x="2805" y="1749"/>
                  </a:lnTo>
                  <a:lnTo>
                    <a:pt x="2814" y="1760"/>
                  </a:lnTo>
                  <a:lnTo>
                    <a:pt x="2821" y="1770"/>
                  </a:lnTo>
                  <a:lnTo>
                    <a:pt x="2829" y="1783"/>
                  </a:lnTo>
                  <a:lnTo>
                    <a:pt x="2835" y="1797"/>
                  </a:lnTo>
                  <a:lnTo>
                    <a:pt x="2840" y="1813"/>
                  </a:lnTo>
                  <a:lnTo>
                    <a:pt x="2851" y="1847"/>
                  </a:lnTo>
                  <a:lnTo>
                    <a:pt x="2860" y="1885"/>
                  </a:lnTo>
                  <a:lnTo>
                    <a:pt x="2865" y="1905"/>
                  </a:lnTo>
                  <a:lnTo>
                    <a:pt x="2870" y="1924"/>
                  </a:lnTo>
                  <a:lnTo>
                    <a:pt x="2877" y="1943"/>
                  </a:lnTo>
                  <a:lnTo>
                    <a:pt x="2884" y="1961"/>
                  </a:lnTo>
                  <a:lnTo>
                    <a:pt x="2891" y="1979"/>
                  </a:lnTo>
                  <a:lnTo>
                    <a:pt x="2901" y="1995"/>
                  </a:lnTo>
                  <a:lnTo>
                    <a:pt x="2910" y="2011"/>
                  </a:lnTo>
                  <a:lnTo>
                    <a:pt x="2921" y="2026"/>
                  </a:lnTo>
                  <a:lnTo>
                    <a:pt x="2923" y="2030"/>
                  </a:lnTo>
                  <a:lnTo>
                    <a:pt x="2925" y="2034"/>
                  </a:lnTo>
                  <a:lnTo>
                    <a:pt x="2925" y="2034"/>
                  </a:lnTo>
                  <a:lnTo>
                    <a:pt x="2918" y="2036"/>
                  </a:lnTo>
                  <a:lnTo>
                    <a:pt x="2912" y="2039"/>
                  </a:lnTo>
                  <a:lnTo>
                    <a:pt x="2890" y="2039"/>
                  </a:lnTo>
                  <a:lnTo>
                    <a:pt x="2869" y="2040"/>
                  </a:lnTo>
                  <a:lnTo>
                    <a:pt x="2847" y="2039"/>
                  </a:lnTo>
                  <a:lnTo>
                    <a:pt x="2826" y="2037"/>
                  </a:lnTo>
                  <a:lnTo>
                    <a:pt x="2816" y="2036"/>
                  </a:lnTo>
                  <a:lnTo>
                    <a:pt x="2809" y="2035"/>
                  </a:lnTo>
                  <a:lnTo>
                    <a:pt x="2803" y="2036"/>
                  </a:lnTo>
                  <a:lnTo>
                    <a:pt x="2796" y="2036"/>
                  </a:lnTo>
                  <a:lnTo>
                    <a:pt x="2791" y="2038"/>
                  </a:lnTo>
                  <a:lnTo>
                    <a:pt x="2786" y="2040"/>
                  </a:lnTo>
                  <a:lnTo>
                    <a:pt x="2783" y="2043"/>
                  </a:lnTo>
                  <a:lnTo>
                    <a:pt x="2779" y="2046"/>
                  </a:lnTo>
                  <a:lnTo>
                    <a:pt x="2764" y="2062"/>
                  </a:lnTo>
                  <a:lnTo>
                    <a:pt x="2746" y="2082"/>
                  </a:lnTo>
                  <a:lnTo>
                    <a:pt x="2739" y="2086"/>
                  </a:lnTo>
                  <a:lnTo>
                    <a:pt x="2726" y="2091"/>
                  </a:lnTo>
                  <a:lnTo>
                    <a:pt x="2710" y="2097"/>
                  </a:lnTo>
                  <a:lnTo>
                    <a:pt x="2691" y="2102"/>
                  </a:lnTo>
                  <a:lnTo>
                    <a:pt x="2644" y="2112"/>
                  </a:lnTo>
                  <a:lnTo>
                    <a:pt x="2592" y="2122"/>
                  </a:lnTo>
                  <a:lnTo>
                    <a:pt x="2538" y="2129"/>
                  </a:lnTo>
                  <a:lnTo>
                    <a:pt x="2489" y="2135"/>
                  </a:lnTo>
                  <a:lnTo>
                    <a:pt x="2467" y="2136"/>
                  </a:lnTo>
                  <a:lnTo>
                    <a:pt x="2448" y="2137"/>
                  </a:lnTo>
                  <a:lnTo>
                    <a:pt x="2432" y="2137"/>
                  </a:lnTo>
                  <a:lnTo>
                    <a:pt x="2420" y="2136"/>
                  </a:lnTo>
                  <a:lnTo>
                    <a:pt x="2415" y="2135"/>
                  </a:lnTo>
                  <a:lnTo>
                    <a:pt x="2411" y="2135"/>
                  </a:lnTo>
                  <a:lnTo>
                    <a:pt x="2405" y="2136"/>
                  </a:lnTo>
                  <a:lnTo>
                    <a:pt x="2402" y="2136"/>
                  </a:lnTo>
                  <a:lnTo>
                    <a:pt x="2399" y="2138"/>
                  </a:lnTo>
                  <a:lnTo>
                    <a:pt x="2396" y="2140"/>
                  </a:lnTo>
                  <a:lnTo>
                    <a:pt x="2394" y="2143"/>
                  </a:lnTo>
                  <a:lnTo>
                    <a:pt x="2393" y="2145"/>
                  </a:lnTo>
                  <a:lnTo>
                    <a:pt x="2390" y="2151"/>
                  </a:lnTo>
                  <a:lnTo>
                    <a:pt x="2389" y="2158"/>
                  </a:lnTo>
                  <a:lnTo>
                    <a:pt x="2389" y="2167"/>
                  </a:lnTo>
                  <a:lnTo>
                    <a:pt x="2389" y="2176"/>
                  </a:lnTo>
                  <a:lnTo>
                    <a:pt x="2390" y="2195"/>
                  </a:lnTo>
                  <a:lnTo>
                    <a:pt x="2390" y="2214"/>
                  </a:lnTo>
                  <a:lnTo>
                    <a:pt x="2389" y="2223"/>
                  </a:lnTo>
                  <a:lnTo>
                    <a:pt x="2387" y="2231"/>
                  </a:lnTo>
                  <a:lnTo>
                    <a:pt x="2385" y="2234"/>
                  </a:lnTo>
                  <a:lnTo>
                    <a:pt x="2382" y="2239"/>
                  </a:lnTo>
                  <a:lnTo>
                    <a:pt x="2379" y="2242"/>
                  </a:lnTo>
                  <a:lnTo>
                    <a:pt x="2376" y="2245"/>
                  </a:lnTo>
                  <a:lnTo>
                    <a:pt x="2371" y="2248"/>
                  </a:lnTo>
                  <a:lnTo>
                    <a:pt x="2365" y="2251"/>
                  </a:lnTo>
                  <a:lnTo>
                    <a:pt x="2359" y="2254"/>
                  </a:lnTo>
                  <a:lnTo>
                    <a:pt x="2353" y="2256"/>
                  </a:lnTo>
                  <a:lnTo>
                    <a:pt x="2346" y="2257"/>
                  </a:lnTo>
                  <a:lnTo>
                    <a:pt x="2340" y="2258"/>
                  </a:lnTo>
                  <a:lnTo>
                    <a:pt x="2332" y="2258"/>
                  </a:lnTo>
                  <a:lnTo>
                    <a:pt x="2326" y="2258"/>
                  </a:lnTo>
                  <a:lnTo>
                    <a:pt x="2319" y="2257"/>
                  </a:lnTo>
                  <a:lnTo>
                    <a:pt x="2313" y="2255"/>
                  </a:lnTo>
                  <a:lnTo>
                    <a:pt x="2306" y="2253"/>
                  </a:lnTo>
                  <a:lnTo>
                    <a:pt x="2300" y="2251"/>
                  </a:lnTo>
                  <a:lnTo>
                    <a:pt x="2294" y="2248"/>
                  </a:lnTo>
                  <a:lnTo>
                    <a:pt x="2289" y="2244"/>
                  </a:lnTo>
                  <a:lnTo>
                    <a:pt x="2284" y="2240"/>
                  </a:lnTo>
                  <a:lnTo>
                    <a:pt x="2280" y="2234"/>
                  </a:lnTo>
                  <a:lnTo>
                    <a:pt x="2276" y="2228"/>
                  </a:lnTo>
                  <a:lnTo>
                    <a:pt x="2273" y="2222"/>
                  </a:lnTo>
                  <a:lnTo>
                    <a:pt x="2271" y="2215"/>
                  </a:lnTo>
                  <a:lnTo>
                    <a:pt x="2270" y="2207"/>
                  </a:lnTo>
                  <a:lnTo>
                    <a:pt x="2269" y="2191"/>
                  </a:lnTo>
                  <a:lnTo>
                    <a:pt x="2269" y="2175"/>
                  </a:lnTo>
                  <a:lnTo>
                    <a:pt x="2270" y="2159"/>
                  </a:lnTo>
                  <a:lnTo>
                    <a:pt x="2271" y="2146"/>
                  </a:lnTo>
                  <a:lnTo>
                    <a:pt x="2270" y="2139"/>
                  </a:lnTo>
                  <a:lnTo>
                    <a:pt x="2269" y="2135"/>
                  </a:lnTo>
                  <a:lnTo>
                    <a:pt x="2268" y="2131"/>
                  </a:lnTo>
                  <a:lnTo>
                    <a:pt x="2266" y="2128"/>
                  </a:lnTo>
                  <a:lnTo>
                    <a:pt x="2258" y="2128"/>
                  </a:lnTo>
                  <a:lnTo>
                    <a:pt x="2251" y="2130"/>
                  </a:lnTo>
                  <a:lnTo>
                    <a:pt x="2244" y="2133"/>
                  </a:lnTo>
                  <a:lnTo>
                    <a:pt x="2235" y="2137"/>
                  </a:lnTo>
                  <a:lnTo>
                    <a:pt x="2221" y="2149"/>
                  </a:lnTo>
                  <a:lnTo>
                    <a:pt x="2206" y="2161"/>
                  </a:lnTo>
                  <a:lnTo>
                    <a:pt x="2192" y="2176"/>
                  </a:lnTo>
                  <a:lnTo>
                    <a:pt x="2177" y="2190"/>
                  </a:lnTo>
                  <a:lnTo>
                    <a:pt x="2163" y="2201"/>
                  </a:lnTo>
                  <a:lnTo>
                    <a:pt x="2150" y="2210"/>
                  </a:lnTo>
                  <a:lnTo>
                    <a:pt x="2139" y="2216"/>
                  </a:lnTo>
                  <a:lnTo>
                    <a:pt x="2130" y="2219"/>
                  </a:lnTo>
                  <a:lnTo>
                    <a:pt x="2122" y="2220"/>
                  </a:lnTo>
                  <a:lnTo>
                    <a:pt x="2114" y="2219"/>
                  </a:lnTo>
                  <a:lnTo>
                    <a:pt x="2108" y="2217"/>
                  </a:lnTo>
                  <a:lnTo>
                    <a:pt x="2103" y="2214"/>
                  </a:lnTo>
                  <a:lnTo>
                    <a:pt x="2098" y="2209"/>
                  </a:lnTo>
                  <a:lnTo>
                    <a:pt x="2093" y="2204"/>
                  </a:lnTo>
                  <a:lnTo>
                    <a:pt x="2083" y="2194"/>
                  </a:lnTo>
                  <a:lnTo>
                    <a:pt x="2074" y="2183"/>
                  </a:lnTo>
                  <a:lnTo>
                    <a:pt x="2069" y="2179"/>
                  </a:lnTo>
                  <a:lnTo>
                    <a:pt x="2062" y="2175"/>
                  </a:lnTo>
                  <a:lnTo>
                    <a:pt x="2055" y="2173"/>
                  </a:lnTo>
                  <a:lnTo>
                    <a:pt x="2048" y="2172"/>
                  </a:lnTo>
                  <a:lnTo>
                    <a:pt x="2043" y="2172"/>
                  </a:lnTo>
                  <a:lnTo>
                    <a:pt x="2036" y="2172"/>
                  </a:lnTo>
                  <a:lnTo>
                    <a:pt x="2031" y="2174"/>
                  </a:lnTo>
                  <a:lnTo>
                    <a:pt x="2027" y="2175"/>
                  </a:lnTo>
                  <a:lnTo>
                    <a:pt x="2016" y="2179"/>
                  </a:lnTo>
                  <a:lnTo>
                    <a:pt x="2007" y="2184"/>
                  </a:lnTo>
                  <a:lnTo>
                    <a:pt x="1998" y="2188"/>
                  </a:lnTo>
                  <a:lnTo>
                    <a:pt x="1987" y="2192"/>
                  </a:lnTo>
                  <a:lnTo>
                    <a:pt x="1982" y="2192"/>
                  </a:lnTo>
                  <a:lnTo>
                    <a:pt x="1977" y="2192"/>
                  </a:lnTo>
                  <a:lnTo>
                    <a:pt x="1972" y="2191"/>
                  </a:lnTo>
                  <a:lnTo>
                    <a:pt x="1966" y="2188"/>
                  </a:lnTo>
                  <a:lnTo>
                    <a:pt x="1956" y="2190"/>
                  </a:lnTo>
                  <a:lnTo>
                    <a:pt x="1947" y="2191"/>
                  </a:lnTo>
                  <a:lnTo>
                    <a:pt x="1939" y="2194"/>
                  </a:lnTo>
                  <a:lnTo>
                    <a:pt x="1931" y="2197"/>
                  </a:lnTo>
                  <a:lnTo>
                    <a:pt x="1925" y="2202"/>
                  </a:lnTo>
                  <a:lnTo>
                    <a:pt x="1918" y="2206"/>
                  </a:lnTo>
                  <a:lnTo>
                    <a:pt x="1913" y="2212"/>
                  </a:lnTo>
                  <a:lnTo>
                    <a:pt x="1908" y="2218"/>
                  </a:lnTo>
                  <a:lnTo>
                    <a:pt x="1898" y="2230"/>
                  </a:lnTo>
                  <a:lnTo>
                    <a:pt x="1888" y="2243"/>
                  </a:lnTo>
                  <a:lnTo>
                    <a:pt x="1883" y="2249"/>
                  </a:lnTo>
                  <a:lnTo>
                    <a:pt x="1878" y="2255"/>
                  </a:lnTo>
                  <a:lnTo>
                    <a:pt x="1872" y="2260"/>
                  </a:lnTo>
                  <a:lnTo>
                    <a:pt x="1865" y="2265"/>
                  </a:lnTo>
                  <a:lnTo>
                    <a:pt x="1856" y="2270"/>
                  </a:lnTo>
                  <a:lnTo>
                    <a:pt x="1848" y="2274"/>
                  </a:lnTo>
                  <a:lnTo>
                    <a:pt x="1840" y="2276"/>
                  </a:lnTo>
                  <a:lnTo>
                    <a:pt x="1833" y="2278"/>
                  </a:lnTo>
                  <a:lnTo>
                    <a:pt x="1826" y="2279"/>
                  </a:lnTo>
                  <a:lnTo>
                    <a:pt x="1818" y="2279"/>
                  </a:lnTo>
                  <a:lnTo>
                    <a:pt x="1811" y="2279"/>
                  </a:lnTo>
                  <a:lnTo>
                    <a:pt x="1805" y="2278"/>
                  </a:lnTo>
                  <a:lnTo>
                    <a:pt x="1791" y="2276"/>
                  </a:lnTo>
                  <a:lnTo>
                    <a:pt x="1778" y="2273"/>
                  </a:lnTo>
                  <a:lnTo>
                    <a:pt x="1771" y="2273"/>
                  </a:lnTo>
                  <a:lnTo>
                    <a:pt x="1764" y="2272"/>
                  </a:lnTo>
                  <a:lnTo>
                    <a:pt x="1757" y="2272"/>
                  </a:lnTo>
                  <a:lnTo>
                    <a:pt x="1750" y="2273"/>
                  </a:lnTo>
                  <a:lnTo>
                    <a:pt x="1750" y="2274"/>
                  </a:lnTo>
                  <a:lnTo>
                    <a:pt x="1748" y="2275"/>
                  </a:lnTo>
                  <a:lnTo>
                    <a:pt x="1748" y="2283"/>
                  </a:lnTo>
                  <a:lnTo>
                    <a:pt x="1751" y="2292"/>
                  </a:lnTo>
                  <a:lnTo>
                    <a:pt x="1754" y="2299"/>
                  </a:lnTo>
                  <a:lnTo>
                    <a:pt x="1757" y="2306"/>
                  </a:lnTo>
                  <a:lnTo>
                    <a:pt x="1766" y="2321"/>
                  </a:lnTo>
                  <a:lnTo>
                    <a:pt x="1777" y="2334"/>
                  </a:lnTo>
                  <a:lnTo>
                    <a:pt x="1786" y="2346"/>
                  </a:lnTo>
                  <a:lnTo>
                    <a:pt x="1795" y="2360"/>
                  </a:lnTo>
                  <a:lnTo>
                    <a:pt x="1799" y="2366"/>
                  </a:lnTo>
                  <a:lnTo>
                    <a:pt x="1802" y="2372"/>
                  </a:lnTo>
                  <a:lnTo>
                    <a:pt x="1804" y="2379"/>
                  </a:lnTo>
                  <a:lnTo>
                    <a:pt x="1804" y="2387"/>
                  </a:lnTo>
                  <a:lnTo>
                    <a:pt x="1804" y="2395"/>
                  </a:lnTo>
                  <a:lnTo>
                    <a:pt x="1802" y="2402"/>
                  </a:lnTo>
                  <a:lnTo>
                    <a:pt x="1799" y="2411"/>
                  </a:lnTo>
                  <a:lnTo>
                    <a:pt x="1795" y="2418"/>
                  </a:lnTo>
                  <a:lnTo>
                    <a:pt x="1790" y="2425"/>
                  </a:lnTo>
                  <a:lnTo>
                    <a:pt x="1785" y="2432"/>
                  </a:lnTo>
                  <a:lnTo>
                    <a:pt x="1779" y="2439"/>
                  </a:lnTo>
                  <a:lnTo>
                    <a:pt x="1772" y="2445"/>
                  </a:lnTo>
                  <a:lnTo>
                    <a:pt x="1744" y="2469"/>
                  </a:lnTo>
                  <a:lnTo>
                    <a:pt x="1719" y="2490"/>
                  </a:lnTo>
                  <a:lnTo>
                    <a:pt x="1706" y="2504"/>
                  </a:lnTo>
                  <a:lnTo>
                    <a:pt x="1694" y="2513"/>
                  </a:lnTo>
                  <a:lnTo>
                    <a:pt x="1685" y="2521"/>
                  </a:lnTo>
                  <a:lnTo>
                    <a:pt x="1676" y="2527"/>
                  </a:lnTo>
                  <a:lnTo>
                    <a:pt x="1671" y="2529"/>
                  </a:lnTo>
                  <a:lnTo>
                    <a:pt x="1666" y="2530"/>
                  </a:lnTo>
                  <a:lnTo>
                    <a:pt x="1661" y="2531"/>
                  </a:lnTo>
                  <a:lnTo>
                    <a:pt x="1655" y="2531"/>
                  </a:lnTo>
                  <a:lnTo>
                    <a:pt x="1641" y="2530"/>
                  </a:lnTo>
                  <a:lnTo>
                    <a:pt x="1623" y="2525"/>
                  </a:lnTo>
                  <a:lnTo>
                    <a:pt x="1614" y="2523"/>
                  </a:lnTo>
                  <a:lnTo>
                    <a:pt x="1605" y="2522"/>
                  </a:lnTo>
                  <a:lnTo>
                    <a:pt x="1596" y="2522"/>
                  </a:lnTo>
                  <a:lnTo>
                    <a:pt x="1589" y="2523"/>
                  </a:lnTo>
                  <a:lnTo>
                    <a:pt x="1582" y="2525"/>
                  </a:lnTo>
                  <a:lnTo>
                    <a:pt x="1574" y="2529"/>
                  </a:lnTo>
                  <a:lnTo>
                    <a:pt x="1568" y="2532"/>
                  </a:lnTo>
                  <a:lnTo>
                    <a:pt x="1562" y="2535"/>
                  </a:lnTo>
                  <a:lnTo>
                    <a:pt x="1549" y="2543"/>
                  </a:lnTo>
                  <a:lnTo>
                    <a:pt x="1537" y="2552"/>
                  </a:lnTo>
                  <a:lnTo>
                    <a:pt x="1523" y="2560"/>
                  </a:lnTo>
                  <a:lnTo>
                    <a:pt x="1507" y="2566"/>
                  </a:lnTo>
                  <a:lnTo>
                    <a:pt x="1482" y="2567"/>
                  </a:lnTo>
                  <a:lnTo>
                    <a:pt x="1462" y="2568"/>
                  </a:lnTo>
                  <a:lnTo>
                    <a:pt x="1452" y="2566"/>
                  </a:lnTo>
                  <a:lnTo>
                    <a:pt x="1444" y="2563"/>
                  </a:lnTo>
                  <a:lnTo>
                    <a:pt x="1435" y="2557"/>
                  </a:lnTo>
                  <a:lnTo>
                    <a:pt x="1424" y="2547"/>
                  </a:lnTo>
                  <a:lnTo>
                    <a:pt x="1412" y="2536"/>
                  </a:lnTo>
                  <a:lnTo>
                    <a:pt x="1398" y="2524"/>
                  </a:lnTo>
                  <a:lnTo>
                    <a:pt x="1386" y="2514"/>
                  </a:lnTo>
                  <a:lnTo>
                    <a:pt x="1375" y="2503"/>
                  </a:lnTo>
                  <a:lnTo>
                    <a:pt x="1372" y="2504"/>
                  </a:lnTo>
                  <a:lnTo>
                    <a:pt x="1370" y="2506"/>
                  </a:lnTo>
                  <a:lnTo>
                    <a:pt x="1368" y="2509"/>
                  </a:lnTo>
                  <a:lnTo>
                    <a:pt x="1366" y="2514"/>
                  </a:lnTo>
                  <a:lnTo>
                    <a:pt x="1365" y="2525"/>
                  </a:lnTo>
                  <a:lnTo>
                    <a:pt x="1364" y="2539"/>
                  </a:lnTo>
                  <a:lnTo>
                    <a:pt x="1365" y="2567"/>
                  </a:lnTo>
                  <a:lnTo>
                    <a:pt x="1367" y="2585"/>
                  </a:lnTo>
                  <a:lnTo>
                    <a:pt x="1374" y="2611"/>
                  </a:lnTo>
                  <a:lnTo>
                    <a:pt x="1378" y="2629"/>
                  </a:lnTo>
                  <a:lnTo>
                    <a:pt x="1378" y="2633"/>
                  </a:lnTo>
                  <a:lnTo>
                    <a:pt x="1377" y="2636"/>
                  </a:lnTo>
                  <a:lnTo>
                    <a:pt x="1376" y="2640"/>
                  </a:lnTo>
                  <a:lnTo>
                    <a:pt x="1374" y="2644"/>
                  </a:lnTo>
                  <a:lnTo>
                    <a:pt x="1366" y="2654"/>
                  </a:lnTo>
                  <a:lnTo>
                    <a:pt x="1352" y="2665"/>
                  </a:lnTo>
                  <a:lnTo>
                    <a:pt x="1340" y="2676"/>
                  </a:lnTo>
                  <a:lnTo>
                    <a:pt x="1327" y="2685"/>
                  </a:lnTo>
                  <a:lnTo>
                    <a:pt x="1315" y="2692"/>
                  </a:lnTo>
                  <a:lnTo>
                    <a:pt x="1302" y="2700"/>
                  </a:lnTo>
                  <a:lnTo>
                    <a:pt x="1277" y="2713"/>
                  </a:lnTo>
                  <a:lnTo>
                    <a:pt x="1253" y="2727"/>
                  </a:lnTo>
                  <a:lnTo>
                    <a:pt x="1241" y="2733"/>
                  </a:lnTo>
                  <a:lnTo>
                    <a:pt x="1229" y="2741"/>
                  </a:lnTo>
                  <a:lnTo>
                    <a:pt x="1219" y="2750"/>
                  </a:lnTo>
                  <a:lnTo>
                    <a:pt x="1208" y="2758"/>
                  </a:lnTo>
                  <a:lnTo>
                    <a:pt x="1198" y="2769"/>
                  </a:lnTo>
                  <a:lnTo>
                    <a:pt x="1188" y="2781"/>
                  </a:lnTo>
                  <a:lnTo>
                    <a:pt x="1178" y="2795"/>
                  </a:lnTo>
                  <a:lnTo>
                    <a:pt x="1170" y="2809"/>
                  </a:lnTo>
                  <a:lnTo>
                    <a:pt x="1168" y="2815"/>
                  </a:lnTo>
                  <a:lnTo>
                    <a:pt x="1166" y="2824"/>
                  </a:lnTo>
                  <a:lnTo>
                    <a:pt x="1166" y="2832"/>
                  </a:lnTo>
                  <a:lnTo>
                    <a:pt x="1165" y="2841"/>
                  </a:lnTo>
                  <a:lnTo>
                    <a:pt x="1165" y="2848"/>
                  </a:lnTo>
                  <a:lnTo>
                    <a:pt x="1164" y="2855"/>
                  </a:lnTo>
                  <a:lnTo>
                    <a:pt x="1161" y="2861"/>
                  </a:lnTo>
                  <a:lnTo>
                    <a:pt x="1158" y="2866"/>
                  </a:lnTo>
                  <a:lnTo>
                    <a:pt x="1158" y="2866"/>
                  </a:lnTo>
                  <a:lnTo>
                    <a:pt x="1150" y="2863"/>
                  </a:lnTo>
                  <a:lnTo>
                    <a:pt x="1142" y="2860"/>
                  </a:lnTo>
                  <a:lnTo>
                    <a:pt x="1133" y="2856"/>
                  </a:lnTo>
                  <a:lnTo>
                    <a:pt x="1125" y="2851"/>
                  </a:lnTo>
                  <a:lnTo>
                    <a:pt x="1109" y="2841"/>
                  </a:lnTo>
                  <a:lnTo>
                    <a:pt x="1094" y="2827"/>
                  </a:lnTo>
                  <a:lnTo>
                    <a:pt x="1079" y="2812"/>
                  </a:lnTo>
                  <a:lnTo>
                    <a:pt x="1065" y="2796"/>
                  </a:lnTo>
                  <a:lnTo>
                    <a:pt x="1050" y="2779"/>
                  </a:lnTo>
                  <a:lnTo>
                    <a:pt x="1036" y="2760"/>
                  </a:lnTo>
                  <a:lnTo>
                    <a:pt x="1010" y="2722"/>
                  </a:lnTo>
                  <a:lnTo>
                    <a:pt x="986" y="2684"/>
                  </a:lnTo>
                  <a:lnTo>
                    <a:pt x="964" y="2649"/>
                  </a:lnTo>
                  <a:lnTo>
                    <a:pt x="944" y="2618"/>
                  </a:lnTo>
                  <a:lnTo>
                    <a:pt x="940" y="2612"/>
                  </a:lnTo>
                  <a:lnTo>
                    <a:pt x="937" y="2607"/>
                  </a:lnTo>
                  <a:lnTo>
                    <a:pt x="936" y="2602"/>
                  </a:lnTo>
                  <a:lnTo>
                    <a:pt x="934" y="2595"/>
                  </a:lnTo>
                  <a:lnTo>
                    <a:pt x="934" y="2585"/>
                  </a:lnTo>
                  <a:lnTo>
                    <a:pt x="935" y="2574"/>
                  </a:lnTo>
                  <a:lnTo>
                    <a:pt x="941" y="2553"/>
                  </a:lnTo>
                  <a:lnTo>
                    <a:pt x="949" y="2531"/>
                  </a:lnTo>
                  <a:lnTo>
                    <a:pt x="951" y="2519"/>
                  </a:lnTo>
                  <a:lnTo>
                    <a:pt x="952" y="2509"/>
                  </a:lnTo>
                  <a:lnTo>
                    <a:pt x="951" y="2498"/>
                  </a:lnTo>
                  <a:lnTo>
                    <a:pt x="950" y="2488"/>
                  </a:lnTo>
                  <a:lnTo>
                    <a:pt x="945" y="2468"/>
                  </a:lnTo>
                  <a:lnTo>
                    <a:pt x="938" y="2447"/>
                  </a:lnTo>
                  <a:lnTo>
                    <a:pt x="931" y="2425"/>
                  </a:lnTo>
                  <a:lnTo>
                    <a:pt x="925" y="2401"/>
                  </a:lnTo>
                  <a:lnTo>
                    <a:pt x="922" y="2389"/>
                  </a:lnTo>
                  <a:lnTo>
                    <a:pt x="921" y="2376"/>
                  </a:lnTo>
                  <a:lnTo>
                    <a:pt x="920" y="2362"/>
                  </a:lnTo>
                  <a:lnTo>
                    <a:pt x="921" y="2347"/>
                  </a:lnTo>
                  <a:lnTo>
                    <a:pt x="920" y="2341"/>
                  </a:lnTo>
                  <a:lnTo>
                    <a:pt x="919" y="2336"/>
                  </a:lnTo>
                  <a:lnTo>
                    <a:pt x="916" y="2331"/>
                  </a:lnTo>
                  <a:lnTo>
                    <a:pt x="913" y="2327"/>
                  </a:lnTo>
                  <a:lnTo>
                    <a:pt x="910" y="2323"/>
                  </a:lnTo>
                  <a:lnTo>
                    <a:pt x="907" y="2319"/>
                  </a:lnTo>
                  <a:lnTo>
                    <a:pt x="905" y="2315"/>
                  </a:lnTo>
                  <a:lnTo>
                    <a:pt x="905" y="2308"/>
                  </a:lnTo>
                  <a:lnTo>
                    <a:pt x="904" y="2289"/>
                  </a:lnTo>
                  <a:lnTo>
                    <a:pt x="904" y="2274"/>
                  </a:lnTo>
                  <a:lnTo>
                    <a:pt x="903" y="2268"/>
                  </a:lnTo>
                  <a:lnTo>
                    <a:pt x="902" y="2264"/>
                  </a:lnTo>
                  <a:lnTo>
                    <a:pt x="900" y="2258"/>
                  </a:lnTo>
                  <a:lnTo>
                    <a:pt x="898" y="2254"/>
                  </a:lnTo>
                  <a:lnTo>
                    <a:pt x="891" y="2247"/>
                  </a:lnTo>
                  <a:lnTo>
                    <a:pt x="883" y="2239"/>
                  </a:lnTo>
                  <a:lnTo>
                    <a:pt x="872" y="2228"/>
                  </a:lnTo>
                  <a:lnTo>
                    <a:pt x="857" y="2214"/>
                  </a:lnTo>
                  <a:lnTo>
                    <a:pt x="835" y="2193"/>
                  </a:lnTo>
                  <a:lnTo>
                    <a:pt x="807" y="2169"/>
                  </a:lnTo>
                  <a:lnTo>
                    <a:pt x="776" y="2143"/>
                  </a:lnTo>
                  <a:lnTo>
                    <a:pt x="744" y="2113"/>
                  </a:lnTo>
                  <a:lnTo>
                    <a:pt x="730" y="2099"/>
                  </a:lnTo>
                  <a:lnTo>
                    <a:pt x="715" y="2084"/>
                  </a:lnTo>
                  <a:lnTo>
                    <a:pt x="703" y="2069"/>
                  </a:lnTo>
                  <a:lnTo>
                    <a:pt x="691" y="2054"/>
                  </a:lnTo>
                  <a:lnTo>
                    <a:pt x="682" y="2039"/>
                  </a:lnTo>
                  <a:lnTo>
                    <a:pt x="675" y="2025"/>
                  </a:lnTo>
                  <a:lnTo>
                    <a:pt x="672" y="2017"/>
                  </a:lnTo>
                  <a:lnTo>
                    <a:pt x="670" y="2010"/>
                  </a:lnTo>
                  <a:lnTo>
                    <a:pt x="669" y="2004"/>
                  </a:lnTo>
                  <a:lnTo>
                    <a:pt x="668" y="1997"/>
                  </a:lnTo>
                  <a:lnTo>
                    <a:pt x="668" y="1974"/>
                  </a:lnTo>
                  <a:lnTo>
                    <a:pt x="667" y="1952"/>
                  </a:lnTo>
                  <a:lnTo>
                    <a:pt x="666" y="1941"/>
                  </a:lnTo>
                  <a:lnTo>
                    <a:pt x="664" y="1932"/>
                  </a:lnTo>
                  <a:lnTo>
                    <a:pt x="661" y="1922"/>
                  </a:lnTo>
                  <a:lnTo>
                    <a:pt x="658" y="1913"/>
                  </a:lnTo>
                  <a:lnTo>
                    <a:pt x="654" y="1905"/>
                  </a:lnTo>
                  <a:lnTo>
                    <a:pt x="648" y="1897"/>
                  </a:lnTo>
                  <a:lnTo>
                    <a:pt x="642" y="1890"/>
                  </a:lnTo>
                  <a:lnTo>
                    <a:pt x="635" y="1883"/>
                  </a:lnTo>
                  <a:lnTo>
                    <a:pt x="627" y="1878"/>
                  </a:lnTo>
                  <a:lnTo>
                    <a:pt x="617" y="1872"/>
                  </a:lnTo>
                  <a:lnTo>
                    <a:pt x="606" y="1867"/>
                  </a:lnTo>
                  <a:lnTo>
                    <a:pt x="593" y="1863"/>
                  </a:lnTo>
                  <a:lnTo>
                    <a:pt x="568" y="1858"/>
                  </a:lnTo>
                  <a:lnTo>
                    <a:pt x="549" y="1853"/>
                  </a:lnTo>
                  <a:lnTo>
                    <a:pt x="541" y="1849"/>
                  </a:lnTo>
                  <a:lnTo>
                    <a:pt x="532" y="1845"/>
                  </a:lnTo>
                  <a:lnTo>
                    <a:pt x="521" y="1841"/>
                  </a:lnTo>
                  <a:lnTo>
                    <a:pt x="509" y="1834"/>
                  </a:lnTo>
                  <a:lnTo>
                    <a:pt x="508" y="1829"/>
                  </a:lnTo>
                  <a:lnTo>
                    <a:pt x="505" y="1822"/>
                  </a:lnTo>
                  <a:lnTo>
                    <a:pt x="501" y="1816"/>
                  </a:lnTo>
                  <a:lnTo>
                    <a:pt x="496" y="1810"/>
                  </a:lnTo>
                  <a:lnTo>
                    <a:pt x="491" y="1804"/>
                  </a:lnTo>
                  <a:lnTo>
                    <a:pt x="487" y="1798"/>
                  </a:lnTo>
                  <a:lnTo>
                    <a:pt x="482" y="1794"/>
                  </a:lnTo>
                  <a:lnTo>
                    <a:pt x="476" y="1791"/>
                  </a:lnTo>
                  <a:lnTo>
                    <a:pt x="459" y="1783"/>
                  </a:lnTo>
                  <a:lnTo>
                    <a:pt x="442" y="1773"/>
                  </a:lnTo>
                  <a:lnTo>
                    <a:pt x="426" y="1764"/>
                  </a:lnTo>
                  <a:lnTo>
                    <a:pt x="412" y="1754"/>
                  </a:lnTo>
                  <a:lnTo>
                    <a:pt x="395" y="1746"/>
                  </a:lnTo>
                  <a:lnTo>
                    <a:pt x="378" y="1739"/>
                  </a:lnTo>
                  <a:lnTo>
                    <a:pt x="369" y="1736"/>
                  </a:lnTo>
                  <a:lnTo>
                    <a:pt x="360" y="1735"/>
                  </a:lnTo>
                  <a:lnTo>
                    <a:pt x="349" y="1733"/>
                  </a:lnTo>
                  <a:lnTo>
                    <a:pt x="338" y="1733"/>
                  </a:lnTo>
                  <a:lnTo>
                    <a:pt x="323" y="1734"/>
                  </a:lnTo>
                  <a:lnTo>
                    <a:pt x="305" y="1737"/>
                  </a:lnTo>
                  <a:lnTo>
                    <a:pt x="287" y="1741"/>
                  </a:lnTo>
                  <a:lnTo>
                    <a:pt x="268" y="1744"/>
                  </a:lnTo>
                  <a:lnTo>
                    <a:pt x="248" y="1747"/>
                  </a:lnTo>
                  <a:lnTo>
                    <a:pt x="230" y="1748"/>
                  </a:lnTo>
                  <a:lnTo>
                    <a:pt x="222" y="1747"/>
                  </a:lnTo>
                  <a:lnTo>
                    <a:pt x="215" y="1746"/>
                  </a:lnTo>
                  <a:lnTo>
                    <a:pt x="208" y="1744"/>
                  </a:lnTo>
                  <a:lnTo>
                    <a:pt x="203" y="1741"/>
                  </a:lnTo>
                  <a:lnTo>
                    <a:pt x="196" y="1735"/>
                  </a:lnTo>
                  <a:lnTo>
                    <a:pt x="191" y="1728"/>
                  </a:lnTo>
                  <a:lnTo>
                    <a:pt x="186" y="1721"/>
                  </a:lnTo>
                  <a:lnTo>
                    <a:pt x="181" y="1714"/>
                  </a:lnTo>
                  <a:lnTo>
                    <a:pt x="174" y="1698"/>
                  </a:lnTo>
                  <a:lnTo>
                    <a:pt x="165" y="1684"/>
                  </a:lnTo>
                  <a:lnTo>
                    <a:pt x="147" y="1660"/>
                  </a:lnTo>
                  <a:lnTo>
                    <a:pt x="129" y="1637"/>
                  </a:lnTo>
                  <a:lnTo>
                    <a:pt x="120" y="1625"/>
                  </a:lnTo>
                  <a:lnTo>
                    <a:pt x="109" y="1615"/>
                  </a:lnTo>
                  <a:lnTo>
                    <a:pt x="99" y="1604"/>
                  </a:lnTo>
                  <a:lnTo>
                    <a:pt x="89" y="1596"/>
                  </a:lnTo>
                  <a:lnTo>
                    <a:pt x="89" y="1596"/>
                  </a:lnTo>
                  <a:close/>
                </a:path>
              </a:pathLst>
            </a:custGeom>
            <a:solidFill>
              <a:schemeClr val="bg1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5" name="Freeform 142">
              <a:extLst>
                <a:ext uri="{FF2B5EF4-FFF2-40B4-BE49-F238E27FC236}">
                  <a16:creationId xmlns:a16="http://schemas.microsoft.com/office/drawing/2014/main" id="{E77EECF2-87BB-4209-8822-69633C9EC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558" y="4656703"/>
              <a:ext cx="735562" cy="695053"/>
            </a:xfrm>
            <a:custGeom>
              <a:avLst/>
              <a:gdLst>
                <a:gd name="T0" fmla="*/ 101 w 2925"/>
                <a:gd name="T1" fmla="*/ 1453 h 2866"/>
                <a:gd name="T2" fmla="*/ 80 w 2925"/>
                <a:gd name="T3" fmla="*/ 1281 h 2866"/>
                <a:gd name="T4" fmla="*/ 5 w 2925"/>
                <a:gd name="T5" fmla="*/ 1154 h 2866"/>
                <a:gd name="T6" fmla="*/ 232 w 2925"/>
                <a:gd name="T7" fmla="*/ 1168 h 2866"/>
                <a:gd name="T8" fmla="*/ 238 w 2925"/>
                <a:gd name="T9" fmla="*/ 1066 h 2866"/>
                <a:gd name="T10" fmla="*/ 337 w 2925"/>
                <a:gd name="T11" fmla="*/ 963 h 2866"/>
                <a:gd name="T12" fmla="*/ 507 w 2925"/>
                <a:gd name="T13" fmla="*/ 1021 h 2866"/>
                <a:gd name="T14" fmla="*/ 613 w 2925"/>
                <a:gd name="T15" fmla="*/ 987 h 2866"/>
                <a:gd name="T16" fmla="*/ 725 w 2925"/>
                <a:gd name="T17" fmla="*/ 970 h 2866"/>
                <a:gd name="T18" fmla="*/ 708 w 2925"/>
                <a:gd name="T19" fmla="*/ 832 h 2866"/>
                <a:gd name="T20" fmla="*/ 838 w 2925"/>
                <a:gd name="T21" fmla="*/ 798 h 2866"/>
                <a:gd name="T22" fmla="*/ 754 w 2925"/>
                <a:gd name="T23" fmla="*/ 656 h 2866"/>
                <a:gd name="T24" fmla="*/ 715 w 2925"/>
                <a:gd name="T25" fmla="*/ 571 h 2866"/>
                <a:gd name="T26" fmla="*/ 598 w 2925"/>
                <a:gd name="T27" fmla="*/ 495 h 2866"/>
                <a:gd name="T28" fmla="*/ 669 w 2925"/>
                <a:gd name="T29" fmla="*/ 397 h 2866"/>
                <a:gd name="T30" fmla="*/ 740 w 2925"/>
                <a:gd name="T31" fmla="*/ 316 h 2866"/>
                <a:gd name="T32" fmla="*/ 864 w 2925"/>
                <a:gd name="T33" fmla="*/ 228 h 2866"/>
                <a:gd name="T34" fmla="*/ 940 w 2925"/>
                <a:gd name="T35" fmla="*/ 401 h 2866"/>
                <a:gd name="T36" fmla="*/ 974 w 2925"/>
                <a:gd name="T37" fmla="*/ 273 h 2866"/>
                <a:gd name="T38" fmla="*/ 1074 w 2925"/>
                <a:gd name="T39" fmla="*/ 3 h 2866"/>
                <a:gd name="T40" fmla="*/ 1240 w 2925"/>
                <a:gd name="T41" fmla="*/ 64 h 2866"/>
                <a:gd name="T42" fmla="*/ 1357 w 2925"/>
                <a:gd name="T43" fmla="*/ 144 h 2866"/>
                <a:gd name="T44" fmla="*/ 1442 w 2925"/>
                <a:gd name="T45" fmla="*/ 210 h 2866"/>
                <a:gd name="T46" fmla="*/ 1501 w 2925"/>
                <a:gd name="T47" fmla="*/ 156 h 2866"/>
                <a:gd name="T48" fmla="*/ 1581 w 2925"/>
                <a:gd name="T49" fmla="*/ 263 h 2866"/>
                <a:gd name="T50" fmla="*/ 1595 w 2925"/>
                <a:gd name="T51" fmla="*/ 320 h 2866"/>
                <a:gd name="T52" fmla="*/ 1719 w 2925"/>
                <a:gd name="T53" fmla="*/ 505 h 2866"/>
                <a:gd name="T54" fmla="*/ 1769 w 2925"/>
                <a:gd name="T55" fmla="*/ 601 h 2866"/>
                <a:gd name="T56" fmla="*/ 1917 w 2925"/>
                <a:gd name="T57" fmla="*/ 762 h 2866"/>
                <a:gd name="T58" fmla="*/ 2046 w 2925"/>
                <a:gd name="T59" fmla="*/ 724 h 2866"/>
                <a:gd name="T60" fmla="*/ 2093 w 2925"/>
                <a:gd name="T61" fmla="*/ 865 h 2866"/>
                <a:gd name="T62" fmla="*/ 2063 w 2925"/>
                <a:gd name="T63" fmla="*/ 1049 h 2866"/>
                <a:gd name="T64" fmla="*/ 2011 w 2925"/>
                <a:gd name="T65" fmla="*/ 1129 h 2866"/>
                <a:gd name="T66" fmla="*/ 1876 w 2925"/>
                <a:gd name="T67" fmla="*/ 1265 h 2866"/>
                <a:gd name="T68" fmla="*/ 2074 w 2925"/>
                <a:gd name="T69" fmla="*/ 1337 h 2866"/>
                <a:gd name="T70" fmla="*/ 2279 w 2925"/>
                <a:gd name="T71" fmla="*/ 1407 h 2866"/>
                <a:gd name="T72" fmla="*/ 2486 w 2925"/>
                <a:gd name="T73" fmla="*/ 1371 h 2866"/>
                <a:gd name="T74" fmla="*/ 2710 w 2925"/>
                <a:gd name="T75" fmla="*/ 1363 h 2866"/>
                <a:gd name="T76" fmla="*/ 2724 w 2925"/>
                <a:gd name="T77" fmla="*/ 1535 h 2866"/>
                <a:gd name="T78" fmla="*/ 2805 w 2925"/>
                <a:gd name="T79" fmla="*/ 1749 h 2866"/>
                <a:gd name="T80" fmla="*/ 2925 w 2925"/>
                <a:gd name="T81" fmla="*/ 2034 h 2866"/>
                <a:gd name="T82" fmla="*/ 2726 w 2925"/>
                <a:gd name="T83" fmla="*/ 2091 h 2866"/>
                <a:gd name="T84" fmla="*/ 2393 w 2925"/>
                <a:gd name="T85" fmla="*/ 2145 h 2866"/>
                <a:gd name="T86" fmla="*/ 2340 w 2925"/>
                <a:gd name="T87" fmla="*/ 2258 h 2866"/>
                <a:gd name="T88" fmla="*/ 2271 w 2925"/>
                <a:gd name="T89" fmla="*/ 2146 h 2866"/>
                <a:gd name="T90" fmla="*/ 2114 w 2925"/>
                <a:gd name="T91" fmla="*/ 2219 h 2866"/>
                <a:gd name="T92" fmla="*/ 1987 w 2925"/>
                <a:gd name="T93" fmla="*/ 2192 h 2866"/>
                <a:gd name="T94" fmla="*/ 1865 w 2925"/>
                <a:gd name="T95" fmla="*/ 2265 h 2866"/>
                <a:gd name="T96" fmla="*/ 1751 w 2925"/>
                <a:gd name="T97" fmla="*/ 2292 h 2866"/>
                <a:gd name="T98" fmla="*/ 1772 w 2925"/>
                <a:gd name="T99" fmla="*/ 2445 h 2866"/>
                <a:gd name="T100" fmla="*/ 1574 w 2925"/>
                <a:gd name="T101" fmla="*/ 2529 h 2866"/>
                <a:gd name="T102" fmla="*/ 1370 w 2925"/>
                <a:gd name="T103" fmla="*/ 2506 h 2866"/>
                <a:gd name="T104" fmla="*/ 1302 w 2925"/>
                <a:gd name="T105" fmla="*/ 2700 h 2866"/>
                <a:gd name="T106" fmla="*/ 1158 w 2925"/>
                <a:gd name="T107" fmla="*/ 2866 h 2866"/>
                <a:gd name="T108" fmla="*/ 936 w 2925"/>
                <a:gd name="T109" fmla="*/ 2602 h 2866"/>
                <a:gd name="T110" fmla="*/ 920 w 2925"/>
                <a:gd name="T111" fmla="*/ 2341 h 2866"/>
                <a:gd name="T112" fmla="*/ 835 w 2925"/>
                <a:gd name="T113" fmla="*/ 2193 h 2866"/>
                <a:gd name="T114" fmla="*/ 661 w 2925"/>
                <a:gd name="T115" fmla="*/ 1922 h 2866"/>
                <a:gd name="T116" fmla="*/ 501 w 2925"/>
                <a:gd name="T117" fmla="*/ 1816 h 2866"/>
                <a:gd name="T118" fmla="*/ 287 w 2925"/>
                <a:gd name="T119" fmla="*/ 1741 h 2866"/>
                <a:gd name="T120" fmla="*/ 99 w 2925"/>
                <a:gd name="T121" fmla="*/ 1604 h 2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25" h="2866">
                  <a:moveTo>
                    <a:pt x="89" y="1596"/>
                  </a:moveTo>
                  <a:lnTo>
                    <a:pt x="87" y="1578"/>
                  </a:lnTo>
                  <a:lnTo>
                    <a:pt x="82" y="1561"/>
                  </a:lnTo>
                  <a:lnTo>
                    <a:pt x="81" y="1553"/>
                  </a:lnTo>
                  <a:lnTo>
                    <a:pt x="80" y="1545"/>
                  </a:lnTo>
                  <a:lnTo>
                    <a:pt x="80" y="1536"/>
                  </a:lnTo>
                  <a:lnTo>
                    <a:pt x="82" y="1527"/>
                  </a:lnTo>
                  <a:lnTo>
                    <a:pt x="91" y="1514"/>
                  </a:lnTo>
                  <a:lnTo>
                    <a:pt x="103" y="1497"/>
                  </a:lnTo>
                  <a:lnTo>
                    <a:pt x="108" y="1487"/>
                  </a:lnTo>
                  <a:lnTo>
                    <a:pt x="112" y="1479"/>
                  </a:lnTo>
                  <a:lnTo>
                    <a:pt x="112" y="1475"/>
                  </a:lnTo>
                  <a:lnTo>
                    <a:pt x="112" y="1472"/>
                  </a:lnTo>
                  <a:lnTo>
                    <a:pt x="109" y="1469"/>
                  </a:lnTo>
                  <a:lnTo>
                    <a:pt x="106" y="1466"/>
                  </a:lnTo>
                  <a:lnTo>
                    <a:pt x="105" y="1460"/>
                  </a:lnTo>
                  <a:lnTo>
                    <a:pt x="103" y="1457"/>
                  </a:lnTo>
                  <a:lnTo>
                    <a:pt x="101" y="1453"/>
                  </a:lnTo>
                  <a:lnTo>
                    <a:pt x="98" y="1450"/>
                  </a:lnTo>
                  <a:lnTo>
                    <a:pt x="92" y="1445"/>
                  </a:lnTo>
                  <a:lnTo>
                    <a:pt x="85" y="1439"/>
                  </a:lnTo>
                  <a:lnTo>
                    <a:pt x="81" y="1436"/>
                  </a:lnTo>
                  <a:lnTo>
                    <a:pt x="79" y="1433"/>
                  </a:lnTo>
                  <a:lnTo>
                    <a:pt x="76" y="1430"/>
                  </a:lnTo>
                  <a:lnTo>
                    <a:pt x="74" y="1426"/>
                  </a:lnTo>
                  <a:lnTo>
                    <a:pt x="72" y="1422"/>
                  </a:lnTo>
                  <a:lnTo>
                    <a:pt x="72" y="1416"/>
                  </a:lnTo>
                  <a:lnTo>
                    <a:pt x="72" y="1410"/>
                  </a:lnTo>
                  <a:lnTo>
                    <a:pt x="73" y="1403"/>
                  </a:lnTo>
                  <a:lnTo>
                    <a:pt x="75" y="1387"/>
                  </a:lnTo>
                  <a:lnTo>
                    <a:pt x="75" y="1371"/>
                  </a:lnTo>
                  <a:lnTo>
                    <a:pt x="76" y="1355"/>
                  </a:lnTo>
                  <a:lnTo>
                    <a:pt x="76" y="1339"/>
                  </a:lnTo>
                  <a:lnTo>
                    <a:pt x="78" y="1315"/>
                  </a:lnTo>
                  <a:lnTo>
                    <a:pt x="80" y="1292"/>
                  </a:lnTo>
                  <a:lnTo>
                    <a:pt x="80" y="1281"/>
                  </a:lnTo>
                  <a:lnTo>
                    <a:pt x="77" y="1270"/>
                  </a:lnTo>
                  <a:lnTo>
                    <a:pt x="75" y="1265"/>
                  </a:lnTo>
                  <a:lnTo>
                    <a:pt x="73" y="1260"/>
                  </a:lnTo>
                  <a:lnTo>
                    <a:pt x="69" y="1256"/>
                  </a:lnTo>
                  <a:lnTo>
                    <a:pt x="65" y="1251"/>
                  </a:lnTo>
                  <a:lnTo>
                    <a:pt x="57" y="1244"/>
                  </a:lnTo>
                  <a:lnTo>
                    <a:pt x="45" y="1233"/>
                  </a:lnTo>
                  <a:lnTo>
                    <a:pt x="30" y="1219"/>
                  </a:lnTo>
                  <a:lnTo>
                    <a:pt x="17" y="1203"/>
                  </a:lnTo>
                  <a:lnTo>
                    <a:pt x="10" y="1194"/>
                  </a:lnTo>
                  <a:lnTo>
                    <a:pt x="5" y="1186"/>
                  </a:lnTo>
                  <a:lnTo>
                    <a:pt x="2" y="1179"/>
                  </a:lnTo>
                  <a:lnTo>
                    <a:pt x="0" y="1170"/>
                  </a:lnTo>
                  <a:lnTo>
                    <a:pt x="0" y="1167"/>
                  </a:lnTo>
                  <a:lnTo>
                    <a:pt x="0" y="1163"/>
                  </a:lnTo>
                  <a:lnTo>
                    <a:pt x="1" y="1160"/>
                  </a:lnTo>
                  <a:lnTo>
                    <a:pt x="3" y="1157"/>
                  </a:lnTo>
                  <a:lnTo>
                    <a:pt x="5" y="1154"/>
                  </a:lnTo>
                  <a:lnTo>
                    <a:pt x="8" y="1150"/>
                  </a:lnTo>
                  <a:lnTo>
                    <a:pt x="12" y="1148"/>
                  </a:lnTo>
                  <a:lnTo>
                    <a:pt x="18" y="1146"/>
                  </a:lnTo>
                  <a:lnTo>
                    <a:pt x="20" y="1142"/>
                  </a:lnTo>
                  <a:lnTo>
                    <a:pt x="24" y="1139"/>
                  </a:lnTo>
                  <a:lnTo>
                    <a:pt x="28" y="1136"/>
                  </a:lnTo>
                  <a:lnTo>
                    <a:pt x="32" y="1134"/>
                  </a:lnTo>
                  <a:lnTo>
                    <a:pt x="43" y="1131"/>
                  </a:lnTo>
                  <a:lnTo>
                    <a:pt x="55" y="1129"/>
                  </a:lnTo>
                  <a:lnTo>
                    <a:pt x="69" y="1129"/>
                  </a:lnTo>
                  <a:lnTo>
                    <a:pt x="84" y="1129"/>
                  </a:lnTo>
                  <a:lnTo>
                    <a:pt x="99" y="1131"/>
                  </a:lnTo>
                  <a:lnTo>
                    <a:pt x="116" y="1134"/>
                  </a:lnTo>
                  <a:lnTo>
                    <a:pt x="147" y="1141"/>
                  </a:lnTo>
                  <a:lnTo>
                    <a:pt x="176" y="1148"/>
                  </a:lnTo>
                  <a:lnTo>
                    <a:pt x="201" y="1157"/>
                  </a:lnTo>
                  <a:lnTo>
                    <a:pt x="218" y="1162"/>
                  </a:lnTo>
                  <a:lnTo>
                    <a:pt x="232" y="1168"/>
                  </a:lnTo>
                  <a:lnTo>
                    <a:pt x="249" y="1177"/>
                  </a:lnTo>
                  <a:lnTo>
                    <a:pt x="258" y="1180"/>
                  </a:lnTo>
                  <a:lnTo>
                    <a:pt x="266" y="1182"/>
                  </a:lnTo>
                  <a:lnTo>
                    <a:pt x="274" y="1183"/>
                  </a:lnTo>
                  <a:lnTo>
                    <a:pt x="281" y="1183"/>
                  </a:lnTo>
                  <a:lnTo>
                    <a:pt x="285" y="1179"/>
                  </a:lnTo>
                  <a:lnTo>
                    <a:pt x="287" y="1175"/>
                  </a:lnTo>
                  <a:lnTo>
                    <a:pt x="288" y="1172"/>
                  </a:lnTo>
                  <a:lnTo>
                    <a:pt x="288" y="1168"/>
                  </a:lnTo>
                  <a:lnTo>
                    <a:pt x="286" y="1161"/>
                  </a:lnTo>
                  <a:lnTo>
                    <a:pt x="283" y="1153"/>
                  </a:lnTo>
                  <a:lnTo>
                    <a:pt x="272" y="1138"/>
                  </a:lnTo>
                  <a:lnTo>
                    <a:pt x="263" y="1125"/>
                  </a:lnTo>
                  <a:lnTo>
                    <a:pt x="253" y="1111"/>
                  </a:lnTo>
                  <a:lnTo>
                    <a:pt x="245" y="1093"/>
                  </a:lnTo>
                  <a:lnTo>
                    <a:pt x="242" y="1084"/>
                  </a:lnTo>
                  <a:lnTo>
                    <a:pt x="239" y="1075"/>
                  </a:lnTo>
                  <a:lnTo>
                    <a:pt x="238" y="1066"/>
                  </a:lnTo>
                  <a:lnTo>
                    <a:pt x="237" y="1059"/>
                  </a:lnTo>
                  <a:lnTo>
                    <a:pt x="230" y="1048"/>
                  </a:lnTo>
                  <a:lnTo>
                    <a:pt x="226" y="1035"/>
                  </a:lnTo>
                  <a:lnTo>
                    <a:pt x="222" y="1019"/>
                  </a:lnTo>
                  <a:lnTo>
                    <a:pt x="220" y="1003"/>
                  </a:lnTo>
                  <a:lnTo>
                    <a:pt x="220" y="987"/>
                  </a:lnTo>
                  <a:lnTo>
                    <a:pt x="221" y="972"/>
                  </a:lnTo>
                  <a:lnTo>
                    <a:pt x="223" y="965"/>
                  </a:lnTo>
                  <a:lnTo>
                    <a:pt x="225" y="958"/>
                  </a:lnTo>
                  <a:lnTo>
                    <a:pt x="227" y="952"/>
                  </a:lnTo>
                  <a:lnTo>
                    <a:pt x="230" y="947"/>
                  </a:lnTo>
                  <a:lnTo>
                    <a:pt x="249" y="948"/>
                  </a:lnTo>
                  <a:lnTo>
                    <a:pt x="266" y="948"/>
                  </a:lnTo>
                  <a:lnTo>
                    <a:pt x="280" y="949"/>
                  </a:lnTo>
                  <a:lnTo>
                    <a:pt x="294" y="951"/>
                  </a:lnTo>
                  <a:lnTo>
                    <a:pt x="308" y="954"/>
                  </a:lnTo>
                  <a:lnTo>
                    <a:pt x="322" y="957"/>
                  </a:lnTo>
                  <a:lnTo>
                    <a:pt x="337" y="963"/>
                  </a:lnTo>
                  <a:lnTo>
                    <a:pt x="354" y="970"/>
                  </a:lnTo>
                  <a:lnTo>
                    <a:pt x="366" y="976"/>
                  </a:lnTo>
                  <a:lnTo>
                    <a:pt x="379" y="986"/>
                  </a:lnTo>
                  <a:lnTo>
                    <a:pt x="393" y="996"/>
                  </a:lnTo>
                  <a:lnTo>
                    <a:pt x="407" y="1008"/>
                  </a:lnTo>
                  <a:lnTo>
                    <a:pt x="420" y="1019"/>
                  </a:lnTo>
                  <a:lnTo>
                    <a:pt x="434" y="1028"/>
                  </a:lnTo>
                  <a:lnTo>
                    <a:pt x="439" y="1033"/>
                  </a:lnTo>
                  <a:lnTo>
                    <a:pt x="445" y="1036"/>
                  </a:lnTo>
                  <a:lnTo>
                    <a:pt x="450" y="1038"/>
                  </a:lnTo>
                  <a:lnTo>
                    <a:pt x="455" y="1040"/>
                  </a:lnTo>
                  <a:lnTo>
                    <a:pt x="460" y="1040"/>
                  </a:lnTo>
                  <a:lnTo>
                    <a:pt x="465" y="1040"/>
                  </a:lnTo>
                  <a:lnTo>
                    <a:pt x="470" y="1039"/>
                  </a:lnTo>
                  <a:lnTo>
                    <a:pt x="475" y="1037"/>
                  </a:lnTo>
                  <a:lnTo>
                    <a:pt x="486" y="1033"/>
                  </a:lnTo>
                  <a:lnTo>
                    <a:pt x="496" y="1026"/>
                  </a:lnTo>
                  <a:lnTo>
                    <a:pt x="507" y="1021"/>
                  </a:lnTo>
                  <a:lnTo>
                    <a:pt x="518" y="1017"/>
                  </a:lnTo>
                  <a:lnTo>
                    <a:pt x="524" y="1016"/>
                  </a:lnTo>
                  <a:lnTo>
                    <a:pt x="530" y="1015"/>
                  </a:lnTo>
                  <a:lnTo>
                    <a:pt x="536" y="1015"/>
                  </a:lnTo>
                  <a:lnTo>
                    <a:pt x="542" y="1016"/>
                  </a:lnTo>
                  <a:lnTo>
                    <a:pt x="556" y="1020"/>
                  </a:lnTo>
                  <a:lnTo>
                    <a:pt x="568" y="1025"/>
                  </a:lnTo>
                  <a:lnTo>
                    <a:pt x="574" y="1026"/>
                  </a:lnTo>
                  <a:lnTo>
                    <a:pt x="581" y="1026"/>
                  </a:lnTo>
                  <a:lnTo>
                    <a:pt x="583" y="1025"/>
                  </a:lnTo>
                  <a:lnTo>
                    <a:pt x="586" y="1024"/>
                  </a:lnTo>
                  <a:lnTo>
                    <a:pt x="589" y="1022"/>
                  </a:lnTo>
                  <a:lnTo>
                    <a:pt x="591" y="1019"/>
                  </a:lnTo>
                  <a:lnTo>
                    <a:pt x="598" y="1006"/>
                  </a:lnTo>
                  <a:lnTo>
                    <a:pt x="606" y="992"/>
                  </a:lnTo>
                  <a:lnTo>
                    <a:pt x="608" y="990"/>
                  </a:lnTo>
                  <a:lnTo>
                    <a:pt x="611" y="988"/>
                  </a:lnTo>
                  <a:lnTo>
                    <a:pt x="613" y="987"/>
                  </a:lnTo>
                  <a:lnTo>
                    <a:pt x="616" y="987"/>
                  </a:lnTo>
                  <a:lnTo>
                    <a:pt x="619" y="988"/>
                  </a:lnTo>
                  <a:lnTo>
                    <a:pt x="623" y="991"/>
                  </a:lnTo>
                  <a:lnTo>
                    <a:pt x="628" y="994"/>
                  </a:lnTo>
                  <a:lnTo>
                    <a:pt x="632" y="1000"/>
                  </a:lnTo>
                  <a:lnTo>
                    <a:pt x="641" y="1011"/>
                  </a:lnTo>
                  <a:lnTo>
                    <a:pt x="651" y="1018"/>
                  </a:lnTo>
                  <a:lnTo>
                    <a:pt x="655" y="1020"/>
                  </a:lnTo>
                  <a:lnTo>
                    <a:pt x="659" y="1022"/>
                  </a:lnTo>
                  <a:lnTo>
                    <a:pt x="663" y="1023"/>
                  </a:lnTo>
                  <a:lnTo>
                    <a:pt x="666" y="1023"/>
                  </a:lnTo>
                  <a:lnTo>
                    <a:pt x="675" y="1023"/>
                  </a:lnTo>
                  <a:lnTo>
                    <a:pt x="681" y="1020"/>
                  </a:lnTo>
                  <a:lnTo>
                    <a:pt x="688" y="1015"/>
                  </a:lnTo>
                  <a:lnTo>
                    <a:pt x="694" y="1009"/>
                  </a:lnTo>
                  <a:lnTo>
                    <a:pt x="707" y="994"/>
                  </a:lnTo>
                  <a:lnTo>
                    <a:pt x="719" y="978"/>
                  </a:lnTo>
                  <a:lnTo>
                    <a:pt x="725" y="970"/>
                  </a:lnTo>
                  <a:lnTo>
                    <a:pt x="731" y="963"/>
                  </a:lnTo>
                  <a:lnTo>
                    <a:pt x="736" y="956"/>
                  </a:lnTo>
                  <a:lnTo>
                    <a:pt x="742" y="952"/>
                  </a:lnTo>
                  <a:lnTo>
                    <a:pt x="741" y="944"/>
                  </a:lnTo>
                  <a:lnTo>
                    <a:pt x="738" y="936"/>
                  </a:lnTo>
                  <a:lnTo>
                    <a:pt x="734" y="928"/>
                  </a:lnTo>
                  <a:lnTo>
                    <a:pt x="729" y="922"/>
                  </a:lnTo>
                  <a:lnTo>
                    <a:pt x="716" y="908"/>
                  </a:lnTo>
                  <a:lnTo>
                    <a:pt x="703" y="897"/>
                  </a:lnTo>
                  <a:lnTo>
                    <a:pt x="696" y="892"/>
                  </a:lnTo>
                  <a:lnTo>
                    <a:pt x="691" y="885"/>
                  </a:lnTo>
                  <a:lnTo>
                    <a:pt x="687" y="880"/>
                  </a:lnTo>
                  <a:lnTo>
                    <a:pt x="684" y="874"/>
                  </a:lnTo>
                  <a:lnTo>
                    <a:pt x="683" y="869"/>
                  </a:lnTo>
                  <a:lnTo>
                    <a:pt x="684" y="863"/>
                  </a:lnTo>
                  <a:lnTo>
                    <a:pt x="687" y="855"/>
                  </a:lnTo>
                  <a:lnTo>
                    <a:pt x="692" y="848"/>
                  </a:lnTo>
                  <a:lnTo>
                    <a:pt x="708" y="832"/>
                  </a:lnTo>
                  <a:lnTo>
                    <a:pt x="721" y="818"/>
                  </a:lnTo>
                  <a:lnTo>
                    <a:pt x="727" y="811"/>
                  </a:lnTo>
                  <a:lnTo>
                    <a:pt x="732" y="806"/>
                  </a:lnTo>
                  <a:lnTo>
                    <a:pt x="738" y="802"/>
                  </a:lnTo>
                  <a:lnTo>
                    <a:pt x="743" y="798"/>
                  </a:lnTo>
                  <a:lnTo>
                    <a:pt x="750" y="795"/>
                  </a:lnTo>
                  <a:lnTo>
                    <a:pt x="756" y="793"/>
                  </a:lnTo>
                  <a:lnTo>
                    <a:pt x="762" y="792"/>
                  </a:lnTo>
                  <a:lnTo>
                    <a:pt x="770" y="791"/>
                  </a:lnTo>
                  <a:lnTo>
                    <a:pt x="779" y="792"/>
                  </a:lnTo>
                  <a:lnTo>
                    <a:pt x="789" y="793"/>
                  </a:lnTo>
                  <a:lnTo>
                    <a:pt x="800" y="796"/>
                  </a:lnTo>
                  <a:lnTo>
                    <a:pt x="813" y="799"/>
                  </a:lnTo>
                  <a:lnTo>
                    <a:pt x="819" y="801"/>
                  </a:lnTo>
                  <a:lnTo>
                    <a:pt x="826" y="801"/>
                  </a:lnTo>
                  <a:lnTo>
                    <a:pt x="831" y="801"/>
                  </a:lnTo>
                  <a:lnTo>
                    <a:pt x="835" y="800"/>
                  </a:lnTo>
                  <a:lnTo>
                    <a:pt x="838" y="798"/>
                  </a:lnTo>
                  <a:lnTo>
                    <a:pt x="840" y="795"/>
                  </a:lnTo>
                  <a:lnTo>
                    <a:pt x="841" y="792"/>
                  </a:lnTo>
                  <a:lnTo>
                    <a:pt x="842" y="788"/>
                  </a:lnTo>
                  <a:lnTo>
                    <a:pt x="842" y="784"/>
                  </a:lnTo>
                  <a:lnTo>
                    <a:pt x="841" y="780"/>
                  </a:lnTo>
                  <a:lnTo>
                    <a:pt x="840" y="776"/>
                  </a:lnTo>
                  <a:lnTo>
                    <a:pt x="838" y="772"/>
                  </a:lnTo>
                  <a:lnTo>
                    <a:pt x="833" y="763"/>
                  </a:lnTo>
                  <a:lnTo>
                    <a:pt x="827" y="756"/>
                  </a:lnTo>
                  <a:lnTo>
                    <a:pt x="808" y="739"/>
                  </a:lnTo>
                  <a:lnTo>
                    <a:pt x="783" y="716"/>
                  </a:lnTo>
                  <a:lnTo>
                    <a:pt x="770" y="704"/>
                  </a:lnTo>
                  <a:lnTo>
                    <a:pt x="761" y="691"/>
                  </a:lnTo>
                  <a:lnTo>
                    <a:pt x="757" y="686"/>
                  </a:lnTo>
                  <a:lnTo>
                    <a:pt x="754" y="681"/>
                  </a:lnTo>
                  <a:lnTo>
                    <a:pt x="752" y="676"/>
                  </a:lnTo>
                  <a:lnTo>
                    <a:pt x="752" y="671"/>
                  </a:lnTo>
                  <a:lnTo>
                    <a:pt x="754" y="656"/>
                  </a:lnTo>
                  <a:lnTo>
                    <a:pt x="758" y="639"/>
                  </a:lnTo>
                  <a:lnTo>
                    <a:pt x="760" y="631"/>
                  </a:lnTo>
                  <a:lnTo>
                    <a:pt x="762" y="623"/>
                  </a:lnTo>
                  <a:lnTo>
                    <a:pt x="762" y="615"/>
                  </a:lnTo>
                  <a:lnTo>
                    <a:pt x="761" y="608"/>
                  </a:lnTo>
                  <a:lnTo>
                    <a:pt x="760" y="604"/>
                  </a:lnTo>
                  <a:lnTo>
                    <a:pt x="757" y="601"/>
                  </a:lnTo>
                  <a:lnTo>
                    <a:pt x="754" y="598"/>
                  </a:lnTo>
                  <a:lnTo>
                    <a:pt x="751" y="596"/>
                  </a:lnTo>
                  <a:lnTo>
                    <a:pt x="742" y="593"/>
                  </a:lnTo>
                  <a:lnTo>
                    <a:pt x="734" y="592"/>
                  </a:lnTo>
                  <a:lnTo>
                    <a:pt x="731" y="591"/>
                  </a:lnTo>
                  <a:lnTo>
                    <a:pt x="727" y="589"/>
                  </a:lnTo>
                  <a:lnTo>
                    <a:pt x="724" y="587"/>
                  </a:lnTo>
                  <a:lnTo>
                    <a:pt x="720" y="585"/>
                  </a:lnTo>
                  <a:lnTo>
                    <a:pt x="717" y="582"/>
                  </a:lnTo>
                  <a:lnTo>
                    <a:pt x="716" y="577"/>
                  </a:lnTo>
                  <a:lnTo>
                    <a:pt x="715" y="571"/>
                  </a:lnTo>
                  <a:lnTo>
                    <a:pt x="715" y="565"/>
                  </a:lnTo>
                  <a:lnTo>
                    <a:pt x="710" y="558"/>
                  </a:lnTo>
                  <a:lnTo>
                    <a:pt x="703" y="552"/>
                  </a:lnTo>
                  <a:lnTo>
                    <a:pt x="694" y="546"/>
                  </a:lnTo>
                  <a:lnTo>
                    <a:pt x="686" y="543"/>
                  </a:lnTo>
                  <a:lnTo>
                    <a:pt x="665" y="537"/>
                  </a:lnTo>
                  <a:lnTo>
                    <a:pt x="644" y="533"/>
                  </a:lnTo>
                  <a:lnTo>
                    <a:pt x="634" y="530"/>
                  </a:lnTo>
                  <a:lnTo>
                    <a:pt x="625" y="528"/>
                  </a:lnTo>
                  <a:lnTo>
                    <a:pt x="616" y="523"/>
                  </a:lnTo>
                  <a:lnTo>
                    <a:pt x="609" y="519"/>
                  </a:lnTo>
                  <a:lnTo>
                    <a:pt x="606" y="517"/>
                  </a:lnTo>
                  <a:lnTo>
                    <a:pt x="604" y="514"/>
                  </a:lnTo>
                  <a:lnTo>
                    <a:pt x="602" y="511"/>
                  </a:lnTo>
                  <a:lnTo>
                    <a:pt x="599" y="508"/>
                  </a:lnTo>
                  <a:lnTo>
                    <a:pt x="598" y="505"/>
                  </a:lnTo>
                  <a:lnTo>
                    <a:pt x="598" y="501"/>
                  </a:lnTo>
                  <a:lnTo>
                    <a:pt x="598" y="495"/>
                  </a:lnTo>
                  <a:lnTo>
                    <a:pt x="598" y="491"/>
                  </a:lnTo>
                  <a:lnTo>
                    <a:pt x="601" y="484"/>
                  </a:lnTo>
                  <a:lnTo>
                    <a:pt x="604" y="478"/>
                  </a:lnTo>
                  <a:lnTo>
                    <a:pt x="608" y="473"/>
                  </a:lnTo>
                  <a:lnTo>
                    <a:pt x="614" y="469"/>
                  </a:lnTo>
                  <a:lnTo>
                    <a:pt x="620" y="465"/>
                  </a:lnTo>
                  <a:lnTo>
                    <a:pt x="627" y="463"/>
                  </a:lnTo>
                  <a:lnTo>
                    <a:pt x="634" y="460"/>
                  </a:lnTo>
                  <a:lnTo>
                    <a:pt x="642" y="458"/>
                  </a:lnTo>
                  <a:lnTo>
                    <a:pt x="676" y="454"/>
                  </a:lnTo>
                  <a:lnTo>
                    <a:pt x="704" y="449"/>
                  </a:lnTo>
                  <a:lnTo>
                    <a:pt x="705" y="443"/>
                  </a:lnTo>
                  <a:lnTo>
                    <a:pt x="704" y="438"/>
                  </a:lnTo>
                  <a:lnTo>
                    <a:pt x="702" y="433"/>
                  </a:lnTo>
                  <a:lnTo>
                    <a:pt x="699" y="427"/>
                  </a:lnTo>
                  <a:lnTo>
                    <a:pt x="690" y="417"/>
                  </a:lnTo>
                  <a:lnTo>
                    <a:pt x="680" y="408"/>
                  </a:lnTo>
                  <a:lnTo>
                    <a:pt x="669" y="397"/>
                  </a:lnTo>
                  <a:lnTo>
                    <a:pt x="661" y="386"/>
                  </a:lnTo>
                  <a:lnTo>
                    <a:pt x="658" y="381"/>
                  </a:lnTo>
                  <a:lnTo>
                    <a:pt x="655" y="373"/>
                  </a:lnTo>
                  <a:lnTo>
                    <a:pt x="654" y="367"/>
                  </a:lnTo>
                  <a:lnTo>
                    <a:pt x="655" y="360"/>
                  </a:lnTo>
                  <a:lnTo>
                    <a:pt x="656" y="350"/>
                  </a:lnTo>
                  <a:lnTo>
                    <a:pt x="658" y="343"/>
                  </a:lnTo>
                  <a:lnTo>
                    <a:pt x="661" y="337"/>
                  </a:lnTo>
                  <a:lnTo>
                    <a:pt x="663" y="330"/>
                  </a:lnTo>
                  <a:lnTo>
                    <a:pt x="666" y="326"/>
                  </a:lnTo>
                  <a:lnTo>
                    <a:pt x="670" y="323"/>
                  </a:lnTo>
                  <a:lnTo>
                    <a:pt x="674" y="320"/>
                  </a:lnTo>
                  <a:lnTo>
                    <a:pt x="679" y="319"/>
                  </a:lnTo>
                  <a:lnTo>
                    <a:pt x="689" y="316"/>
                  </a:lnTo>
                  <a:lnTo>
                    <a:pt x="702" y="316"/>
                  </a:lnTo>
                  <a:lnTo>
                    <a:pt x="716" y="316"/>
                  </a:lnTo>
                  <a:lnTo>
                    <a:pt x="733" y="316"/>
                  </a:lnTo>
                  <a:lnTo>
                    <a:pt x="740" y="316"/>
                  </a:lnTo>
                  <a:lnTo>
                    <a:pt x="747" y="315"/>
                  </a:lnTo>
                  <a:lnTo>
                    <a:pt x="752" y="314"/>
                  </a:lnTo>
                  <a:lnTo>
                    <a:pt x="757" y="313"/>
                  </a:lnTo>
                  <a:lnTo>
                    <a:pt x="760" y="311"/>
                  </a:lnTo>
                  <a:lnTo>
                    <a:pt x="762" y="309"/>
                  </a:lnTo>
                  <a:lnTo>
                    <a:pt x="764" y="306"/>
                  </a:lnTo>
                  <a:lnTo>
                    <a:pt x="766" y="303"/>
                  </a:lnTo>
                  <a:lnTo>
                    <a:pt x="768" y="289"/>
                  </a:lnTo>
                  <a:lnTo>
                    <a:pt x="773" y="270"/>
                  </a:lnTo>
                  <a:lnTo>
                    <a:pt x="777" y="267"/>
                  </a:lnTo>
                  <a:lnTo>
                    <a:pt x="787" y="261"/>
                  </a:lnTo>
                  <a:lnTo>
                    <a:pt x="801" y="253"/>
                  </a:lnTo>
                  <a:lnTo>
                    <a:pt x="816" y="246"/>
                  </a:lnTo>
                  <a:lnTo>
                    <a:pt x="832" y="239"/>
                  </a:lnTo>
                  <a:lnTo>
                    <a:pt x="848" y="232"/>
                  </a:lnTo>
                  <a:lnTo>
                    <a:pt x="854" y="230"/>
                  </a:lnTo>
                  <a:lnTo>
                    <a:pt x="860" y="229"/>
                  </a:lnTo>
                  <a:lnTo>
                    <a:pt x="864" y="228"/>
                  </a:lnTo>
                  <a:lnTo>
                    <a:pt x="867" y="228"/>
                  </a:lnTo>
                  <a:lnTo>
                    <a:pt x="870" y="239"/>
                  </a:lnTo>
                  <a:lnTo>
                    <a:pt x="871" y="249"/>
                  </a:lnTo>
                  <a:lnTo>
                    <a:pt x="872" y="260"/>
                  </a:lnTo>
                  <a:lnTo>
                    <a:pt x="872" y="271"/>
                  </a:lnTo>
                  <a:lnTo>
                    <a:pt x="871" y="294"/>
                  </a:lnTo>
                  <a:lnTo>
                    <a:pt x="870" y="316"/>
                  </a:lnTo>
                  <a:lnTo>
                    <a:pt x="868" y="339"/>
                  </a:lnTo>
                  <a:lnTo>
                    <a:pt x="870" y="360"/>
                  </a:lnTo>
                  <a:lnTo>
                    <a:pt x="871" y="370"/>
                  </a:lnTo>
                  <a:lnTo>
                    <a:pt x="873" y="381"/>
                  </a:lnTo>
                  <a:lnTo>
                    <a:pt x="875" y="390"/>
                  </a:lnTo>
                  <a:lnTo>
                    <a:pt x="879" y="398"/>
                  </a:lnTo>
                  <a:lnTo>
                    <a:pt x="889" y="399"/>
                  </a:lnTo>
                  <a:lnTo>
                    <a:pt x="903" y="401"/>
                  </a:lnTo>
                  <a:lnTo>
                    <a:pt x="917" y="402"/>
                  </a:lnTo>
                  <a:lnTo>
                    <a:pt x="933" y="401"/>
                  </a:lnTo>
                  <a:lnTo>
                    <a:pt x="940" y="401"/>
                  </a:lnTo>
                  <a:lnTo>
                    <a:pt x="948" y="399"/>
                  </a:lnTo>
                  <a:lnTo>
                    <a:pt x="954" y="398"/>
                  </a:lnTo>
                  <a:lnTo>
                    <a:pt x="960" y="395"/>
                  </a:lnTo>
                  <a:lnTo>
                    <a:pt x="965" y="391"/>
                  </a:lnTo>
                  <a:lnTo>
                    <a:pt x="970" y="387"/>
                  </a:lnTo>
                  <a:lnTo>
                    <a:pt x="973" y="382"/>
                  </a:lnTo>
                  <a:lnTo>
                    <a:pt x="974" y="375"/>
                  </a:lnTo>
                  <a:lnTo>
                    <a:pt x="981" y="371"/>
                  </a:lnTo>
                  <a:lnTo>
                    <a:pt x="986" y="367"/>
                  </a:lnTo>
                  <a:lnTo>
                    <a:pt x="989" y="363"/>
                  </a:lnTo>
                  <a:lnTo>
                    <a:pt x="993" y="359"/>
                  </a:lnTo>
                  <a:lnTo>
                    <a:pt x="995" y="354"/>
                  </a:lnTo>
                  <a:lnTo>
                    <a:pt x="996" y="350"/>
                  </a:lnTo>
                  <a:lnTo>
                    <a:pt x="996" y="346"/>
                  </a:lnTo>
                  <a:lnTo>
                    <a:pt x="996" y="342"/>
                  </a:lnTo>
                  <a:lnTo>
                    <a:pt x="989" y="323"/>
                  </a:lnTo>
                  <a:lnTo>
                    <a:pt x="981" y="299"/>
                  </a:lnTo>
                  <a:lnTo>
                    <a:pt x="974" y="273"/>
                  </a:lnTo>
                  <a:lnTo>
                    <a:pt x="969" y="247"/>
                  </a:lnTo>
                  <a:lnTo>
                    <a:pt x="964" y="221"/>
                  </a:lnTo>
                  <a:lnTo>
                    <a:pt x="962" y="194"/>
                  </a:lnTo>
                  <a:lnTo>
                    <a:pt x="962" y="167"/>
                  </a:lnTo>
                  <a:lnTo>
                    <a:pt x="963" y="143"/>
                  </a:lnTo>
                  <a:lnTo>
                    <a:pt x="964" y="131"/>
                  </a:lnTo>
                  <a:lnTo>
                    <a:pt x="967" y="120"/>
                  </a:lnTo>
                  <a:lnTo>
                    <a:pt x="969" y="109"/>
                  </a:lnTo>
                  <a:lnTo>
                    <a:pt x="972" y="99"/>
                  </a:lnTo>
                  <a:lnTo>
                    <a:pt x="975" y="88"/>
                  </a:lnTo>
                  <a:lnTo>
                    <a:pt x="979" y="79"/>
                  </a:lnTo>
                  <a:lnTo>
                    <a:pt x="984" y="69"/>
                  </a:lnTo>
                  <a:lnTo>
                    <a:pt x="989" y="59"/>
                  </a:lnTo>
                  <a:lnTo>
                    <a:pt x="1002" y="39"/>
                  </a:lnTo>
                  <a:lnTo>
                    <a:pt x="1018" y="19"/>
                  </a:lnTo>
                  <a:lnTo>
                    <a:pt x="1018" y="19"/>
                  </a:lnTo>
                  <a:lnTo>
                    <a:pt x="1046" y="11"/>
                  </a:lnTo>
                  <a:lnTo>
                    <a:pt x="1074" y="3"/>
                  </a:lnTo>
                  <a:lnTo>
                    <a:pt x="1088" y="1"/>
                  </a:lnTo>
                  <a:lnTo>
                    <a:pt x="1103" y="0"/>
                  </a:lnTo>
                  <a:lnTo>
                    <a:pt x="1110" y="1"/>
                  </a:lnTo>
                  <a:lnTo>
                    <a:pt x="1118" y="3"/>
                  </a:lnTo>
                  <a:lnTo>
                    <a:pt x="1125" y="5"/>
                  </a:lnTo>
                  <a:lnTo>
                    <a:pt x="1132" y="8"/>
                  </a:lnTo>
                  <a:lnTo>
                    <a:pt x="1141" y="13"/>
                  </a:lnTo>
                  <a:lnTo>
                    <a:pt x="1148" y="19"/>
                  </a:lnTo>
                  <a:lnTo>
                    <a:pt x="1154" y="24"/>
                  </a:lnTo>
                  <a:lnTo>
                    <a:pt x="1160" y="29"/>
                  </a:lnTo>
                  <a:lnTo>
                    <a:pt x="1171" y="41"/>
                  </a:lnTo>
                  <a:lnTo>
                    <a:pt x="1184" y="54"/>
                  </a:lnTo>
                  <a:lnTo>
                    <a:pt x="1189" y="57"/>
                  </a:lnTo>
                  <a:lnTo>
                    <a:pt x="1195" y="60"/>
                  </a:lnTo>
                  <a:lnTo>
                    <a:pt x="1201" y="62"/>
                  </a:lnTo>
                  <a:lnTo>
                    <a:pt x="1208" y="63"/>
                  </a:lnTo>
                  <a:lnTo>
                    <a:pt x="1223" y="64"/>
                  </a:lnTo>
                  <a:lnTo>
                    <a:pt x="1240" y="64"/>
                  </a:lnTo>
                  <a:lnTo>
                    <a:pt x="1273" y="61"/>
                  </a:lnTo>
                  <a:lnTo>
                    <a:pt x="1301" y="59"/>
                  </a:lnTo>
                  <a:lnTo>
                    <a:pt x="1325" y="59"/>
                  </a:lnTo>
                  <a:lnTo>
                    <a:pt x="1350" y="58"/>
                  </a:lnTo>
                  <a:lnTo>
                    <a:pt x="1362" y="59"/>
                  </a:lnTo>
                  <a:lnTo>
                    <a:pt x="1373" y="60"/>
                  </a:lnTo>
                  <a:lnTo>
                    <a:pt x="1386" y="61"/>
                  </a:lnTo>
                  <a:lnTo>
                    <a:pt x="1397" y="64"/>
                  </a:lnTo>
                  <a:lnTo>
                    <a:pt x="1398" y="73"/>
                  </a:lnTo>
                  <a:lnTo>
                    <a:pt x="1399" y="80"/>
                  </a:lnTo>
                  <a:lnTo>
                    <a:pt x="1397" y="86"/>
                  </a:lnTo>
                  <a:lnTo>
                    <a:pt x="1395" y="92"/>
                  </a:lnTo>
                  <a:lnTo>
                    <a:pt x="1388" y="103"/>
                  </a:lnTo>
                  <a:lnTo>
                    <a:pt x="1378" y="118"/>
                  </a:lnTo>
                  <a:lnTo>
                    <a:pt x="1370" y="124"/>
                  </a:lnTo>
                  <a:lnTo>
                    <a:pt x="1363" y="133"/>
                  </a:lnTo>
                  <a:lnTo>
                    <a:pt x="1360" y="139"/>
                  </a:lnTo>
                  <a:lnTo>
                    <a:pt x="1357" y="144"/>
                  </a:lnTo>
                  <a:lnTo>
                    <a:pt x="1356" y="149"/>
                  </a:lnTo>
                  <a:lnTo>
                    <a:pt x="1359" y="153"/>
                  </a:lnTo>
                  <a:lnTo>
                    <a:pt x="1385" y="154"/>
                  </a:lnTo>
                  <a:lnTo>
                    <a:pt x="1409" y="155"/>
                  </a:lnTo>
                  <a:lnTo>
                    <a:pt x="1414" y="156"/>
                  </a:lnTo>
                  <a:lnTo>
                    <a:pt x="1418" y="158"/>
                  </a:lnTo>
                  <a:lnTo>
                    <a:pt x="1422" y="160"/>
                  </a:lnTo>
                  <a:lnTo>
                    <a:pt x="1425" y="164"/>
                  </a:lnTo>
                  <a:lnTo>
                    <a:pt x="1428" y="168"/>
                  </a:lnTo>
                  <a:lnTo>
                    <a:pt x="1429" y="173"/>
                  </a:lnTo>
                  <a:lnTo>
                    <a:pt x="1430" y="178"/>
                  </a:lnTo>
                  <a:lnTo>
                    <a:pt x="1430" y="185"/>
                  </a:lnTo>
                  <a:lnTo>
                    <a:pt x="1430" y="193"/>
                  </a:lnTo>
                  <a:lnTo>
                    <a:pt x="1432" y="198"/>
                  </a:lnTo>
                  <a:lnTo>
                    <a:pt x="1434" y="203"/>
                  </a:lnTo>
                  <a:lnTo>
                    <a:pt x="1436" y="206"/>
                  </a:lnTo>
                  <a:lnTo>
                    <a:pt x="1439" y="209"/>
                  </a:lnTo>
                  <a:lnTo>
                    <a:pt x="1442" y="210"/>
                  </a:lnTo>
                  <a:lnTo>
                    <a:pt x="1446" y="212"/>
                  </a:lnTo>
                  <a:lnTo>
                    <a:pt x="1450" y="212"/>
                  </a:lnTo>
                  <a:lnTo>
                    <a:pt x="1454" y="212"/>
                  </a:lnTo>
                  <a:lnTo>
                    <a:pt x="1459" y="209"/>
                  </a:lnTo>
                  <a:lnTo>
                    <a:pt x="1463" y="207"/>
                  </a:lnTo>
                  <a:lnTo>
                    <a:pt x="1467" y="204"/>
                  </a:lnTo>
                  <a:lnTo>
                    <a:pt x="1470" y="200"/>
                  </a:lnTo>
                  <a:lnTo>
                    <a:pt x="1473" y="196"/>
                  </a:lnTo>
                  <a:lnTo>
                    <a:pt x="1476" y="191"/>
                  </a:lnTo>
                  <a:lnTo>
                    <a:pt x="1478" y="185"/>
                  </a:lnTo>
                  <a:lnTo>
                    <a:pt x="1479" y="179"/>
                  </a:lnTo>
                  <a:lnTo>
                    <a:pt x="1483" y="173"/>
                  </a:lnTo>
                  <a:lnTo>
                    <a:pt x="1485" y="169"/>
                  </a:lnTo>
                  <a:lnTo>
                    <a:pt x="1488" y="165"/>
                  </a:lnTo>
                  <a:lnTo>
                    <a:pt x="1491" y="161"/>
                  </a:lnTo>
                  <a:lnTo>
                    <a:pt x="1494" y="158"/>
                  </a:lnTo>
                  <a:lnTo>
                    <a:pt x="1497" y="157"/>
                  </a:lnTo>
                  <a:lnTo>
                    <a:pt x="1501" y="156"/>
                  </a:lnTo>
                  <a:lnTo>
                    <a:pt x="1505" y="155"/>
                  </a:lnTo>
                  <a:lnTo>
                    <a:pt x="1509" y="155"/>
                  </a:lnTo>
                  <a:lnTo>
                    <a:pt x="1513" y="156"/>
                  </a:lnTo>
                  <a:lnTo>
                    <a:pt x="1517" y="157"/>
                  </a:lnTo>
                  <a:lnTo>
                    <a:pt x="1525" y="161"/>
                  </a:lnTo>
                  <a:lnTo>
                    <a:pt x="1534" y="167"/>
                  </a:lnTo>
                  <a:lnTo>
                    <a:pt x="1542" y="174"/>
                  </a:lnTo>
                  <a:lnTo>
                    <a:pt x="1549" y="181"/>
                  </a:lnTo>
                  <a:lnTo>
                    <a:pt x="1558" y="191"/>
                  </a:lnTo>
                  <a:lnTo>
                    <a:pt x="1564" y="199"/>
                  </a:lnTo>
                  <a:lnTo>
                    <a:pt x="1570" y="208"/>
                  </a:lnTo>
                  <a:lnTo>
                    <a:pt x="1575" y="218"/>
                  </a:lnTo>
                  <a:lnTo>
                    <a:pt x="1580" y="226"/>
                  </a:lnTo>
                  <a:lnTo>
                    <a:pt x="1583" y="233"/>
                  </a:lnTo>
                  <a:lnTo>
                    <a:pt x="1585" y="243"/>
                  </a:lnTo>
                  <a:lnTo>
                    <a:pt x="1585" y="251"/>
                  </a:lnTo>
                  <a:lnTo>
                    <a:pt x="1584" y="257"/>
                  </a:lnTo>
                  <a:lnTo>
                    <a:pt x="1581" y="263"/>
                  </a:lnTo>
                  <a:lnTo>
                    <a:pt x="1576" y="267"/>
                  </a:lnTo>
                  <a:lnTo>
                    <a:pt x="1571" y="270"/>
                  </a:lnTo>
                  <a:lnTo>
                    <a:pt x="1566" y="273"/>
                  </a:lnTo>
                  <a:lnTo>
                    <a:pt x="1560" y="275"/>
                  </a:lnTo>
                  <a:lnTo>
                    <a:pt x="1547" y="280"/>
                  </a:lnTo>
                  <a:lnTo>
                    <a:pt x="1535" y="288"/>
                  </a:lnTo>
                  <a:lnTo>
                    <a:pt x="1531" y="292"/>
                  </a:lnTo>
                  <a:lnTo>
                    <a:pt x="1526" y="298"/>
                  </a:lnTo>
                  <a:lnTo>
                    <a:pt x="1523" y="304"/>
                  </a:lnTo>
                  <a:lnTo>
                    <a:pt x="1522" y="314"/>
                  </a:lnTo>
                  <a:lnTo>
                    <a:pt x="1523" y="319"/>
                  </a:lnTo>
                  <a:lnTo>
                    <a:pt x="1525" y="322"/>
                  </a:lnTo>
                  <a:lnTo>
                    <a:pt x="1528" y="325"/>
                  </a:lnTo>
                  <a:lnTo>
                    <a:pt x="1534" y="326"/>
                  </a:lnTo>
                  <a:lnTo>
                    <a:pt x="1546" y="326"/>
                  </a:lnTo>
                  <a:lnTo>
                    <a:pt x="1562" y="324"/>
                  </a:lnTo>
                  <a:lnTo>
                    <a:pt x="1579" y="322"/>
                  </a:lnTo>
                  <a:lnTo>
                    <a:pt x="1595" y="320"/>
                  </a:lnTo>
                  <a:lnTo>
                    <a:pt x="1603" y="321"/>
                  </a:lnTo>
                  <a:lnTo>
                    <a:pt x="1609" y="322"/>
                  </a:lnTo>
                  <a:lnTo>
                    <a:pt x="1615" y="324"/>
                  </a:lnTo>
                  <a:lnTo>
                    <a:pt x="1620" y="327"/>
                  </a:lnTo>
                  <a:lnTo>
                    <a:pt x="1644" y="351"/>
                  </a:lnTo>
                  <a:lnTo>
                    <a:pt x="1678" y="385"/>
                  </a:lnTo>
                  <a:lnTo>
                    <a:pt x="1693" y="402"/>
                  </a:lnTo>
                  <a:lnTo>
                    <a:pt x="1707" y="420"/>
                  </a:lnTo>
                  <a:lnTo>
                    <a:pt x="1712" y="427"/>
                  </a:lnTo>
                  <a:lnTo>
                    <a:pt x="1716" y="435"/>
                  </a:lnTo>
                  <a:lnTo>
                    <a:pt x="1719" y="441"/>
                  </a:lnTo>
                  <a:lnTo>
                    <a:pt x="1720" y="447"/>
                  </a:lnTo>
                  <a:lnTo>
                    <a:pt x="1718" y="464"/>
                  </a:lnTo>
                  <a:lnTo>
                    <a:pt x="1715" y="481"/>
                  </a:lnTo>
                  <a:lnTo>
                    <a:pt x="1714" y="489"/>
                  </a:lnTo>
                  <a:lnTo>
                    <a:pt x="1715" y="497"/>
                  </a:lnTo>
                  <a:lnTo>
                    <a:pt x="1717" y="502"/>
                  </a:lnTo>
                  <a:lnTo>
                    <a:pt x="1719" y="505"/>
                  </a:lnTo>
                  <a:lnTo>
                    <a:pt x="1722" y="509"/>
                  </a:lnTo>
                  <a:lnTo>
                    <a:pt x="1726" y="512"/>
                  </a:lnTo>
                  <a:lnTo>
                    <a:pt x="1733" y="517"/>
                  </a:lnTo>
                  <a:lnTo>
                    <a:pt x="1742" y="521"/>
                  </a:lnTo>
                  <a:lnTo>
                    <a:pt x="1751" y="525"/>
                  </a:lnTo>
                  <a:lnTo>
                    <a:pt x="1760" y="528"/>
                  </a:lnTo>
                  <a:lnTo>
                    <a:pt x="1780" y="532"/>
                  </a:lnTo>
                  <a:lnTo>
                    <a:pt x="1797" y="535"/>
                  </a:lnTo>
                  <a:lnTo>
                    <a:pt x="1800" y="549"/>
                  </a:lnTo>
                  <a:lnTo>
                    <a:pt x="1800" y="560"/>
                  </a:lnTo>
                  <a:lnTo>
                    <a:pt x="1800" y="568"/>
                  </a:lnTo>
                  <a:lnTo>
                    <a:pt x="1800" y="576"/>
                  </a:lnTo>
                  <a:lnTo>
                    <a:pt x="1797" y="582"/>
                  </a:lnTo>
                  <a:lnTo>
                    <a:pt x="1795" y="586"/>
                  </a:lnTo>
                  <a:lnTo>
                    <a:pt x="1793" y="589"/>
                  </a:lnTo>
                  <a:lnTo>
                    <a:pt x="1789" y="592"/>
                  </a:lnTo>
                  <a:lnTo>
                    <a:pt x="1781" y="596"/>
                  </a:lnTo>
                  <a:lnTo>
                    <a:pt x="1769" y="601"/>
                  </a:lnTo>
                  <a:lnTo>
                    <a:pt x="1762" y="604"/>
                  </a:lnTo>
                  <a:lnTo>
                    <a:pt x="1755" y="607"/>
                  </a:lnTo>
                  <a:lnTo>
                    <a:pt x="1746" y="612"/>
                  </a:lnTo>
                  <a:lnTo>
                    <a:pt x="1738" y="618"/>
                  </a:lnTo>
                  <a:lnTo>
                    <a:pt x="1737" y="620"/>
                  </a:lnTo>
                  <a:lnTo>
                    <a:pt x="1737" y="624"/>
                  </a:lnTo>
                  <a:lnTo>
                    <a:pt x="1738" y="628"/>
                  </a:lnTo>
                  <a:lnTo>
                    <a:pt x="1740" y="632"/>
                  </a:lnTo>
                  <a:lnTo>
                    <a:pt x="1748" y="642"/>
                  </a:lnTo>
                  <a:lnTo>
                    <a:pt x="1760" y="655"/>
                  </a:lnTo>
                  <a:lnTo>
                    <a:pt x="1775" y="668"/>
                  </a:lnTo>
                  <a:lnTo>
                    <a:pt x="1792" y="683"/>
                  </a:lnTo>
                  <a:lnTo>
                    <a:pt x="1812" y="699"/>
                  </a:lnTo>
                  <a:lnTo>
                    <a:pt x="1833" y="713"/>
                  </a:lnTo>
                  <a:lnTo>
                    <a:pt x="1855" y="728"/>
                  </a:lnTo>
                  <a:lnTo>
                    <a:pt x="1877" y="742"/>
                  </a:lnTo>
                  <a:lnTo>
                    <a:pt x="1898" y="753"/>
                  </a:lnTo>
                  <a:lnTo>
                    <a:pt x="1917" y="762"/>
                  </a:lnTo>
                  <a:lnTo>
                    <a:pt x="1927" y="767"/>
                  </a:lnTo>
                  <a:lnTo>
                    <a:pt x="1936" y="770"/>
                  </a:lnTo>
                  <a:lnTo>
                    <a:pt x="1945" y="773"/>
                  </a:lnTo>
                  <a:lnTo>
                    <a:pt x="1952" y="774"/>
                  </a:lnTo>
                  <a:lnTo>
                    <a:pt x="1959" y="775"/>
                  </a:lnTo>
                  <a:lnTo>
                    <a:pt x="1965" y="775"/>
                  </a:lnTo>
                  <a:lnTo>
                    <a:pt x="1971" y="774"/>
                  </a:lnTo>
                  <a:lnTo>
                    <a:pt x="1975" y="772"/>
                  </a:lnTo>
                  <a:lnTo>
                    <a:pt x="1983" y="763"/>
                  </a:lnTo>
                  <a:lnTo>
                    <a:pt x="1991" y="754"/>
                  </a:lnTo>
                  <a:lnTo>
                    <a:pt x="1999" y="746"/>
                  </a:lnTo>
                  <a:lnTo>
                    <a:pt x="2008" y="737"/>
                  </a:lnTo>
                  <a:lnTo>
                    <a:pt x="2016" y="733"/>
                  </a:lnTo>
                  <a:lnTo>
                    <a:pt x="2029" y="727"/>
                  </a:lnTo>
                  <a:lnTo>
                    <a:pt x="2035" y="724"/>
                  </a:lnTo>
                  <a:lnTo>
                    <a:pt x="2041" y="723"/>
                  </a:lnTo>
                  <a:lnTo>
                    <a:pt x="2044" y="723"/>
                  </a:lnTo>
                  <a:lnTo>
                    <a:pt x="2046" y="724"/>
                  </a:lnTo>
                  <a:lnTo>
                    <a:pt x="2047" y="725"/>
                  </a:lnTo>
                  <a:lnTo>
                    <a:pt x="2048" y="727"/>
                  </a:lnTo>
                  <a:lnTo>
                    <a:pt x="2051" y="730"/>
                  </a:lnTo>
                  <a:lnTo>
                    <a:pt x="2052" y="734"/>
                  </a:lnTo>
                  <a:lnTo>
                    <a:pt x="2054" y="740"/>
                  </a:lnTo>
                  <a:lnTo>
                    <a:pt x="2055" y="747"/>
                  </a:lnTo>
                  <a:lnTo>
                    <a:pt x="2055" y="760"/>
                  </a:lnTo>
                  <a:lnTo>
                    <a:pt x="2054" y="770"/>
                  </a:lnTo>
                  <a:lnTo>
                    <a:pt x="2053" y="780"/>
                  </a:lnTo>
                  <a:lnTo>
                    <a:pt x="2053" y="791"/>
                  </a:lnTo>
                  <a:lnTo>
                    <a:pt x="2054" y="800"/>
                  </a:lnTo>
                  <a:lnTo>
                    <a:pt x="2057" y="810"/>
                  </a:lnTo>
                  <a:lnTo>
                    <a:pt x="2060" y="820"/>
                  </a:lnTo>
                  <a:lnTo>
                    <a:pt x="2065" y="829"/>
                  </a:lnTo>
                  <a:lnTo>
                    <a:pt x="2072" y="839"/>
                  </a:lnTo>
                  <a:lnTo>
                    <a:pt x="2078" y="848"/>
                  </a:lnTo>
                  <a:lnTo>
                    <a:pt x="2085" y="856"/>
                  </a:lnTo>
                  <a:lnTo>
                    <a:pt x="2093" y="865"/>
                  </a:lnTo>
                  <a:lnTo>
                    <a:pt x="2101" y="872"/>
                  </a:lnTo>
                  <a:lnTo>
                    <a:pt x="2109" y="879"/>
                  </a:lnTo>
                  <a:lnTo>
                    <a:pt x="2118" y="885"/>
                  </a:lnTo>
                  <a:lnTo>
                    <a:pt x="2126" y="892"/>
                  </a:lnTo>
                  <a:lnTo>
                    <a:pt x="2134" y="897"/>
                  </a:lnTo>
                  <a:lnTo>
                    <a:pt x="2143" y="901"/>
                  </a:lnTo>
                  <a:lnTo>
                    <a:pt x="2143" y="901"/>
                  </a:lnTo>
                  <a:lnTo>
                    <a:pt x="2118" y="928"/>
                  </a:lnTo>
                  <a:lnTo>
                    <a:pt x="2093" y="956"/>
                  </a:lnTo>
                  <a:lnTo>
                    <a:pt x="2082" y="972"/>
                  </a:lnTo>
                  <a:lnTo>
                    <a:pt x="2072" y="988"/>
                  </a:lnTo>
                  <a:lnTo>
                    <a:pt x="2069" y="996"/>
                  </a:lnTo>
                  <a:lnTo>
                    <a:pt x="2064" y="1005"/>
                  </a:lnTo>
                  <a:lnTo>
                    <a:pt x="2062" y="1014"/>
                  </a:lnTo>
                  <a:lnTo>
                    <a:pt x="2060" y="1023"/>
                  </a:lnTo>
                  <a:lnTo>
                    <a:pt x="2059" y="1030"/>
                  </a:lnTo>
                  <a:lnTo>
                    <a:pt x="2061" y="1040"/>
                  </a:lnTo>
                  <a:lnTo>
                    <a:pt x="2063" y="1049"/>
                  </a:lnTo>
                  <a:lnTo>
                    <a:pt x="2066" y="1059"/>
                  </a:lnTo>
                  <a:lnTo>
                    <a:pt x="2071" y="1069"/>
                  </a:lnTo>
                  <a:lnTo>
                    <a:pt x="2074" y="1080"/>
                  </a:lnTo>
                  <a:lnTo>
                    <a:pt x="2076" y="1089"/>
                  </a:lnTo>
                  <a:lnTo>
                    <a:pt x="2077" y="1097"/>
                  </a:lnTo>
                  <a:lnTo>
                    <a:pt x="2077" y="1106"/>
                  </a:lnTo>
                  <a:lnTo>
                    <a:pt x="2076" y="1113"/>
                  </a:lnTo>
                  <a:lnTo>
                    <a:pt x="2073" y="1120"/>
                  </a:lnTo>
                  <a:lnTo>
                    <a:pt x="2070" y="1126"/>
                  </a:lnTo>
                  <a:lnTo>
                    <a:pt x="2065" y="1133"/>
                  </a:lnTo>
                  <a:lnTo>
                    <a:pt x="2059" y="1137"/>
                  </a:lnTo>
                  <a:lnTo>
                    <a:pt x="2052" y="1140"/>
                  </a:lnTo>
                  <a:lnTo>
                    <a:pt x="2045" y="1141"/>
                  </a:lnTo>
                  <a:lnTo>
                    <a:pt x="2037" y="1141"/>
                  </a:lnTo>
                  <a:lnTo>
                    <a:pt x="2032" y="1140"/>
                  </a:lnTo>
                  <a:lnTo>
                    <a:pt x="2026" y="1138"/>
                  </a:lnTo>
                  <a:lnTo>
                    <a:pt x="2022" y="1136"/>
                  </a:lnTo>
                  <a:lnTo>
                    <a:pt x="2011" y="1129"/>
                  </a:lnTo>
                  <a:lnTo>
                    <a:pt x="2002" y="1122"/>
                  </a:lnTo>
                  <a:lnTo>
                    <a:pt x="1992" y="1115"/>
                  </a:lnTo>
                  <a:lnTo>
                    <a:pt x="1982" y="1110"/>
                  </a:lnTo>
                  <a:lnTo>
                    <a:pt x="1976" y="1109"/>
                  </a:lnTo>
                  <a:lnTo>
                    <a:pt x="1970" y="1108"/>
                  </a:lnTo>
                  <a:lnTo>
                    <a:pt x="1963" y="1108"/>
                  </a:lnTo>
                  <a:lnTo>
                    <a:pt x="1955" y="1109"/>
                  </a:lnTo>
                  <a:lnTo>
                    <a:pt x="1950" y="1112"/>
                  </a:lnTo>
                  <a:lnTo>
                    <a:pt x="1945" y="1116"/>
                  </a:lnTo>
                  <a:lnTo>
                    <a:pt x="1938" y="1121"/>
                  </a:lnTo>
                  <a:lnTo>
                    <a:pt x="1932" y="1129"/>
                  </a:lnTo>
                  <a:lnTo>
                    <a:pt x="1918" y="1146"/>
                  </a:lnTo>
                  <a:lnTo>
                    <a:pt x="1905" y="1166"/>
                  </a:lnTo>
                  <a:lnTo>
                    <a:pt x="1881" y="1207"/>
                  </a:lnTo>
                  <a:lnTo>
                    <a:pt x="1865" y="1236"/>
                  </a:lnTo>
                  <a:lnTo>
                    <a:pt x="1866" y="1241"/>
                  </a:lnTo>
                  <a:lnTo>
                    <a:pt x="1869" y="1252"/>
                  </a:lnTo>
                  <a:lnTo>
                    <a:pt x="1876" y="1265"/>
                  </a:lnTo>
                  <a:lnTo>
                    <a:pt x="1882" y="1281"/>
                  </a:lnTo>
                  <a:lnTo>
                    <a:pt x="1889" y="1297"/>
                  </a:lnTo>
                  <a:lnTo>
                    <a:pt x="1897" y="1309"/>
                  </a:lnTo>
                  <a:lnTo>
                    <a:pt x="1903" y="1318"/>
                  </a:lnTo>
                  <a:lnTo>
                    <a:pt x="1907" y="1323"/>
                  </a:lnTo>
                  <a:lnTo>
                    <a:pt x="1916" y="1324"/>
                  </a:lnTo>
                  <a:lnTo>
                    <a:pt x="1927" y="1325"/>
                  </a:lnTo>
                  <a:lnTo>
                    <a:pt x="1937" y="1325"/>
                  </a:lnTo>
                  <a:lnTo>
                    <a:pt x="1948" y="1324"/>
                  </a:lnTo>
                  <a:lnTo>
                    <a:pt x="1970" y="1322"/>
                  </a:lnTo>
                  <a:lnTo>
                    <a:pt x="1990" y="1319"/>
                  </a:lnTo>
                  <a:lnTo>
                    <a:pt x="2012" y="1317"/>
                  </a:lnTo>
                  <a:lnTo>
                    <a:pt x="2033" y="1315"/>
                  </a:lnTo>
                  <a:lnTo>
                    <a:pt x="2044" y="1315"/>
                  </a:lnTo>
                  <a:lnTo>
                    <a:pt x="2053" y="1316"/>
                  </a:lnTo>
                  <a:lnTo>
                    <a:pt x="2063" y="1317"/>
                  </a:lnTo>
                  <a:lnTo>
                    <a:pt x="2073" y="1318"/>
                  </a:lnTo>
                  <a:lnTo>
                    <a:pt x="2074" y="1337"/>
                  </a:lnTo>
                  <a:lnTo>
                    <a:pt x="2076" y="1355"/>
                  </a:lnTo>
                  <a:lnTo>
                    <a:pt x="2080" y="1370"/>
                  </a:lnTo>
                  <a:lnTo>
                    <a:pt x="2085" y="1383"/>
                  </a:lnTo>
                  <a:lnTo>
                    <a:pt x="2092" y="1396"/>
                  </a:lnTo>
                  <a:lnTo>
                    <a:pt x="2100" y="1406"/>
                  </a:lnTo>
                  <a:lnTo>
                    <a:pt x="2109" y="1414"/>
                  </a:lnTo>
                  <a:lnTo>
                    <a:pt x="2120" y="1422"/>
                  </a:lnTo>
                  <a:lnTo>
                    <a:pt x="2131" y="1427"/>
                  </a:lnTo>
                  <a:lnTo>
                    <a:pt x="2144" y="1431"/>
                  </a:lnTo>
                  <a:lnTo>
                    <a:pt x="2158" y="1433"/>
                  </a:lnTo>
                  <a:lnTo>
                    <a:pt x="2173" y="1434"/>
                  </a:lnTo>
                  <a:lnTo>
                    <a:pt x="2190" y="1433"/>
                  </a:lnTo>
                  <a:lnTo>
                    <a:pt x="2206" y="1431"/>
                  </a:lnTo>
                  <a:lnTo>
                    <a:pt x="2224" y="1428"/>
                  </a:lnTo>
                  <a:lnTo>
                    <a:pt x="2243" y="1423"/>
                  </a:lnTo>
                  <a:lnTo>
                    <a:pt x="2255" y="1418"/>
                  </a:lnTo>
                  <a:lnTo>
                    <a:pt x="2268" y="1413"/>
                  </a:lnTo>
                  <a:lnTo>
                    <a:pt x="2279" y="1407"/>
                  </a:lnTo>
                  <a:lnTo>
                    <a:pt x="2291" y="1402"/>
                  </a:lnTo>
                  <a:lnTo>
                    <a:pt x="2314" y="1389"/>
                  </a:lnTo>
                  <a:lnTo>
                    <a:pt x="2338" y="1379"/>
                  </a:lnTo>
                  <a:lnTo>
                    <a:pt x="2346" y="1377"/>
                  </a:lnTo>
                  <a:lnTo>
                    <a:pt x="2354" y="1377"/>
                  </a:lnTo>
                  <a:lnTo>
                    <a:pt x="2362" y="1378"/>
                  </a:lnTo>
                  <a:lnTo>
                    <a:pt x="2370" y="1380"/>
                  </a:lnTo>
                  <a:lnTo>
                    <a:pt x="2387" y="1386"/>
                  </a:lnTo>
                  <a:lnTo>
                    <a:pt x="2403" y="1394"/>
                  </a:lnTo>
                  <a:lnTo>
                    <a:pt x="2412" y="1397"/>
                  </a:lnTo>
                  <a:lnTo>
                    <a:pt x="2420" y="1399"/>
                  </a:lnTo>
                  <a:lnTo>
                    <a:pt x="2428" y="1400"/>
                  </a:lnTo>
                  <a:lnTo>
                    <a:pt x="2438" y="1400"/>
                  </a:lnTo>
                  <a:lnTo>
                    <a:pt x="2447" y="1398"/>
                  </a:lnTo>
                  <a:lnTo>
                    <a:pt x="2456" y="1394"/>
                  </a:lnTo>
                  <a:lnTo>
                    <a:pt x="2467" y="1387"/>
                  </a:lnTo>
                  <a:lnTo>
                    <a:pt x="2477" y="1378"/>
                  </a:lnTo>
                  <a:lnTo>
                    <a:pt x="2486" y="1371"/>
                  </a:lnTo>
                  <a:lnTo>
                    <a:pt x="2496" y="1365"/>
                  </a:lnTo>
                  <a:lnTo>
                    <a:pt x="2508" y="1360"/>
                  </a:lnTo>
                  <a:lnTo>
                    <a:pt x="2521" y="1356"/>
                  </a:lnTo>
                  <a:lnTo>
                    <a:pt x="2536" y="1352"/>
                  </a:lnTo>
                  <a:lnTo>
                    <a:pt x="2551" y="1349"/>
                  </a:lnTo>
                  <a:lnTo>
                    <a:pt x="2568" y="1347"/>
                  </a:lnTo>
                  <a:lnTo>
                    <a:pt x="2585" y="1346"/>
                  </a:lnTo>
                  <a:lnTo>
                    <a:pt x="2602" y="1345"/>
                  </a:lnTo>
                  <a:lnTo>
                    <a:pt x="2619" y="1345"/>
                  </a:lnTo>
                  <a:lnTo>
                    <a:pt x="2635" y="1345"/>
                  </a:lnTo>
                  <a:lnTo>
                    <a:pt x="2650" y="1346"/>
                  </a:lnTo>
                  <a:lnTo>
                    <a:pt x="2666" y="1348"/>
                  </a:lnTo>
                  <a:lnTo>
                    <a:pt x="2680" y="1350"/>
                  </a:lnTo>
                  <a:lnTo>
                    <a:pt x="2691" y="1353"/>
                  </a:lnTo>
                  <a:lnTo>
                    <a:pt x="2701" y="1356"/>
                  </a:lnTo>
                  <a:lnTo>
                    <a:pt x="2705" y="1358"/>
                  </a:lnTo>
                  <a:lnTo>
                    <a:pt x="2708" y="1360"/>
                  </a:lnTo>
                  <a:lnTo>
                    <a:pt x="2710" y="1363"/>
                  </a:lnTo>
                  <a:lnTo>
                    <a:pt x="2712" y="1366"/>
                  </a:lnTo>
                  <a:lnTo>
                    <a:pt x="2714" y="1374"/>
                  </a:lnTo>
                  <a:lnTo>
                    <a:pt x="2714" y="1382"/>
                  </a:lnTo>
                  <a:lnTo>
                    <a:pt x="2713" y="1391"/>
                  </a:lnTo>
                  <a:lnTo>
                    <a:pt x="2711" y="1402"/>
                  </a:lnTo>
                  <a:lnTo>
                    <a:pt x="2708" y="1413"/>
                  </a:lnTo>
                  <a:lnTo>
                    <a:pt x="2704" y="1426"/>
                  </a:lnTo>
                  <a:lnTo>
                    <a:pt x="2700" y="1438"/>
                  </a:lnTo>
                  <a:lnTo>
                    <a:pt x="2697" y="1451"/>
                  </a:lnTo>
                  <a:lnTo>
                    <a:pt x="2695" y="1463"/>
                  </a:lnTo>
                  <a:lnTo>
                    <a:pt x="2694" y="1475"/>
                  </a:lnTo>
                  <a:lnTo>
                    <a:pt x="2694" y="1487"/>
                  </a:lnTo>
                  <a:lnTo>
                    <a:pt x="2696" y="1499"/>
                  </a:lnTo>
                  <a:lnTo>
                    <a:pt x="2697" y="1504"/>
                  </a:lnTo>
                  <a:lnTo>
                    <a:pt x="2700" y="1509"/>
                  </a:lnTo>
                  <a:lnTo>
                    <a:pt x="2703" y="1514"/>
                  </a:lnTo>
                  <a:lnTo>
                    <a:pt x="2707" y="1519"/>
                  </a:lnTo>
                  <a:lnTo>
                    <a:pt x="2724" y="1535"/>
                  </a:lnTo>
                  <a:lnTo>
                    <a:pt x="2743" y="1552"/>
                  </a:lnTo>
                  <a:lnTo>
                    <a:pt x="2762" y="1568"/>
                  </a:lnTo>
                  <a:lnTo>
                    <a:pt x="2783" y="1582"/>
                  </a:lnTo>
                  <a:lnTo>
                    <a:pt x="2787" y="1594"/>
                  </a:lnTo>
                  <a:lnTo>
                    <a:pt x="2790" y="1606"/>
                  </a:lnTo>
                  <a:lnTo>
                    <a:pt x="2792" y="1619"/>
                  </a:lnTo>
                  <a:lnTo>
                    <a:pt x="2793" y="1631"/>
                  </a:lnTo>
                  <a:lnTo>
                    <a:pt x="2794" y="1644"/>
                  </a:lnTo>
                  <a:lnTo>
                    <a:pt x="2793" y="1656"/>
                  </a:lnTo>
                  <a:lnTo>
                    <a:pt x="2792" y="1669"/>
                  </a:lnTo>
                  <a:lnTo>
                    <a:pt x="2790" y="1683"/>
                  </a:lnTo>
                  <a:lnTo>
                    <a:pt x="2788" y="1697"/>
                  </a:lnTo>
                  <a:lnTo>
                    <a:pt x="2787" y="1709"/>
                  </a:lnTo>
                  <a:lnTo>
                    <a:pt x="2788" y="1718"/>
                  </a:lnTo>
                  <a:lnTo>
                    <a:pt x="2790" y="1725"/>
                  </a:lnTo>
                  <a:lnTo>
                    <a:pt x="2793" y="1734"/>
                  </a:lnTo>
                  <a:lnTo>
                    <a:pt x="2798" y="1741"/>
                  </a:lnTo>
                  <a:lnTo>
                    <a:pt x="2805" y="1749"/>
                  </a:lnTo>
                  <a:lnTo>
                    <a:pt x="2814" y="1760"/>
                  </a:lnTo>
                  <a:lnTo>
                    <a:pt x="2821" y="1770"/>
                  </a:lnTo>
                  <a:lnTo>
                    <a:pt x="2829" y="1783"/>
                  </a:lnTo>
                  <a:lnTo>
                    <a:pt x="2835" y="1797"/>
                  </a:lnTo>
                  <a:lnTo>
                    <a:pt x="2840" y="1813"/>
                  </a:lnTo>
                  <a:lnTo>
                    <a:pt x="2851" y="1847"/>
                  </a:lnTo>
                  <a:lnTo>
                    <a:pt x="2860" y="1885"/>
                  </a:lnTo>
                  <a:lnTo>
                    <a:pt x="2865" y="1905"/>
                  </a:lnTo>
                  <a:lnTo>
                    <a:pt x="2870" y="1924"/>
                  </a:lnTo>
                  <a:lnTo>
                    <a:pt x="2877" y="1943"/>
                  </a:lnTo>
                  <a:lnTo>
                    <a:pt x="2884" y="1961"/>
                  </a:lnTo>
                  <a:lnTo>
                    <a:pt x="2891" y="1979"/>
                  </a:lnTo>
                  <a:lnTo>
                    <a:pt x="2901" y="1995"/>
                  </a:lnTo>
                  <a:lnTo>
                    <a:pt x="2910" y="2011"/>
                  </a:lnTo>
                  <a:lnTo>
                    <a:pt x="2921" y="2026"/>
                  </a:lnTo>
                  <a:lnTo>
                    <a:pt x="2923" y="2030"/>
                  </a:lnTo>
                  <a:lnTo>
                    <a:pt x="2925" y="2034"/>
                  </a:lnTo>
                  <a:lnTo>
                    <a:pt x="2925" y="2034"/>
                  </a:lnTo>
                  <a:lnTo>
                    <a:pt x="2918" y="2036"/>
                  </a:lnTo>
                  <a:lnTo>
                    <a:pt x="2912" y="2039"/>
                  </a:lnTo>
                  <a:lnTo>
                    <a:pt x="2890" y="2039"/>
                  </a:lnTo>
                  <a:lnTo>
                    <a:pt x="2869" y="2040"/>
                  </a:lnTo>
                  <a:lnTo>
                    <a:pt x="2847" y="2039"/>
                  </a:lnTo>
                  <a:lnTo>
                    <a:pt x="2826" y="2037"/>
                  </a:lnTo>
                  <a:lnTo>
                    <a:pt x="2816" y="2036"/>
                  </a:lnTo>
                  <a:lnTo>
                    <a:pt x="2809" y="2035"/>
                  </a:lnTo>
                  <a:lnTo>
                    <a:pt x="2803" y="2036"/>
                  </a:lnTo>
                  <a:lnTo>
                    <a:pt x="2796" y="2036"/>
                  </a:lnTo>
                  <a:lnTo>
                    <a:pt x="2791" y="2038"/>
                  </a:lnTo>
                  <a:lnTo>
                    <a:pt x="2786" y="2040"/>
                  </a:lnTo>
                  <a:lnTo>
                    <a:pt x="2783" y="2043"/>
                  </a:lnTo>
                  <a:lnTo>
                    <a:pt x="2779" y="2046"/>
                  </a:lnTo>
                  <a:lnTo>
                    <a:pt x="2764" y="2062"/>
                  </a:lnTo>
                  <a:lnTo>
                    <a:pt x="2746" y="2082"/>
                  </a:lnTo>
                  <a:lnTo>
                    <a:pt x="2739" y="2086"/>
                  </a:lnTo>
                  <a:lnTo>
                    <a:pt x="2726" y="2091"/>
                  </a:lnTo>
                  <a:lnTo>
                    <a:pt x="2710" y="2097"/>
                  </a:lnTo>
                  <a:lnTo>
                    <a:pt x="2691" y="2102"/>
                  </a:lnTo>
                  <a:lnTo>
                    <a:pt x="2644" y="2112"/>
                  </a:lnTo>
                  <a:lnTo>
                    <a:pt x="2592" y="2122"/>
                  </a:lnTo>
                  <a:lnTo>
                    <a:pt x="2538" y="2129"/>
                  </a:lnTo>
                  <a:lnTo>
                    <a:pt x="2489" y="2135"/>
                  </a:lnTo>
                  <a:lnTo>
                    <a:pt x="2467" y="2136"/>
                  </a:lnTo>
                  <a:lnTo>
                    <a:pt x="2448" y="2137"/>
                  </a:lnTo>
                  <a:lnTo>
                    <a:pt x="2432" y="2137"/>
                  </a:lnTo>
                  <a:lnTo>
                    <a:pt x="2420" y="2136"/>
                  </a:lnTo>
                  <a:lnTo>
                    <a:pt x="2415" y="2135"/>
                  </a:lnTo>
                  <a:lnTo>
                    <a:pt x="2411" y="2135"/>
                  </a:lnTo>
                  <a:lnTo>
                    <a:pt x="2405" y="2136"/>
                  </a:lnTo>
                  <a:lnTo>
                    <a:pt x="2402" y="2136"/>
                  </a:lnTo>
                  <a:lnTo>
                    <a:pt x="2399" y="2138"/>
                  </a:lnTo>
                  <a:lnTo>
                    <a:pt x="2396" y="2140"/>
                  </a:lnTo>
                  <a:lnTo>
                    <a:pt x="2394" y="2143"/>
                  </a:lnTo>
                  <a:lnTo>
                    <a:pt x="2393" y="2145"/>
                  </a:lnTo>
                  <a:lnTo>
                    <a:pt x="2390" y="2151"/>
                  </a:lnTo>
                  <a:lnTo>
                    <a:pt x="2389" y="2158"/>
                  </a:lnTo>
                  <a:lnTo>
                    <a:pt x="2389" y="2167"/>
                  </a:lnTo>
                  <a:lnTo>
                    <a:pt x="2389" y="2176"/>
                  </a:lnTo>
                  <a:lnTo>
                    <a:pt x="2390" y="2195"/>
                  </a:lnTo>
                  <a:lnTo>
                    <a:pt x="2390" y="2214"/>
                  </a:lnTo>
                  <a:lnTo>
                    <a:pt x="2389" y="2223"/>
                  </a:lnTo>
                  <a:lnTo>
                    <a:pt x="2387" y="2231"/>
                  </a:lnTo>
                  <a:lnTo>
                    <a:pt x="2385" y="2234"/>
                  </a:lnTo>
                  <a:lnTo>
                    <a:pt x="2382" y="2239"/>
                  </a:lnTo>
                  <a:lnTo>
                    <a:pt x="2379" y="2242"/>
                  </a:lnTo>
                  <a:lnTo>
                    <a:pt x="2376" y="2245"/>
                  </a:lnTo>
                  <a:lnTo>
                    <a:pt x="2371" y="2248"/>
                  </a:lnTo>
                  <a:lnTo>
                    <a:pt x="2365" y="2251"/>
                  </a:lnTo>
                  <a:lnTo>
                    <a:pt x="2359" y="2254"/>
                  </a:lnTo>
                  <a:lnTo>
                    <a:pt x="2353" y="2256"/>
                  </a:lnTo>
                  <a:lnTo>
                    <a:pt x="2346" y="2257"/>
                  </a:lnTo>
                  <a:lnTo>
                    <a:pt x="2340" y="2258"/>
                  </a:lnTo>
                  <a:lnTo>
                    <a:pt x="2332" y="2258"/>
                  </a:lnTo>
                  <a:lnTo>
                    <a:pt x="2326" y="2258"/>
                  </a:lnTo>
                  <a:lnTo>
                    <a:pt x="2319" y="2257"/>
                  </a:lnTo>
                  <a:lnTo>
                    <a:pt x="2313" y="2255"/>
                  </a:lnTo>
                  <a:lnTo>
                    <a:pt x="2306" y="2253"/>
                  </a:lnTo>
                  <a:lnTo>
                    <a:pt x="2300" y="2251"/>
                  </a:lnTo>
                  <a:lnTo>
                    <a:pt x="2294" y="2248"/>
                  </a:lnTo>
                  <a:lnTo>
                    <a:pt x="2289" y="2244"/>
                  </a:lnTo>
                  <a:lnTo>
                    <a:pt x="2284" y="2240"/>
                  </a:lnTo>
                  <a:lnTo>
                    <a:pt x="2280" y="2234"/>
                  </a:lnTo>
                  <a:lnTo>
                    <a:pt x="2276" y="2228"/>
                  </a:lnTo>
                  <a:lnTo>
                    <a:pt x="2273" y="2222"/>
                  </a:lnTo>
                  <a:lnTo>
                    <a:pt x="2271" y="2215"/>
                  </a:lnTo>
                  <a:lnTo>
                    <a:pt x="2270" y="2207"/>
                  </a:lnTo>
                  <a:lnTo>
                    <a:pt x="2269" y="2191"/>
                  </a:lnTo>
                  <a:lnTo>
                    <a:pt x="2269" y="2175"/>
                  </a:lnTo>
                  <a:lnTo>
                    <a:pt x="2270" y="2159"/>
                  </a:lnTo>
                  <a:lnTo>
                    <a:pt x="2271" y="2146"/>
                  </a:lnTo>
                  <a:lnTo>
                    <a:pt x="2270" y="2139"/>
                  </a:lnTo>
                  <a:lnTo>
                    <a:pt x="2269" y="2135"/>
                  </a:lnTo>
                  <a:lnTo>
                    <a:pt x="2268" y="2131"/>
                  </a:lnTo>
                  <a:lnTo>
                    <a:pt x="2266" y="2128"/>
                  </a:lnTo>
                  <a:lnTo>
                    <a:pt x="2258" y="2128"/>
                  </a:lnTo>
                  <a:lnTo>
                    <a:pt x="2251" y="2130"/>
                  </a:lnTo>
                  <a:lnTo>
                    <a:pt x="2244" y="2133"/>
                  </a:lnTo>
                  <a:lnTo>
                    <a:pt x="2235" y="2137"/>
                  </a:lnTo>
                  <a:lnTo>
                    <a:pt x="2221" y="2149"/>
                  </a:lnTo>
                  <a:lnTo>
                    <a:pt x="2206" y="2161"/>
                  </a:lnTo>
                  <a:lnTo>
                    <a:pt x="2192" y="2176"/>
                  </a:lnTo>
                  <a:lnTo>
                    <a:pt x="2177" y="2190"/>
                  </a:lnTo>
                  <a:lnTo>
                    <a:pt x="2163" y="2201"/>
                  </a:lnTo>
                  <a:lnTo>
                    <a:pt x="2150" y="2210"/>
                  </a:lnTo>
                  <a:lnTo>
                    <a:pt x="2139" y="2216"/>
                  </a:lnTo>
                  <a:lnTo>
                    <a:pt x="2130" y="2219"/>
                  </a:lnTo>
                  <a:lnTo>
                    <a:pt x="2122" y="2220"/>
                  </a:lnTo>
                  <a:lnTo>
                    <a:pt x="2114" y="2219"/>
                  </a:lnTo>
                  <a:lnTo>
                    <a:pt x="2108" y="2217"/>
                  </a:lnTo>
                  <a:lnTo>
                    <a:pt x="2103" y="2214"/>
                  </a:lnTo>
                  <a:lnTo>
                    <a:pt x="2098" y="2209"/>
                  </a:lnTo>
                  <a:lnTo>
                    <a:pt x="2093" y="2204"/>
                  </a:lnTo>
                  <a:lnTo>
                    <a:pt x="2083" y="2194"/>
                  </a:lnTo>
                  <a:lnTo>
                    <a:pt x="2074" y="2183"/>
                  </a:lnTo>
                  <a:lnTo>
                    <a:pt x="2069" y="2179"/>
                  </a:lnTo>
                  <a:lnTo>
                    <a:pt x="2062" y="2175"/>
                  </a:lnTo>
                  <a:lnTo>
                    <a:pt x="2055" y="2173"/>
                  </a:lnTo>
                  <a:lnTo>
                    <a:pt x="2048" y="2172"/>
                  </a:lnTo>
                  <a:lnTo>
                    <a:pt x="2043" y="2172"/>
                  </a:lnTo>
                  <a:lnTo>
                    <a:pt x="2036" y="2172"/>
                  </a:lnTo>
                  <a:lnTo>
                    <a:pt x="2031" y="2174"/>
                  </a:lnTo>
                  <a:lnTo>
                    <a:pt x="2027" y="2175"/>
                  </a:lnTo>
                  <a:lnTo>
                    <a:pt x="2016" y="2179"/>
                  </a:lnTo>
                  <a:lnTo>
                    <a:pt x="2007" y="2184"/>
                  </a:lnTo>
                  <a:lnTo>
                    <a:pt x="1998" y="2188"/>
                  </a:lnTo>
                  <a:lnTo>
                    <a:pt x="1987" y="2192"/>
                  </a:lnTo>
                  <a:lnTo>
                    <a:pt x="1982" y="2192"/>
                  </a:lnTo>
                  <a:lnTo>
                    <a:pt x="1977" y="2192"/>
                  </a:lnTo>
                  <a:lnTo>
                    <a:pt x="1972" y="2191"/>
                  </a:lnTo>
                  <a:lnTo>
                    <a:pt x="1966" y="2188"/>
                  </a:lnTo>
                  <a:lnTo>
                    <a:pt x="1956" y="2190"/>
                  </a:lnTo>
                  <a:lnTo>
                    <a:pt x="1947" y="2191"/>
                  </a:lnTo>
                  <a:lnTo>
                    <a:pt x="1939" y="2194"/>
                  </a:lnTo>
                  <a:lnTo>
                    <a:pt x="1931" y="2197"/>
                  </a:lnTo>
                  <a:lnTo>
                    <a:pt x="1925" y="2202"/>
                  </a:lnTo>
                  <a:lnTo>
                    <a:pt x="1918" y="2206"/>
                  </a:lnTo>
                  <a:lnTo>
                    <a:pt x="1913" y="2212"/>
                  </a:lnTo>
                  <a:lnTo>
                    <a:pt x="1908" y="2218"/>
                  </a:lnTo>
                  <a:lnTo>
                    <a:pt x="1898" y="2230"/>
                  </a:lnTo>
                  <a:lnTo>
                    <a:pt x="1888" y="2243"/>
                  </a:lnTo>
                  <a:lnTo>
                    <a:pt x="1883" y="2249"/>
                  </a:lnTo>
                  <a:lnTo>
                    <a:pt x="1878" y="2255"/>
                  </a:lnTo>
                  <a:lnTo>
                    <a:pt x="1872" y="2260"/>
                  </a:lnTo>
                  <a:lnTo>
                    <a:pt x="1865" y="2265"/>
                  </a:lnTo>
                  <a:lnTo>
                    <a:pt x="1856" y="2270"/>
                  </a:lnTo>
                  <a:lnTo>
                    <a:pt x="1848" y="2274"/>
                  </a:lnTo>
                  <a:lnTo>
                    <a:pt x="1840" y="2276"/>
                  </a:lnTo>
                  <a:lnTo>
                    <a:pt x="1833" y="2278"/>
                  </a:lnTo>
                  <a:lnTo>
                    <a:pt x="1826" y="2279"/>
                  </a:lnTo>
                  <a:lnTo>
                    <a:pt x="1818" y="2279"/>
                  </a:lnTo>
                  <a:lnTo>
                    <a:pt x="1811" y="2279"/>
                  </a:lnTo>
                  <a:lnTo>
                    <a:pt x="1805" y="2278"/>
                  </a:lnTo>
                  <a:lnTo>
                    <a:pt x="1791" y="2276"/>
                  </a:lnTo>
                  <a:lnTo>
                    <a:pt x="1778" y="2273"/>
                  </a:lnTo>
                  <a:lnTo>
                    <a:pt x="1771" y="2273"/>
                  </a:lnTo>
                  <a:lnTo>
                    <a:pt x="1764" y="2272"/>
                  </a:lnTo>
                  <a:lnTo>
                    <a:pt x="1757" y="2272"/>
                  </a:lnTo>
                  <a:lnTo>
                    <a:pt x="1750" y="2273"/>
                  </a:lnTo>
                  <a:lnTo>
                    <a:pt x="1750" y="2274"/>
                  </a:lnTo>
                  <a:lnTo>
                    <a:pt x="1748" y="2275"/>
                  </a:lnTo>
                  <a:lnTo>
                    <a:pt x="1748" y="2283"/>
                  </a:lnTo>
                  <a:lnTo>
                    <a:pt x="1751" y="2292"/>
                  </a:lnTo>
                  <a:lnTo>
                    <a:pt x="1754" y="2299"/>
                  </a:lnTo>
                  <a:lnTo>
                    <a:pt x="1757" y="2306"/>
                  </a:lnTo>
                  <a:lnTo>
                    <a:pt x="1766" y="2321"/>
                  </a:lnTo>
                  <a:lnTo>
                    <a:pt x="1777" y="2334"/>
                  </a:lnTo>
                  <a:lnTo>
                    <a:pt x="1786" y="2346"/>
                  </a:lnTo>
                  <a:lnTo>
                    <a:pt x="1795" y="2360"/>
                  </a:lnTo>
                  <a:lnTo>
                    <a:pt x="1799" y="2366"/>
                  </a:lnTo>
                  <a:lnTo>
                    <a:pt x="1802" y="2372"/>
                  </a:lnTo>
                  <a:lnTo>
                    <a:pt x="1804" y="2379"/>
                  </a:lnTo>
                  <a:lnTo>
                    <a:pt x="1804" y="2387"/>
                  </a:lnTo>
                  <a:lnTo>
                    <a:pt x="1804" y="2395"/>
                  </a:lnTo>
                  <a:lnTo>
                    <a:pt x="1802" y="2402"/>
                  </a:lnTo>
                  <a:lnTo>
                    <a:pt x="1799" y="2411"/>
                  </a:lnTo>
                  <a:lnTo>
                    <a:pt x="1795" y="2418"/>
                  </a:lnTo>
                  <a:lnTo>
                    <a:pt x="1790" y="2425"/>
                  </a:lnTo>
                  <a:lnTo>
                    <a:pt x="1785" y="2432"/>
                  </a:lnTo>
                  <a:lnTo>
                    <a:pt x="1779" y="2439"/>
                  </a:lnTo>
                  <a:lnTo>
                    <a:pt x="1772" y="2445"/>
                  </a:lnTo>
                  <a:lnTo>
                    <a:pt x="1744" y="2469"/>
                  </a:lnTo>
                  <a:lnTo>
                    <a:pt x="1719" y="2490"/>
                  </a:lnTo>
                  <a:lnTo>
                    <a:pt x="1706" y="2504"/>
                  </a:lnTo>
                  <a:lnTo>
                    <a:pt x="1694" y="2513"/>
                  </a:lnTo>
                  <a:lnTo>
                    <a:pt x="1685" y="2521"/>
                  </a:lnTo>
                  <a:lnTo>
                    <a:pt x="1676" y="2527"/>
                  </a:lnTo>
                  <a:lnTo>
                    <a:pt x="1671" y="2529"/>
                  </a:lnTo>
                  <a:lnTo>
                    <a:pt x="1666" y="2530"/>
                  </a:lnTo>
                  <a:lnTo>
                    <a:pt x="1661" y="2531"/>
                  </a:lnTo>
                  <a:lnTo>
                    <a:pt x="1655" y="2531"/>
                  </a:lnTo>
                  <a:lnTo>
                    <a:pt x="1641" y="2530"/>
                  </a:lnTo>
                  <a:lnTo>
                    <a:pt x="1623" y="2525"/>
                  </a:lnTo>
                  <a:lnTo>
                    <a:pt x="1614" y="2523"/>
                  </a:lnTo>
                  <a:lnTo>
                    <a:pt x="1605" y="2522"/>
                  </a:lnTo>
                  <a:lnTo>
                    <a:pt x="1596" y="2522"/>
                  </a:lnTo>
                  <a:lnTo>
                    <a:pt x="1589" y="2523"/>
                  </a:lnTo>
                  <a:lnTo>
                    <a:pt x="1582" y="2525"/>
                  </a:lnTo>
                  <a:lnTo>
                    <a:pt x="1574" y="2529"/>
                  </a:lnTo>
                  <a:lnTo>
                    <a:pt x="1568" y="2532"/>
                  </a:lnTo>
                  <a:lnTo>
                    <a:pt x="1562" y="2535"/>
                  </a:lnTo>
                  <a:lnTo>
                    <a:pt x="1549" y="2543"/>
                  </a:lnTo>
                  <a:lnTo>
                    <a:pt x="1537" y="2552"/>
                  </a:lnTo>
                  <a:lnTo>
                    <a:pt x="1523" y="2560"/>
                  </a:lnTo>
                  <a:lnTo>
                    <a:pt x="1507" y="2566"/>
                  </a:lnTo>
                  <a:lnTo>
                    <a:pt x="1482" y="2567"/>
                  </a:lnTo>
                  <a:lnTo>
                    <a:pt x="1462" y="2568"/>
                  </a:lnTo>
                  <a:lnTo>
                    <a:pt x="1452" y="2566"/>
                  </a:lnTo>
                  <a:lnTo>
                    <a:pt x="1444" y="2563"/>
                  </a:lnTo>
                  <a:lnTo>
                    <a:pt x="1435" y="2557"/>
                  </a:lnTo>
                  <a:lnTo>
                    <a:pt x="1424" y="2547"/>
                  </a:lnTo>
                  <a:lnTo>
                    <a:pt x="1412" y="2536"/>
                  </a:lnTo>
                  <a:lnTo>
                    <a:pt x="1398" y="2524"/>
                  </a:lnTo>
                  <a:lnTo>
                    <a:pt x="1386" y="2514"/>
                  </a:lnTo>
                  <a:lnTo>
                    <a:pt x="1375" y="2503"/>
                  </a:lnTo>
                  <a:lnTo>
                    <a:pt x="1372" y="2504"/>
                  </a:lnTo>
                  <a:lnTo>
                    <a:pt x="1370" y="2506"/>
                  </a:lnTo>
                  <a:lnTo>
                    <a:pt x="1368" y="2509"/>
                  </a:lnTo>
                  <a:lnTo>
                    <a:pt x="1366" y="2514"/>
                  </a:lnTo>
                  <a:lnTo>
                    <a:pt x="1365" y="2525"/>
                  </a:lnTo>
                  <a:lnTo>
                    <a:pt x="1364" y="2539"/>
                  </a:lnTo>
                  <a:lnTo>
                    <a:pt x="1365" y="2567"/>
                  </a:lnTo>
                  <a:lnTo>
                    <a:pt x="1367" y="2585"/>
                  </a:lnTo>
                  <a:lnTo>
                    <a:pt x="1374" y="2611"/>
                  </a:lnTo>
                  <a:lnTo>
                    <a:pt x="1378" y="2629"/>
                  </a:lnTo>
                  <a:lnTo>
                    <a:pt x="1378" y="2633"/>
                  </a:lnTo>
                  <a:lnTo>
                    <a:pt x="1377" y="2636"/>
                  </a:lnTo>
                  <a:lnTo>
                    <a:pt x="1376" y="2640"/>
                  </a:lnTo>
                  <a:lnTo>
                    <a:pt x="1374" y="2644"/>
                  </a:lnTo>
                  <a:lnTo>
                    <a:pt x="1366" y="2654"/>
                  </a:lnTo>
                  <a:lnTo>
                    <a:pt x="1352" y="2665"/>
                  </a:lnTo>
                  <a:lnTo>
                    <a:pt x="1340" y="2676"/>
                  </a:lnTo>
                  <a:lnTo>
                    <a:pt x="1327" y="2685"/>
                  </a:lnTo>
                  <a:lnTo>
                    <a:pt x="1315" y="2692"/>
                  </a:lnTo>
                  <a:lnTo>
                    <a:pt x="1302" y="2700"/>
                  </a:lnTo>
                  <a:lnTo>
                    <a:pt x="1277" y="2713"/>
                  </a:lnTo>
                  <a:lnTo>
                    <a:pt x="1253" y="2727"/>
                  </a:lnTo>
                  <a:lnTo>
                    <a:pt x="1241" y="2733"/>
                  </a:lnTo>
                  <a:lnTo>
                    <a:pt x="1229" y="2741"/>
                  </a:lnTo>
                  <a:lnTo>
                    <a:pt x="1219" y="2750"/>
                  </a:lnTo>
                  <a:lnTo>
                    <a:pt x="1208" y="2758"/>
                  </a:lnTo>
                  <a:lnTo>
                    <a:pt x="1198" y="2769"/>
                  </a:lnTo>
                  <a:lnTo>
                    <a:pt x="1188" y="2781"/>
                  </a:lnTo>
                  <a:lnTo>
                    <a:pt x="1178" y="2795"/>
                  </a:lnTo>
                  <a:lnTo>
                    <a:pt x="1170" y="2809"/>
                  </a:lnTo>
                  <a:lnTo>
                    <a:pt x="1168" y="2815"/>
                  </a:lnTo>
                  <a:lnTo>
                    <a:pt x="1166" y="2824"/>
                  </a:lnTo>
                  <a:lnTo>
                    <a:pt x="1166" y="2832"/>
                  </a:lnTo>
                  <a:lnTo>
                    <a:pt x="1165" y="2841"/>
                  </a:lnTo>
                  <a:lnTo>
                    <a:pt x="1165" y="2848"/>
                  </a:lnTo>
                  <a:lnTo>
                    <a:pt x="1164" y="2855"/>
                  </a:lnTo>
                  <a:lnTo>
                    <a:pt x="1161" y="2861"/>
                  </a:lnTo>
                  <a:lnTo>
                    <a:pt x="1158" y="2866"/>
                  </a:lnTo>
                  <a:lnTo>
                    <a:pt x="1158" y="2866"/>
                  </a:lnTo>
                  <a:lnTo>
                    <a:pt x="1150" y="2863"/>
                  </a:lnTo>
                  <a:lnTo>
                    <a:pt x="1142" y="2860"/>
                  </a:lnTo>
                  <a:lnTo>
                    <a:pt x="1133" y="2856"/>
                  </a:lnTo>
                  <a:lnTo>
                    <a:pt x="1125" y="2851"/>
                  </a:lnTo>
                  <a:lnTo>
                    <a:pt x="1109" y="2841"/>
                  </a:lnTo>
                  <a:lnTo>
                    <a:pt x="1094" y="2827"/>
                  </a:lnTo>
                  <a:lnTo>
                    <a:pt x="1079" y="2812"/>
                  </a:lnTo>
                  <a:lnTo>
                    <a:pt x="1065" y="2796"/>
                  </a:lnTo>
                  <a:lnTo>
                    <a:pt x="1050" y="2779"/>
                  </a:lnTo>
                  <a:lnTo>
                    <a:pt x="1036" y="2760"/>
                  </a:lnTo>
                  <a:lnTo>
                    <a:pt x="1010" y="2722"/>
                  </a:lnTo>
                  <a:lnTo>
                    <a:pt x="986" y="2684"/>
                  </a:lnTo>
                  <a:lnTo>
                    <a:pt x="964" y="2649"/>
                  </a:lnTo>
                  <a:lnTo>
                    <a:pt x="944" y="2618"/>
                  </a:lnTo>
                  <a:lnTo>
                    <a:pt x="940" y="2612"/>
                  </a:lnTo>
                  <a:lnTo>
                    <a:pt x="937" y="2607"/>
                  </a:lnTo>
                  <a:lnTo>
                    <a:pt x="936" y="2602"/>
                  </a:lnTo>
                  <a:lnTo>
                    <a:pt x="934" y="2595"/>
                  </a:lnTo>
                  <a:lnTo>
                    <a:pt x="934" y="2585"/>
                  </a:lnTo>
                  <a:lnTo>
                    <a:pt x="935" y="2574"/>
                  </a:lnTo>
                  <a:lnTo>
                    <a:pt x="941" y="2553"/>
                  </a:lnTo>
                  <a:lnTo>
                    <a:pt x="949" y="2531"/>
                  </a:lnTo>
                  <a:lnTo>
                    <a:pt x="951" y="2519"/>
                  </a:lnTo>
                  <a:lnTo>
                    <a:pt x="952" y="2509"/>
                  </a:lnTo>
                  <a:lnTo>
                    <a:pt x="951" y="2498"/>
                  </a:lnTo>
                  <a:lnTo>
                    <a:pt x="950" y="2488"/>
                  </a:lnTo>
                  <a:lnTo>
                    <a:pt x="945" y="2468"/>
                  </a:lnTo>
                  <a:lnTo>
                    <a:pt x="938" y="2447"/>
                  </a:lnTo>
                  <a:lnTo>
                    <a:pt x="931" y="2425"/>
                  </a:lnTo>
                  <a:lnTo>
                    <a:pt x="925" y="2401"/>
                  </a:lnTo>
                  <a:lnTo>
                    <a:pt x="922" y="2389"/>
                  </a:lnTo>
                  <a:lnTo>
                    <a:pt x="921" y="2376"/>
                  </a:lnTo>
                  <a:lnTo>
                    <a:pt x="920" y="2362"/>
                  </a:lnTo>
                  <a:lnTo>
                    <a:pt x="921" y="2347"/>
                  </a:lnTo>
                  <a:lnTo>
                    <a:pt x="920" y="2341"/>
                  </a:lnTo>
                  <a:lnTo>
                    <a:pt x="919" y="2336"/>
                  </a:lnTo>
                  <a:lnTo>
                    <a:pt x="916" y="2331"/>
                  </a:lnTo>
                  <a:lnTo>
                    <a:pt x="913" y="2327"/>
                  </a:lnTo>
                  <a:lnTo>
                    <a:pt x="910" y="2323"/>
                  </a:lnTo>
                  <a:lnTo>
                    <a:pt x="907" y="2319"/>
                  </a:lnTo>
                  <a:lnTo>
                    <a:pt x="905" y="2315"/>
                  </a:lnTo>
                  <a:lnTo>
                    <a:pt x="905" y="2308"/>
                  </a:lnTo>
                  <a:lnTo>
                    <a:pt x="904" y="2289"/>
                  </a:lnTo>
                  <a:lnTo>
                    <a:pt x="904" y="2274"/>
                  </a:lnTo>
                  <a:lnTo>
                    <a:pt x="903" y="2268"/>
                  </a:lnTo>
                  <a:lnTo>
                    <a:pt x="902" y="2264"/>
                  </a:lnTo>
                  <a:lnTo>
                    <a:pt x="900" y="2258"/>
                  </a:lnTo>
                  <a:lnTo>
                    <a:pt x="898" y="2254"/>
                  </a:lnTo>
                  <a:lnTo>
                    <a:pt x="891" y="2247"/>
                  </a:lnTo>
                  <a:lnTo>
                    <a:pt x="883" y="2239"/>
                  </a:lnTo>
                  <a:lnTo>
                    <a:pt x="872" y="2228"/>
                  </a:lnTo>
                  <a:lnTo>
                    <a:pt x="857" y="2214"/>
                  </a:lnTo>
                  <a:lnTo>
                    <a:pt x="835" y="2193"/>
                  </a:lnTo>
                  <a:lnTo>
                    <a:pt x="807" y="2169"/>
                  </a:lnTo>
                  <a:lnTo>
                    <a:pt x="776" y="2143"/>
                  </a:lnTo>
                  <a:lnTo>
                    <a:pt x="744" y="2113"/>
                  </a:lnTo>
                  <a:lnTo>
                    <a:pt x="730" y="2099"/>
                  </a:lnTo>
                  <a:lnTo>
                    <a:pt x="715" y="2084"/>
                  </a:lnTo>
                  <a:lnTo>
                    <a:pt x="703" y="2069"/>
                  </a:lnTo>
                  <a:lnTo>
                    <a:pt x="691" y="2054"/>
                  </a:lnTo>
                  <a:lnTo>
                    <a:pt x="682" y="2039"/>
                  </a:lnTo>
                  <a:lnTo>
                    <a:pt x="675" y="2025"/>
                  </a:lnTo>
                  <a:lnTo>
                    <a:pt x="672" y="2017"/>
                  </a:lnTo>
                  <a:lnTo>
                    <a:pt x="670" y="2010"/>
                  </a:lnTo>
                  <a:lnTo>
                    <a:pt x="669" y="2004"/>
                  </a:lnTo>
                  <a:lnTo>
                    <a:pt x="668" y="1997"/>
                  </a:lnTo>
                  <a:lnTo>
                    <a:pt x="668" y="1974"/>
                  </a:lnTo>
                  <a:lnTo>
                    <a:pt x="667" y="1952"/>
                  </a:lnTo>
                  <a:lnTo>
                    <a:pt x="666" y="1941"/>
                  </a:lnTo>
                  <a:lnTo>
                    <a:pt x="664" y="1932"/>
                  </a:lnTo>
                  <a:lnTo>
                    <a:pt x="661" y="1922"/>
                  </a:lnTo>
                  <a:lnTo>
                    <a:pt x="658" y="1913"/>
                  </a:lnTo>
                  <a:lnTo>
                    <a:pt x="654" y="1905"/>
                  </a:lnTo>
                  <a:lnTo>
                    <a:pt x="648" y="1897"/>
                  </a:lnTo>
                  <a:lnTo>
                    <a:pt x="642" y="1890"/>
                  </a:lnTo>
                  <a:lnTo>
                    <a:pt x="635" y="1883"/>
                  </a:lnTo>
                  <a:lnTo>
                    <a:pt x="627" y="1878"/>
                  </a:lnTo>
                  <a:lnTo>
                    <a:pt x="617" y="1872"/>
                  </a:lnTo>
                  <a:lnTo>
                    <a:pt x="606" y="1867"/>
                  </a:lnTo>
                  <a:lnTo>
                    <a:pt x="593" y="1863"/>
                  </a:lnTo>
                  <a:lnTo>
                    <a:pt x="568" y="1858"/>
                  </a:lnTo>
                  <a:lnTo>
                    <a:pt x="549" y="1853"/>
                  </a:lnTo>
                  <a:lnTo>
                    <a:pt x="541" y="1849"/>
                  </a:lnTo>
                  <a:lnTo>
                    <a:pt x="532" y="1845"/>
                  </a:lnTo>
                  <a:lnTo>
                    <a:pt x="521" y="1841"/>
                  </a:lnTo>
                  <a:lnTo>
                    <a:pt x="509" y="1834"/>
                  </a:lnTo>
                  <a:lnTo>
                    <a:pt x="508" y="1829"/>
                  </a:lnTo>
                  <a:lnTo>
                    <a:pt x="505" y="1822"/>
                  </a:lnTo>
                  <a:lnTo>
                    <a:pt x="501" y="1816"/>
                  </a:lnTo>
                  <a:lnTo>
                    <a:pt x="496" y="1810"/>
                  </a:lnTo>
                  <a:lnTo>
                    <a:pt x="491" y="1804"/>
                  </a:lnTo>
                  <a:lnTo>
                    <a:pt x="487" y="1798"/>
                  </a:lnTo>
                  <a:lnTo>
                    <a:pt x="482" y="1794"/>
                  </a:lnTo>
                  <a:lnTo>
                    <a:pt x="476" y="1791"/>
                  </a:lnTo>
                  <a:lnTo>
                    <a:pt x="459" y="1783"/>
                  </a:lnTo>
                  <a:lnTo>
                    <a:pt x="442" y="1773"/>
                  </a:lnTo>
                  <a:lnTo>
                    <a:pt x="426" y="1764"/>
                  </a:lnTo>
                  <a:lnTo>
                    <a:pt x="412" y="1754"/>
                  </a:lnTo>
                  <a:lnTo>
                    <a:pt x="395" y="1746"/>
                  </a:lnTo>
                  <a:lnTo>
                    <a:pt x="378" y="1739"/>
                  </a:lnTo>
                  <a:lnTo>
                    <a:pt x="369" y="1736"/>
                  </a:lnTo>
                  <a:lnTo>
                    <a:pt x="360" y="1735"/>
                  </a:lnTo>
                  <a:lnTo>
                    <a:pt x="349" y="1733"/>
                  </a:lnTo>
                  <a:lnTo>
                    <a:pt x="338" y="1733"/>
                  </a:lnTo>
                  <a:lnTo>
                    <a:pt x="323" y="1734"/>
                  </a:lnTo>
                  <a:lnTo>
                    <a:pt x="305" y="1737"/>
                  </a:lnTo>
                  <a:lnTo>
                    <a:pt x="287" y="1741"/>
                  </a:lnTo>
                  <a:lnTo>
                    <a:pt x="268" y="1744"/>
                  </a:lnTo>
                  <a:lnTo>
                    <a:pt x="248" y="1747"/>
                  </a:lnTo>
                  <a:lnTo>
                    <a:pt x="230" y="1748"/>
                  </a:lnTo>
                  <a:lnTo>
                    <a:pt x="222" y="1747"/>
                  </a:lnTo>
                  <a:lnTo>
                    <a:pt x="215" y="1746"/>
                  </a:lnTo>
                  <a:lnTo>
                    <a:pt x="208" y="1744"/>
                  </a:lnTo>
                  <a:lnTo>
                    <a:pt x="203" y="1741"/>
                  </a:lnTo>
                  <a:lnTo>
                    <a:pt x="196" y="1735"/>
                  </a:lnTo>
                  <a:lnTo>
                    <a:pt x="191" y="1728"/>
                  </a:lnTo>
                  <a:lnTo>
                    <a:pt x="186" y="1721"/>
                  </a:lnTo>
                  <a:lnTo>
                    <a:pt x="181" y="1714"/>
                  </a:lnTo>
                  <a:lnTo>
                    <a:pt x="174" y="1698"/>
                  </a:lnTo>
                  <a:lnTo>
                    <a:pt x="165" y="1684"/>
                  </a:lnTo>
                  <a:lnTo>
                    <a:pt x="147" y="1660"/>
                  </a:lnTo>
                  <a:lnTo>
                    <a:pt x="129" y="1637"/>
                  </a:lnTo>
                  <a:lnTo>
                    <a:pt x="120" y="1625"/>
                  </a:lnTo>
                  <a:lnTo>
                    <a:pt x="109" y="1615"/>
                  </a:lnTo>
                  <a:lnTo>
                    <a:pt x="99" y="1604"/>
                  </a:lnTo>
                  <a:lnTo>
                    <a:pt x="89" y="1596"/>
                  </a:lnTo>
                  <a:lnTo>
                    <a:pt x="89" y="1596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6" name="Freeform 143">
              <a:extLst>
                <a:ext uri="{FF2B5EF4-FFF2-40B4-BE49-F238E27FC236}">
                  <a16:creationId xmlns:a16="http://schemas.microsoft.com/office/drawing/2014/main" id="{81FFA889-4422-4975-B2D8-0D7120F16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3868" y="4994758"/>
              <a:ext cx="667734" cy="779567"/>
            </a:xfrm>
            <a:custGeom>
              <a:avLst/>
              <a:gdLst>
                <a:gd name="T0" fmla="*/ 2441 w 2653"/>
                <a:gd name="T1" fmla="*/ 1250 h 3207"/>
                <a:gd name="T2" fmla="*/ 2426 w 2653"/>
                <a:gd name="T3" fmla="*/ 1046 h 3207"/>
                <a:gd name="T4" fmla="*/ 2599 w 2653"/>
                <a:gd name="T5" fmla="*/ 937 h 3207"/>
                <a:gd name="T6" fmla="*/ 2632 w 2653"/>
                <a:gd name="T7" fmla="*/ 725 h 3207"/>
                <a:gd name="T8" fmla="*/ 2549 w 2653"/>
                <a:gd name="T9" fmla="*/ 695 h 3207"/>
                <a:gd name="T10" fmla="*/ 2472 w 2653"/>
                <a:gd name="T11" fmla="*/ 602 h 3207"/>
                <a:gd name="T12" fmla="*/ 2348 w 2653"/>
                <a:gd name="T13" fmla="*/ 628 h 3207"/>
                <a:gd name="T14" fmla="*/ 2256 w 2653"/>
                <a:gd name="T15" fmla="*/ 559 h 3207"/>
                <a:gd name="T16" fmla="*/ 2124 w 2653"/>
                <a:gd name="T17" fmla="*/ 479 h 3207"/>
                <a:gd name="T18" fmla="*/ 2034 w 2653"/>
                <a:gd name="T19" fmla="*/ 544 h 3207"/>
                <a:gd name="T20" fmla="*/ 1940 w 2653"/>
                <a:gd name="T21" fmla="*/ 431 h 3207"/>
                <a:gd name="T22" fmla="*/ 1940 w 2653"/>
                <a:gd name="T23" fmla="*/ 543 h 3207"/>
                <a:gd name="T24" fmla="*/ 1928 w 2653"/>
                <a:gd name="T25" fmla="*/ 611 h 3207"/>
                <a:gd name="T26" fmla="*/ 1965 w 2653"/>
                <a:gd name="T27" fmla="*/ 752 h 3207"/>
                <a:gd name="T28" fmla="*/ 1839 w 2653"/>
                <a:gd name="T29" fmla="*/ 795 h 3207"/>
                <a:gd name="T30" fmla="*/ 1723 w 2653"/>
                <a:gd name="T31" fmla="*/ 856 h 3207"/>
                <a:gd name="T32" fmla="*/ 1604 w 2653"/>
                <a:gd name="T33" fmla="*/ 773 h 3207"/>
                <a:gd name="T34" fmla="*/ 1530 w 2653"/>
                <a:gd name="T35" fmla="*/ 743 h 3207"/>
                <a:gd name="T36" fmla="*/ 1618 w 2653"/>
                <a:gd name="T37" fmla="*/ 482 h 3207"/>
                <a:gd name="T38" fmla="*/ 1575 w 2653"/>
                <a:gd name="T39" fmla="*/ 333 h 3207"/>
                <a:gd name="T40" fmla="*/ 1510 w 2653"/>
                <a:gd name="T41" fmla="*/ 202 h 3207"/>
                <a:gd name="T42" fmla="*/ 1506 w 2653"/>
                <a:gd name="T43" fmla="*/ 83 h 3207"/>
                <a:gd name="T44" fmla="*/ 1401 w 2653"/>
                <a:gd name="T45" fmla="*/ 32 h 3207"/>
                <a:gd name="T46" fmla="*/ 1279 w 2653"/>
                <a:gd name="T47" fmla="*/ 156 h 3207"/>
                <a:gd name="T48" fmla="*/ 1209 w 2653"/>
                <a:gd name="T49" fmla="*/ 290 h 3207"/>
                <a:gd name="T50" fmla="*/ 1108 w 2653"/>
                <a:gd name="T51" fmla="*/ 425 h 3207"/>
                <a:gd name="T52" fmla="*/ 1017 w 2653"/>
                <a:gd name="T53" fmla="*/ 596 h 3207"/>
                <a:gd name="T54" fmla="*/ 992 w 2653"/>
                <a:gd name="T55" fmla="*/ 769 h 3207"/>
                <a:gd name="T56" fmla="*/ 890 w 2653"/>
                <a:gd name="T57" fmla="*/ 705 h 3207"/>
                <a:gd name="T58" fmla="*/ 834 w 2653"/>
                <a:gd name="T59" fmla="*/ 932 h 3207"/>
                <a:gd name="T60" fmla="*/ 733 w 2653"/>
                <a:gd name="T61" fmla="*/ 844 h 3207"/>
                <a:gd name="T62" fmla="*/ 593 w 2653"/>
                <a:gd name="T63" fmla="*/ 894 h 3207"/>
                <a:gd name="T64" fmla="*/ 498 w 2653"/>
                <a:gd name="T65" fmla="*/ 1044 h 3207"/>
                <a:gd name="T66" fmla="*/ 349 w 2653"/>
                <a:gd name="T67" fmla="*/ 1178 h 3207"/>
                <a:gd name="T68" fmla="*/ 47 w 2653"/>
                <a:gd name="T69" fmla="*/ 1232 h 3207"/>
                <a:gd name="T70" fmla="*/ 165 w 2653"/>
                <a:gd name="T71" fmla="*/ 1417 h 3207"/>
                <a:gd name="T72" fmla="*/ 203 w 2653"/>
                <a:gd name="T73" fmla="*/ 1594 h 3207"/>
                <a:gd name="T74" fmla="*/ 6 w 2653"/>
                <a:gd name="T75" fmla="*/ 1772 h 3207"/>
                <a:gd name="T76" fmla="*/ 71 w 2653"/>
                <a:gd name="T77" fmla="*/ 2040 h 3207"/>
                <a:gd name="T78" fmla="*/ 112 w 2653"/>
                <a:gd name="T79" fmla="*/ 2107 h 3207"/>
                <a:gd name="T80" fmla="*/ 293 w 2653"/>
                <a:gd name="T81" fmla="*/ 2266 h 3207"/>
                <a:gd name="T82" fmla="*/ 414 w 2653"/>
                <a:gd name="T83" fmla="*/ 2405 h 3207"/>
                <a:gd name="T84" fmla="*/ 684 w 2653"/>
                <a:gd name="T85" fmla="*/ 2414 h 3207"/>
                <a:gd name="T86" fmla="*/ 682 w 2653"/>
                <a:gd name="T87" fmla="*/ 2587 h 3207"/>
                <a:gd name="T88" fmla="*/ 821 w 2653"/>
                <a:gd name="T89" fmla="*/ 2521 h 3207"/>
                <a:gd name="T90" fmla="*/ 1129 w 2653"/>
                <a:gd name="T91" fmla="*/ 2672 h 3207"/>
                <a:gd name="T92" fmla="*/ 1215 w 2653"/>
                <a:gd name="T93" fmla="*/ 2833 h 3207"/>
                <a:gd name="T94" fmla="*/ 1301 w 2653"/>
                <a:gd name="T95" fmla="*/ 3012 h 3207"/>
                <a:gd name="T96" fmla="*/ 1566 w 2653"/>
                <a:gd name="T97" fmla="*/ 3133 h 3207"/>
                <a:gd name="T98" fmla="*/ 1658 w 2653"/>
                <a:gd name="T99" fmla="*/ 3180 h 3207"/>
                <a:gd name="T100" fmla="*/ 1873 w 2653"/>
                <a:gd name="T101" fmla="*/ 3120 h 3207"/>
                <a:gd name="T102" fmla="*/ 1810 w 2653"/>
                <a:gd name="T103" fmla="*/ 2922 h 3207"/>
                <a:gd name="T104" fmla="*/ 1899 w 2653"/>
                <a:gd name="T105" fmla="*/ 2780 h 3207"/>
                <a:gd name="T106" fmla="*/ 1867 w 2653"/>
                <a:gd name="T107" fmla="*/ 2642 h 3207"/>
                <a:gd name="T108" fmla="*/ 1747 w 2653"/>
                <a:gd name="T109" fmla="*/ 2636 h 3207"/>
                <a:gd name="T110" fmla="*/ 1694 w 2653"/>
                <a:gd name="T111" fmla="*/ 2466 h 3207"/>
                <a:gd name="T112" fmla="*/ 1826 w 2653"/>
                <a:gd name="T113" fmla="*/ 2211 h 3207"/>
                <a:gd name="T114" fmla="*/ 1932 w 2653"/>
                <a:gd name="T115" fmla="*/ 2177 h 3207"/>
                <a:gd name="T116" fmla="*/ 2055 w 2653"/>
                <a:gd name="T117" fmla="*/ 1970 h 3207"/>
                <a:gd name="T118" fmla="*/ 2168 w 2653"/>
                <a:gd name="T119" fmla="*/ 1909 h 3207"/>
                <a:gd name="T120" fmla="*/ 2362 w 2653"/>
                <a:gd name="T121" fmla="*/ 1717 h 3207"/>
                <a:gd name="T122" fmla="*/ 2359 w 2653"/>
                <a:gd name="T123" fmla="*/ 1558 h 3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53" h="3207">
                  <a:moveTo>
                    <a:pt x="2431" y="1448"/>
                  </a:moveTo>
                  <a:lnTo>
                    <a:pt x="2442" y="1429"/>
                  </a:lnTo>
                  <a:lnTo>
                    <a:pt x="2452" y="1412"/>
                  </a:lnTo>
                  <a:lnTo>
                    <a:pt x="2456" y="1404"/>
                  </a:lnTo>
                  <a:lnTo>
                    <a:pt x="2459" y="1395"/>
                  </a:lnTo>
                  <a:lnTo>
                    <a:pt x="2462" y="1385"/>
                  </a:lnTo>
                  <a:lnTo>
                    <a:pt x="2462" y="1374"/>
                  </a:lnTo>
                  <a:lnTo>
                    <a:pt x="2448" y="1361"/>
                  </a:lnTo>
                  <a:lnTo>
                    <a:pt x="2436" y="1351"/>
                  </a:lnTo>
                  <a:lnTo>
                    <a:pt x="2432" y="1344"/>
                  </a:lnTo>
                  <a:lnTo>
                    <a:pt x="2430" y="1338"/>
                  </a:lnTo>
                  <a:lnTo>
                    <a:pt x="2430" y="1329"/>
                  </a:lnTo>
                  <a:lnTo>
                    <a:pt x="2431" y="1316"/>
                  </a:lnTo>
                  <a:lnTo>
                    <a:pt x="2436" y="1304"/>
                  </a:lnTo>
                  <a:lnTo>
                    <a:pt x="2444" y="1287"/>
                  </a:lnTo>
                  <a:lnTo>
                    <a:pt x="2447" y="1278"/>
                  </a:lnTo>
                  <a:lnTo>
                    <a:pt x="2449" y="1270"/>
                  </a:lnTo>
                  <a:lnTo>
                    <a:pt x="2450" y="1266"/>
                  </a:lnTo>
                  <a:lnTo>
                    <a:pt x="2450" y="1263"/>
                  </a:lnTo>
                  <a:lnTo>
                    <a:pt x="2449" y="1260"/>
                  </a:lnTo>
                  <a:lnTo>
                    <a:pt x="2448" y="1258"/>
                  </a:lnTo>
                  <a:lnTo>
                    <a:pt x="2441" y="1250"/>
                  </a:lnTo>
                  <a:lnTo>
                    <a:pt x="2430" y="1242"/>
                  </a:lnTo>
                  <a:lnTo>
                    <a:pt x="2419" y="1234"/>
                  </a:lnTo>
                  <a:lnTo>
                    <a:pt x="2407" y="1225"/>
                  </a:lnTo>
                  <a:lnTo>
                    <a:pt x="2402" y="1220"/>
                  </a:lnTo>
                  <a:lnTo>
                    <a:pt x="2397" y="1216"/>
                  </a:lnTo>
                  <a:lnTo>
                    <a:pt x="2393" y="1211"/>
                  </a:lnTo>
                  <a:lnTo>
                    <a:pt x="2389" y="1206"/>
                  </a:lnTo>
                  <a:lnTo>
                    <a:pt x="2387" y="1200"/>
                  </a:lnTo>
                  <a:lnTo>
                    <a:pt x="2386" y="1195"/>
                  </a:lnTo>
                  <a:lnTo>
                    <a:pt x="2387" y="1189"/>
                  </a:lnTo>
                  <a:lnTo>
                    <a:pt x="2389" y="1183"/>
                  </a:lnTo>
                  <a:lnTo>
                    <a:pt x="2397" y="1172"/>
                  </a:lnTo>
                  <a:lnTo>
                    <a:pt x="2405" y="1161"/>
                  </a:lnTo>
                  <a:lnTo>
                    <a:pt x="2409" y="1154"/>
                  </a:lnTo>
                  <a:lnTo>
                    <a:pt x="2412" y="1149"/>
                  </a:lnTo>
                  <a:lnTo>
                    <a:pt x="2416" y="1143"/>
                  </a:lnTo>
                  <a:lnTo>
                    <a:pt x="2418" y="1137"/>
                  </a:lnTo>
                  <a:lnTo>
                    <a:pt x="2422" y="1117"/>
                  </a:lnTo>
                  <a:lnTo>
                    <a:pt x="2423" y="1096"/>
                  </a:lnTo>
                  <a:lnTo>
                    <a:pt x="2424" y="1075"/>
                  </a:lnTo>
                  <a:lnTo>
                    <a:pt x="2426" y="1054"/>
                  </a:lnTo>
                  <a:lnTo>
                    <a:pt x="2426" y="1046"/>
                  </a:lnTo>
                  <a:lnTo>
                    <a:pt x="2427" y="1039"/>
                  </a:lnTo>
                  <a:lnTo>
                    <a:pt x="2429" y="1031"/>
                  </a:lnTo>
                  <a:lnTo>
                    <a:pt x="2431" y="1024"/>
                  </a:lnTo>
                  <a:lnTo>
                    <a:pt x="2433" y="1018"/>
                  </a:lnTo>
                  <a:lnTo>
                    <a:pt x="2436" y="1013"/>
                  </a:lnTo>
                  <a:lnTo>
                    <a:pt x="2441" y="1007"/>
                  </a:lnTo>
                  <a:lnTo>
                    <a:pt x="2445" y="1002"/>
                  </a:lnTo>
                  <a:lnTo>
                    <a:pt x="2454" y="994"/>
                  </a:lnTo>
                  <a:lnTo>
                    <a:pt x="2466" y="986"/>
                  </a:lnTo>
                  <a:lnTo>
                    <a:pt x="2478" y="980"/>
                  </a:lnTo>
                  <a:lnTo>
                    <a:pt x="2492" y="975"/>
                  </a:lnTo>
                  <a:lnTo>
                    <a:pt x="2505" y="972"/>
                  </a:lnTo>
                  <a:lnTo>
                    <a:pt x="2520" y="969"/>
                  </a:lnTo>
                  <a:lnTo>
                    <a:pt x="2534" y="967"/>
                  </a:lnTo>
                  <a:lnTo>
                    <a:pt x="2549" y="966"/>
                  </a:lnTo>
                  <a:lnTo>
                    <a:pt x="2576" y="965"/>
                  </a:lnTo>
                  <a:lnTo>
                    <a:pt x="2600" y="964"/>
                  </a:lnTo>
                  <a:lnTo>
                    <a:pt x="2600" y="964"/>
                  </a:lnTo>
                  <a:lnTo>
                    <a:pt x="2599" y="957"/>
                  </a:lnTo>
                  <a:lnTo>
                    <a:pt x="2599" y="951"/>
                  </a:lnTo>
                  <a:lnTo>
                    <a:pt x="2599" y="944"/>
                  </a:lnTo>
                  <a:lnTo>
                    <a:pt x="2599" y="937"/>
                  </a:lnTo>
                  <a:lnTo>
                    <a:pt x="2600" y="931"/>
                  </a:lnTo>
                  <a:lnTo>
                    <a:pt x="2602" y="926"/>
                  </a:lnTo>
                  <a:lnTo>
                    <a:pt x="2604" y="921"/>
                  </a:lnTo>
                  <a:lnTo>
                    <a:pt x="2606" y="918"/>
                  </a:lnTo>
                  <a:lnTo>
                    <a:pt x="2617" y="907"/>
                  </a:lnTo>
                  <a:lnTo>
                    <a:pt x="2625" y="897"/>
                  </a:lnTo>
                  <a:lnTo>
                    <a:pt x="2632" y="887"/>
                  </a:lnTo>
                  <a:lnTo>
                    <a:pt x="2637" y="878"/>
                  </a:lnTo>
                  <a:lnTo>
                    <a:pt x="2640" y="869"/>
                  </a:lnTo>
                  <a:lnTo>
                    <a:pt x="2641" y="857"/>
                  </a:lnTo>
                  <a:lnTo>
                    <a:pt x="2641" y="844"/>
                  </a:lnTo>
                  <a:lnTo>
                    <a:pt x="2641" y="828"/>
                  </a:lnTo>
                  <a:lnTo>
                    <a:pt x="2640" y="814"/>
                  </a:lnTo>
                  <a:lnTo>
                    <a:pt x="2637" y="802"/>
                  </a:lnTo>
                  <a:lnTo>
                    <a:pt x="2632" y="789"/>
                  </a:lnTo>
                  <a:lnTo>
                    <a:pt x="2629" y="777"/>
                  </a:lnTo>
                  <a:lnTo>
                    <a:pt x="2627" y="764"/>
                  </a:lnTo>
                  <a:lnTo>
                    <a:pt x="2626" y="751"/>
                  </a:lnTo>
                  <a:lnTo>
                    <a:pt x="2627" y="744"/>
                  </a:lnTo>
                  <a:lnTo>
                    <a:pt x="2628" y="738"/>
                  </a:lnTo>
                  <a:lnTo>
                    <a:pt x="2630" y="732"/>
                  </a:lnTo>
                  <a:lnTo>
                    <a:pt x="2632" y="725"/>
                  </a:lnTo>
                  <a:lnTo>
                    <a:pt x="2639" y="716"/>
                  </a:lnTo>
                  <a:lnTo>
                    <a:pt x="2647" y="702"/>
                  </a:lnTo>
                  <a:lnTo>
                    <a:pt x="2650" y="694"/>
                  </a:lnTo>
                  <a:lnTo>
                    <a:pt x="2652" y="688"/>
                  </a:lnTo>
                  <a:lnTo>
                    <a:pt x="2653" y="685"/>
                  </a:lnTo>
                  <a:lnTo>
                    <a:pt x="2653" y="682"/>
                  </a:lnTo>
                  <a:lnTo>
                    <a:pt x="2652" y="680"/>
                  </a:lnTo>
                  <a:lnTo>
                    <a:pt x="2651" y="679"/>
                  </a:lnTo>
                  <a:lnTo>
                    <a:pt x="2648" y="677"/>
                  </a:lnTo>
                  <a:lnTo>
                    <a:pt x="2645" y="676"/>
                  </a:lnTo>
                  <a:lnTo>
                    <a:pt x="2641" y="676"/>
                  </a:lnTo>
                  <a:lnTo>
                    <a:pt x="2638" y="675"/>
                  </a:lnTo>
                  <a:lnTo>
                    <a:pt x="2628" y="676"/>
                  </a:lnTo>
                  <a:lnTo>
                    <a:pt x="2619" y="678"/>
                  </a:lnTo>
                  <a:lnTo>
                    <a:pt x="2599" y="684"/>
                  </a:lnTo>
                  <a:lnTo>
                    <a:pt x="2579" y="691"/>
                  </a:lnTo>
                  <a:lnTo>
                    <a:pt x="2570" y="694"/>
                  </a:lnTo>
                  <a:lnTo>
                    <a:pt x="2563" y="698"/>
                  </a:lnTo>
                  <a:lnTo>
                    <a:pt x="2556" y="699"/>
                  </a:lnTo>
                  <a:lnTo>
                    <a:pt x="2551" y="698"/>
                  </a:lnTo>
                  <a:lnTo>
                    <a:pt x="2550" y="698"/>
                  </a:lnTo>
                  <a:lnTo>
                    <a:pt x="2549" y="695"/>
                  </a:lnTo>
                  <a:lnTo>
                    <a:pt x="2548" y="693"/>
                  </a:lnTo>
                  <a:lnTo>
                    <a:pt x="2548" y="691"/>
                  </a:lnTo>
                  <a:lnTo>
                    <a:pt x="2550" y="684"/>
                  </a:lnTo>
                  <a:lnTo>
                    <a:pt x="2554" y="675"/>
                  </a:lnTo>
                  <a:lnTo>
                    <a:pt x="2563" y="661"/>
                  </a:lnTo>
                  <a:lnTo>
                    <a:pt x="2573" y="643"/>
                  </a:lnTo>
                  <a:lnTo>
                    <a:pt x="2577" y="635"/>
                  </a:lnTo>
                  <a:lnTo>
                    <a:pt x="2581" y="627"/>
                  </a:lnTo>
                  <a:lnTo>
                    <a:pt x="2583" y="618"/>
                  </a:lnTo>
                  <a:lnTo>
                    <a:pt x="2584" y="613"/>
                  </a:lnTo>
                  <a:lnTo>
                    <a:pt x="2583" y="609"/>
                  </a:lnTo>
                  <a:lnTo>
                    <a:pt x="2582" y="606"/>
                  </a:lnTo>
                  <a:lnTo>
                    <a:pt x="2580" y="604"/>
                  </a:lnTo>
                  <a:lnTo>
                    <a:pt x="2578" y="602"/>
                  </a:lnTo>
                  <a:lnTo>
                    <a:pt x="2572" y="598"/>
                  </a:lnTo>
                  <a:lnTo>
                    <a:pt x="2564" y="597"/>
                  </a:lnTo>
                  <a:lnTo>
                    <a:pt x="2554" y="596"/>
                  </a:lnTo>
                  <a:lnTo>
                    <a:pt x="2544" y="597"/>
                  </a:lnTo>
                  <a:lnTo>
                    <a:pt x="2532" y="597"/>
                  </a:lnTo>
                  <a:lnTo>
                    <a:pt x="2521" y="599"/>
                  </a:lnTo>
                  <a:lnTo>
                    <a:pt x="2496" y="602"/>
                  </a:lnTo>
                  <a:lnTo>
                    <a:pt x="2472" y="602"/>
                  </a:lnTo>
                  <a:lnTo>
                    <a:pt x="2461" y="600"/>
                  </a:lnTo>
                  <a:lnTo>
                    <a:pt x="2452" y="597"/>
                  </a:lnTo>
                  <a:lnTo>
                    <a:pt x="2448" y="595"/>
                  </a:lnTo>
                  <a:lnTo>
                    <a:pt x="2444" y="593"/>
                  </a:lnTo>
                  <a:lnTo>
                    <a:pt x="2441" y="590"/>
                  </a:lnTo>
                  <a:lnTo>
                    <a:pt x="2437" y="587"/>
                  </a:lnTo>
                  <a:lnTo>
                    <a:pt x="2433" y="582"/>
                  </a:lnTo>
                  <a:lnTo>
                    <a:pt x="2429" y="578"/>
                  </a:lnTo>
                  <a:lnTo>
                    <a:pt x="2425" y="574"/>
                  </a:lnTo>
                  <a:lnTo>
                    <a:pt x="2421" y="573"/>
                  </a:lnTo>
                  <a:lnTo>
                    <a:pt x="2417" y="572"/>
                  </a:lnTo>
                  <a:lnTo>
                    <a:pt x="2411" y="572"/>
                  </a:lnTo>
                  <a:lnTo>
                    <a:pt x="2407" y="574"/>
                  </a:lnTo>
                  <a:lnTo>
                    <a:pt x="2403" y="575"/>
                  </a:lnTo>
                  <a:lnTo>
                    <a:pt x="2395" y="582"/>
                  </a:lnTo>
                  <a:lnTo>
                    <a:pt x="2386" y="589"/>
                  </a:lnTo>
                  <a:lnTo>
                    <a:pt x="2379" y="598"/>
                  </a:lnTo>
                  <a:lnTo>
                    <a:pt x="2371" y="607"/>
                  </a:lnTo>
                  <a:lnTo>
                    <a:pt x="2363" y="615"/>
                  </a:lnTo>
                  <a:lnTo>
                    <a:pt x="2355" y="622"/>
                  </a:lnTo>
                  <a:lnTo>
                    <a:pt x="2352" y="626"/>
                  </a:lnTo>
                  <a:lnTo>
                    <a:pt x="2348" y="628"/>
                  </a:lnTo>
                  <a:lnTo>
                    <a:pt x="2345" y="629"/>
                  </a:lnTo>
                  <a:lnTo>
                    <a:pt x="2340" y="630"/>
                  </a:lnTo>
                  <a:lnTo>
                    <a:pt x="2337" y="630"/>
                  </a:lnTo>
                  <a:lnTo>
                    <a:pt x="2333" y="629"/>
                  </a:lnTo>
                  <a:lnTo>
                    <a:pt x="2330" y="627"/>
                  </a:lnTo>
                  <a:lnTo>
                    <a:pt x="2327" y="622"/>
                  </a:lnTo>
                  <a:lnTo>
                    <a:pt x="2323" y="618"/>
                  </a:lnTo>
                  <a:lnTo>
                    <a:pt x="2320" y="612"/>
                  </a:lnTo>
                  <a:lnTo>
                    <a:pt x="2316" y="604"/>
                  </a:lnTo>
                  <a:lnTo>
                    <a:pt x="2313" y="595"/>
                  </a:lnTo>
                  <a:lnTo>
                    <a:pt x="2306" y="576"/>
                  </a:lnTo>
                  <a:lnTo>
                    <a:pt x="2300" y="562"/>
                  </a:lnTo>
                  <a:lnTo>
                    <a:pt x="2296" y="558"/>
                  </a:lnTo>
                  <a:lnTo>
                    <a:pt x="2292" y="554"/>
                  </a:lnTo>
                  <a:lnTo>
                    <a:pt x="2289" y="550"/>
                  </a:lnTo>
                  <a:lnTo>
                    <a:pt x="2285" y="548"/>
                  </a:lnTo>
                  <a:lnTo>
                    <a:pt x="2282" y="547"/>
                  </a:lnTo>
                  <a:lnTo>
                    <a:pt x="2279" y="547"/>
                  </a:lnTo>
                  <a:lnTo>
                    <a:pt x="2275" y="547"/>
                  </a:lnTo>
                  <a:lnTo>
                    <a:pt x="2272" y="548"/>
                  </a:lnTo>
                  <a:lnTo>
                    <a:pt x="2263" y="552"/>
                  </a:lnTo>
                  <a:lnTo>
                    <a:pt x="2256" y="559"/>
                  </a:lnTo>
                  <a:lnTo>
                    <a:pt x="2238" y="573"/>
                  </a:lnTo>
                  <a:lnTo>
                    <a:pt x="2218" y="588"/>
                  </a:lnTo>
                  <a:lnTo>
                    <a:pt x="2208" y="594"/>
                  </a:lnTo>
                  <a:lnTo>
                    <a:pt x="2197" y="599"/>
                  </a:lnTo>
                  <a:lnTo>
                    <a:pt x="2190" y="602"/>
                  </a:lnTo>
                  <a:lnTo>
                    <a:pt x="2184" y="603"/>
                  </a:lnTo>
                  <a:lnTo>
                    <a:pt x="2178" y="603"/>
                  </a:lnTo>
                  <a:lnTo>
                    <a:pt x="2170" y="603"/>
                  </a:lnTo>
                  <a:lnTo>
                    <a:pt x="2163" y="598"/>
                  </a:lnTo>
                  <a:lnTo>
                    <a:pt x="2158" y="593"/>
                  </a:lnTo>
                  <a:lnTo>
                    <a:pt x="2153" y="587"/>
                  </a:lnTo>
                  <a:lnTo>
                    <a:pt x="2150" y="580"/>
                  </a:lnTo>
                  <a:lnTo>
                    <a:pt x="2145" y="572"/>
                  </a:lnTo>
                  <a:lnTo>
                    <a:pt x="2143" y="564"/>
                  </a:lnTo>
                  <a:lnTo>
                    <a:pt x="2141" y="556"/>
                  </a:lnTo>
                  <a:lnTo>
                    <a:pt x="2139" y="547"/>
                  </a:lnTo>
                  <a:lnTo>
                    <a:pt x="2136" y="530"/>
                  </a:lnTo>
                  <a:lnTo>
                    <a:pt x="2133" y="512"/>
                  </a:lnTo>
                  <a:lnTo>
                    <a:pt x="2131" y="502"/>
                  </a:lnTo>
                  <a:lnTo>
                    <a:pt x="2129" y="494"/>
                  </a:lnTo>
                  <a:lnTo>
                    <a:pt x="2127" y="487"/>
                  </a:lnTo>
                  <a:lnTo>
                    <a:pt x="2124" y="479"/>
                  </a:lnTo>
                  <a:lnTo>
                    <a:pt x="2117" y="469"/>
                  </a:lnTo>
                  <a:lnTo>
                    <a:pt x="2112" y="463"/>
                  </a:lnTo>
                  <a:lnTo>
                    <a:pt x="2109" y="461"/>
                  </a:lnTo>
                  <a:lnTo>
                    <a:pt x="2107" y="459"/>
                  </a:lnTo>
                  <a:lnTo>
                    <a:pt x="2104" y="459"/>
                  </a:lnTo>
                  <a:lnTo>
                    <a:pt x="2102" y="459"/>
                  </a:lnTo>
                  <a:lnTo>
                    <a:pt x="2096" y="460"/>
                  </a:lnTo>
                  <a:lnTo>
                    <a:pt x="2092" y="464"/>
                  </a:lnTo>
                  <a:lnTo>
                    <a:pt x="2087" y="470"/>
                  </a:lnTo>
                  <a:lnTo>
                    <a:pt x="2084" y="476"/>
                  </a:lnTo>
                  <a:lnTo>
                    <a:pt x="2077" y="493"/>
                  </a:lnTo>
                  <a:lnTo>
                    <a:pt x="2070" y="511"/>
                  </a:lnTo>
                  <a:lnTo>
                    <a:pt x="2065" y="525"/>
                  </a:lnTo>
                  <a:lnTo>
                    <a:pt x="2062" y="536"/>
                  </a:lnTo>
                  <a:lnTo>
                    <a:pt x="2060" y="540"/>
                  </a:lnTo>
                  <a:lnTo>
                    <a:pt x="2058" y="543"/>
                  </a:lnTo>
                  <a:lnTo>
                    <a:pt x="2055" y="545"/>
                  </a:lnTo>
                  <a:lnTo>
                    <a:pt x="2051" y="546"/>
                  </a:lnTo>
                  <a:lnTo>
                    <a:pt x="2046" y="546"/>
                  </a:lnTo>
                  <a:lnTo>
                    <a:pt x="2043" y="546"/>
                  </a:lnTo>
                  <a:lnTo>
                    <a:pt x="2038" y="545"/>
                  </a:lnTo>
                  <a:lnTo>
                    <a:pt x="2034" y="544"/>
                  </a:lnTo>
                  <a:lnTo>
                    <a:pt x="2026" y="540"/>
                  </a:lnTo>
                  <a:lnTo>
                    <a:pt x="2018" y="534"/>
                  </a:lnTo>
                  <a:lnTo>
                    <a:pt x="2015" y="530"/>
                  </a:lnTo>
                  <a:lnTo>
                    <a:pt x="2013" y="525"/>
                  </a:lnTo>
                  <a:lnTo>
                    <a:pt x="2011" y="521"/>
                  </a:lnTo>
                  <a:lnTo>
                    <a:pt x="2010" y="517"/>
                  </a:lnTo>
                  <a:lnTo>
                    <a:pt x="2008" y="491"/>
                  </a:lnTo>
                  <a:lnTo>
                    <a:pt x="2007" y="465"/>
                  </a:lnTo>
                  <a:lnTo>
                    <a:pt x="2006" y="451"/>
                  </a:lnTo>
                  <a:lnTo>
                    <a:pt x="2005" y="438"/>
                  </a:lnTo>
                  <a:lnTo>
                    <a:pt x="2004" y="425"/>
                  </a:lnTo>
                  <a:lnTo>
                    <a:pt x="2002" y="413"/>
                  </a:lnTo>
                  <a:lnTo>
                    <a:pt x="1994" y="413"/>
                  </a:lnTo>
                  <a:lnTo>
                    <a:pt x="1988" y="413"/>
                  </a:lnTo>
                  <a:lnTo>
                    <a:pt x="1981" y="413"/>
                  </a:lnTo>
                  <a:lnTo>
                    <a:pt x="1974" y="414"/>
                  </a:lnTo>
                  <a:lnTo>
                    <a:pt x="1968" y="416"/>
                  </a:lnTo>
                  <a:lnTo>
                    <a:pt x="1962" y="418"/>
                  </a:lnTo>
                  <a:lnTo>
                    <a:pt x="1957" y="420"/>
                  </a:lnTo>
                  <a:lnTo>
                    <a:pt x="1950" y="423"/>
                  </a:lnTo>
                  <a:lnTo>
                    <a:pt x="1945" y="427"/>
                  </a:lnTo>
                  <a:lnTo>
                    <a:pt x="1940" y="431"/>
                  </a:lnTo>
                  <a:lnTo>
                    <a:pt x="1936" y="436"/>
                  </a:lnTo>
                  <a:lnTo>
                    <a:pt x="1932" y="440"/>
                  </a:lnTo>
                  <a:lnTo>
                    <a:pt x="1928" y="445"/>
                  </a:lnTo>
                  <a:lnTo>
                    <a:pt x="1924" y="451"/>
                  </a:lnTo>
                  <a:lnTo>
                    <a:pt x="1921" y="458"/>
                  </a:lnTo>
                  <a:lnTo>
                    <a:pt x="1919" y="464"/>
                  </a:lnTo>
                  <a:lnTo>
                    <a:pt x="1918" y="469"/>
                  </a:lnTo>
                  <a:lnTo>
                    <a:pt x="1918" y="475"/>
                  </a:lnTo>
                  <a:lnTo>
                    <a:pt x="1920" y="481"/>
                  </a:lnTo>
                  <a:lnTo>
                    <a:pt x="1923" y="485"/>
                  </a:lnTo>
                  <a:lnTo>
                    <a:pt x="1933" y="494"/>
                  </a:lnTo>
                  <a:lnTo>
                    <a:pt x="1942" y="501"/>
                  </a:lnTo>
                  <a:lnTo>
                    <a:pt x="1947" y="506"/>
                  </a:lnTo>
                  <a:lnTo>
                    <a:pt x="1952" y="510"/>
                  </a:lnTo>
                  <a:lnTo>
                    <a:pt x="1955" y="514"/>
                  </a:lnTo>
                  <a:lnTo>
                    <a:pt x="1957" y="518"/>
                  </a:lnTo>
                  <a:lnTo>
                    <a:pt x="1958" y="522"/>
                  </a:lnTo>
                  <a:lnTo>
                    <a:pt x="1957" y="527"/>
                  </a:lnTo>
                  <a:lnTo>
                    <a:pt x="1954" y="533"/>
                  </a:lnTo>
                  <a:lnTo>
                    <a:pt x="1947" y="538"/>
                  </a:lnTo>
                  <a:lnTo>
                    <a:pt x="1944" y="541"/>
                  </a:lnTo>
                  <a:lnTo>
                    <a:pt x="1940" y="543"/>
                  </a:lnTo>
                  <a:lnTo>
                    <a:pt x="1935" y="544"/>
                  </a:lnTo>
                  <a:lnTo>
                    <a:pt x="1931" y="545"/>
                  </a:lnTo>
                  <a:lnTo>
                    <a:pt x="1920" y="546"/>
                  </a:lnTo>
                  <a:lnTo>
                    <a:pt x="1910" y="545"/>
                  </a:lnTo>
                  <a:lnTo>
                    <a:pt x="1899" y="545"/>
                  </a:lnTo>
                  <a:lnTo>
                    <a:pt x="1890" y="545"/>
                  </a:lnTo>
                  <a:lnTo>
                    <a:pt x="1885" y="546"/>
                  </a:lnTo>
                  <a:lnTo>
                    <a:pt x="1881" y="547"/>
                  </a:lnTo>
                  <a:lnTo>
                    <a:pt x="1878" y="548"/>
                  </a:lnTo>
                  <a:lnTo>
                    <a:pt x="1873" y="551"/>
                  </a:lnTo>
                  <a:lnTo>
                    <a:pt x="1867" y="558"/>
                  </a:lnTo>
                  <a:lnTo>
                    <a:pt x="1862" y="564"/>
                  </a:lnTo>
                  <a:lnTo>
                    <a:pt x="1860" y="569"/>
                  </a:lnTo>
                  <a:lnTo>
                    <a:pt x="1860" y="574"/>
                  </a:lnTo>
                  <a:lnTo>
                    <a:pt x="1861" y="580"/>
                  </a:lnTo>
                  <a:lnTo>
                    <a:pt x="1864" y="585"/>
                  </a:lnTo>
                  <a:lnTo>
                    <a:pt x="1868" y="589"/>
                  </a:lnTo>
                  <a:lnTo>
                    <a:pt x="1873" y="593"/>
                  </a:lnTo>
                  <a:lnTo>
                    <a:pt x="1887" y="599"/>
                  </a:lnTo>
                  <a:lnTo>
                    <a:pt x="1901" y="605"/>
                  </a:lnTo>
                  <a:lnTo>
                    <a:pt x="1916" y="609"/>
                  </a:lnTo>
                  <a:lnTo>
                    <a:pt x="1928" y="611"/>
                  </a:lnTo>
                  <a:lnTo>
                    <a:pt x="1938" y="613"/>
                  </a:lnTo>
                  <a:lnTo>
                    <a:pt x="1945" y="616"/>
                  </a:lnTo>
                  <a:lnTo>
                    <a:pt x="1948" y="618"/>
                  </a:lnTo>
                  <a:lnTo>
                    <a:pt x="1949" y="620"/>
                  </a:lnTo>
                  <a:lnTo>
                    <a:pt x="1952" y="623"/>
                  </a:lnTo>
                  <a:lnTo>
                    <a:pt x="1953" y="626"/>
                  </a:lnTo>
                  <a:lnTo>
                    <a:pt x="1953" y="632"/>
                  </a:lnTo>
                  <a:lnTo>
                    <a:pt x="1952" y="638"/>
                  </a:lnTo>
                  <a:lnTo>
                    <a:pt x="1948" y="645"/>
                  </a:lnTo>
                  <a:lnTo>
                    <a:pt x="1945" y="653"/>
                  </a:lnTo>
                  <a:lnTo>
                    <a:pt x="1938" y="667"/>
                  </a:lnTo>
                  <a:lnTo>
                    <a:pt x="1932" y="683"/>
                  </a:lnTo>
                  <a:lnTo>
                    <a:pt x="1930" y="690"/>
                  </a:lnTo>
                  <a:lnTo>
                    <a:pt x="1929" y="698"/>
                  </a:lnTo>
                  <a:lnTo>
                    <a:pt x="1930" y="701"/>
                  </a:lnTo>
                  <a:lnTo>
                    <a:pt x="1930" y="704"/>
                  </a:lnTo>
                  <a:lnTo>
                    <a:pt x="1932" y="707"/>
                  </a:lnTo>
                  <a:lnTo>
                    <a:pt x="1933" y="710"/>
                  </a:lnTo>
                  <a:lnTo>
                    <a:pt x="1945" y="724"/>
                  </a:lnTo>
                  <a:lnTo>
                    <a:pt x="1957" y="737"/>
                  </a:lnTo>
                  <a:lnTo>
                    <a:pt x="1962" y="743"/>
                  </a:lnTo>
                  <a:lnTo>
                    <a:pt x="1965" y="752"/>
                  </a:lnTo>
                  <a:lnTo>
                    <a:pt x="1966" y="756"/>
                  </a:lnTo>
                  <a:lnTo>
                    <a:pt x="1967" y="760"/>
                  </a:lnTo>
                  <a:lnTo>
                    <a:pt x="1967" y="765"/>
                  </a:lnTo>
                  <a:lnTo>
                    <a:pt x="1966" y="771"/>
                  </a:lnTo>
                  <a:lnTo>
                    <a:pt x="1965" y="776"/>
                  </a:lnTo>
                  <a:lnTo>
                    <a:pt x="1962" y="780"/>
                  </a:lnTo>
                  <a:lnTo>
                    <a:pt x="1959" y="782"/>
                  </a:lnTo>
                  <a:lnTo>
                    <a:pt x="1955" y="784"/>
                  </a:lnTo>
                  <a:lnTo>
                    <a:pt x="1949" y="786"/>
                  </a:lnTo>
                  <a:lnTo>
                    <a:pt x="1944" y="786"/>
                  </a:lnTo>
                  <a:lnTo>
                    <a:pt x="1938" y="786"/>
                  </a:lnTo>
                  <a:lnTo>
                    <a:pt x="1932" y="785"/>
                  </a:lnTo>
                  <a:lnTo>
                    <a:pt x="1906" y="781"/>
                  </a:lnTo>
                  <a:lnTo>
                    <a:pt x="1885" y="778"/>
                  </a:lnTo>
                  <a:lnTo>
                    <a:pt x="1878" y="779"/>
                  </a:lnTo>
                  <a:lnTo>
                    <a:pt x="1871" y="782"/>
                  </a:lnTo>
                  <a:lnTo>
                    <a:pt x="1865" y="786"/>
                  </a:lnTo>
                  <a:lnTo>
                    <a:pt x="1859" y="789"/>
                  </a:lnTo>
                  <a:lnTo>
                    <a:pt x="1852" y="792"/>
                  </a:lnTo>
                  <a:lnTo>
                    <a:pt x="1846" y="795"/>
                  </a:lnTo>
                  <a:lnTo>
                    <a:pt x="1842" y="795"/>
                  </a:lnTo>
                  <a:lnTo>
                    <a:pt x="1839" y="795"/>
                  </a:lnTo>
                  <a:lnTo>
                    <a:pt x="1835" y="792"/>
                  </a:lnTo>
                  <a:lnTo>
                    <a:pt x="1831" y="790"/>
                  </a:lnTo>
                  <a:lnTo>
                    <a:pt x="1821" y="783"/>
                  </a:lnTo>
                  <a:lnTo>
                    <a:pt x="1813" y="772"/>
                  </a:lnTo>
                  <a:lnTo>
                    <a:pt x="1808" y="766"/>
                  </a:lnTo>
                  <a:lnTo>
                    <a:pt x="1803" y="762"/>
                  </a:lnTo>
                  <a:lnTo>
                    <a:pt x="1798" y="758"/>
                  </a:lnTo>
                  <a:lnTo>
                    <a:pt x="1793" y="757"/>
                  </a:lnTo>
                  <a:lnTo>
                    <a:pt x="1789" y="757"/>
                  </a:lnTo>
                  <a:lnTo>
                    <a:pt x="1786" y="758"/>
                  </a:lnTo>
                  <a:lnTo>
                    <a:pt x="1783" y="759"/>
                  </a:lnTo>
                  <a:lnTo>
                    <a:pt x="1779" y="761"/>
                  </a:lnTo>
                  <a:lnTo>
                    <a:pt x="1774" y="765"/>
                  </a:lnTo>
                  <a:lnTo>
                    <a:pt x="1769" y="772"/>
                  </a:lnTo>
                  <a:lnTo>
                    <a:pt x="1760" y="787"/>
                  </a:lnTo>
                  <a:lnTo>
                    <a:pt x="1752" y="806"/>
                  </a:lnTo>
                  <a:lnTo>
                    <a:pt x="1744" y="825"/>
                  </a:lnTo>
                  <a:lnTo>
                    <a:pt x="1737" y="841"/>
                  </a:lnTo>
                  <a:lnTo>
                    <a:pt x="1733" y="848"/>
                  </a:lnTo>
                  <a:lnTo>
                    <a:pt x="1727" y="853"/>
                  </a:lnTo>
                  <a:lnTo>
                    <a:pt x="1725" y="854"/>
                  </a:lnTo>
                  <a:lnTo>
                    <a:pt x="1723" y="856"/>
                  </a:lnTo>
                  <a:lnTo>
                    <a:pt x="1720" y="857"/>
                  </a:lnTo>
                  <a:lnTo>
                    <a:pt x="1718" y="857"/>
                  </a:lnTo>
                  <a:lnTo>
                    <a:pt x="1709" y="856"/>
                  </a:lnTo>
                  <a:lnTo>
                    <a:pt x="1701" y="853"/>
                  </a:lnTo>
                  <a:lnTo>
                    <a:pt x="1695" y="849"/>
                  </a:lnTo>
                  <a:lnTo>
                    <a:pt x="1689" y="843"/>
                  </a:lnTo>
                  <a:lnTo>
                    <a:pt x="1684" y="835"/>
                  </a:lnTo>
                  <a:lnTo>
                    <a:pt x="1678" y="828"/>
                  </a:lnTo>
                  <a:lnTo>
                    <a:pt x="1674" y="819"/>
                  </a:lnTo>
                  <a:lnTo>
                    <a:pt x="1671" y="809"/>
                  </a:lnTo>
                  <a:lnTo>
                    <a:pt x="1661" y="772"/>
                  </a:lnTo>
                  <a:lnTo>
                    <a:pt x="1653" y="742"/>
                  </a:lnTo>
                  <a:lnTo>
                    <a:pt x="1647" y="742"/>
                  </a:lnTo>
                  <a:lnTo>
                    <a:pt x="1640" y="743"/>
                  </a:lnTo>
                  <a:lnTo>
                    <a:pt x="1635" y="744"/>
                  </a:lnTo>
                  <a:lnTo>
                    <a:pt x="1629" y="747"/>
                  </a:lnTo>
                  <a:lnTo>
                    <a:pt x="1624" y="749"/>
                  </a:lnTo>
                  <a:lnTo>
                    <a:pt x="1620" y="751"/>
                  </a:lnTo>
                  <a:lnTo>
                    <a:pt x="1617" y="754"/>
                  </a:lnTo>
                  <a:lnTo>
                    <a:pt x="1614" y="757"/>
                  </a:lnTo>
                  <a:lnTo>
                    <a:pt x="1608" y="764"/>
                  </a:lnTo>
                  <a:lnTo>
                    <a:pt x="1604" y="773"/>
                  </a:lnTo>
                  <a:lnTo>
                    <a:pt x="1601" y="781"/>
                  </a:lnTo>
                  <a:lnTo>
                    <a:pt x="1600" y="791"/>
                  </a:lnTo>
                  <a:lnTo>
                    <a:pt x="1597" y="810"/>
                  </a:lnTo>
                  <a:lnTo>
                    <a:pt x="1594" y="828"/>
                  </a:lnTo>
                  <a:lnTo>
                    <a:pt x="1592" y="836"/>
                  </a:lnTo>
                  <a:lnTo>
                    <a:pt x="1588" y="843"/>
                  </a:lnTo>
                  <a:lnTo>
                    <a:pt x="1586" y="846"/>
                  </a:lnTo>
                  <a:lnTo>
                    <a:pt x="1583" y="849"/>
                  </a:lnTo>
                  <a:lnTo>
                    <a:pt x="1580" y="851"/>
                  </a:lnTo>
                  <a:lnTo>
                    <a:pt x="1577" y="853"/>
                  </a:lnTo>
                  <a:lnTo>
                    <a:pt x="1575" y="853"/>
                  </a:lnTo>
                  <a:lnTo>
                    <a:pt x="1572" y="853"/>
                  </a:lnTo>
                  <a:lnTo>
                    <a:pt x="1570" y="852"/>
                  </a:lnTo>
                  <a:lnTo>
                    <a:pt x="1568" y="851"/>
                  </a:lnTo>
                  <a:lnTo>
                    <a:pt x="1563" y="846"/>
                  </a:lnTo>
                  <a:lnTo>
                    <a:pt x="1558" y="838"/>
                  </a:lnTo>
                  <a:lnTo>
                    <a:pt x="1554" y="829"/>
                  </a:lnTo>
                  <a:lnTo>
                    <a:pt x="1549" y="819"/>
                  </a:lnTo>
                  <a:lnTo>
                    <a:pt x="1546" y="806"/>
                  </a:lnTo>
                  <a:lnTo>
                    <a:pt x="1542" y="793"/>
                  </a:lnTo>
                  <a:lnTo>
                    <a:pt x="1536" y="767"/>
                  </a:lnTo>
                  <a:lnTo>
                    <a:pt x="1530" y="743"/>
                  </a:lnTo>
                  <a:lnTo>
                    <a:pt x="1528" y="724"/>
                  </a:lnTo>
                  <a:lnTo>
                    <a:pt x="1527" y="711"/>
                  </a:lnTo>
                  <a:lnTo>
                    <a:pt x="1528" y="687"/>
                  </a:lnTo>
                  <a:lnTo>
                    <a:pt x="1526" y="658"/>
                  </a:lnTo>
                  <a:lnTo>
                    <a:pt x="1525" y="643"/>
                  </a:lnTo>
                  <a:lnTo>
                    <a:pt x="1525" y="632"/>
                  </a:lnTo>
                  <a:lnTo>
                    <a:pt x="1525" y="627"/>
                  </a:lnTo>
                  <a:lnTo>
                    <a:pt x="1526" y="622"/>
                  </a:lnTo>
                  <a:lnTo>
                    <a:pt x="1528" y="619"/>
                  </a:lnTo>
                  <a:lnTo>
                    <a:pt x="1529" y="617"/>
                  </a:lnTo>
                  <a:lnTo>
                    <a:pt x="1544" y="607"/>
                  </a:lnTo>
                  <a:lnTo>
                    <a:pt x="1555" y="595"/>
                  </a:lnTo>
                  <a:lnTo>
                    <a:pt x="1568" y="584"/>
                  </a:lnTo>
                  <a:lnTo>
                    <a:pt x="1580" y="571"/>
                  </a:lnTo>
                  <a:lnTo>
                    <a:pt x="1588" y="563"/>
                  </a:lnTo>
                  <a:lnTo>
                    <a:pt x="1593" y="554"/>
                  </a:lnTo>
                  <a:lnTo>
                    <a:pt x="1598" y="545"/>
                  </a:lnTo>
                  <a:lnTo>
                    <a:pt x="1602" y="536"/>
                  </a:lnTo>
                  <a:lnTo>
                    <a:pt x="1607" y="517"/>
                  </a:lnTo>
                  <a:lnTo>
                    <a:pt x="1612" y="499"/>
                  </a:lnTo>
                  <a:lnTo>
                    <a:pt x="1615" y="490"/>
                  </a:lnTo>
                  <a:lnTo>
                    <a:pt x="1618" y="482"/>
                  </a:lnTo>
                  <a:lnTo>
                    <a:pt x="1622" y="474"/>
                  </a:lnTo>
                  <a:lnTo>
                    <a:pt x="1626" y="466"/>
                  </a:lnTo>
                  <a:lnTo>
                    <a:pt x="1632" y="460"/>
                  </a:lnTo>
                  <a:lnTo>
                    <a:pt x="1641" y="453"/>
                  </a:lnTo>
                  <a:lnTo>
                    <a:pt x="1650" y="447"/>
                  </a:lnTo>
                  <a:lnTo>
                    <a:pt x="1662" y="443"/>
                  </a:lnTo>
                  <a:lnTo>
                    <a:pt x="1669" y="440"/>
                  </a:lnTo>
                  <a:lnTo>
                    <a:pt x="1674" y="437"/>
                  </a:lnTo>
                  <a:lnTo>
                    <a:pt x="1679" y="434"/>
                  </a:lnTo>
                  <a:lnTo>
                    <a:pt x="1683" y="430"/>
                  </a:lnTo>
                  <a:lnTo>
                    <a:pt x="1685" y="427"/>
                  </a:lnTo>
                  <a:lnTo>
                    <a:pt x="1686" y="424"/>
                  </a:lnTo>
                  <a:lnTo>
                    <a:pt x="1687" y="421"/>
                  </a:lnTo>
                  <a:lnTo>
                    <a:pt x="1687" y="418"/>
                  </a:lnTo>
                  <a:lnTo>
                    <a:pt x="1683" y="402"/>
                  </a:lnTo>
                  <a:lnTo>
                    <a:pt x="1676" y="385"/>
                  </a:lnTo>
                  <a:lnTo>
                    <a:pt x="1663" y="378"/>
                  </a:lnTo>
                  <a:lnTo>
                    <a:pt x="1643" y="369"/>
                  </a:lnTo>
                  <a:lnTo>
                    <a:pt x="1620" y="358"/>
                  </a:lnTo>
                  <a:lnTo>
                    <a:pt x="1596" y="347"/>
                  </a:lnTo>
                  <a:lnTo>
                    <a:pt x="1586" y="340"/>
                  </a:lnTo>
                  <a:lnTo>
                    <a:pt x="1575" y="333"/>
                  </a:lnTo>
                  <a:lnTo>
                    <a:pt x="1566" y="327"/>
                  </a:lnTo>
                  <a:lnTo>
                    <a:pt x="1558" y="321"/>
                  </a:lnTo>
                  <a:lnTo>
                    <a:pt x="1553" y="314"/>
                  </a:lnTo>
                  <a:lnTo>
                    <a:pt x="1550" y="307"/>
                  </a:lnTo>
                  <a:lnTo>
                    <a:pt x="1549" y="304"/>
                  </a:lnTo>
                  <a:lnTo>
                    <a:pt x="1549" y="302"/>
                  </a:lnTo>
                  <a:lnTo>
                    <a:pt x="1550" y="299"/>
                  </a:lnTo>
                  <a:lnTo>
                    <a:pt x="1551" y="296"/>
                  </a:lnTo>
                  <a:lnTo>
                    <a:pt x="1561" y="282"/>
                  </a:lnTo>
                  <a:lnTo>
                    <a:pt x="1572" y="268"/>
                  </a:lnTo>
                  <a:lnTo>
                    <a:pt x="1576" y="260"/>
                  </a:lnTo>
                  <a:lnTo>
                    <a:pt x="1579" y="253"/>
                  </a:lnTo>
                  <a:lnTo>
                    <a:pt x="1579" y="249"/>
                  </a:lnTo>
                  <a:lnTo>
                    <a:pt x="1578" y="246"/>
                  </a:lnTo>
                  <a:lnTo>
                    <a:pt x="1576" y="242"/>
                  </a:lnTo>
                  <a:lnTo>
                    <a:pt x="1573" y="238"/>
                  </a:lnTo>
                  <a:lnTo>
                    <a:pt x="1567" y="233"/>
                  </a:lnTo>
                  <a:lnTo>
                    <a:pt x="1559" y="228"/>
                  </a:lnTo>
                  <a:lnTo>
                    <a:pt x="1551" y="223"/>
                  </a:lnTo>
                  <a:lnTo>
                    <a:pt x="1543" y="219"/>
                  </a:lnTo>
                  <a:lnTo>
                    <a:pt x="1526" y="210"/>
                  </a:lnTo>
                  <a:lnTo>
                    <a:pt x="1510" y="202"/>
                  </a:lnTo>
                  <a:lnTo>
                    <a:pt x="1500" y="196"/>
                  </a:lnTo>
                  <a:lnTo>
                    <a:pt x="1483" y="187"/>
                  </a:lnTo>
                  <a:lnTo>
                    <a:pt x="1464" y="176"/>
                  </a:lnTo>
                  <a:lnTo>
                    <a:pt x="1443" y="162"/>
                  </a:lnTo>
                  <a:lnTo>
                    <a:pt x="1433" y="156"/>
                  </a:lnTo>
                  <a:lnTo>
                    <a:pt x="1425" y="150"/>
                  </a:lnTo>
                  <a:lnTo>
                    <a:pt x="1418" y="144"/>
                  </a:lnTo>
                  <a:lnTo>
                    <a:pt x="1412" y="137"/>
                  </a:lnTo>
                  <a:lnTo>
                    <a:pt x="1410" y="134"/>
                  </a:lnTo>
                  <a:lnTo>
                    <a:pt x="1409" y="132"/>
                  </a:lnTo>
                  <a:lnTo>
                    <a:pt x="1408" y="129"/>
                  </a:lnTo>
                  <a:lnTo>
                    <a:pt x="1408" y="127"/>
                  </a:lnTo>
                  <a:lnTo>
                    <a:pt x="1409" y="125"/>
                  </a:lnTo>
                  <a:lnTo>
                    <a:pt x="1410" y="123"/>
                  </a:lnTo>
                  <a:lnTo>
                    <a:pt x="1412" y="121"/>
                  </a:lnTo>
                  <a:lnTo>
                    <a:pt x="1416" y="120"/>
                  </a:lnTo>
                  <a:lnTo>
                    <a:pt x="1439" y="111"/>
                  </a:lnTo>
                  <a:lnTo>
                    <a:pt x="1463" y="103"/>
                  </a:lnTo>
                  <a:lnTo>
                    <a:pt x="1474" y="99"/>
                  </a:lnTo>
                  <a:lnTo>
                    <a:pt x="1487" y="95"/>
                  </a:lnTo>
                  <a:lnTo>
                    <a:pt x="1497" y="89"/>
                  </a:lnTo>
                  <a:lnTo>
                    <a:pt x="1506" y="83"/>
                  </a:lnTo>
                  <a:lnTo>
                    <a:pt x="1514" y="78"/>
                  </a:lnTo>
                  <a:lnTo>
                    <a:pt x="1519" y="73"/>
                  </a:lnTo>
                  <a:lnTo>
                    <a:pt x="1522" y="67"/>
                  </a:lnTo>
                  <a:lnTo>
                    <a:pt x="1524" y="61"/>
                  </a:lnTo>
                  <a:lnTo>
                    <a:pt x="1525" y="56"/>
                  </a:lnTo>
                  <a:lnTo>
                    <a:pt x="1524" y="51"/>
                  </a:lnTo>
                  <a:lnTo>
                    <a:pt x="1523" y="45"/>
                  </a:lnTo>
                  <a:lnTo>
                    <a:pt x="1520" y="39"/>
                  </a:lnTo>
                  <a:lnTo>
                    <a:pt x="1517" y="35"/>
                  </a:lnTo>
                  <a:lnTo>
                    <a:pt x="1513" y="30"/>
                  </a:lnTo>
                  <a:lnTo>
                    <a:pt x="1507" y="25"/>
                  </a:lnTo>
                  <a:lnTo>
                    <a:pt x="1501" y="20"/>
                  </a:lnTo>
                  <a:lnTo>
                    <a:pt x="1496" y="17"/>
                  </a:lnTo>
                  <a:lnTo>
                    <a:pt x="1490" y="14"/>
                  </a:lnTo>
                  <a:lnTo>
                    <a:pt x="1483" y="11"/>
                  </a:lnTo>
                  <a:lnTo>
                    <a:pt x="1477" y="9"/>
                  </a:lnTo>
                  <a:lnTo>
                    <a:pt x="1467" y="5"/>
                  </a:lnTo>
                  <a:lnTo>
                    <a:pt x="1459" y="0"/>
                  </a:lnTo>
                  <a:lnTo>
                    <a:pt x="1459" y="0"/>
                  </a:lnTo>
                  <a:lnTo>
                    <a:pt x="1416" y="20"/>
                  </a:lnTo>
                  <a:lnTo>
                    <a:pt x="1407" y="26"/>
                  </a:lnTo>
                  <a:lnTo>
                    <a:pt x="1401" y="32"/>
                  </a:lnTo>
                  <a:lnTo>
                    <a:pt x="1397" y="38"/>
                  </a:lnTo>
                  <a:lnTo>
                    <a:pt x="1394" y="44"/>
                  </a:lnTo>
                  <a:lnTo>
                    <a:pt x="1390" y="58"/>
                  </a:lnTo>
                  <a:lnTo>
                    <a:pt x="1386" y="71"/>
                  </a:lnTo>
                  <a:lnTo>
                    <a:pt x="1385" y="77"/>
                  </a:lnTo>
                  <a:lnTo>
                    <a:pt x="1383" y="82"/>
                  </a:lnTo>
                  <a:lnTo>
                    <a:pt x="1380" y="87"/>
                  </a:lnTo>
                  <a:lnTo>
                    <a:pt x="1376" y="91"/>
                  </a:lnTo>
                  <a:lnTo>
                    <a:pt x="1370" y="95"/>
                  </a:lnTo>
                  <a:lnTo>
                    <a:pt x="1362" y="97"/>
                  </a:lnTo>
                  <a:lnTo>
                    <a:pt x="1353" y="98"/>
                  </a:lnTo>
                  <a:lnTo>
                    <a:pt x="1341" y="98"/>
                  </a:lnTo>
                  <a:lnTo>
                    <a:pt x="1332" y="98"/>
                  </a:lnTo>
                  <a:lnTo>
                    <a:pt x="1325" y="100"/>
                  </a:lnTo>
                  <a:lnTo>
                    <a:pt x="1319" y="102"/>
                  </a:lnTo>
                  <a:lnTo>
                    <a:pt x="1312" y="105"/>
                  </a:lnTo>
                  <a:lnTo>
                    <a:pt x="1307" y="109"/>
                  </a:lnTo>
                  <a:lnTo>
                    <a:pt x="1302" y="114"/>
                  </a:lnTo>
                  <a:lnTo>
                    <a:pt x="1297" y="121"/>
                  </a:lnTo>
                  <a:lnTo>
                    <a:pt x="1293" y="127"/>
                  </a:lnTo>
                  <a:lnTo>
                    <a:pt x="1285" y="141"/>
                  </a:lnTo>
                  <a:lnTo>
                    <a:pt x="1279" y="156"/>
                  </a:lnTo>
                  <a:lnTo>
                    <a:pt x="1274" y="172"/>
                  </a:lnTo>
                  <a:lnTo>
                    <a:pt x="1271" y="186"/>
                  </a:lnTo>
                  <a:lnTo>
                    <a:pt x="1246" y="190"/>
                  </a:lnTo>
                  <a:lnTo>
                    <a:pt x="1211" y="197"/>
                  </a:lnTo>
                  <a:lnTo>
                    <a:pt x="1195" y="201"/>
                  </a:lnTo>
                  <a:lnTo>
                    <a:pt x="1181" y="206"/>
                  </a:lnTo>
                  <a:lnTo>
                    <a:pt x="1175" y="209"/>
                  </a:lnTo>
                  <a:lnTo>
                    <a:pt x="1171" y="213"/>
                  </a:lnTo>
                  <a:lnTo>
                    <a:pt x="1169" y="217"/>
                  </a:lnTo>
                  <a:lnTo>
                    <a:pt x="1167" y="221"/>
                  </a:lnTo>
                  <a:lnTo>
                    <a:pt x="1174" y="225"/>
                  </a:lnTo>
                  <a:lnTo>
                    <a:pt x="1179" y="229"/>
                  </a:lnTo>
                  <a:lnTo>
                    <a:pt x="1185" y="234"/>
                  </a:lnTo>
                  <a:lnTo>
                    <a:pt x="1190" y="240"/>
                  </a:lnTo>
                  <a:lnTo>
                    <a:pt x="1196" y="246"/>
                  </a:lnTo>
                  <a:lnTo>
                    <a:pt x="1200" y="251"/>
                  </a:lnTo>
                  <a:lnTo>
                    <a:pt x="1203" y="257"/>
                  </a:lnTo>
                  <a:lnTo>
                    <a:pt x="1206" y="265"/>
                  </a:lnTo>
                  <a:lnTo>
                    <a:pt x="1208" y="271"/>
                  </a:lnTo>
                  <a:lnTo>
                    <a:pt x="1209" y="277"/>
                  </a:lnTo>
                  <a:lnTo>
                    <a:pt x="1209" y="283"/>
                  </a:lnTo>
                  <a:lnTo>
                    <a:pt x="1209" y="290"/>
                  </a:lnTo>
                  <a:lnTo>
                    <a:pt x="1207" y="296"/>
                  </a:lnTo>
                  <a:lnTo>
                    <a:pt x="1203" y="302"/>
                  </a:lnTo>
                  <a:lnTo>
                    <a:pt x="1199" y="307"/>
                  </a:lnTo>
                  <a:lnTo>
                    <a:pt x="1192" y="314"/>
                  </a:lnTo>
                  <a:lnTo>
                    <a:pt x="1178" y="323"/>
                  </a:lnTo>
                  <a:lnTo>
                    <a:pt x="1157" y="340"/>
                  </a:lnTo>
                  <a:lnTo>
                    <a:pt x="1148" y="348"/>
                  </a:lnTo>
                  <a:lnTo>
                    <a:pt x="1138" y="355"/>
                  </a:lnTo>
                  <a:lnTo>
                    <a:pt x="1135" y="358"/>
                  </a:lnTo>
                  <a:lnTo>
                    <a:pt x="1133" y="362"/>
                  </a:lnTo>
                  <a:lnTo>
                    <a:pt x="1132" y="365"/>
                  </a:lnTo>
                  <a:lnTo>
                    <a:pt x="1132" y="367"/>
                  </a:lnTo>
                  <a:lnTo>
                    <a:pt x="1137" y="381"/>
                  </a:lnTo>
                  <a:lnTo>
                    <a:pt x="1140" y="394"/>
                  </a:lnTo>
                  <a:lnTo>
                    <a:pt x="1142" y="403"/>
                  </a:lnTo>
                  <a:lnTo>
                    <a:pt x="1143" y="412"/>
                  </a:lnTo>
                  <a:lnTo>
                    <a:pt x="1143" y="417"/>
                  </a:lnTo>
                  <a:lnTo>
                    <a:pt x="1141" y="421"/>
                  </a:lnTo>
                  <a:lnTo>
                    <a:pt x="1138" y="423"/>
                  </a:lnTo>
                  <a:lnTo>
                    <a:pt x="1135" y="425"/>
                  </a:lnTo>
                  <a:lnTo>
                    <a:pt x="1124" y="425"/>
                  </a:lnTo>
                  <a:lnTo>
                    <a:pt x="1108" y="425"/>
                  </a:lnTo>
                  <a:lnTo>
                    <a:pt x="1100" y="425"/>
                  </a:lnTo>
                  <a:lnTo>
                    <a:pt x="1089" y="426"/>
                  </a:lnTo>
                  <a:lnTo>
                    <a:pt x="1079" y="427"/>
                  </a:lnTo>
                  <a:lnTo>
                    <a:pt x="1067" y="430"/>
                  </a:lnTo>
                  <a:lnTo>
                    <a:pt x="1059" y="434"/>
                  </a:lnTo>
                  <a:lnTo>
                    <a:pt x="1052" y="437"/>
                  </a:lnTo>
                  <a:lnTo>
                    <a:pt x="1043" y="441"/>
                  </a:lnTo>
                  <a:lnTo>
                    <a:pt x="1036" y="445"/>
                  </a:lnTo>
                  <a:lnTo>
                    <a:pt x="1029" y="450"/>
                  </a:lnTo>
                  <a:lnTo>
                    <a:pt x="1020" y="454"/>
                  </a:lnTo>
                  <a:lnTo>
                    <a:pt x="1012" y="458"/>
                  </a:lnTo>
                  <a:lnTo>
                    <a:pt x="1004" y="461"/>
                  </a:lnTo>
                  <a:lnTo>
                    <a:pt x="932" y="479"/>
                  </a:lnTo>
                  <a:lnTo>
                    <a:pt x="933" y="486"/>
                  </a:lnTo>
                  <a:lnTo>
                    <a:pt x="936" y="492"/>
                  </a:lnTo>
                  <a:lnTo>
                    <a:pt x="940" y="500"/>
                  </a:lnTo>
                  <a:lnTo>
                    <a:pt x="946" y="509"/>
                  </a:lnTo>
                  <a:lnTo>
                    <a:pt x="961" y="527"/>
                  </a:lnTo>
                  <a:lnTo>
                    <a:pt x="978" y="547"/>
                  </a:lnTo>
                  <a:lnTo>
                    <a:pt x="994" y="567"/>
                  </a:lnTo>
                  <a:lnTo>
                    <a:pt x="1010" y="587"/>
                  </a:lnTo>
                  <a:lnTo>
                    <a:pt x="1017" y="596"/>
                  </a:lnTo>
                  <a:lnTo>
                    <a:pt x="1023" y="606"/>
                  </a:lnTo>
                  <a:lnTo>
                    <a:pt x="1027" y="614"/>
                  </a:lnTo>
                  <a:lnTo>
                    <a:pt x="1029" y="621"/>
                  </a:lnTo>
                  <a:lnTo>
                    <a:pt x="1033" y="630"/>
                  </a:lnTo>
                  <a:lnTo>
                    <a:pt x="1037" y="639"/>
                  </a:lnTo>
                  <a:lnTo>
                    <a:pt x="1040" y="647"/>
                  </a:lnTo>
                  <a:lnTo>
                    <a:pt x="1042" y="657"/>
                  </a:lnTo>
                  <a:lnTo>
                    <a:pt x="1044" y="665"/>
                  </a:lnTo>
                  <a:lnTo>
                    <a:pt x="1045" y="675"/>
                  </a:lnTo>
                  <a:lnTo>
                    <a:pt x="1045" y="683"/>
                  </a:lnTo>
                  <a:lnTo>
                    <a:pt x="1044" y="691"/>
                  </a:lnTo>
                  <a:lnTo>
                    <a:pt x="1043" y="700"/>
                  </a:lnTo>
                  <a:lnTo>
                    <a:pt x="1041" y="708"/>
                  </a:lnTo>
                  <a:lnTo>
                    <a:pt x="1038" y="716"/>
                  </a:lnTo>
                  <a:lnTo>
                    <a:pt x="1035" y="725"/>
                  </a:lnTo>
                  <a:lnTo>
                    <a:pt x="1030" y="732"/>
                  </a:lnTo>
                  <a:lnTo>
                    <a:pt x="1025" y="740"/>
                  </a:lnTo>
                  <a:lnTo>
                    <a:pt x="1019" y="748"/>
                  </a:lnTo>
                  <a:lnTo>
                    <a:pt x="1012" y="755"/>
                  </a:lnTo>
                  <a:lnTo>
                    <a:pt x="1006" y="760"/>
                  </a:lnTo>
                  <a:lnTo>
                    <a:pt x="1000" y="765"/>
                  </a:lnTo>
                  <a:lnTo>
                    <a:pt x="992" y="769"/>
                  </a:lnTo>
                  <a:lnTo>
                    <a:pt x="984" y="773"/>
                  </a:lnTo>
                  <a:lnTo>
                    <a:pt x="976" y="776"/>
                  </a:lnTo>
                  <a:lnTo>
                    <a:pt x="967" y="778"/>
                  </a:lnTo>
                  <a:lnTo>
                    <a:pt x="959" y="779"/>
                  </a:lnTo>
                  <a:lnTo>
                    <a:pt x="952" y="779"/>
                  </a:lnTo>
                  <a:lnTo>
                    <a:pt x="945" y="779"/>
                  </a:lnTo>
                  <a:lnTo>
                    <a:pt x="940" y="778"/>
                  </a:lnTo>
                  <a:lnTo>
                    <a:pt x="936" y="776"/>
                  </a:lnTo>
                  <a:lnTo>
                    <a:pt x="933" y="773"/>
                  </a:lnTo>
                  <a:lnTo>
                    <a:pt x="929" y="769"/>
                  </a:lnTo>
                  <a:lnTo>
                    <a:pt x="927" y="765"/>
                  </a:lnTo>
                  <a:lnTo>
                    <a:pt x="925" y="761"/>
                  </a:lnTo>
                  <a:lnTo>
                    <a:pt x="922" y="756"/>
                  </a:lnTo>
                  <a:lnTo>
                    <a:pt x="917" y="735"/>
                  </a:lnTo>
                  <a:lnTo>
                    <a:pt x="911" y="714"/>
                  </a:lnTo>
                  <a:lnTo>
                    <a:pt x="908" y="707"/>
                  </a:lnTo>
                  <a:lnTo>
                    <a:pt x="904" y="702"/>
                  </a:lnTo>
                  <a:lnTo>
                    <a:pt x="902" y="701"/>
                  </a:lnTo>
                  <a:lnTo>
                    <a:pt x="899" y="701"/>
                  </a:lnTo>
                  <a:lnTo>
                    <a:pt x="896" y="701"/>
                  </a:lnTo>
                  <a:lnTo>
                    <a:pt x="894" y="702"/>
                  </a:lnTo>
                  <a:lnTo>
                    <a:pt x="890" y="705"/>
                  </a:lnTo>
                  <a:lnTo>
                    <a:pt x="885" y="709"/>
                  </a:lnTo>
                  <a:lnTo>
                    <a:pt x="880" y="716"/>
                  </a:lnTo>
                  <a:lnTo>
                    <a:pt x="874" y="724"/>
                  </a:lnTo>
                  <a:lnTo>
                    <a:pt x="865" y="741"/>
                  </a:lnTo>
                  <a:lnTo>
                    <a:pt x="856" y="759"/>
                  </a:lnTo>
                  <a:lnTo>
                    <a:pt x="848" y="776"/>
                  </a:lnTo>
                  <a:lnTo>
                    <a:pt x="842" y="787"/>
                  </a:lnTo>
                  <a:lnTo>
                    <a:pt x="839" y="793"/>
                  </a:lnTo>
                  <a:lnTo>
                    <a:pt x="837" y="801"/>
                  </a:lnTo>
                  <a:lnTo>
                    <a:pt x="837" y="809"/>
                  </a:lnTo>
                  <a:lnTo>
                    <a:pt x="837" y="820"/>
                  </a:lnTo>
                  <a:lnTo>
                    <a:pt x="839" y="840"/>
                  </a:lnTo>
                  <a:lnTo>
                    <a:pt x="842" y="863"/>
                  </a:lnTo>
                  <a:lnTo>
                    <a:pt x="844" y="874"/>
                  </a:lnTo>
                  <a:lnTo>
                    <a:pt x="845" y="885"/>
                  </a:lnTo>
                  <a:lnTo>
                    <a:pt x="845" y="896"/>
                  </a:lnTo>
                  <a:lnTo>
                    <a:pt x="845" y="905"/>
                  </a:lnTo>
                  <a:lnTo>
                    <a:pt x="843" y="915"/>
                  </a:lnTo>
                  <a:lnTo>
                    <a:pt x="841" y="923"/>
                  </a:lnTo>
                  <a:lnTo>
                    <a:pt x="839" y="926"/>
                  </a:lnTo>
                  <a:lnTo>
                    <a:pt x="837" y="929"/>
                  </a:lnTo>
                  <a:lnTo>
                    <a:pt x="834" y="932"/>
                  </a:lnTo>
                  <a:lnTo>
                    <a:pt x="831" y="934"/>
                  </a:lnTo>
                  <a:lnTo>
                    <a:pt x="830" y="939"/>
                  </a:lnTo>
                  <a:lnTo>
                    <a:pt x="827" y="943"/>
                  </a:lnTo>
                  <a:lnTo>
                    <a:pt x="822" y="946"/>
                  </a:lnTo>
                  <a:lnTo>
                    <a:pt x="817" y="949"/>
                  </a:lnTo>
                  <a:lnTo>
                    <a:pt x="812" y="951"/>
                  </a:lnTo>
                  <a:lnTo>
                    <a:pt x="807" y="953"/>
                  </a:lnTo>
                  <a:lnTo>
                    <a:pt x="801" y="953"/>
                  </a:lnTo>
                  <a:lnTo>
                    <a:pt x="797" y="954"/>
                  </a:lnTo>
                  <a:lnTo>
                    <a:pt x="794" y="953"/>
                  </a:lnTo>
                  <a:lnTo>
                    <a:pt x="791" y="952"/>
                  </a:lnTo>
                  <a:lnTo>
                    <a:pt x="789" y="949"/>
                  </a:lnTo>
                  <a:lnTo>
                    <a:pt x="787" y="946"/>
                  </a:lnTo>
                  <a:lnTo>
                    <a:pt x="783" y="939"/>
                  </a:lnTo>
                  <a:lnTo>
                    <a:pt x="780" y="928"/>
                  </a:lnTo>
                  <a:lnTo>
                    <a:pt x="775" y="908"/>
                  </a:lnTo>
                  <a:lnTo>
                    <a:pt x="772" y="893"/>
                  </a:lnTo>
                  <a:lnTo>
                    <a:pt x="768" y="883"/>
                  </a:lnTo>
                  <a:lnTo>
                    <a:pt x="761" y="872"/>
                  </a:lnTo>
                  <a:lnTo>
                    <a:pt x="750" y="860"/>
                  </a:lnTo>
                  <a:lnTo>
                    <a:pt x="738" y="849"/>
                  </a:lnTo>
                  <a:lnTo>
                    <a:pt x="733" y="844"/>
                  </a:lnTo>
                  <a:lnTo>
                    <a:pt x="726" y="838"/>
                  </a:lnTo>
                  <a:lnTo>
                    <a:pt x="720" y="835"/>
                  </a:lnTo>
                  <a:lnTo>
                    <a:pt x="714" y="832"/>
                  </a:lnTo>
                  <a:lnTo>
                    <a:pt x="709" y="830"/>
                  </a:lnTo>
                  <a:lnTo>
                    <a:pt x="703" y="829"/>
                  </a:lnTo>
                  <a:lnTo>
                    <a:pt x="698" y="829"/>
                  </a:lnTo>
                  <a:lnTo>
                    <a:pt x="695" y="831"/>
                  </a:lnTo>
                  <a:lnTo>
                    <a:pt x="689" y="835"/>
                  </a:lnTo>
                  <a:lnTo>
                    <a:pt x="683" y="838"/>
                  </a:lnTo>
                  <a:lnTo>
                    <a:pt x="675" y="841"/>
                  </a:lnTo>
                  <a:lnTo>
                    <a:pt x="668" y="845"/>
                  </a:lnTo>
                  <a:lnTo>
                    <a:pt x="653" y="849"/>
                  </a:lnTo>
                  <a:lnTo>
                    <a:pt x="638" y="852"/>
                  </a:lnTo>
                  <a:lnTo>
                    <a:pt x="623" y="856"/>
                  </a:lnTo>
                  <a:lnTo>
                    <a:pt x="609" y="860"/>
                  </a:lnTo>
                  <a:lnTo>
                    <a:pt x="602" y="862"/>
                  </a:lnTo>
                  <a:lnTo>
                    <a:pt x="596" y="865"/>
                  </a:lnTo>
                  <a:lnTo>
                    <a:pt x="591" y="870"/>
                  </a:lnTo>
                  <a:lnTo>
                    <a:pt x="586" y="874"/>
                  </a:lnTo>
                  <a:lnTo>
                    <a:pt x="587" y="880"/>
                  </a:lnTo>
                  <a:lnTo>
                    <a:pt x="590" y="887"/>
                  </a:lnTo>
                  <a:lnTo>
                    <a:pt x="593" y="894"/>
                  </a:lnTo>
                  <a:lnTo>
                    <a:pt x="597" y="901"/>
                  </a:lnTo>
                  <a:lnTo>
                    <a:pt x="600" y="908"/>
                  </a:lnTo>
                  <a:lnTo>
                    <a:pt x="601" y="916"/>
                  </a:lnTo>
                  <a:lnTo>
                    <a:pt x="601" y="920"/>
                  </a:lnTo>
                  <a:lnTo>
                    <a:pt x="601" y="923"/>
                  </a:lnTo>
                  <a:lnTo>
                    <a:pt x="599" y="927"/>
                  </a:lnTo>
                  <a:lnTo>
                    <a:pt x="597" y="931"/>
                  </a:lnTo>
                  <a:lnTo>
                    <a:pt x="588" y="947"/>
                  </a:lnTo>
                  <a:lnTo>
                    <a:pt x="576" y="965"/>
                  </a:lnTo>
                  <a:lnTo>
                    <a:pt x="570" y="973"/>
                  </a:lnTo>
                  <a:lnTo>
                    <a:pt x="563" y="980"/>
                  </a:lnTo>
                  <a:lnTo>
                    <a:pt x="555" y="986"/>
                  </a:lnTo>
                  <a:lnTo>
                    <a:pt x="548" y="992"/>
                  </a:lnTo>
                  <a:lnTo>
                    <a:pt x="545" y="999"/>
                  </a:lnTo>
                  <a:lnTo>
                    <a:pt x="541" y="1006"/>
                  </a:lnTo>
                  <a:lnTo>
                    <a:pt x="536" y="1014"/>
                  </a:lnTo>
                  <a:lnTo>
                    <a:pt x="530" y="1020"/>
                  </a:lnTo>
                  <a:lnTo>
                    <a:pt x="524" y="1026"/>
                  </a:lnTo>
                  <a:lnTo>
                    <a:pt x="518" y="1031"/>
                  </a:lnTo>
                  <a:lnTo>
                    <a:pt x="511" y="1037"/>
                  </a:lnTo>
                  <a:lnTo>
                    <a:pt x="504" y="1041"/>
                  </a:lnTo>
                  <a:lnTo>
                    <a:pt x="498" y="1044"/>
                  </a:lnTo>
                  <a:lnTo>
                    <a:pt x="491" y="1045"/>
                  </a:lnTo>
                  <a:lnTo>
                    <a:pt x="482" y="1046"/>
                  </a:lnTo>
                  <a:lnTo>
                    <a:pt x="475" y="1046"/>
                  </a:lnTo>
                  <a:lnTo>
                    <a:pt x="468" y="1046"/>
                  </a:lnTo>
                  <a:lnTo>
                    <a:pt x="461" y="1046"/>
                  </a:lnTo>
                  <a:lnTo>
                    <a:pt x="455" y="1047"/>
                  </a:lnTo>
                  <a:lnTo>
                    <a:pt x="450" y="1049"/>
                  </a:lnTo>
                  <a:lnTo>
                    <a:pt x="449" y="1061"/>
                  </a:lnTo>
                  <a:lnTo>
                    <a:pt x="446" y="1075"/>
                  </a:lnTo>
                  <a:lnTo>
                    <a:pt x="441" y="1090"/>
                  </a:lnTo>
                  <a:lnTo>
                    <a:pt x="434" y="1105"/>
                  </a:lnTo>
                  <a:lnTo>
                    <a:pt x="427" y="1121"/>
                  </a:lnTo>
                  <a:lnTo>
                    <a:pt x="419" y="1136"/>
                  </a:lnTo>
                  <a:lnTo>
                    <a:pt x="412" y="1148"/>
                  </a:lnTo>
                  <a:lnTo>
                    <a:pt x="405" y="1158"/>
                  </a:lnTo>
                  <a:lnTo>
                    <a:pt x="401" y="1163"/>
                  </a:lnTo>
                  <a:lnTo>
                    <a:pt x="396" y="1166"/>
                  </a:lnTo>
                  <a:lnTo>
                    <a:pt x="391" y="1169"/>
                  </a:lnTo>
                  <a:lnTo>
                    <a:pt x="385" y="1172"/>
                  </a:lnTo>
                  <a:lnTo>
                    <a:pt x="374" y="1175"/>
                  </a:lnTo>
                  <a:lnTo>
                    <a:pt x="361" y="1177"/>
                  </a:lnTo>
                  <a:lnTo>
                    <a:pt x="349" y="1178"/>
                  </a:lnTo>
                  <a:lnTo>
                    <a:pt x="335" y="1181"/>
                  </a:lnTo>
                  <a:lnTo>
                    <a:pt x="323" y="1182"/>
                  </a:lnTo>
                  <a:lnTo>
                    <a:pt x="310" y="1185"/>
                  </a:lnTo>
                  <a:lnTo>
                    <a:pt x="291" y="1193"/>
                  </a:lnTo>
                  <a:lnTo>
                    <a:pt x="273" y="1201"/>
                  </a:lnTo>
                  <a:lnTo>
                    <a:pt x="263" y="1203"/>
                  </a:lnTo>
                  <a:lnTo>
                    <a:pt x="254" y="1206"/>
                  </a:lnTo>
                  <a:lnTo>
                    <a:pt x="244" y="1206"/>
                  </a:lnTo>
                  <a:lnTo>
                    <a:pt x="232" y="1203"/>
                  </a:lnTo>
                  <a:lnTo>
                    <a:pt x="218" y="1201"/>
                  </a:lnTo>
                  <a:lnTo>
                    <a:pt x="204" y="1199"/>
                  </a:lnTo>
                  <a:lnTo>
                    <a:pt x="190" y="1198"/>
                  </a:lnTo>
                  <a:lnTo>
                    <a:pt x="178" y="1197"/>
                  </a:lnTo>
                  <a:lnTo>
                    <a:pt x="151" y="1197"/>
                  </a:lnTo>
                  <a:lnTo>
                    <a:pt x="123" y="1197"/>
                  </a:lnTo>
                  <a:lnTo>
                    <a:pt x="109" y="1198"/>
                  </a:lnTo>
                  <a:lnTo>
                    <a:pt x="98" y="1200"/>
                  </a:lnTo>
                  <a:lnTo>
                    <a:pt x="86" y="1203"/>
                  </a:lnTo>
                  <a:lnTo>
                    <a:pt x="76" y="1209"/>
                  </a:lnTo>
                  <a:lnTo>
                    <a:pt x="65" y="1215"/>
                  </a:lnTo>
                  <a:lnTo>
                    <a:pt x="56" y="1222"/>
                  </a:lnTo>
                  <a:lnTo>
                    <a:pt x="47" y="1232"/>
                  </a:lnTo>
                  <a:lnTo>
                    <a:pt x="38" y="1242"/>
                  </a:lnTo>
                  <a:lnTo>
                    <a:pt x="38" y="1242"/>
                  </a:lnTo>
                  <a:lnTo>
                    <a:pt x="61" y="1305"/>
                  </a:lnTo>
                  <a:lnTo>
                    <a:pt x="61" y="1305"/>
                  </a:lnTo>
                  <a:lnTo>
                    <a:pt x="76" y="1312"/>
                  </a:lnTo>
                  <a:lnTo>
                    <a:pt x="89" y="1320"/>
                  </a:lnTo>
                  <a:lnTo>
                    <a:pt x="96" y="1323"/>
                  </a:lnTo>
                  <a:lnTo>
                    <a:pt x="103" y="1327"/>
                  </a:lnTo>
                  <a:lnTo>
                    <a:pt x="111" y="1330"/>
                  </a:lnTo>
                  <a:lnTo>
                    <a:pt x="120" y="1331"/>
                  </a:lnTo>
                  <a:lnTo>
                    <a:pt x="128" y="1333"/>
                  </a:lnTo>
                  <a:lnTo>
                    <a:pt x="135" y="1334"/>
                  </a:lnTo>
                  <a:lnTo>
                    <a:pt x="141" y="1336"/>
                  </a:lnTo>
                  <a:lnTo>
                    <a:pt x="148" y="1339"/>
                  </a:lnTo>
                  <a:lnTo>
                    <a:pt x="159" y="1344"/>
                  </a:lnTo>
                  <a:lnTo>
                    <a:pt x="172" y="1353"/>
                  </a:lnTo>
                  <a:lnTo>
                    <a:pt x="171" y="1365"/>
                  </a:lnTo>
                  <a:lnTo>
                    <a:pt x="168" y="1379"/>
                  </a:lnTo>
                  <a:lnTo>
                    <a:pt x="164" y="1391"/>
                  </a:lnTo>
                  <a:lnTo>
                    <a:pt x="163" y="1406"/>
                  </a:lnTo>
                  <a:lnTo>
                    <a:pt x="163" y="1412"/>
                  </a:lnTo>
                  <a:lnTo>
                    <a:pt x="165" y="1417"/>
                  </a:lnTo>
                  <a:lnTo>
                    <a:pt x="168" y="1423"/>
                  </a:lnTo>
                  <a:lnTo>
                    <a:pt x="170" y="1428"/>
                  </a:lnTo>
                  <a:lnTo>
                    <a:pt x="176" y="1437"/>
                  </a:lnTo>
                  <a:lnTo>
                    <a:pt x="180" y="1448"/>
                  </a:lnTo>
                  <a:lnTo>
                    <a:pt x="183" y="1463"/>
                  </a:lnTo>
                  <a:lnTo>
                    <a:pt x="186" y="1477"/>
                  </a:lnTo>
                  <a:lnTo>
                    <a:pt x="187" y="1484"/>
                  </a:lnTo>
                  <a:lnTo>
                    <a:pt x="190" y="1491"/>
                  </a:lnTo>
                  <a:lnTo>
                    <a:pt x="194" y="1498"/>
                  </a:lnTo>
                  <a:lnTo>
                    <a:pt x="198" y="1505"/>
                  </a:lnTo>
                  <a:lnTo>
                    <a:pt x="209" y="1516"/>
                  </a:lnTo>
                  <a:lnTo>
                    <a:pt x="222" y="1527"/>
                  </a:lnTo>
                  <a:lnTo>
                    <a:pt x="227" y="1532"/>
                  </a:lnTo>
                  <a:lnTo>
                    <a:pt x="232" y="1538"/>
                  </a:lnTo>
                  <a:lnTo>
                    <a:pt x="233" y="1541"/>
                  </a:lnTo>
                  <a:lnTo>
                    <a:pt x="235" y="1545"/>
                  </a:lnTo>
                  <a:lnTo>
                    <a:pt x="235" y="1549"/>
                  </a:lnTo>
                  <a:lnTo>
                    <a:pt x="236" y="1552"/>
                  </a:lnTo>
                  <a:lnTo>
                    <a:pt x="226" y="1567"/>
                  </a:lnTo>
                  <a:lnTo>
                    <a:pt x="213" y="1580"/>
                  </a:lnTo>
                  <a:lnTo>
                    <a:pt x="208" y="1586"/>
                  </a:lnTo>
                  <a:lnTo>
                    <a:pt x="203" y="1594"/>
                  </a:lnTo>
                  <a:lnTo>
                    <a:pt x="198" y="1601"/>
                  </a:lnTo>
                  <a:lnTo>
                    <a:pt x="195" y="1609"/>
                  </a:lnTo>
                  <a:lnTo>
                    <a:pt x="182" y="1645"/>
                  </a:lnTo>
                  <a:lnTo>
                    <a:pt x="168" y="1677"/>
                  </a:lnTo>
                  <a:lnTo>
                    <a:pt x="159" y="1693"/>
                  </a:lnTo>
                  <a:lnTo>
                    <a:pt x="150" y="1708"/>
                  </a:lnTo>
                  <a:lnTo>
                    <a:pt x="139" y="1723"/>
                  </a:lnTo>
                  <a:lnTo>
                    <a:pt x="127" y="1737"/>
                  </a:lnTo>
                  <a:lnTo>
                    <a:pt x="122" y="1742"/>
                  </a:lnTo>
                  <a:lnTo>
                    <a:pt x="113" y="1746"/>
                  </a:lnTo>
                  <a:lnTo>
                    <a:pt x="105" y="1749"/>
                  </a:lnTo>
                  <a:lnTo>
                    <a:pt x="96" y="1752"/>
                  </a:lnTo>
                  <a:lnTo>
                    <a:pt x="75" y="1755"/>
                  </a:lnTo>
                  <a:lnTo>
                    <a:pt x="53" y="1758"/>
                  </a:lnTo>
                  <a:lnTo>
                    <a:pt x="33" y="1760"/>
                  </a:lnTo>
                  <a:lnTo>
                    <a:pt x="15" y="1761"/>
                  </a:lnTo>
                  <a:lnTo>
                    <a:pt x="9" y="1762"/>
                  </a:lnTo>
                  <a:lnTo>
                    <a:pt x="4" y="1763"/>
                  </a:lnTo>
                  <a:lnTo>
                    <a:pt x="1" y="1765"/>
                  </a:lnTo>
                  <a:lnTo>
                    <a:pt x="0" y="1766"/>
                  </a:lnTo>
                  <a:lnTo>
                    <a:pt x="3" y="1769"/>
                  </a:lnTo>
                  <a:lnTo>
                    <a:pt x="6" y="1772"/>
                  </a:lnTo>
                  <a:lnTo>
                    <a:pt x="8" y="1776"/>
                  </a:lnTo>
                  <a:lnTo>
                    <a:pt x="11" y="1781"/>
                  </a:lnTo>
                  <a:lnTo>
                    <a:pt x="16" y="1794"/>
                  </a:lnTo>
                  <a:lnTo>
                    <a:pt x="21" y="1808"/>
                  </a:lnTo>
                  <a:lnTo>
                    <a:pt x="26" y="1823"/>
                  </a:lnTo>
                  <a:lnTo>
                    <a:pt x="29" y="1841"/>
                  </a:lnTo>
                  <a:lnTo>
                    <a:pt x="33" y="1860"/>
                  </a:lnTo>
                  <a:lnTo>
                    <a:pt x="36" y="1878"/>
                  </a:lnTo>
                  <a:lnTo>
                    <a:pt x="41" y="1917"/>
                  </a:lnTo>
                  <a:lnTo>
                    <a:pt x="45" y="1954"/>
                  </a:lnTo>
                  <a:lnTo>
                    <a:pt x="47" y="1984"/>
                  </a:lnTo>
                  <a:lnTo>
                    <a:pt x="48" y="2005"/>
                  </a:lnTo>
                  <a:lnTo>
                    <a:pt x="47" y="2015"/>
                  </a:lnTo>
                  <a:lnTo>
                    <a:pt x="47" y="2022"/>
                  </a:lnTo>
                  <a:lnTo>
                    <a:pt x="48" y="2029"/>
                  </a:lnTo>
                  <a:lnTo>
                    <a:pt x="50" y="2033"/>
                  </a:lnTo>
                  <a:lnTo>
                    <a:pt x="53" y="2035"/>
                  </a:lnTo>
                  <a:lnTo>
                    <a:pt x="57" y="2037"/>
                  </a:lnTo>
                  <a:lnTo>
                    <a:pt x="60" y="2038"/>
                  </a:lnTo>
                  <a:lnTo>
                    <a:pt x="64" y="2038"/>
                  </a:lnTo>
                  <a:lnTo>
                    <a:pt x="67" y="2039"/>
                  </a:lnTo>
                  <a:lnTo>
                    <a:pt x="71" y="2040"/>
                  </a:lnTo>
                  <a:lnTo>
                    <a:pt x="73" y="2042"/>
                  </a:lnTo>
                  <a:lnTo>
                    <a:pt x="74" y="2044"/>
                  </a:lnTo>
                  <a:lnTo>
                    <a:pt x="74" y="2050"/>
                  </a:lnTo>
                  <a:lnTo>
                    <a:pt x="73" y="2055"/>
                  </a:lnTo>
                  <a:lnTo>
                    <a:pt x="70" y="2063"/>
                  </a:lnTo>
                  <a:lnTo>
                    <a:pt x="64" y="2075"/>
                  </a:lnTo>
                  <a:lnTo>
                    <a:pt x="58" y="2084"/>
                  </a:lnTo>
                  <a:lnTo>
                    <a:pt x="53" y="2098"/>
                  </a:lnTo>
                  <a:lnTo>
                    <a:pt x="51" y="2104"/>
                  </a:lnTo>
                  <a:lnTo>
                    <a:pt x="51" y="2110"/>
                  </a:lnTo>
                  <a:lnTo>
                    <a:pt x="52" y="2112"/>
                  </a:lnTo>
                  <a:lnTo>
                    <a:pt x="54" y="2114"/>
                  </a:lnTo>
                  <a:lnTo>
                    <a:pt x="56" y="2115"/>
                  </a:lnTo>
                  <a:lnTo>
                    <a:pt x="59" y="2116"/>
                  </a:lnTo>
                  <a:lnTo>
                    <a:pt x="65" y="2117"/>
                  </a:lnTo>
                  <a:lnTo>
                    <a:pt x="74" y="2115"/>
                  </a:lnTo>
                  <a:lnTo>
                    <a:pt x="81" y="2113"/>
                  </a:lnTo>
                  <a:lnTo>
                    <a:pt x="89" y="2111"/>
                  </a:lnTo>
                  <a:lnTo>
                    <a:pt x="98" y="2109"/>
                  </a:lnTo>
                  <a:lnTo>
                    <a:pt x="105" y="2107"/>
                  </a:lnTo>
                  <a:lnTo>
                    <a:pt x="109" y="2107"/>
                  </a:lnTo>
                  <a:lnTo>
                    <a:pt x="112" y="2107"/>
                  </a:lnTo>
                  <a:lnTo>
                    <a:pt x="116" y="2108"/>
                  </a:lnTo>
                  <a:lnTo>
                    <a:pt x="120" y="2110"/>
                  </a:lnTo>
                  <a:lnTo>
                    <a:pt x="129" y="2116"/>
                  </a:lnTo>
                  <a:lnTo>
                    <a:pt x="137" y="2124"/>
                  </a:lnTo>
                  <a:lnTo>
                    <a:pt x="146" y="2133"/>
                  </a:lnTo>
                  <a:lnTo>
                    <a:pt x="154" y="2143"/>
                  </a:lnTo>
                  <a:lnTo>
                    <a:pt x="169" y="2166"/>
                  </a:lnTo>
                  <a:lnTo>
                    <a:pt x="183" y="2190"/>
                  </a:lnTo>
                  <a:lnTo>
                    <a:pt x="192" y="2203"/>
                  </a:lnTo>
                  <a:lnTo>
                    <a:pt x="199" y="2213"/>
                  </a:lnTo>
                  <a:lnTo>
                    <a:pt x="208" y="2225"/>
                  </a:lnTo>
                  <a:lnTo>
                    <a:pt x="217" y="2234"/>
                  </a:lnTo>
                  <a:lnTo>
                    <a:pt x="227" y="2242"/>
                  </a:lnTo>
                  <a:lnTo>
                    <a:pt x="238" y="2248"/>
                  </a:lnTo>
                  <a:lnTo>
                    <a:pt x="245" y="2251"/>
                  </a:lnTo>
                  <a:lnTo>
                    <a:pt x="251" y="2253"/>
                  </a:lnTo>
                  <a:lnTo>
                    <a:pt x="257" y="2254"/>
                  </a:lnTo>
                  <a:lnTo>
                    <a:pt x="265" y="2255"/>
                  </a:lnTo>
                  <a:lnTo>
                    <a:pt x="274" y="2257"/>
                  </a:lnTo>
                  <a:lnTo>
                    <a:pt x="281" y="2259"/>
                  </a:lnTo>
                  <a:lnTo>
                    <a:pt x="287" y="2262"/>
                  </a:lnTo>
                  <a:lnTo>
                    <a:pt x="293" y="2266"/>
                  </a:lnTo>
                  <a:lnTo>
                    <a:pt x="295" y="2270"/>
                  </a:lnTo>
                  <a:lnTo>
                    <a:pt x="297" y="2275"/>
                  </a:lnTo>
                  <a:lnTo>
                    <a:pt x="298" y="2280"/>
                  </a:lnTo>
                  <a:lnTo>
                    <a:pt x="298" y="2286"/>
                  </a:lnTo>
                  <a:lnTo>
                    <a:pt x="293" y="2316"/>
                  </a:lnTo>
                  <a:lnTo>
                    <a:pt x="289" y="2350"/>
                  </a:lnTo>
                  <a:lnTo>
                    <a:pt x="290" y="2354"/>
                  </a:lnTo>
                  <a:lnTo>
                    <a:pt x="291" y="2359"/>
                  </a:lnTo>
                  <a:lnTo>
                    <a:pt x="294" y="2364"/>
                  </a:lnTo>
                  <a:lnTo>
                    <a:pt x="298" y="2368"/>
                  </a:lnTo>
                  <a:lnTo>
                    <a:pt x="307" y="2375"/>
                  </a:lnTo>
                  <a:lnTo>
                    <a:pt x="319" y="2383"/>
                  </a:lnTo>
                  <a:lnTo>
                    <a:pt x="344" y="2397"/>
                  </a:lnTo>
                  <a:lnTo>
                    <a:pt x="364" y="2409"/>
                  </a:lnTo>
                  <a:lnTo>
                    <a:pt x="369" y="2413"/>
                  </a:lnTo>
                  <a:lnTo>
                    <a:pt x="373" y="2415"/>
                  </a:lnTo>
                  <a:lnTo>
                    <a:pt x="377" y="2416"/>
                  </a:lnTo>
                  <a:lnTo>
                    <a:pt x="381" y="2417"/>
                  </a:lnTo>
                  <a:lnTo>
                    <a:pt x="390" y="2416"/>
                  </a:lnTo>
                  <a:lnTo>
                    <a:pt x="398" y="2413"/>
                  </a:lnTo>
                  <a:lnTo>
                    <a:pt x="405" y="2409"/>
                  </a:lnTo>
                  <a:lnTo>
                    <a:pt x="414" y="2405"/>
                  </a:lnTo>
                  <a:lnTo>
                    <a:pt x="422" y="2402"/>
                  </a:lnTo>
                  <a:lnTo>
                    <a:pt x="431" y="2401"/>
                  </a:lnTo>
                  <a:lnTo>
                    <a:pt x="440" y="2402"/>
                  </a:lnTo>
                  <a:lnTo>
                    <a:pt x="448" y="2403"/>
                  </a:lnTo>
                  <a:lnTo>
                    <a:pt x="456" y="2405"/>
                  </a:lnTo>
                  <a:lnTo>
                    <a:pt x="465" y="2407"/>
                  </a:lnTo>
                  <a:lnTo>
                    <a:pt x="473" y="2411"/>
                  </a:lnTo>
                  <a:lnTo>
                    <a:pt x="482" y="2413"/>
                  </a:lnTo>
                  <a:lnTo>
                    <a:pt x="492" y="2414"/>
                  </a:lnTo>
                  <a:lnTo>
                    <a:pt x="501" y="2414"/>
                  </a:lnTo>
                  <a:lnTo>
                    <a:pt x="530" y="2414"/>
                  </a:lnTo>
                  <a:lnTo>
                    <a:pt x="560" y="2413"/>
                  </a:lnTo>
                  <a:lnTo>
                    <a:pt x="574" y="2413"/>
                  </a:lnTo>
                  <a:lnTo>
                    <a:pt x="589" y="2411"/>
                  </a:lnTo>
                  <a:lnTo>
                    <a:pt x="602" y="2408"/>
                  </a:lnTo>
                  <a:lnTo>
                    <a:pt x="617" y="2406"/>
                  </a:lnTo>
                  <a:lnTo>
                    <a:pt x="629" y="2404"/>
                  </a:lnTo>
                  <a:lnTo>
                    <a:pt x="639" y="2402"/>
                  </a:lnTo>
                  <a:lnTo>
                    <a:pt x="646" y="2402"/>
                  </a:lnTo>
                  <a:lnTo>
                    <a:pt x="651" y="2403"/>
                  </a:lnTo>
                  <a:lnTo>
                    <a:pt x="664" y="2407"/>
                  </a:lnTo>
                  <a:lnTo>
                    <a:pt x="684" y="2414"/>
                  </a:lnTo>
                  <a:lnTo>
                    <a:pt x="683" y="2419"/>
                  </a:lnTo>
                  <a:lnTo>
                    <a:pt x="681" y="2425"/>
                  </a:lnTo>
                  <a:lnTo>
                    <a:pt x="677" y="2430"/>
                  </a:lnTo>
                  <a:lnTo>
                    <a:pt x="674" y="2437"/>
                  </a:lnTo>
                  <a:lnTo>
                    <a:pt x="665" y="2448"/>
                  </a:lnTo>
                  <a:lnTo>
                    <a:pt x="653" y="2460"/>
                  </a:lnTo>
                  <a:lnTo>
                    <a:pt x="643" y="2471"/>
                  </a:lnTo>
                  <a:lnTo>
                    <a:pt x="634" y="2485"/>
                  </a:lnTo>
                  <a:lnTo>
                    <a:pt x="629" y="2492"/>
                  </a:lnTo>
                  <a:lnTo>
                    <a:pt x="627" y="2499"/>
                  </a:lnTo>
                  <a:lnTo>
                    <a:pt x="625" y="2507"/>
                  </a:lnTo>
                  <a:lnTo>
                    <a:pt x="624" y="2515"/>
                  </a:lnTo>
                  <a:lnTo>
                    <a:pt x="623" y="2522"/>
                  </a:lnTo>
                  <a:lnTo>
                    <a:pt x="624" y="2529"/>
                  </a:lnTo>
                  <a:lnTo>
                    <a:pt x="625" y="2536"/>
                  </a:lnTo>
                  <a:lnTo>
                    <a:pt x="627" y="2542"/>
                  </a:lnTo>
                  <a:lnTo>
                    <a:pt x="629" y="2547"/>
                  </a:lnTo>
                  <a:lnTo>
                    <a:pt x="634" y="2551"/>
                  </a:lnTo>
                  <a:lnTo>
                    <a:pt x="637" y="2557"/>
                  </a:lnTo>
                  <a:lnTo>
                    <a:pt x="642" y="2560"/>
                  </a:lnTo>
                  <a:lnTo>
                    <a:pt x="662" y="2573"/>
                  </a:lnTo>
                  <a:lnTo>
                    <a:pt x="682" y="2587"/>
                  </a:lnTo>
                  <a:lnTo>
                    <a:pt x="695" y="2589"/>
                  </a:lnTo>
                  <a:lnTo>
                    <a:pt x="709" y="2592"/>
                  </a:lnTo>
                  <a:lnTo>
                    <a:pt x="709" y="2592"/>
                  </a:lnTo>
                  <a:lnTo>
                    <a:pt x="723" y="2578"/>
                  </a:lnTo>
                  <a:lnTo>
                    <a:pt x="736" y="2565"/>
                  </a:lnTo>
                  <a:lnTo>
                    <a:pt x="741" y="2559"/>
                  </a:lnTo>
                  <a:lnTo>
                    <a:pt x="745" y="2550"/>
                  </a:lnTo>
                  <a:lnTo>
                    <a:pt x="749" y="2543"/>
                  </a:lnTo>
                  <a:lnTo>
                    <a:pt x="754" y="2534"/>
                  </a:lnTo>
                  <a:lnTo>
                    <a:pt x="759" y="2520"/>
                  </a:lnTo>
                  <a:lnTo>
                    <a:pt x="767" y="2499"/>
                  </a:lnTo>
                  <a:lnTo>
                    <a:pt x="772" y="2490"/>
                  </a:lnTo>
                  <a:lnTo>
                    <a:pt x="776" y="2481"/>
                  </a:lnTo>
                  <a:lnTo>
                    <a:pt x="779" y="2477"/>
                  </a:lnTo>
                  <a:lnTo>
                    <a:pt x="781" y="2475"/>
                  </a:lnTo>
                  <a:lnTo>
                    <a:pt x="783" y="2473"/>
                  </a:lnTo>
                  <a:lnTo>
                    <a:pt x="785" y="2473"/>
                  </a:lnTo>
                  <a:lnTo>
                    <a:pt x="787" y="2479"/>
                  </a:lnTo>
                  <a:lnTo>
                    <a:pt x="792" y="2488"/>
                  </a:lnTo>
                  <a:lnTo>
                    <a:pt x="800" y="2499"/>
                  </a:lnTo>
                  <a:lnTo>
                    <a:pt x="811" y="2510"/>
                  </a:lnTo>
                  <a:lnTo>
                    <a:pt x="821" y="2521"/>
                  </a:lnTo>
                  <a:lnTo>
                    <a:pt x="832" y="2531"/>
                  </a:lnTo>
                  <a:lnTo>
                    <a:pt x="840" y="2537"/>
                  </a:lnTo>
                  <a:lnTo>
                    <a:pt x="846" y="2540"/>
                  </a:lnTo>
                  <a:lnTo>
                    <a:pt x="862" y="2542"/>
                  </a:lnTo>
                  <a:lnTo>
                    <a:pt x="877" y="2542"/>
                  </a:lnTo>
                  <a:lnTo>
                    <a:pt x="891" y="2541"/>
                  </a:lnTo>
                  <a:lnTo>
                    <a:pt x="906" y="2540"/>
                  </a:lnTo>
                  <a:lnTo>
                    <a:pt x="935" y="2537"/>
                  </a:lnTo>
                  <a:lnTo>
                    <a:pt x="965" y="2535"/>
                  </a:lnTo>
                  <a:lnTo>
                    <a:pt x="970" y="2536"/>
                  </a:lnTo>
                  <a:lnTo>
                    <a:pt x="977" y="2539"/>
                  </a:lnTo>
                  <a:lnTo>
                    <a:pt x="985" y="2543"/>
                  </a:lnTo>
                  <a:lnTo>
                    <a:pt x="993" y="2548"/>
                  </a:lnTo>
                  <a:lnTo>
                    <a:pt x="1013" y="2562"/>
                  </a:lnTo>
                  <a:lnTo>
                    <a:pt x="1035" y="2578"/>
                  </a:lnTo>
                  <a:lnTo>
                    <a:pt x="1077" y="2612"/>
                  </a:lnTo>
                  <a:lnTo>
                    <a:pt x="1106" y="2636"/>
                  </a:lnTo>
                  <a:lnTo>
                    <a:pt x="1111" y="2641"/>
                  </a:lnTo>
                  <a:lnTo>
                    <a:pt x="1116" y="2646"/>
                  </a:lnTo>
                  <a:lnTo>
                    <a:pt x="1121" y="2653"/>
                  </a:lnTo>
                  <a:lnTo>
                    <a:pt x="1124" y="2659"/>
                  </a:lnTo>
                  <a:lnTo>
                    <a:pt x="1129" y="2672"/>
                  </a:lnTo>
                  <a:lnTo>
                    <a:pt x="1133" y="2687"/>
                  </a:lnTo>
                  <a:lnTo>
                    <a:pt x="1137" y="2700"/>
                  </a:lnTo>
                  <a:lnTo>
                    <a:pt x="1142" y="2711"/>
                  </a:lnTo>
                  <a:lnTo>
                    <a:pt x="1146" y="2716"/>
                  </a:lnTo>
                  <a:lnTo>
                    <a:pt x="1150" y="2721"/>
                  </a:lnTo>
                  <a:lnTo>
                    <a:pt x="1154" y="2725"/>
                  </a:lnTo>
                  <a:lnTo>
                    <a:pt x="1160" y="2728"/>
                  </a:lnTo>
                  <a:lnTo>
                    <a:pt x="1177" y="2736"/>
                  </a:lnTo>
                  <a:lnTo>
                    <a:pt x="1197" y="2746"/>
                  </a:lnTo>
                  <a:lnTo>
                    <a:pt x="1206" y="2753"/>
                  </a:lnTo>
                  <a:lnTo>
                    <a:pt x="1213" y="2760"/>
                  </a:lnTo>
                  <a:lnTo>
                    <a:pt x="1216" y="2763"/>
                  </a:lnTo>
                  <a:lnTo>
                    <a:pt x="1220" y="2767"/>
                  </a:lnTo>
                  <a:lnTo>
                    <a:pt x="1221" y="2770"/>
                  </a:lnTo>
                  <a:lnTo>
                    <a:pt x="1223" y="2775"/>
                  </a:lnTo>
                  <a:lnTo>
                    <a:pt x="1223" y="2782"/>
                  </a:lnTo>
                  <a:lnTo>
                    <a:pt x="1223" y="2788"/>
                  </a:lnTo>
                  <a:lnTo>
                    <a:pt x="1222" y="2795"/>
                  </a:lnTo>
                  <a:lnTo>
                    <a:pt x="1220" y="2802"/>
                  </a:lnTo>
                  <a:lnTo>
                    <a:pt x="1216" y="2815"/>
                  </a:lnTo>
                  <a:lnTo>
                    <a:pt x="1215" y="2829"/>
                  </a:lnTo>
                  <a:lnTo>
                    <a:pt x="1215" y="2833"/>
                  </a:lnTo>
                  <a:lnTo>
                    <a:pt x="1218" y="2837"/>
                  </a:lnTo>
                  <a:lnTo>
                    <a:pt x="1220" y="2841"/>
                  </a:lnTo>
                  <a:lnTo>
                    <a:pt x="1223" y="2846"/>
                  </a:lnTo>
                  <a:lnTo>
                    <a:pt x="1231" y="2852"/>
                  </a:lnTo>
                  <a:lnTo>
                    <a:pt x="1241" y="2859"/>
                  </a:lnTo>
                  <a:lnTo>
                    <a:pt x="1252" y="2865"/>
                  </a:lnTo>
                  <a:lnTo>
                    <a:pt x="1262" y="2873"/>
                  </a:lnTo>
                  <a:lnTo>
                    <a:pt x="1267" y="2877"/>
                  </a:lnTo>
                  <a:lnTo>
                    <a:pt x="1271" y="2881"/>
                  </a:lnTo>
                  <a:lnTo>
                    <a:pt x="1274" y="2885"/>
                  </a:lnTo>
                  <a:lnTo>
                    <a:pt x="1277" y="2889"/>
                  </a:lnTo>
                  <a:lnTo>
                    <a:pt x="1281" y="2902"/>
                  </a:lnTo>
                  <a:lnTo>
                    <a:pt x="1283" y="2913"/>
                  </a:lnTo>
                  <a:lnTo>
                    <a:pt x="1284" y="2927"/>
                  </a:lnTo>
                  <a:lnTo>
                    <a:pt x="1285" y="2939"/>
                  </a:lnTo>
                  <a:lnTo>
                    <a:pt x="1285" y="2952"/>
                  </a:lnTo>
                  <a:lnTo>
                    <a:pt x="1285" y="2966"/>
                  </a:lnTo>
                  <a:lnTo>
                    <a:pt x="1287" y="2978"/>
                  </a:lnTo>
                  <a:lnTo>
                    <a:pt x="1290" y="2991"/>
                  </a:lnTo>
                  <a:lnTo>
                    <a:pt x="1293" y="2997"/>
                  </a:lnTo>
                  <a:lnTo>
                    <a:pt x="1296" y="3004"/>
                  </a:lnTo>
                  <a:lnTo>
                    <a:pt x="1301" y="3012"/>
                  </a:lnTo>
                  <a:lnTo>
                    <a:pt x="1306" y="3021"/>
                  </a:lnTo>
                  <a:lnTo>
                    <a:pt x="1319" y="3038"/>
                  </a:lnTo>
                  <a:lnTo>
                    <a:pt x="1333" y="3055"/>
                  </a:lnTo>
                  <a:lnTo>
                    <a:pt x="1349" y="3072"/>
                  </a:lnTo>
                  <a:lnTo>
                    <a:pt x="1365" y="3087"/>
                  </a:lnTo>
                  <a:lnTo>
                    <a:pt x="1372" y="3092"/>
                  </a:lnTo>
                  <a:lnTo>
                    <a:pt x="1379" y="3097"/>
                  </a:lnTo>
                  <a:lnTo>
                    <a:pt x="1385" y="3101"/>
                  </a:lnTo>
                  <a:lnTo>
                    <a:pt x="1392" y="3104"/>
                  </a:lnTo>
                  <a:lnTo>
                    <a:pt x="1414" y="3112"/>
                  </a:lnTo>
                  <a:lnTo>
                    <a:pt x="1436" y="3119"/>
                  </a:lnTo>
                  <a:lnTo>
                    <a:pt x="1448" y="3121"/>
                  </a:lnTo>
                  <a:lnTo>
                    <a:pt x="1459" y="3123"/>
                  </a:lnTo>
                  <a:lnTo>
                    <a:pt x="1471" y="3124"/>
                  </a:lnTo>
                  <a:lnTo>
                    <a:pt x="1481" y="3124"/>
                  </a:lnTo>
                  <a:lnTo>
                    <a:pt x="1502" y="3123"/>
                  </a:lnTo>
                  <a:lnTo>
                    <a:pt x="1523" y="3121"/>
                  </a:lnTo>
                  <a:lnTo>
                    <a:pt x="1543" y="3119"/>
                  </a:lnTo>
                  <a:lnTo>
                    <a:pt x="1562" y="3118"/>
                  </a:lnTo>
                  <a:lnTo>
                    <a:pt x="1565" y="3122"/>
                  </a:lnTo>
                  <a:lnTo>
                    <a:pt x="1565" y="3127"/>
                  </a:lnTo>
                  <a:lnTo>
                    <a:pt x="1566" y="3133"/>
                  </a:lnTo>
                  <a:lnTo>
                    <a:pt x="1565" y="3140"/>
                  </a:lnTo>
                  <a:lnTo>
                    <a:pt x="1565" y="3146"/>
                  </a:lnTo>
                  <a:lnTo>
                    <a:pt x="1566" y="3152"/>
                  </a:lnTo>
                  <a:lnTo>
                    <a:pt x="1568" y="3157"/>
                  </a:lnTo>
                  <a:lnTo>
                    <a:pt x="1571" y="3163"/>
                  </a:lnTo>
                  <a:lnTo>
                    <a:pt x="1575" y="3165"/>
                  </a:lnTo>
                  <a:lnTo>
                    <a:pt x="1580" y="3166"/>
                  </a:lnTo>
                  <a:lnTo>
                    <a:pt x="1587" y="3166"/>
                  </a:lnTo>
                  <a:lnTo>
                    <a:pt x="1593" y="3164"/>
                  </a:lnTo>
                  <a:lnTo>
                    <a:pt x="1606" y="3161"/>
                  </a:lnTo>
                  <a:lnTo>
                    <a:pt x="1618" y="3159"/>
                  </a:lnTo>
                  <a:lnTo>
                    <a:pt x="1623" y="3159"/>
                  </a:lnTo>
                  <a:lnTo>
                    <a:pt x="1626" y="3160"/>
                  </a:lnTo>
                  <a:lnTo>
                    <a:pt x="1629" y="3161"/>
                  </a:lnTo>
                  <a:lnTo>
                    <a:pt x="1631" y="3163"/>
                  </a:lnTo>
                  <a:lnTo>
                    <a:pt x="1636" y="3167"/>
                  </a:lnTo>
                  <a:lnTo>
                    <a:pt x="1640" y="3173"/>
                  </a:lnTo>
                  <a:lnTo>
                    <a:pt x="1642" y="3176"/>
                  </a:lnTo>
                  <a:lnTo>
                    <a:pt x="1644" y="3177"/>
                  </a:lnTo>
                  <a:lnTo>
                    <a:pt x="1647" y="3179"/>
                  </a:lnTo>
                  <a:lnTo>
                    <a:pt x="1650" y="3179"/>
                  </a:lnTo>
                  <a:lnTo>
                    <a:pt x="1658" y="3180"/>
                  </a:lnTo>
                  <a:lnTo>
                    <a:pt x="1665" y="3179"/>
                  </a:lnTo>
                  <a:lnTo>
                    <a:pt x="1672" y="3178"/>
                  </a:lnTo>
                  <a:lnTo>
                    <a:pt x="1679" y="3178"/>
                  </a:lnTo>
                  <a:lnTo>
                    <a:pt x="1687" y="3178"/>
                  </a:lnTo>
                  <a:lnTo>
                    <a:pt x="1693" y="3179"/>
                  </a:lnTo>
                  <a:lnTo>
                    <a:pt x="1701" y="3186"/>
                  </a:lnTo>
                  <a:lnTo>
                    <a:pt x="1710" y="3192"/>
                  </a:lnTo>
                  <a:lnTo>
                    <a:pt x="1716" y="3199"/>
                  </a:lnTo>
                  <a:lnTo>
                    <a:pt x="1724" y="3207"/>
                  </a:lnTo>
                  <a:lnTo>
                    <a:pt x="1724" y="3207"/>
                  </a:lnTo>
                  <a:lnTo>
                    <a:pt x="1757" y="3198"/>
                  </a:lnTo>
                  <a:lnTo>
                    <a:pt x="1790" y="3189"/>
                  </a:lnTo>
                  <a:lnTo>
                    <a:pt x="1807" y="3184"/>
                  </a:lnTo>
                  <a:lnTo>
                    <a:pt x="1822" y="3177"/>
                  </a:lnTo>
                  <a:lnTo>
                    <a:pt x="1838" y="3170"/>
                  </a:lnTo>
                  <a:lnTo>
                    <a:pt x="1852" y="3163"/>
                  </a:lnTo>
                  <a:lnTo>
                    <a:pt x="1861" y="3156"/>
                  </a:lnTo>
                  <a:lnTo>
                    <a:pt x="1867" y="3150"/>
                  </a:lnTo>
                  <a:lnTo>
                    <a:pt x="1871" y="3143"/>
                  </a:lnTo>
                  <a:lnTo>
                    <a:pt x="1873" y="3136"/>
                  </a:lnTo>
                  <a:lnTo>
                    <a:pt x="1874" y="3128"/>
                  </a:lnTo>
                  <a:lnTo>
                    <a:pt x="1873" y="3120"/>
                  </a:lnTo>
                  <a:lnTo>
                    <a:pt x="1872" y="3111"/>
                  </a:lnTo>
                  <a:lnTo>
                    <a:pt x="1870" y="3101"/>
                  </a:lnTo>
                  <a:lnTo>
                    <a:pt x="1867" y="3086"/>
                  </a:lnTo>
                  <a:lnTo>
                    <a:pt x="1866" y="3071"/>
                  </a:lnTo>
                  <a:lnTo>
                    <a:pt x="1865" y="3056"/>
                  </a:lnTo>
                  <a:lnTo>
                    <a:pt x="1864" y="3043"/>
                  </a:lnTo>
                  <a:lnTo>
                    <a:pt x="1865" y="3014"/>
                  </a:lnTo>
                  <a:lnTo>
                    <a:pt x="1866" y="2983"/>
                  </a:lnTo>
                  <a:lnTo>
                    <a:pt x="1867" y="2973"/>
                  </a:lnTo>
                  <a:lnTo>
                    <a:pt x="1868" y="2959"/>
                  </a:lnTo>
                  <a:lnTo>
                    <a:pt x="1868" y="2952"/>
                  </a:lnTo>
                  <a:lnTo>
                    <a:pt x="1867" y="2946"/>
                  </a:lnTo>
                  <a:lnTo>
                    <a:pt x="1865" y="2940"/>
                  </a:lnTo>
                  <a:lnTo>
                    <a:pt x="1862" y="2936"/>
                  </a:lnTo>
                  <a:lnTo>
                    <a:pt x="1858" y="2933"/>
                  </a:lnTo>
                  <a:lnTo>
                    <a:pt x="1850" y="2931"/>
                  </a:lnTo>
                  <a:lnTo>
                    <a:pt x="1844" y="2930"/>
                  </a:lnTo>
                  <a:lnTo>
                    <a:pt x="1836" y="2930"/>
                  </a:lnTo>
                  <a:lnTo>
                    <a:pt x="1828" y="2929"/>
                  </a:lnTo>
                  <a:lnTo>
                    <a:pt x="1821" y="2927"/>
                  </a:lnTo>
                  <a:lnTo>
                    <a:pt x="1815" y="2925"/>
                  </a:lnTo>
                  <a:lnTo>
                    <a:pt x="1810" y="2922"/>
                  </a:lnTo>
                  <a:lnTo>
                    <a:pt x="1807" y="2921"/>
                  </a:lnTo>
                  <a:lnTo>
                    <a:pt x="1803" y="2920"/>
                  </a:lnTo>
                  <a:lnTo>
                    <a:pt x="1801" y="2918"/>
                  </a:lnTo>
                  <a:lnTo>
                    <a:pt x="1798" y="2915"/>
                  </a:lnTo>
                  <a:lnTo>
                    <a:pt x="1795" y="2910"/>
                  </a:lnTo>
                  <a:lnTo>
                    <a:pt x="1793" y="2904"/>
                  </a:lnTo>
                  <a:lnTo>
                    <a:pt x="1791" y="2898"/>
                  </a:lnTo>
                  <a:lnTo>
                    <a:pt x="1791" y="2890"/>
                  </a:lnTo>
                  <a:lnTo>
                    <a:pt x="1792" y="2884"/>
                  </a:lnTo>
                  <a:lnTo>
                    <a:pt x="1793" y="2878"/>
                  </a:lnTo>
                  <a:lnTo>
                    <a:pt x="1797" y="2872"/>
                  </a:lnTo>
                  <a:lnTo>
                    <a:pt x="1801" y="2866"/>
                  </a:lnTo>
                  <a:lnTo>
                    <a:pt x="1806" y="2862"/>
                  </a:lnTo>
                  <a:lnTo>
                    <a:pt x="1811" y="2858"/>
                  </a:lnTo>
                  <a:lnTo>
                    <a:pt x="1821" y="2851"/>
                  </a:lnTo>
                  <a:lnTo>
                    <a:pt x="1834" y="2846"/>
                  </a:lnTo>
                  <a:lnTo>
                    <a:pt x="1859" y="2836"/>
                  </a:lnTo>
                  <a:lnTo>
                    <a:pt x="1882" y="2826"/>
                  </a:lnTo>
                  <a:lnTo>
                    <a:pt x="1889" y="2812"/>
                  </a:lnTo>
                  <a:lnTo>
                    <a:pt x="1896" y="2797"/>
                  </a:lnTo>
                  <a:lnTo>
                    <a:pt x="1898" y="2788"/>
                  </a:lnTo>
                  <a:lnTo>
                    <a:pt x="1899" y="2780"/>
                  </a:lnTo>
                  <a:lnTo>
                    <a:pt x="1899" y="2773"/>
                  </a:lnTo>
                  <a:lnTo>
                    <a:pt x="1897" y="2764"/>
                  </a:lnTo>
                  <a:lnTo>
                    <a:pt x="1894" y="2759"/>
                  </a:lnTo>
                  <a:lnTo>
                    <a:pt x="1890" y="2755"/>
                  </a:lnTo>
                  <a:lnTo>
                    <a:pt x="1885" y="2751"/>
                  </a:lnTo>
                  <a:lnTo>
                    <a:pt x="1880" y="2746"/>
                  </a:lnTo>
                  <a:lnTo>
                    <a:pt x="1869" y="2739"/>
                  </a:lnTo>
                  <a:lnTo>
                    <a:pt x="1860" y="2730"/>
                  </a:lnTo>
                  <a:lnTo>
                    <a:pt x="1856" y="2724"/>
                  </a:lnTo>
                  <a:lnTo>
                    <a:pt x="1854" y="2717"/>
                  </a:lnTo>
                  <a:lnTo>
                    <a:pt x="1851" y="2712"/>
                  </a:lnTo>
                  <a:lnTo>
                    <a:pt x="1851" y="2707"/>
                  </a:lnTo>
                  <a:lnTo>
                    <a:pt x="1851" y="2702"/>
                  </a:lnTo>
                  <a:lnTo>
                    <a:pt x="1852" y="2696"/>
                  </a:lnTo>
                  <a:lnTo>
                    <a:pt x="1855" y="2692"/>
                  </a:lnTo>
                  <a:lnTo>
                    <a:pt x="1857" y="2687"/>
                  </a:lnTo>
                  <a:lnTo>
                    <a:pt x="1862" y="2678"/>
                  </a:lnTo>
                  <a:lnTo>
                    <a:pt x="1866" y="2667"/>
                  </a:lnTo>
                  <a:lnTo>
                    <a:pt x="1867" y="2661"/>
                  </a:lnTo>
                  <a:lnTo>
                    <a:pt x="1868" y="2656"/>
                  </a:lnTo>
                  <a:lnTo>
                    <a:pt x="1868" y="2648"/>
                  </a:lnTo>
                  <a:lnTo>
                    <a:pt x="1867" y="2642"/>
                  </a:lnTo>
                  <a:lnTo>
                    <a:pt x="1865" y="2637"/>
                  </a:lnTo>
                  <a:lnTo>
                    <a:pt x="1862" y="2631"/>
                  </a:lnTo>
                  <a:lnTo>
                    <a:pt x="1858" y="2624"/>
                  </a:lnTo>
                  <a:lnTo>
                    <a:pt x="1854" y="2617"/>
                  </a:lnTo>
                  <a:lnTo>
                    <a:pt x="1848" y="2611"/>
                  </a:lnTo>
                  <a:lnTo>
                    <a:pt x="1843" y="2605"/>
                  </a:lnTo>
                  <a:lnTo>
                    <a:pt x="1839" y="2600"/>
                  </a:lnTo>
                  <a:lnTo>
                    <a:pt x="1835" y="2596"/>
                  </a:lnTo>
                  <a:lnTo>
                    <a:pt x="1832" y="2596"/>
                  </a:lnTo>
                  <a:lnTo>
                    <a:pt x="1828" y="2596"/>
                  </a:lnTo>
                  <a:lnTo>
                    <a:pt x="1825" y="2597"/>
                  </a:lnTo>
                  <a:lnTo>
                    <a:pt x="1820" y="2599"/>
                  </a:lnTo>
                  <a:lnTo>
                    <a:pt x="1810" y="2605"/>
                  </a:lnTo>
                  <a:lnTo>
                    <a:pt x="1798" y="2612"/>
                  </a:lnTo>
                  <a:lnTo>
                    <a:pt x="1788" y="2620"/>
                  </a:lnTo>
                  <a:lnTo>
                    <a:pt x="1777" y="2628"/>
                  </a:lnTo>
                  <a:lnTo>
                    <a:pt x="1769" y="2634"/>
                  </a:lnTo>
                  <a:lnTo>
                    <a:pt x="1765" y="2639"/>
                  </a:lnTo>
                  <a:lnTo>
                    <a:pt x="1760" y="2640"/>
                  </a:lnTo>
                  <a:lnTo>
                    <a:pt x="1756" y="2641"/>
                  </a:lnTo>
                  <a:lnTo>
                    <a:pt x="1752" y="2640"/>
                  </a:lnTo>
                  <a:lnTo>
                    <a:pt x="1747" y="2636"/>
                  </a:lnTo>
                  <a:lnTo>
                    <a:pt x="1748" y="2626"/>
                  </a:lnTo>
                  <a:lnTo>
                    <a:pt x="1749" y="2618"/>
                  </a:lnTo>
                  <a:lnTo>
                    <a:pt x="1750" y="2610"/>
                  </a:lnTo>
                  <a:lnTo>
                    <a:pt x="1752" y="2602"/>
                  </a:lnTo>
                  <a:lnTo>
                    <a:pt x="1757" y="2589"/>
                  </a:lnTo>
                  <a:lnTo>
                    <a:pt x="1759" y="2577"/>
                  </a:lnTo>
                  <a:lnTo>
                    <a:pt x="1760" y="2571"/>
                  </a:lnTo>
                  <a:lnTo>
                    <a:pt x="1759" y="2566"/>
                  </a:lnTo>
                  <a:lnTo>
                    <a:pt x="1757" y="2560"/>
                  </a:lnTo>
                  <a:lnTo>
                    <a:pt x="1753" y="2554"/>
                  </a:lnTo>
                  <a:lnTo>
                    <a:pt x="1748" y="2548"/>
                  </a:lnTo>
                  <a:lnTo>
                    <a:pt x="1742" y="2542"/>
                  </a:lnTo>
                  <a:lnTo>
                    <a:pt x="1734" y="2536"/>
                  </a:lnTo>
                  <a:lnTo>
                    <a:pt x="1722" y="2529"/>
                  </a:lnTo>
                  <a:lnTo>
                    <a:pt x="1715" y="2524"/>
                  </a:lnTo>
                  <a:lnTo>
                    <a:pt x="1709" y="2517"/>
                  </a:lnTo>
                  <a:lnTo>
                    <a:pt x="1704" y="2511"/>
                  </a:lnTo>
                  <a:lnTo>
                    <a:pt x="1700" y="2502"/>
                  </a:lnTo>
                  <a:lnTo>
                    <a:pt x="1697" y="2494"/>
                  </a:lnTo>
                  <a:lnTo>
                    <a:pt x="1696" y="2485"/>
                  </a:lnTo>
                  <a:lnTo>
                    <a:pt x="1695" y="2475"/>
                  </a:lnTo>
                  <a:lnTo>
                    <a:pt x="1694" y="2466"/>
                  </a:lnTo>
                  <a:lnTo>
                    <a:pt x="1697" y="2427"/>
                  </a:lnTo>
                  <a:lnTo>
                    <a:pt x="1700" y="2393"/>
                  </a:lnTo>
                  <a:lnTo>
                    <a:pt x="1701" y="2378"/>
                  </a:lnTo>
                  <a:lnTo>
                    <a:pt x="1704" y="2366"/>
                  </a:lnTo>
                  <a:lnTo>
                    <a:pt x="1709" y="2355"/>
                  </a:lnTo>
                  <a:lnTo>
                    <a:pt x="1715" y="2345"/>
                  </a:lnTo>
                  <a:lnTo>
                    <a:pt x="1722" y="2335"/>
                  </a:lnTo>
                  <a:lnTo>
                    <a:pt x="1730" y="2326"/>
                  </a:lnTo>
                  <a:lnTo>
                    <a:pt x="1740" y="2318"/>
                  </a:lnTo>
                  <a:lnTo>
                    <a:pt x="1750" y="2309"/>
                  </a:lnTo>
                  <a:lnTo>
                    <a:pt x="1764" y="2296"/>
                  </a:lnTo>
                  <a:lnTo>
                    <a:pt x="1776" y="2285"/>
                  </a:lnTo>
                  <a:lnTo>
                    <a:pt x="1788" y="2277"/>
                  </a:lnTo>
                  <a:lnTo>
                    <a:pt x="1797" y="2269"/>
                  </a:lnTo>
                  <a:lnTo>
                    <a:pt x="1802" y="2264"/>
                  </a:lnTo>
                  <a:lnTo>
                    <a:pt x="1807" y="2259"/>
                  </a:lnTo>
                  <a:lnTo>
                    <a:pt x="1811" y="2254"/>
                  </a:lnTo>
                  <a:lnTo>
                    <a:pt x="1814" y="2248"/>
                  </a:lnTo>
                  <a:lnTo>
                    <a:pt x="1817" y="2240"/>
                  </a:lnTo>
                  <a:lnTo>
                    <a:pt x="1821" y="2232"/>
                  </a:lnTo>
                  <a:lnTo>
                    <a:pt x="1823" y="2223"/>
                  </a:lnTo>
                  <a:lnTo>
                    <a:pt x="1826" y="2211"/>
                  </a:lnTo>
                  <a:lnTo>
                    <a:pt x="1830" y="2201"/>
                  </a:lnTo>
                  <a:lnTo>
                    <a:pt x="1835" y="2189"/>
                  </a:lnTo>
                  <a:lnTo>
                    <a:pt x="1835" y="2189"/>
                  </a:lnTo>
                  <a:lnTo>
                    <a:pt x="1839" y="2180"/>
                  </a:lnTo>
                  <a:lnTo>
                    <a:pt x="1844" y="2172"/>
                  </a:lnTo>
                  <a:lnTo>
                    <a:pt x="1850" y="2163"/>
                  </a:lnTo>
                  <a:lnTo>
                    <a:pt x="1858" y="2158"/>
                  </a:lnTo>
                  <a:lnTo>
                    <a:pt x="1862" y="2156"/>
                  </a:lnTo>
                  <a:lnTo>
                    <a:pt x="1865" y="2154"/>
                  </a:lnTo>
                  <a:lnTo>
                    <a:pt x="1869" y="2153"/>
                  </a:lnTo>
                  <a:lnTo>
                    <a:pt x="1873" y="2153"/>
                  </a:lnTo>
                  <a:lnTo>
                    <a:pt x="1878" y="2154"/>
                  </a:lnTo>
                  <a:lnTo>
                    <a:pt x="1883" y="2155"/>
                  </a:lnTo>
                  <a:lnTo>
                    <a:pt x="1887" y="2158"/>
                  </a:lnTo>
                  <a:lnTo>
                    <a:pt x="1892" y="2161"/>
                  </a:lnTo>
                  <a:lnTo>
                    <a:pt x="1899" y="2167"/>
                  </a:lnTo>
                  <a:lnTo>
                    <a:pt x="1906" y="2172"/>
                  </a:lnTo>
                  <a:lnTo>
                    <a:pt x="1913" y="2175"/>
                  </a:lnTo>
                  <a:lnTo>
                    <a:pt x="1918" y="2177"/>
                  </a:lnTo>
                  <a:lnTo>
                    <a:pt x="1923" y="2178"/>
                  </a:lnTo>
                  <a:lnTo>
                    <a:pt x="1928" y="2178"/>
                  </a:lnTo>
                  <a:lnTo>
                    <a:pt x="1932" y="2177"/>
                  </a:lnTo>
                  <a:lnTo>
                    <a:pt x="1936" y="2174"/>
                  </a:lnTo>
                  <a:lnTo>
                    <a:pt x="1939" y="2171"/>
                  </a:lnTo>
                  <a:lnTo>
                    <a:pt x="1942" y="2166"/>
                  </a:lnTo>
                  <a:lnTo>
                    <a:pt x="1944" y="2162"/>
                  </a:lnTo>
                  <a:lnTo>
                    <a:pt x="1946" y="2157"/>
                  </a:lnTo>
                  <a:lnTo>
                    <a:pt x="1949" y="2144"/>
                  </a:lnTo>
                  <a:lnTo>
                    <a:pt x="1952" y="2130"/>
                  </a:lnTo>
                  <a:lnTo>
                    <a:pt x="1954" y="2099"/>
                  </a:lnTo>
                  <a:lnTo>
                    <a:pt x="1954" y="2067"/>
                  </a:lnTo>
                  <a:lnTo>
                    <a:pt x="1953" y="2041"/>
                  </a:lnTo>
                  <a:lnTo>
                    <a:pt x="1954" y="2026"/>
                  </a:lnTo>
                  <a:lnTo>
                    <a:pt x="1968" y="2022"/>
                  </a:lnTo>
                  <a:lnTo>
                    <a:pt x="1984" y="2018"/>
                  </a:lnTo>
                  <a:lnTo>
                    <a:pt x="2001" y="2014"/>
                  </a:lnTo>
                  <a:lnTo>
                    <a:pt x="2016" y="2008"/>
                  </a:lnTo>
                  <a:lnTo>
                    <a:pt x="2023" y="2005"/>
                  </a:lnTo>
                  <a:lnTo>
                    <a:pt x="2031" y="2001"/>
                  </a:lnTo>
                  <a:lnTo>
                    <a:pt x="2037" y="1996"/>
                  </a:lnTo>
                  <a:lnTo>
                    <a:pt x="2043" y="1991"/>
                  </a:lnTo>
                  <a:lnTo>
                    <a:pt x="2047" y="1985"/>
                  </a:lnTo>
                  <a:lnTo>
                    <a:pt x="2052" y="1979"/>
                  </a:lnTo>
                  <a:lnTo>
                    <a:pt x="2055" y="1970"/>
                  </a:lnTo>
                  <a:lnTo>
                    <a:pt x="2057" y="1962"/>
                  </a:lnTo>
                  <a:lnTo>
                    <a:pt x="2058" y="1935"/>
                  </a:lnTo>
                  <a:lnTo>
                    <a:pt x="2060" y="1901"/>
                  </a:lnTo>
                  <a:lnTo>
                    <a:pt x="2062" y="1894"/>
                  </a:lnTo>
                  <a:lnTo>
                    <a:pt x="2064" y="1888"/>
                  </a:lnTo>
                  <a:lnTo>
                    <a:pt x="2067" y="1883"/>
                  </a:lnTo>
                  <a:lnTo>
                    <a:pt x="2071" y="1878"/>
                  </a:lnTo>
                  <a:lnTo>
                    <a:pt x="2074" y="1877"/>
                  </a:lnTo>
                  <a:lnTo>
                    <a:pt x="2076" y="1877"/>
                  </a:lnTo>
                  <a:lnTo>
                    <a:pt x="2079" y="1876"/>
                  </a:lnTo>
                  <a:lnTo>
                    <a:pt x="2082" y="1877"/>
                  </a:lnTo>
                  <a:lnTo>
                    <a:pt x="2088" y="1880"/>
                  </a:lnTo>
                  <a:lnTo>
                    <a:pt x="2096" y="1885"/>
                  </a:lnTo>
                  <a:lnTo>
                    <a:pt x="2106" y="1891"/>
                  </a:lnTo>
                  <a:lnTo>
                    <a:pt x="2115" y="1896"/>
                  </a:lnTo>
                  <a:lnTo>
                    <a:pt x="2124" y="1901"/>
                  </a:lnTo>
                  <a:lnTo>
                    <a:pt x="2132" y="1905"/>
                  </a:lnTo>
                  <a:lnTo>
                    <a:pt x="2139" y="1907"/>
                  </a:lnTo>
                  <a:lnTo>
                    <a:pt x="2148" y="1909"/>
                  </a:lnTo>
                  <a:lnTo>
                    <a:pt x="2155" y="1909"/>
                  </a:lnTo>
                  <a:lnTo>
                    <a:pt x="2161" y="1909"/>
                  </a:lnTo>
                  <a:lnTo>
                    <a:pt x="2168" y="1909"/>
                  </a:lnTo>
                  <a:lnTo>
                    <a:pt x="2175" y="1908"/>
                  </a:lnTo>
                  <a:lnTo>
                    <a:pt x="2182" y="1906"/>
                  </a:lnTo>
                  <a:lnTo>
                    <a:pt x="2188" y="1902"/>
                  </a:lnTo>
                  <a:lnTo>
                    <a:pt x="2201" y="1896"/>
                  </a:lnTo>
                  <a:lnTo>
                    <a:pt x="2212" y="1889"/>
                  </a:lnTo>
                  <a:lnTo>
                    <a:pt x="2236" y="1871"/>
                  </a:lnTo>
                  <a:lnTo>
                    <a:pt x="2262" y="1852"/>
                  </a:lnTo>
                  <a:lnTo>
                    <a:pt x="2276" y="1843"/>
                  </a:lnTo>
                  <a:lnTo>
                    <a:pt x="2290" y="1836"/>
                  </a:lnTo>
                  <a:lnTo>
                    <a:pt x="2298" y="1833"/>
                  </a:lnTo>
                  <a:lnTo>
                    <a:pt x="2306" y="1830"/>
                  </a:lnTo>
                  <a:lnTo>
                    <a:pt x="2314" y="1828"/>
                  </a:lnTo>
                  <a:lnTo>
                    <a:pt x="2323" y="1826"/>
                  </a:lnTo>
                  <a:lnTo>
                    <a:pt x="2331" y="1815"/>
                  </a:lnTo>
                  <a:lnTo>
                    <a:pt x="2339" y="1803"/>
                  </a:lnTo>
                  <a:lnTo>
                    <a:pt x="2346" y="1792"/>
                  </a:lnTo>
                  <a:lnTo>
                    <a:pt x="2352" y="1780"/>
                  </a:lnTo>
                  <a:lnTo>
                    <a:pt x="2357" y="1768"/>
                  </a:lnTo>
                  <a:lnTo>
                    <a:pt x="2360" y="1754"/>
                  </a:lnTo>
                  <a:lnTo>
                    <a:pt x="2362" y="1741"/>
                  </a:lnTo>
                  <a:lnTo>
                    <a:pt x="2362" y="1726"/>
                  </a:lnTo>
                  <a:lnTo>
                    <a:pt x="2362" y="1717"/>
                  </a:lnTo>
                  <a:lnTo>
                    <a:pt x="2363" y="1709"/>
                  </a:lnTo>
                  <a:lnTo>
                    <a:pt x="2364" y="1703"/>
                  </a:lnTo>
                  <a:lnTo>
                    <a:pt x="2365" y="1697"/>
                  </a:lnTo>
                  <a:lnTo>
                    <a:pt x="2369" y="1692"/>
                  </a:lnTo>
                  <a:lnTo>
                    <a:pt x="2372" y="1687"/>
                  </a:lnTo>
                  <a:lnTo>
                    <a:pt x="2377" y="1681"/>
                  </a:lnTo>
                  <a:lnTo>
                    <a:pt x="2384" y="1675"/>
                  </a:lnTo>
                  <a:lnTo>
                    <a:pt x="2393" y="1667"/>
                  </a:lnTo>
                  <a:lnTo>
                    <a:pt x="2403" y="1656"/>
                  </a:lnTo>
                  <a:lnTo>
                    <a:pt x="2407" y="1650"/>
                  </a:lnTo>
                  <a:lnTo>
                    <a:pt x="2411" y="1645"/>
                  </a:lnTo>
                  <a:lnTo>
                    <a:pt x="2413" y="1639"/>
                  </a:lnTo>
                  <a:lnTo>
                    <a:pt x="2414" y="1633"/>
                  </a:lnTo>
                  <a:lnTo>
                    <a:pt x="2413" y="1626"/>
                  </a:lnTo>
                  <a:lnTo>
                    <a:pt x="2411" y="1619"/>
                  </a:lnTo>
                  <a:lnTo>
                    <a:pt x="2408" y="1612"/>
                  </a:lnTo>
                  <a:lnTo>
                    <a:pt x="2405" y="1607"/>
                  </a:lnTo>
                  <a:lnTo>
                    <a:pt x="2395" y="1597"/>
                  </a:lnTo>
                  <a:lnTo>
                    <a:pt x="2384" y="1586"/>
                  </a:lnTo>
                  <a:lnTo>
                    <a:pt x="2373" y="1576"/>
                  </a:lnTo>
                  <a:lnTo>
                    <a:pt x="2362" y="1564"/>
                  </a:lnTo>
                  <a:lnTo>
                    <a:pt x="2359" y="1558"/>
                  </a:lnTo>
                  <a:lnTo>
                    <a:pt x="2356" y="1552"/>
                  </a:lnTo>
                  <a:lnTo>
                    <a:pt x="2354" y="1545"/>
                  </a:lnTo>
                  <a:lnTo>
                    <a:pt x="2353" y="1537"/>
                  </a:lnTo>
                  <a:lnTo>
                    <a:pt x="2358" y="1533"/>
                  </a:lnTo>
                  <a:lnTo>
                    <a:pt x="2364" y="1531"/>
                  </a:lnTo>
                  <a:lnTo>
                    <a:pt x="2372" y="1529"/>
                  </a:lnTo>
                  <a:lnTo>
                    <a:pt x="2380" y="1527"/>
                  </a:lnTo>
                  <a:lnTo>
                    <a:pt x="2387" y="1526"/>
                  </a:lnTo>
                  <a:lnTo>
                    <a:pt x="2396" y="1524"/>
                  </a:lnTo>
                  <a:lnTo>
                    <a:pt x="2403" y="1521"/>
                  </a:lnTo>
                  <a:lnTo>
                    <a:pt x="2409" y="1516"/>
                  </a:lnTo>
                  <a:lnTo>
                    <a:pt x="2416" y="1510"/>
                  </a:lnTo>
                  <a:lnTo>
                    <a:pt x="2420" y="1502"/>
                  </a:lnTo>
                  <a:lnTo>
                    <a:pt x="2424" y="1494"/>
                  </a:lnTo>
                  <a:lnTo>
                    <a:pt x="2427" y="1485"/>
                  </a:lnTo>
                  <a:lnTo>
                    <a:pt x="2430" y="1466"/>
                  </a:lnTo>
                  <a:lnTo>
                    <a:pt x="2431" y="1448"/>
                  </a:lnTo>
                  <a:lnTo>
                    <a:pt x="2431" y="144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7" name="Freeform 144">
              <a:extLst>
                <a:ext uri="{FF2B5EF4-FFF2-40B4-BE49-F238E27FC236}">
                  <a16:creationId xmlns:a16="http://schemas.microsoft.com/office/drawing/2014/main" id="{C7378FFF-1CAD-4EA8-ABAF-D392AF868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3868" y="4994758"/>
              <a:ext cx="667734" cy="779567"/>
            </a:xfrm>
            <a:custGeom>
              <a:avLst/>
              <a:gdLst>
                <a:gd name="T0" fmla="*/ 2441 w 2653"/>
                <a:gd name="T1" fmla="*/ 1250 h 3207"/>
                <a:gd name="T2" fmla="*/ 2426 w 2653"/>
                <a:gd name="T3" fmla="*/ 1046 h 3207"/>
                <a:gd name="T4" fmla="*/ 2599 w 2653"/>
                <a:gd name="T5" fmla="*/ 937 h 3207"/>
                <a:gd name="T6" fmla="*/ 2632 w 2653"/>
                <a:gd name="T7" fmla="*/ 725 h 3207"/>
                <a:gd name="T8" fmla="*/ 2549 w 2653"/>
                <a:gd name="T9" fmla="*/ 695 h 3207"/>
                <a:gd name="T10" fmla="*/ 2472 w 2653"/>
                <a:gd name="T11" fmla="*/ 602 h 3207"/>
                <a:gd name="T12" fmla="*/ 2348 w 2653"/>
                <a:gd name="T13" fmla="*/ 628 h 3207"/>
                <a:gd name="T14" fmla="*/ 2256 w 2653"/>
                <a:gd name="T15" fmla="*/ 559 h 3207"/>
                <a:gd name="T16" fmla="*/ 2124 w 2653"/>
                <a:gd name="T17" fmla="*/ 479 h 3207"/>
                <a:gd name="T18" fmla="*/ 2034 w 2653"/>
                <a:gd name="T19" fmla="*/ 544 h 3207"/>
                <a:gd name="T20" fmla="*/ 1940 w 2653"/>
                <a:gd name="T21" fmla="*/ 431 h 3207"/>
                <a:gd name="T22" fmla="*/ 1940 w 2653"/>
                <a:gd name="T23" fmla="*/ 543 h 3207"/>
                <a:gd name="T24" fmla="*/ 1928 w 2653"/>
                <a:gd name="T25" fmla="*/ 611 h 3207"/>
                <a:gd name="T26" fmla="*/ 1965 w 2653"/>
                <a:gd name="T27" fmla="*/ 752 h 3207"/>
                <a:gd name="T28" fmla="*/ 1839 w 2653"/>
                <a:gd name="T29" fmla="*/ 795 h 3207"/>
                <a:gd name="T30" fmla="*/ 1723 w 2653"/>
                <a:gd name="T31" fmla="*/ 856 h 3207"/>
                <a:gd name="T32" fmla="*/ 1604 w 2653"/>
                <a:gd name="T33" fmla="*/ 773 h 3207"/>
                <a:gd name="T34" fmla="*/ 1530 w 2653"/>
                <a:gd name="T35" fmla="*/ 743 h 3207"/>
                <a:gd name="T36" fmla="*/ 1618 w 2653"/>
                <a:gd name="T37" fmla="*/ 482 h 3207"/>
                <a:gd name="T38" fmla="*/ 1575 w 2653"/>
                <a:gd name="T39" fmla="*/ 333 h 3207"/>
                <a:gd name="T40" fmla="*/ 1510 w 2653"/>
                <a:gd name="T41" fmla="*/ 202 h 3207"/>
                <a:gd name="T42" fmla="*/ 1506 w 2653"/>
                <a:gd name="T43" fmla="*/ 83 h 3207"/>
                <a:gd name="T44" fmla="*/ 1401 w 2653"/>
                <a:gd name="T45" fmla="*/ 32 h 3207"/>
                <a:gd name="T46" fmla="*/ 1279 w 2653"/>
                <a:gd name="T47" fmla="*/ 156 h 3207"/>
                <a:gd name="T48" fmla="*/ 1209 w 2653"/>
                <a:gd name="T49" fmla="*/ 290 h 3207"/>
                <a:gd name="T50" fmla="*/ 1108 w 2653"/>
                <a:gd name="T51" fmla="*/ 425 h 3207"/>
                <a:gd name="T52" fmla="*/ 1017 w 2653"/>
                <a:gd name="T53" fmla="*/ 596 h 3207"/>
                <a:gd name="T54" fmla="*/ 992 w 2653"/>
                <a:gd name="T55" fmla="*/ 769 h 3207"/>
                <a:gd name="T56" fmla="*/ 890 w 2653"/>
                <a:gd name="T57" fmla="*/ 705 h 3207"/>
                <a:gd name="T58" fmla="*/ 834 w 2653"/>
                <a:gd name="T59" fmla="*/ 932 h 3207"/>
                <a:gd name="T60" fmla="*/ 733 w 2653"/>
                <a:gd name="T61" fmla="*/ 844 h 3207"/>
                <a:gd name="T62" fmla="*/ 593 w 2653"/>
                <a:gd name="T63" fmla="*/ 894 h 3207"/>
                <a:gd name="T64" fmla="*/ 498 w 2653"/>
                <a:gd name="T65" fmla="*/ 1044 h 3207"/>
                <a:gd name="T66" fmla="*/ 349 w 2653"/>
                <a:gd name="T67" fmla="*/ 1178 h 3207"/>
                <a:gd name="T68" fmla="*/ 47 w 2653"/>
                <a:gd name="T69" fmla="*/ 1232 h 3207"/>
                <a:gd name="T70" fmla="*/ 165 w 2653"/>
                <a:gd name="T71" fmla="*/ 1417 h 3207"/>
                <a:gd name="T72" fmla="*/ 203 w 2653"/>
                <a:gd name="T73" fmla="*/ 1594 h 3207"/>
                <a:gd name="T74" fmla="*/ 6 w 2653"/>
                <a:gd name="T75" fmla="*/ 1772 h 3207"/>
                <a:gd name="T76" fmla="*/ 71 w 2653"/>
                <a:gd name="T77" fmla="*/ 2040 h 3207"/>
                <a:gd name="T78" fmla="*/ 112 w 2653"/>
                <a:gd name="T79" fmla="*/ 2107 h 3207"/>
                <a:gd name="T80" fmla="*/ 293 w 2653"/>
                <a:gd name="T81" fmla="*/ 2266 h 3207"/>
                <a:gd name="T82" fmla="*/ 414 w 2653"/>
                <a:gd name="T83" fmla="*/ 2405 h 3207"/>
                <a:gd name="T84" fmla="*/ 684 w 2653"/>
                <a:gd name="T85" fmla="*/ 2414 h 3207"/>
                <a:gd name="T86" fmla="*/ 682 w 2653"/>
                <a:gd name="T87" fmla="*/ 2587 h 3207"/>
                <a:gd name="T88" fmla="*/ 821 w 2653"/>
                <a:gd name="T89" fmla="*/ 2521 h 3207"/>
                <a:gd name="T90" fmla="*/ 1129 w 2653"/>
                <a:gd name="T91" fmla="*/ 2672 h 3207"/>
                <a:gd name="T92" fmla="*/ 1215 w 2653"/>
                <a:gd name="T93" fmla="*/ 2833 h 3207"/>
                <a:gd name="T94" fmla="*/ 1301 w 2653"/>
                <a:gd name="T95" fmla="*/ 3012 h 3207"/>
                <a:gd name="T96" fmla="*/ 1566 w 2653"/>
                <a:gd name="T97" fmla="*/ 3133 h 3207"/>
                <a:gd name="T98" fmla="*/ 1658 w 2653"/>
                <a:gd name="T99" fmla="*/ 3180 h 3207"/>
                <a:gd name="T100" fmla="*/ 1873 w 2653"/>
                <a:gd name="T101" fmla="*/ 3120 h 3207"/>
                <a:gd name="T102" fmla="*/ 1810 w 2653"/>
                <a:gd name="T103" fmla="*/ 2922 h 3207"/>
                <a:gd name="T104" fmla="*/ 1899 w 2653"/>
                <a:gd name="T105" fmla="*/ 2780 h 3207"/>
                <a:gd name="T106" fmla="*/ 1867 w 2653"/>
                <a:gd name="T107" fmla="*/ 2642 h 3207"/>
                <a:gd name="T108" fmla="*/ 1747 w 2653"/>
                <a:gd name="T109" fmla="*/ 2636 h 3207"/>
                <a:gd name="T110" fmla="*/ 1694 w 2653"/>
                <a:gd name="T111" fmla="*/ 2466 h 3207"/>
                <a:gd name="T112" fmla="*/ 1826 w 2653"/>
                <a:gd name="T113" fmla="*/ 2211 h 3207"/>
                <a:gd name="T114" fmla="*/ 1932 w 2653"/>
                <a:gd name="T115" fmla="*/ 2177 h 3207"/>
                <a:gd name="T116" fmla="*/ 2055 w 2653"/>
                <a:gd name="T117" fmla="*/ 1970 h 3207"/>
                <a:gd name="T118" fmla="*/ 2168 w 2653"/>
                <a:gd name="T119" fmla="*/ 1909 h 3207"/>
                <a:gd name="T120" fmla="*/ 2362 w 2653"/>
                <a:gd name="T121" fmla="*/ 1717 h 3207"/>
                <a:gd name="T122" fmla="*/ 2359 w 2653"/>
                <a:gd name="T123" fmla="*/ 1558 h 3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53" h="3207">
                  <a:moveTo>
                    <a:pt x="2431" y="1448"/>
                  </a:moveTo>
                  <a:lnTo>
                    <a:pt x="2442" y="1429"/>
                  </a:lnTo>
                  <a:lnTo>
                    <a:pt x="2452" y="1412"/>
                  </a:lnTo>
                  <a:lnTo>
                    <a:pt x="2456" y="1404"/>
                  </a:lnTo>
                  <a:lnTo>
                    <a:pt x="2459" y="1395"/>
                  </a:lnTo>
                  <a:lnTo>
                    <a:pt x="2462" y="1385"/>
                  </a:lnTo>
                  <a:lnTo>
                    <a:pt x="2462" y="1374"/>
                  </a:lnTo>
                  <a:lnTo>
                    <a:pt x="2448" y="1361"/>
                  </a:lnTo>
                  <a:lnTo>
                    <a:pt x="2436" y="1351"/>
                  </a:lnTo>
                  <a:lnTo>
                    <a:pt x="2432" y="1344"/>
                  </a:lnTo>
                  <a:lnTo>
                    <a:pt x="2430" y="1338"/>
                  </a:lnTo>
                  <a:lnTo>
                    <a:pt x="2430" y="1329"/>
                  </a:lnTo>
                  <a:lnTo>
                    <a:pt x="2431" y="1316"/>
                  </a:lnTo>
                  <a:lnTo>
                    <a:pt x="2436" y="1304"/>
                  </a:lnTo>
                  <a:lnTo>
                    <a:pt x="2444" y="1287"/>
                  </a:lnTo>
                  <a:lnTo>
                    <a:pt x="2447" y="1278"/>
                  </a:lnTo>
                  <a:lnTo>
                    <a:pt x="2449" y="1270"/>
                  </a:lnTo>
                  <a:lnTo>
                    <a:pt x="2450" y="1266"/>
                  </a:lnTo>
                  <a:lnTo>
                    <a:pt x="2450" y="1263"/>
                  </a:lnTo>
                  <a:lnTo>
                    <a:pt x="2449" y="1260"/>
                  </a:lnTo>
                  <a:lnTo>
                    <a:pt x="2448" y="1258"/>
                  </a:lnTo>
                  <a:lnTo>
                    <a:pt x="2441" y="1250"/>
                  </a:lnTo>
                  <a:lnTo>
                    <a:pt x="2430" y="1242"/>
                  </a:lnTo>
                  <a:lnTo>
                    <a:pt x="2419" y="1234"/>
                  </a:lnTo>
                  <a:lnTo>
                    <a:pt x="2407" y="1225"/>
                  </a:lnTo>
                  <a:lnTo>
                    <a:pt x="2402" y="1220"/>
                  </a:lnTo>
                  <a:lnTo>
                    <a:pt x="2397" y="1216"/>
                  </a:lnTo>
                  <a:lnTo>
                    <a:pt x="2393" y="1211"/>
                  </a:lnTo>
                  <a:lnTo>
                    <a:pt x="2389" y="1206"/>
                  </a:lnTo>
                  <a:lnTo>
                    <a:pt x="2387" y="1200"/>
                  </a:lnTo>
                  <a:lnTo>
                    <a:pt x="2386" y="1195"/>
                  </a:lnTo>
                  <a:lnTo>
                    <a:pt x="2387" y="1189"/>
                  </a:lnTo>
                  <a:lnTo>
                    <a:pt x="2389" y="1183"/>
                  </a:lnTo>
                  <a:lnTo>
                    <a:pt x="2397" y="1172"/>
                  </a:lnTo>
                  <a:lnTo>
                    <a:pt x="2405" y="1161"/>
                  </a:lnTo>
                  <a:lnTo>
                    <a:pt x="2409" y="1154"/>
                  </a:lnTo>
                  <a:lnTo>
                    <a:pt x="2412" y="1149"/>
                  </a:lnTo>
                  <a:lnTo>
                    <a:pt x="2416" y="1143"/>
                  </a:lnTo>
                  <a:lnTo>
                    <a:pt x="2418" y="1137"/>
                  </a:lnTo>
                  <a:lnTo>
                    <a:pt x="2422" y="1117"/>
                  </a:lnTo>
                  <a:lnTo>
                    <a:pt x="2423" y="1096"/>
                  </a:lnTo>
                  <a:lnTo>
                    <a:pt x="2424" y="1075"/>
                  </a:lnTo>
                  <a:lnTo>
                    <a:pt x="2426" y="1054"/>
                  </a:lnTo>
                  <a:lnTo>
                    <a:pt x="2426" y="1046"/>
                  </a:lnTo>
                  <a:lnTo>
                    <a:pt x="2427" y="1039"/>
                  </a:lnTo>
                  <a:lnTo>
                    <a:pt x="2429" y="1031"/>
                  </a:lnTo>
                  <a:lnTo>
                    <a:pt x="2431" y="1024"/>
                  </a:lnTo>
                  <a:lnTo>
                    <a:pt x="2433" y="1018"/>
                  </a:lnTo>
                  <a:lnTo>
                    <a:pt x="2436" y="1013"/>
                  </a:lnTo>
                  <a:lnTo>
                    <a:pt x="2441" y="1007"/>
                  </a:lnTo>
                  <a:lnTo>
                    <a:pt x="2445" y="1002"/>
                  </a:lnTo>
                  <a:lnTo>
                    <a:pt x="2454" y="994"/>
                  </a:lnTo>
                  <a:lnTo>
                    <a:pt x="2466" y="986"/>
                  </a:lnTo>
                  <a:lnTo>
                    <a:pt x="2478" y="980"/>
                  </a:lnTo>
                  <a:lnTo>
                    <a:pt x="2492" y="975"/>
                  </a:lnTo>
                  <a:lnTo>
                    <a:pt x="2505" y="972"/>
                  </a:lnTo>
                  <a:lnTo>
                    <a:pt x="2520" y="969"/>
                  </a:lnTo>
                  <a:lnTo>
                    <a:pt x="2534" y="967"/>
                  </a:lnTo>
                  <a:lnTo>
                    <a:pt x="2549" y="966"/>
                  </a:lnTo>
                  <a:lnTo>
                    <a:pt x="2576" y="965"/>
                  </a:lnTo>
                  <a:lnTo>
                    <a:pt x="2600" y="964"/>
                  </a:lnTo>
                  <a:lnTo>
                    <a:pt x="2600" y="964"/>
                  </a:lnTo>
                  <a:lnTo>
                    <a:pt x="2599" y="957"/>
                  </a:lnTo>
                  <a:lnTo>
                    <a:pt x="2599" y="951"/>
                  </a:lnTo>
                  <a:lnTo>
                    <a:pt x="2599" y="944"/>
                  </a:lnTo>
                  <a:lnTo>
                    <a:pt x="2599" y="937"/>
                  </a:lnTo>
                  <a:lnTo>
                    <a:pt x="2600" y="931"/>
                  </a:lnTo>
                  <a:lnTo>
                    <a:pt x="2602" y="926"/>
                  </a:lnTo>
                  <a:lnTo>
                    <a:pt x="2604" y="921"/>
                  </a:lnTo>
                  <a:lnTo>
                    <a:pt x="2606" y="918"/>
                  </a:lnTo>
                  <a:lnTo>
                    <a:pt x="2617" y="907"/>
                  </a:lnTo>
                  <a:lnTo>
                    <a:pt x="2625" y="897"/>
                  </a:lnTo>
                  <a:lnTo>
                    <a:pt x="2632" y="887"/>
                  </a:lnTo>
                  <a:lnTo>
                    <a:pt x="2637" y="878"/>
                  </a:lnTo>
                  <a:lnTo>
                    <a:pt x="2640" y="869"/>
                  </a:lnTo>
                  <a:lnTo>
                    <a:pt x="2641" y="857"/>
                  </a:lnTo>
                  <a:lnTo>
                    <a:pt x="2641" y="844"/>
                  </a:lnTo>
                  <a:lnTo>
                    <a:pt x="2641" y="828"/>
                  </a:lnTo>
                  <a:lnTo>
                    <a:pt x="2640" y="814"/>
                  </a:lnTo>
                  <a:lnTo>
                    <a:pt x="2637" y="802"/>
                  </a:lnTo>
                  <a:lnTo>
                    <a:pt x="2632" y="789"/>
                  </a:lnTo>
                  <a:lnTo>
                    <a:pt x="2629" y="777"/>
                  </a:lnTo>
                  <a:lnTo>
                    <a:pt x="2627" y="764"/>
                  </a:lnTo>
                  <a:lnTo>
                    <a:pt x="2626" y="751"/>
                  </a:lnTo>
                  <a:lnTo>
                    <a:pt x="2627" y="744"/>
                  </a:lnTo>
                  <a:lnTo>
                    <a:pt x="2628" y="738"/>
                  </a:lnTo>
                  <a:lnTo>
                    <a:pt x="2630" y="732"/>
                  </a:lnTo>
                  <a:lnTo>
                    <a:pt x="2632" y="725"/>
                  </a:lnTo>
                  <a:lnTo>
                    <a:pt x="2639" y="716"/>
                  </a:lnTo>
                  <a:lnTo>
                    <a:pt x="2647" y="702"/>
                  </a:lnTo>
                  <a:lnTo>
                    <a:pt x="2650" y="694"/>
                  </a:lnTo>
                  <a:lnTo>
                    <a:pt x="2652" y="688"/>
                  </a:lnTo>
                  <a:lnTo>
                    <a:pt x="2653" y="685"/>
                  </a:lnTo>
                  <a:lnTo>
                    <a:pt x="2653" y="682"/>
                  </a:lnTo>
                  <a:lnTo>
                    <a:pt x="2652" y="680"/>
                  </a:lnTo>
                  <a:lnTo>
                    <a:pt x="2651" y="679"/>
                  </a:lnTo>
                  <a:lnTo>
                    <a:pt x="2648" y="677"/>
                  </a:lnTo>
                  <a:lnTo>
                    <a:pt x="2645" y="676"/>
                  </a:lnTo>
                  <a:lnTo>
                    <a:pt x="2641" y="676"/>
                  </a:lnTo>
                  <a:lnTo>
                    <a:pt x="2638" y="675"/>
                  </a:lnTo>
                  <a:lnTo>
                    <a:pt x="2628" y="676"/>
                  </a:lnTo>
                  <a:lnTo>
                    <a:pt x="2619" y="678"/>
                  </a:lnTo>
                  <a:lnTo>
                    <a:pt x="2599" y="684"/>
                  </a:lnTo>
                  <a:lnTo>
                    <a:pt x="2579" y="691"/>
                  </a:lnTo>
                  <a:lnTo>
                    <a:pt x="2570" y="694"/>
                  </a:lnTo>
                  <a:lnTo>
                    <a:pt x="2563" y="698"/>
                  </a:lnTo>
                  <a:lnTo>
                    <a:pt x="2556" y="699"/>
                  </a:lnTo>
                  <a:lnTo>
                    <a:pt x="2551" y="698"/>
                  </a:lnTo>
                  <a:lnTo>
                    <a:pt x="2550" y="698"/>
                  </a:lnTo>
                  <a:lnTo>
                    <a:pt x="2549" y="695"/>
                  </a:lnTo>
                  <a:lnTo>
                    <a:pt x="2548" y="693"/>
                  </a:lnTo>
                  <a:lnTo>
                    <a:pt x="2548" y="691"/>
                  </a:lnTo>
                  <a:lnTo>
                    <a:pt x="2550" y="684"/>
                  </a:lnTo>
                  <a:lnTo>
                    <a:pt x="2554" y="675"/>
                  </a:lnTo>
                  <a:lnTo>
                    <a:pt x="2563" y="661"/>
                  </a:lnTo>
                  <a:lnTo>
                    <a:pt x="2573" y="643"/>
                  </a:lnTo>
                  <a:lnTo>
                    <a:pt x="2577" y="635"/>
                  </a:lnTo>
                  <a:lnTo>
                    <a:pt x="2581" y="627"/>
                  </a:lnTo>
                  <a:lnTo>
                    <a:pt x="2583" y="618"/>
                  </a:lnTo>
                  <a:lnTo>
                    <a:pt x="2584" y="613"/>
                  </a:lnTo>
                  <a:lnTo>
                    <a:pt x="2583" y="609"/>
                  </a:lnTo>
                  <a:lnTo>
                    <a:pt x="2582" y="606"/>
                  </a:lnTo>
                  <a:lnTo>
                    <a:pt x="2580" y="604"/>
                  </a:lnTo>
                  <a:lnTo>
                    <a:pt x="2578" y="602"/>
                  </a:lnTo>
                  <a:lnTo>
                    <a:pt x="2572" y="598"/>
                  </a:lnTo>
                  <a:lnTo>
                    <a:pt x="2564" y="597"/>
                  </a:lnTo>
                  <a:lnTo>
                    <a:pt x="2554" y="596"/>
                  </a:lnTo>
                  <a:lnTo>
                    <a:pt x="2544" y="597"/>
                  </a:lnTo>
                  <a:lnTo>
                    <a:pt x="2532" y="597"/>
                  </a:lnTo>
                  <a:lnTo>
                    <a:pt x="2521" y="599"/>
                  </a:lnTo>
                  <a:lnTo>
                    <a:pt x="2496" y="602"/>
                  </a:lnTo>
                  <a:lnTo>
                    <a:pt x="2472" y="602"/>
                  </a:lnTo>
                  <a:lnTo>
                    <a:pt x="2461" y="600"/>
                  </a:lnTo>
                  <a:lnTo>
                    <a:pt x="2452" y="597"/>
                  </a:lnTo>
                  <a:lnTo>
                    <a:pt x="2448" y="595"/>
                  </a:lnTo>
                  <a:lnTo>
                    <a:pt x="2444" y="593"/>
                  </a:lnTo>
                  <a:lnTo>
                    <a:pt x="2441" y="590"/>
                  </a:lnTo>
                  <a:lnTo>
                    <a:pt x="2437" y="587"/>
                  </a:lnTo>
                  <a:lnTo>
                    <a:pt x="2433" y="582"/>
                  </a:lnTo>
                  <a:lnTo>
                    <a:pt x="2429" y="578"/>
                  </a:lnTo>
                  <a:lnTo>
                    <a:pt x="2425" y="574"/>
                  </a:lnTo>
                  <a:lnTo>
                    <a:pt x="2421" y="573"/>
                  </a:lnTo>
                  <a:lnTo>
                    <a:pt x="2417" y="572"/>
                  </a:lnTo>
                  <a:lnTo>
                    <a:pt x="2411" y="572"/>
                  </a:lnTo>
                  <a:lnTo>
                    <a:pt x="2407" y="574"/>
                  </a:lnTo>
                  <a:lnTo>
                    <a:pt x="2403" y="575"/>
                  </a:lnTo>
                  <a:lnTo>
                    <a:pt x="2395" y="582"/>
                  </a:lnTo>
                  <a:lnTo>
                    <a:pt x="2386" y="589"/>
                  </a:lnTo>
                  <a:lnTo>
                    <a:pt x="2379" y="598"/>
                  </a:lnTo>
                  <a:lnTo>
                    <a:pt x="2371" y="607"/>
                  </a:lnTo>
                  <a:lnTo>
                    <a:pt x="2363" y="615"/>
                  </a:lnTo>
                  <a:lnTo>
                    <a:pt x="2355" y="622"/>
                  </a:lnTo>
                  <a:lnTo>
                    <a:pt x="2352" y="626"/>
                  </a:lnTo>
                  <a:lnTo>
                    <a:pt x="2348" y="628"/>
                  </a:lnTo>
                  <a:lnTo>
                    <a:pt x="2345" y="629"/>
                  </a:lnTo>
                  <a:lnTo>
                    <a:pt x="2340" y="630"/>
                  </a:lnTo>
                  <a:lnTo>
                    <a:pt x="2337" y="630"/>
                  </a:lnTo>
                  <a:lnTo>
                    <a:pt x="2333" y="629"/>
                  </a:lnTo>
                  <a:lnTo>
                    <a:pt x="2330" y="627"/>
                  </a:lnTo>
                  <a:lnTo>
                    <a:pt x="2327" y="622"/>
                  </a:lnTo>
                  <a:lnTo>
                    <a:pt x="2323" y="618"/>
                  </a:lnTo>
                  <a:lnTo>
                    <a:pt x="2320" y="612"/>
                  </a:lnTo>
                  <a:lnTo>
                    <a:pt x="2316" y="604"/>
                  </a:lnTo>
                  <a:lnTo>
                    <a:pt x="2313" y="595"/>
                  </a:lnTo>
                  <a:lnTo>
                    <a:pt x="2306" y="576"/>
                  </a:lnTo>
                  <a:lnTo>
                    <a:pt x="2300" y="562"/>
                  </a:lnTo>
                  <a:lnTo>
                    <a:pt x="2296" y="558"/>
                  </a:lnTo>
                  <a:lnTo>
                    <a:pt x="2292" y="554"/>
                  </a:lnTo>
                  <a:lnTo>
                    <a:pt x="2289" y="550"/>
                  </a:lnTo>
                  <a:lnTo>
                    <a:pt x="2285" y="548"/>
                  </a:lnTo>
                  <a:lnTo>
                    <a:pt x="2282" y="547"/>
                  </a:lnTo>
                  <a:lnTo>
                    <a:pt x="2279" y="547"/>
                  </a:lnTo>
                  <a:lnTo>
                    <a:pt x="2275" y="547"/>
                  </a:lnTo>
                  <a:lnTo>
                    <a:pt x="2272" y="548"/>
                  </a:lnTo>
                  <a:lnTo>
                    <a:pt x="2263" y="552"/>
                  </a:lnTo>
                  <a:lnTo>
                    <a:pt x="2256" y="559"/>
                  </a:lnTo>
                  <a:lnTo>
                    <a:pt x="2238" y="573"/>
                  </a:lnTo>
                  <a:lnTo>
                    <a:pt x="2218" y="588"/>
                  </a:lnTo>
                  <a:lnTo>
                    <a:pt x="2208" y="594"/>
                  </a:lnTo>
                  <a:lnTo>
                    <a:pt x="2197" y="599"/>
                  </a:lnTo>
                  <a:lnTo>
                    <a:pt x="2190" y="602"/>
                  </a:lnTo>
                  <a:lnTo>
                    <a:pt x="2184" y="603"/>
                  </a:lnTo>
                  <a:lnTo>
                    <a:pt x="2178" y="603"/>
                  </a:lnTo>
                  <a:lnTo>
                    <a:pt x="2170" y="603"/>
                  </a:lnTo>
                  <a:lnTo>
                    <a:pt x="2163" y="598"/>
                  </a:lnTo>
                  <a:lnTo>
                    <a:pt x="2158" y="593"/>
                  </a:lnTo>
                  <a:lnTo>
                    <a:pt x="2153" y="587"/>
                  </a:lnTo>
                  <a:lnTo>
                    <a:pt x="2150" y="580"/>
                  </a:lnTo>
                  <a:lnTo>
                    <a:pt x="2145" y="572"/>
                  </a:lnTo>
                  <a:lnTo>
                    <a:pt x="2143" y="564"/>
                  </a:lnTo>
                  <a:lnTo>
                    <a:pt x="2141" y="556"/>
                  </a:lnTo>
                  <a:lnTo>
                    <a:pt x="2139" y="547"/>
                  </a:lnTo>
                  <a:lnTo>
                    <a:pt x="2136" y="530"/>
                  </a:lnTo>
                  <a:lnTo>
                    <a:pt x="2133" y="512"/>
                  </a:lnTo>
                  <a:lnTo>
                    <a:pt x="2131" y="502"/>
                  </a:lnTo>
                  <a:lnTo>
                    <a:pt x="2129" y="494"/>
                  </a:lnTo>
                  <a:lnTo>
                    <a:pt x="2127" y="487"/>
                  </a:lnTo>
                  <a:lnTo>
                    <a:pt x="2124" y="479"/>
                  </a:lnTo>
                  <a:lnTo>
                    <a:pt x="2117" y="469"/>
                  </a:lnTo>
                  <a:lnTo>
                    <a:pt x="2112" y="463"/>
                  </a:lnTo>
                  <a:lnTo>
                    <a:pt x="2109" y="461"/>
                  </a:lnTo>
                  <a:lnTo>
                    <a:pt x="2107" y="459"/>
                  </a:lnTo>
                  <a:lnTo>
                    <a:pt x="2104" y="459"/>
                  </a:lnTo>
                  <a:lnTo>
                    <a:pt x="2102" y="459"/>
                  </a:lnTo>
                  <a:lnTo>
                    <a:pt x="2096" y="460"/>
                  </a:lnTo>
                  <a:lnTo>
                    <a:pt x="2092" y="464"/>
                  </a:lnTo>
                  <a:lnTo>
                    <a:pt x="2087" y="470"/>
                  </a:lnTo>
                  <a:lnTo>
                    <a:pt x="2084" y="476"/>
                  </a:lnTo>
                  <a:lnTo>
                    <a:pt x="2077" y="493"/>
                  </a:lnTo>
                  <a:lnTo>
                    <a:pt x="2070" y="511"/>
                  </a:lnTo>
                  <a:lnTo>
                    <a:pt x="2065" y="525"/>
                  </a:lnTo>
                  <a:lnTo>
                    <a:pt x="2062" y="536"/>
                  </a:lnTo>
                  <a:lnTo>
                    <a:pt x="2060" y="540"/>
                  </a:lnTo>
                  <a:lnTo>
                    <a:pt x="2058" y="543"/>
                  </a:lnTo>
                  <a:lnTo>
                    <a:pt x="2055" y="545"/>
                  </a:lnTo>
                  <a:lnTo>
                    <a:pt x="2051" y="546"/>
                  </a:lnTo>
                  <a:lnTo>
                    <a:pt x="2046" y="546"/>
                  </a:lnTo>
                  <a:lnTo>
                    <a:pt x="2043" y="546"/>
                  </a:lnTo>
                  <a:lnTo>
                    <a:pt x="2038" y="545"/>
                  </a:lnTo>
                  <a:lnTo>
                    <a:pt x="2034" y="544"/>
                  </a:lnTo>
                  <a:lnTo>
                    <a:pt x="2026" y="540"/>
                  </a:lnTo>
                  <a:lnTo>
                    <a:pt x="2018" y="534"/>
                  </a:lnTo>
                  <a:lnTo>
                    <a:pt x="2015" y="530"/>
                  </a:lnTo>
                  <a:lnTo>
                    <a:pt x="2013" y="525"/>
                  </a:lnTo>
                  <a:lnTo>
                    <a:pt x="2011" y="521"/>
                  </a:lnTo>
                  <a:lnTo>
                    <a:pt x="2010" y="517"/>
                  </a:lnTo>
                  <a:lnTo>
                    <a:pt x="2008" y="491"/>
                  </a:lnTo>
                  <a:lnTo>
                    <a:pt x="2007" y="465"/>
                  </a:lnTo>
                  <a:lnTo>
                    <a:pt x="2006" y="451"/>
                  </a:lnTo>
                  <a:lnTo>
                    <a:pt x="2005" y="438"/>
                  </a:lnTo>
                  <a:lnTo>
                    <a:pt x="2004" y="425"/>
                  </a:lnTo>
                  <a:lnTo>
                    <a:pt x="2002" y="413"/>
                  </a:lnTo>
                  <a:lnTo>
                    <a:pt x="1994" y="413"/>
                  </a:lnTo>
                  <a:lnTo>
                    <a:pt x="1988" y="413"/>
                  </a:lnTo>
                  <a:lnTo>
                    <a:pt x="1981" y="413"/>
                  </a:lnTo>
                  <a:lnTo>
                    <a:pt x="1974" y="414"/>
                  </a:lnTo>
                  <a:lnTo>
                    <a:pt x="1968" y="416"/>
                  </a:lnTo>
                  <a:lnTo>
                    <a:pt x="1962" y="418"/>
                  </a:lnTo>
                  <a:lnTo>
                    <a:pt x="1957" y="420"/>
                  </a:lnTo>
                  <a:lnTo>
                    <a:pt x="1950" y="423"/>
                  </a:lnTo>
                  <a:lnTo>
                    <a:pt x="1945" y="427"/>
                  </a:lnTo>
                  <a:lnTo>
                    <a:pt x="1940" y="431"/>
                  </a:lnTo>
                  <a:lnTo>
                    <a:pt x="1936" y="436"/>
                  </a:lnTo>
                  <a:lnTo>
                    <a:pt x="1932" y="440"/>
                  </a:lnTo>
                  <a:lnTo>
                    <a:pt x="1928" y="445"/>
                  </a:lnTo>
                  <a:lnTo>
                    <a:pt x="1924" y="451"/>
                  </a:lnTo>
                  <a:lnTo>
                    <a:pt x="1921" y="458"/>
                  </a:lnTo>
                  <a:lnTo>
                    <a:pt x="1919" y="464"/>
                  </a:lnTo>
                  <a:lnTo>
                    <a:pt x="1918" y="469"/>
                  </a:lnTo>
                  <a:lnTo>
                    <a:pt x="1918" y="475"/>
                  </a:lnTo>
                  <a:lnTo>
                    <a:pt x="1920" y="481"/>
                  </a:lnTo>
                  <a:lnTo>
                    <a:pt x="1923" y="485"/>
                  </a:lnTo>
                  <a:lnTo>
                    <a:pt x="1933" y="494"/>
                  </a:lnTo>
                  <a:lnTo>
                    <a:pt x="1942" y="501"/>
                  </a:lnTo>
                  <a:lnTo>
                    <a:pt x="1947" y="506"/>
                  </a:lnTo>
                  <a:lnTo>
                    <a:pt x="1952" y="510"/>
                  </a:lnTo>
                  <a:lnTo>
                    <a:pt x="1955" y="514"/>
                  </a:lnTo>
                  <a:lnTo>
                    <a:pt x="1957" y="518"/>
                  </a:lnTo>
                  <a:lnTo>
                    <a:pt x="1958" y="522"/>
                  </a:lnTo>
                  <a:lnTo>
                    <a:pt x="1957" y="527"/>
                  </a:lnTo>
                  <a:lnTo>
                    <a:pt x="1954" y="533"/>
                  </a:lnTo>
                  <a:lnTo>
                    <a:pt x="1947" y="538"/>
                  </a:lnTo>
                  <a:lnTo>
                    <a:pt x="1944" y="541"/>
                  </a:lnTo>
                  <a:lnTo>
                    <a:pt x="1940" y="543"/>
                  </a:lnTo>
                  <a:lnTo>
                    <a:pt x="1935" y="544"/>
                  </a:lnTo>
                  <a:lnTo>
                    <a:pt x="1931" y="545"/>
                  </a:lnTo>
                  <a:lnTo>
                    <a:pt x="1920" y="546"/>
                  </a:lnTo>
                  <a:lnTo>
                    <a:pt x="1910" y="545"/>
                  </a:lnTo>
                  <a:lnTo>
                    <a:pt x="1899" y="545"/>
                  </a:lnTo>
                  <a:lnTo>
                    <a:pt x="1890" y="545"/>
                  </a:lnTo>
                  <a:lnTo>
                    <a:pt x="1885" y="546"/>
                  </a:lnTo>
                  <a:lnTo>
                    <a:pt x="1881" y="547"/>
                  </a:lnTo>
                  <a:lnTo>
                    <a:pt x="1878" y="548"/>
                  </a:lnTo>
                  <a:lnTo>
                    <a:pt x="1873" y="551"/>
                  </a:lnTo>
                  <a:lnTo>
                    <a:pt x="1867" y="558"/>
                  </a:lnTo>
                  <a:lnTo>
                    <a:pt x="1862" y="564"/>
                  </a:lnTo>
                  <a:lnTo>
                    <a:pt x="1860" y="569"/>
                  </a:lnTo>
                  <a:lnTo>
                    <a:pt x="1860" y="574"/>
                  </a:lnTo>
                  <a:lnTo>
                    <a:pt x="1861" y="580"/>
                  </a:lnTo>
                  <a:lnTo>
                    <a:pt x="1864" y="585"/>
                  </a:lnTo>
                  <a:lnTo>
                    <a:pt x="1868" y="589"/>
                  </a:lnTo>
                  <a:lnTo>
                    <a:pt x="1873" y="593"/>
                  </a:lnTo>
                  <a:lnTo>
                    <a:pt x="1887" y="599"/>
                  </a:lnTo>
                  <a:lnTo>
                    <a:pt x="1901" y="605"/>
                  </a:lnTo>
                  <a:lnTo>
                    <a:pt x="1916" y="609"/>
                  </a:lnTo>
                  <a:lnTo>
                    <a:pt x="1928" y="611"/>
                  </a:lnTo>
                  <a:lnTo>
                    <a:pt x="1938" y="613"/>
                  </a:lnTo>
                  <a:lnTo>
                    <a:pt x="1945" y="616"/>
                  </a:lnTo>
                  <a:lnTo>
                    <a:pt x="1948" y="618"/>
                  </a:lnTo>
                  <a:lnTo>
                    <a:pt x="1949" y="620"/>
                  </a:lnTo>
                  <a:lnTo>
                    <a:pt x="1952" y="623"/>
                  </a:lnTo>
                  <a:lnTo>
                    <a:pt x="1953" y="626"/>
                  </a:lnTo>
                  <a:lnTo>
                    <a:pt x="1953" y="632"/>
                  </a:lnTo>
                  <a:lnTo>
                    <a:pt x="1952" y="638"/>
                  </a:lnTo>
                  <a:lnTo>
                    <a:pt x="1948" y="645"/>
                  </a:lnTo>
                  <a:lnTo>
                    <a:pt x="1945" y="653"/>
                  </a:lnTo>
                  <a:lnTo>
                    <a:pt x="1938" y="667"/>
                  </a:lnTo>
                  <a:lnTo>
                    <a:pt x="1932" y="683"/>
                  </a:lnTo>
                  <a:lnTo>
                    <a:pt x="1930" y="690"/>
                  </a:lnTo>
                  <a:lnTo>
                    <a:pt x="1929" y="698"/>
                  </a:lnTo>
                  <a:lnTo>
                    <a:pt x="1930" y="701"/>
                  </a:lnTo>
                  <a:lnTo>
                    <a:pt x="1930" y="704"/>
                  </a:lnTo>
                  <a:lnTo>
                    <a:pt x="1932" y="707"/>
                  </a:lnTo>
                  <a:lnTo>
                    <a:pt x="1933" y="710"/>
                  </a:lnTo>
                  <a:lnTo>
                    <a:pt x="1945" y="724"/>
                  </a:lnTo>
                  <a:lnTo>
                    <a:pt x="1957" y="737"/>
                  </a:lnTo>
                  <a:lnTo>
                    <a:pt x="1962" y="743"/>
                  </a:lnTo>
                  <a:lnTo>
                    <a:pt x="1965" y="752"/>
                  </a:lnTo>
                  <a:lnTo>
                    <a:pt x="1966" y="756"/>
                  </a:lnTo>
                  <a:lnTo>
                    <a:pt x="1967" y="760"/>
                  </a:lnTo>
                  <a:lnTo>
                    <a:pt x="1967" y="765"/>
                  </a:lnTo>
                  <a:lnTo>
                    <a:pt x="1966" y="771"/>
                  </a:lnTo>
                  <a:lnTo>
                    <a:pt x="1965" y="776"/>
                  </a:lnTo>
                  <a:lnTo>
                    <a:pt x="1962" y="780"/>
                  </a:lnTo>
                  <a:lnTo>
                    <a:pt x="1959" y="782"/>
                  </a:lnTo>
                  <a:lnTo>
                    <a:pt x="1955" y="784"/>
                  </a:lnTo>
                  <a:lnTo>
                    <a:pt x="1949" y="786"/>
                  </a:lnTo>
                  <a:lnTo>
                    <a:pt x="1944" y="786"/>
                  </a:lnTo>
                  <a:lnTo>
                    <a:pt x="1938" y="786"/>
                  </a:lnTo>
                  <a:lnTo>
                    <a:pt x="1932" y="785"/>
                  </a:lnTo>
                  <a:lnTo>
                    <a:pt x="1906" y="781"/>
                  </a:lnTo>
                  <a:lnTo>
                    <a:pt x="1885" y="778"/>
                  </a:lnTo>
                  <a:lnTo>
                    <a:pt x="1878" y="779"/>
                  </a:lnTo>
                  <a:lnTo>
                    <a:pt x="1871" y="782"/>
                  </a:lnTo>
                  <a:lnTo>
                    <a:pt x="1865" y="786"/>
                  </a:lnTo>
                  <a:lnTo>
                    <a:pt x="1859" y="789"/>
                  </a:lnTo>
                  <a:lnTo>
                    <a:pt x="1852" y="792"/>
                  </a:lnTo>
                  <a:lnTo>
                    <a:pt x="1846" y="795"/>
                  </a:lnTo>
                  <a:lnTo>
                    <a:pt x="1842" y="795"/>
                  </a:lnTo>
                  <a:lnTo>
                    <a:pt x="1839" y="795"/>
                  </a:lnTo>
                  <a:lnTo>
                    <a:pt x="1835" y="792"/>
                  </a:lnTo>
                  <a:lnTo>
                    <a:pt x="1831" y="790"/>
                  </a:lnTo>
                  <a:lnTo>
                    <a:pt x="1821" y="783"/>
                  </a:lnTo>
                  <a:lnTo>
                    <a:pt x="1813" y="772"/>
                  </a:lnTo>
                  <a:lnTo>
                    <a:pt x="1808" y="766"/>
                  </a:lnTo>
                  <a:lnTo>
                    <a:pt x="1803" y="762"/>
                  </a:lnTo>
                  <a:lnTo>
                    <a:pt x="1798" y="758"/>
                  </a:lnTo>
                  <a:lnTo>
                    <a:pt x="1793" y="757"/>
                  </a:lnTo>
                  <a:lnTo>
                    <a:pt x="1789" y="757"/>
                  </a:lnTo>
                  <a:lnTo>
                    <a:pt x="1786" y="758"/>
                  </a:lnTo>
                  <a:lnTo>
                    <a:pt x="1783" y="759"/>
                  </a:lnTo>
                  <a:lnTo>
                    <a:pt x="1779" y="761"/>
                  </a:lnTo>
                  <a:lnTo>
                    <a:pt x="1774" y="765"/>
                  </a:lnTo>
                  <a:lnTo>
                    <a:pt x="1769" y="772"/>
                  </a:lnTo>
                  <a:lnTo>
                    <a:pt x="1760" y="787"/>
                  </a:lnTo>
                  <a:lnTo>
                    <a:pt x="1752" y="806"/>
                  </a:lnTo>
                  <a:lnTo>
                    <a:pt x="1744" y="825"/>
                  </a:lnTo>
                  <a:lnTo>
                    <a:pt x="1737" y="841"/>
                  </a:lnTo>
                  <a:lnTo>
                    <a:pt x="1733" y="848"/>
                  </a:lnTo>
                  <a:lnTo>
                    <a:pt x="1727" y="853"/>
                  </a:lnTo>
                  <a:lnTo>
                    <a:pt x="1725" y="854"/>
                  </a:lnTo>
                  <a:lnTo>
                    <a:pt x="1723" y="856"/>
                  </a:lnTo>
                  <a:lnTo>
                    <a:pt x="1720" y="857"/>
                  </a:lnTo>
                  <a:lnTo>
                    <a:pt x="1718" y="857"/>
                  </a:lnTo>
                  <a:lnTo>
                    <a:pt x="1709" y="856"/>
                  </a:lnTo>
                  <a:lnTo>
                    <a:pt x="1701" y="853"/>
                  </a:lnTo>
                  <a:lnTo>
                    <a:pt x="1695" y="849"/>
                  </a:lnTo>
                  <a:lnTo>
                    <a:pt x="1689" y="843"/>
                  </a:lnTo>
                  <a:lnTo>
                    <a:pt x="1684" y="835"/>
                  </a:lnTo>
                  <a:lnTo>
                    <a:pt x="1678" y="828"/>
                  </a:lnTo>
                  <a:lnTo>
                    <a:pt x="1674" y="819"/>
                  </a:lnTo>
                  <a:lnTo>
                    <a:pt x="1671" y="809"/>
                  </a:lnTo>
                  <a:lnTo>
                    <a:pt x="1661" y="772"/>
                  </a:lnTo>
                  <a:lnTo>
                    <a:pt x="1653" y="742"/>
                  </a:lnTo>
                  <a:lnTo>
                    <a:pt x="1647" y="742"/>
                  </a:lnTo>
                  <a:lnTo>
                    <a:pt x="1640" y="743"/>
                  </a:lnTo>
                  <a:lnTo>
                    <a:pt x="1635" y="744"/>
                  </a:lnTo>
                  <a:lnTo>
                    <a:pt x="1629" y="747"/>
                  </a:lnTo>
                  <a:lnTo>
                    <a:pt x="1624" y="749"/>
                  </a:lnTo>
                  <a:lnTo>
                    <a:pt x="1620" y="751"/>
                  </a:lnTo>
                  <a:lnTo>
                    <a:pt x="1617" y="754"/>
                  </a:lnTo>
                  <a:lnTo>
                    <a:pt x="1614" y="757"/>
                  </a:lnTo>
                  <a:lnTo>
                    <a:pt x="1608" y="764"/>
                  </a:lnTo>
                  <a:lnTo>
                    <a:pt x="1604" y="773"/>
                  </a:lnTo>
                  <a:lnTo>
                    <a:pt x="1601" y="781"/>
                  </a:lnTo>
                  <a:lnTo>
                    <a:pt x="1600" y="791"/>
                  </a:lnTo>
                  <a:lnTo>
                    <a:pt x="1597" y="810"/>
                  </a:lnTo>
                  <a:lnTo>
                    <a:pt x="1594" y="828"/>
                  </a:lnTo>
                  <a:lnTo>
                    <a:pt x="1592" y="836"/>
                  </a:lnTo>
                  <a:lnTo>
                    <a:pt x="1588" y="843"/>
                  </a:lnTo>
                  <a:lnTo>
                    <a:pt x="1586" y="846"/>
                  </a:lnTo>
                  <a:lnTo>
                    <a:pt x="1583" y="849"/>
                  </a:lnTo>
                  <a:lnTo>
                    <a:pt x="1580" y="851"/>
                  </a:lnTo>
                  <a:lnTo>
                    <a:pt x="1577" y="853"/>
                  </a:lnTo>
                  <a:lnTo>
                    <a:pt x="1575" y="853"/>
                  </a:lnTo>
                  <a:lnTo>
                    <a:pt x="1572" y="853"/>
                  </a:lnTo>
                  <a:lnTo>
                    <a:pt x="1570" y="852"/>
                  </a:lnTo>
                  <a:lnTo>
                    <a:pt x="1568" y="851"/>
                  </a:lnTo>
                  <a:lnTo>
                    <a:pt x="1563" y="846"/>
                  </a:lnTo>
                  <a:lnTo>
                    <a:pt x="1558" y="838"/>
                  </a:lnTo>
                  <a:lnTo>
                    <a:pt x="1554" y="829"/>
                  </a:lnTo>
                  <a:lnTo>
                    <a:pt x="1549" y="819"/>
                  </a:lnTo>
                  <a:lnTo>
                    <a:pt x="1546" y="806"/>
                  </a:lnTo>
                  <a:lnTo>
                    <a:pt x="1542" y="793"/>
                  </a:lnTo>
                  <a:lnTo>
                    <a:pt x="1536" y="767"/>
                  </a:lnTo>
                  <a:lnTo>
                    <a:pt x="1530" y="743"/>
                  </a:lnTo>
                  <a:lnTo>
                    <a:pt x="1528" y="724"/>
                  </a:lnTo>
                  <a:lnTo>
                    <a:pt x="1527" y="711"/>
                  </a:lnTo>
                  <a:lnTo>
                    <a:pt x="1528" y="687"/>
                  </a:lnTo>
                  <a:lnTo>
                    <a:pt x="1526" y="658"/>
                  </a:lnTo>
                  <a:lnTo>
                    <a:pt x="1525" y="643"/>
                  </a:lnTo>
                  <a:lnTo>
                    <a:pt x="1525" y="632"/>
                  </a:lnTo>
                  <a:lnTo>
                    <a:pt x="1525" y="627"/>
                  </a:lnTo>
                  <a:lnTo>
                    <a:pt x="1526" y="622"/>
                  </a:lnTo>
                  <a:lnTo>
                    <a:pt x="1528" y="619"/>
                  </a:lnTo>
                  <a:lnTo>
                    <a:pt x="1529" y="617"/>
                  </a:lnTo>
                  <a:lnTo>
                    <a:pt x="1544" y="607"/>
                  </a:lnTo>
                  <a:lnTo>
                    <a:pt x="1555" y="595"/>
                  </a:lnTo>
                  <a:lnTo>
                    <a:pt x="1568" y="584"/>
                  </a:lnTo>
                  <a:lnTo>
                    <a:pt x="1580" y="571"/>
                  </a:lnTo>
                  <a:lnTo>
                    <a:pt x="1588" y="563"/>
                  </a:lnTo>
                  <a:lnTo>
                    <a:pt x="1593" y="554"/>
                  </a:lnTo>
                  <a:lnTo>
                    <a:pt x="1598" y="545"/>
                  </a:lnTo>
                  <a:lnTo>
                    <a:pt x="1602" y="536"/>
                  </a:lnTo>
                  <a:lnTo>
                    <a:pt x="1607" y="517"/>
                  </a:lnTo>
                  <a:lnTo>
                    <a:pt x="1612" y="499"/>
                  </a:lnTo>
                  <a:lnTo>
                    <a:pt x="1615" y="490"/>
                  </a:lnTo>
                  <a:lnTo>
                    <a:pt x="1618" y="482"/>
                  </a:lnTo>
                  <a:lnTo>
                    <a:pt x="1622" y="474"/>
                  </a:lnTo>
                  <a:lnTo>
                    <a:pt x="1626" y="466"/>
                  </a:lnTo>
                  <a:lnTo>
                    <a:pt x="1632" y="460"/>
                  </a:lnTo>
                  <a:lnTo>
                    <a:pt x="1641" y="453"/>
                  </a:lnTo>
                  <a:lnTo>
                    <a:pt x="1650" y="447"/>
                  </a:lnTo>
                  <a:lnTo>
                    <a:pt x="1662" y="443"/>
                  </a:lnTo>
                  <a:lnTo>
                    <a:pt x="1669" y="440"/>
                  </a:lnTo>
                  <a:lnTo>
                    <a:pt x="1674" y="437"/>
                  </a:lnTo>
                  <a:lnTo>
                    <a:pt x="1679" y="434"/>
                  </a:lnTo>
                  <a:lnTo>
                    <a:pt x="1683" y="430"/>
                  </a:lnTo>
                  <a:lnTo>
                    <a:pt x="1685" y="427"/>
                  </a:lnTo>
                  <a:lnTo>
                    <a:pt x="1686" y="424"/>
                  </a:lnTo>
                  <a:lnTo>
                    <a:pt x="1687" y="421"/>
                  </a:lnTo>
                  <a:lnTo>
                    <a:pt x="1687" y="418"/>
                  </a:lnTo>
                  <a:lnTo>
                    <a:pt x="1683" y="402"/>
                  </a:lnTo>
                  <a:lnTo>
                    <a:pt x="1676" y="385"/>
                  </a:lnTo>
                  <a:lnTo>
                    <a:pt x="1663" y="378"/>
                  </a:lnTo>
                  <a:lnTo>
                    <a:pt x="1643" y="369"/>
                  </a:lnTo>
                  <a:lnTo>
                    <a:pt x="1620" y="358"/>
                  </a:lnTo>
                  <a:lnTo>
                    <a:pt x="1596" y="347"/>
                  </a:lnTo>
                  <a:lnTo>
                    <a:pt x="1586" y="340"/>
                  </a:lnTo>
                  <a:lnTo>
                    <a:pt x="1575" y="333"/>
                  </a:lnTo>
                  <a:lnTo>
                    <a:pt x="1566" y="327"/>
                  </a:lnTo>
                  <a:lnTo>
                    <a:pt x="1558" y="321"/>
                  </a:lnTo>
                  <a:lnTo>
                    <a:pt x="1553" y="314"/>
                  </a:lnTo>
                  <a:lnTo>
                    <a:pt x="1550" y="307"/>
                  </a:lnTo>
                  <a:lnTo>
                    <a:pt x="1549" y="304"/>
                  </a:lnTo>
                  <a:lnTo>
                    <a:pt x="1549" y="302"/>
                  </a:lnTo>
                  <a:lnTo>
                    <a:pt x="1550" y="299"/>
                  </a:lnTo>
                  <a:lnTo>
                    <a:pt x="1551" y="296"/>
                  </a:lnTo>
                  <a:lnTo>
                    <a:pt x="1561" y="282"/>
                  </a:lnTo>
                  <a:lnTo>
                    <a:pt x="1572" y="268"/>
                  </a:lnTo>
                  <a:lnTo>
                    <a:pt x="1576" y="260"/>
                  </a:lnTo>
                  <a:lnTo>
                    <a:pt x="1579" y="253"/>
                  </a:lnTo>
                  <a:lnTo>
                    <a:pt x="1579" y="249"/>
                  </a:lnTo>
                  <a:lnTo>
                    <a:pt x="1578" y="246"/>
                  </a:lnTo>
                  <a:lnTo>
                    <a:pt x="1576" y="242"/>
                  </a:lnTo>
                  <a:lnTo>
                    <a:pt x="1573" y="238"/>
                  </a:lnTo>
                  <a:lnTo>
                    <a:pt x="1567" y="233"/>
                  </a:lnTo>
                  <a:lnTo>
                    <a:pt x="1559" y="228"/>
                  </a:lnTo>
                  <a:lnTo>
                    <a:pt x="1551" y="223"/>
                  </a:lnTo>
                  <a:lnTo>
                    <a:pt x="1543" y="219"/>
                  </a:lnTo>
                  <a:lnTo>
                    <a:pt x="1526" y="210"/>
                  </a:lnTo>
                  <a:lnTo>
                    <a:pt x="1510" y="202"/>
                  </a:lnTo>
                  <a:lnTo>
                    <a:pt x="1500" y="196"/>
                  </a:lnTo>
                  <a:lnTo>
                    <a:pt x="1483" y="187"/>
                  </a:lnTo>
                  <a:lnTo>
                    <a:pt x="1464" y="176"/>
                  </a:lnTo>
                  <a:lnTo>
                    <a:pt x="1443" y="162"/>
                  </a:lnTo>
                  <a:lnTo>
                    <a:pt x="1433" y="156"/>
                  </a:lnTo>
                  <a:lnTo>
                    <a:pt x="1425" y="150"/>
                  </a:lnTo>
                  <a:lnTo>
                    <a:pt x="1418" y="144"/>
                  </a:lnTo>
                  <a:lnTo>
                    <a:pt x="1412" y="137"/>
                  </a:lnTo>
                  <a:lnTo>
                    <a:pt x="1410" y="134"/>
                  </a:lnTo>
                  <a:lnTo>
                    <a:pt x="1409" y="132"/>
                  </a:lnTo>
                  <a:lnTo>
                    <a:pt x="1408" y="129"/>
                  </a:lnTo>
                  <a:lnTo>
                    <a:pt x="1408" y="127"/>
                  </a:lnTo>
                  <a:lnTo>
                    <a:pt x="1409" y="125"/>
                  </a:lnTo>
                  <a:lnTo>
                    <a:pt x="1410" y="123"/>
                  </a:lnTo>
                  <a:lnTo>
                    <a:pt x="1412" y="121"/>
                  </a:lnTo>
                  <a:lnTo>
                    <a:pt x="1416" y="120"/>
                  </a:lnTo>
                  <a:lnTo>
                    <a:pt x="1439" y="111"/>
                  </a:lnTo>
                  <a:lnTo>
                    <a:pt x="1463" y="103"/>
                  </a:lnTo>
                  <a:lnTo>
                    <a:pt x="1474" y="99"/>
                  </a:lnTo>
                  <a:lnTo>
                    <a:pt x="1487" y="95"/>
                  </a:lnTo>
                  <a:lnTo>
                    <a:pt x="1497" y="89"/>
                  </a:lnTo>
                  <a:lnTo>
                    <a:pt x="1506" y="83"/>
                  </a:lnTo>
                  <a:lnTo>
                    <a:pt x="1514" y="78"/>
                  </a:lnTo>
                  <a:lnTo>
                    <a:pt x="1519" y="73"/>
                  </a:lnTo>
                  <a:lnTo>
                    <a:pt x="1522" y="67"/>
                  </a:lnTo>
                  <a:lnTo>
                    <a:pt x="1524" y="61"/>
                  </a:lnTo>
                  <a:lnTo>
                    <a:pt x="1525" y="56"/>
                  </a:lnTo>
                  <a:lnTo>
                    <a:pt x="1524" y="51"/>
                  </a:lnTo>
                  <a:lnTo>
                    <a:pt x="1523" y="45"/>
                  </a:lnTo>
                  <a:lnTo>
                    <a:pt x="1520" y="39"/>
                  </a:lnTo>
                  <a:lnTo>
                    <a:pt x="1517" y="35"/>
                  </a:lnTo>
                  <a:lnTo>
                    <a:pt x="1513" y="30"/>
                  </a:lnTo>
                  <a:lnTo>
                    <a:pt x="1507" y="25"/>
                  </a:lnTo>
                  <a:lnTo>
                    <a:pt x="1501" y="20"/>
                  </a:lnTo>
                  <a:lnTo>
                    <a:pt x="1496" y="17"/>
                  </a:lnTo>
                  <a:lnTo>
                    <a:pt x="1490" y="14"/>
                  </a:lnTo>
                  <a:lnTo>
                    <a:pt x="1483" y="11"/>
                  </a:lnTo>
                  <a:lnTo>
                    <a:pt x="1477" y="9"/>
                  </a:lnTo>
                  <a:lnTo>
                    <a:pt x="1467" y="5"/>
                  </a:lnTo>
                  <a:lnTo>
                    <a:pt x="1459" y="0"/>
                  </a:lnTo>
                  <a:lnTo>
                    <a:pt x="1459" y="0"/>
                  </a:lnTo>
                  <a:lnTo>
                    <a:pt x="1416" y="20"/>
                  </a:lnTo>
                  <a:lnTo>
                    <a:pt x="1407" y="26"/>
                  </a:lnTo>
                  <a:lnTo>
                    <a:pt x="1401" y="32"/>
                  </a:lnTo>
                  <a:lnTo>
                    <a:pt x="1397" y="38"/>
                  </a:lnTo>
                  <a:lnTo>
                    <a:pt x="1394" y="44"/>
                  </a:lnTo>
                  <a:lnTo>
                    <a:pt x="1390" y="58"/>
                  </a:lnTo>
                  <a:lnTo>
                    <a:pt x="1386" y="71"/>
                  </a:lnTo>
                  <a:lnTo>
                    <a:pt x="1385" y="77"/>
                  </a:lnTo>
                  <a:lnTo>
                    <a:pt x="1383" y="82"/>
                  </a:lnTo>
                  <a:lnTo>
                    <a:pt x="1380" y="87"/>
                  </a:lnTo>
                  <a:lnTo>
                    <a:pt x="1376" y="91"/>
                  </a:lnTo>
                  <a:lnTo>
                    <a:pt x="1370" y="95"/>
                  </a:lnTo>
                  <a:lnTo>
                    <a:pt x="1362" y="97"/>
                  </a:lnTo>
                  <a:lnTo>
                    <a:pt x="1353" y="98"/>
                  </a:lnTo>
                  <a:lnTo>
                    <a:pt x="1341" y="98"/>
                  </a:lnTo>
                  <a:lnTo>
                    <a:pt x="1332" y="98"/>
                  </a:lnTo>
                  <a:lnTo>
                    <a:pt x="1325" y="100"/>
                  </a:lnTo>
                  <a:lnTo>
                    <a:pt x="1319" y="102"/>
                  </a:lnTo>
                  <a:lnTo>
                    <a:pt x="1312" y="105"/>
                  </a:lnTo>
                  <a:lnTo>
                    <a:pt x="1307" y="109"/>
                  </a:lnTo>
                  <a:lnTo>
                    <a:pt x="1302" y="114"/>
                  </a:lnTo>
                  <a:lnTo>
                    <a:pt x="1297" y="121"/>
                  </a:lnTo>
                  <a:lnTo>
                    <a:pt x="1293" y="127"/>
                  </a:lnTo>
                  <a:lnTo>
                    <a:pt x="1285" y="141"/>
                  </a:lnTo>
                  <a:lnTo>
                    <a:pt x="1279" y="156"/>
                  </a:lnTo>
                  <a:lnTo>
                    <a:pt x="1274" y="172"/>
                  </a:lnTo>
                  <a:lnTo>
                    <a:pt x="1271" y="186"/>
                  </a:lnTo>
                  <a:lnTo>
                    <a:pt x="1246" y="190"/>
                  </a:lnTo>
                  <a:lnTo>
                    <a:pt x="1211" y="197"/>
                  </a:lnTo>
                  <a:lnTo>
                    <a:pt x="1195" y="201"/>
                  </a:lnTo>
                  <a:lnTo>
                    <a:pt x="1181" y="206"/>
                  </a:lnTo>
                  <a:lnTo>
                    <a:pt x="1175" y="209"/>
                  </a:lnTo>
                  <a:lnTo>
                    <a:pt x="1171" y="213"/>
                  </a:lnTo>
                  <a:lnTo>
                    <a:pt x="1169" y="217"/>
                  </a:lnTo>
                  <a:lnTo>
                    <a:pt x="1167" y="221"/>
                  </a:lnTo>
                  <a:lnTo>
                    <a:pt x="1174" y="225"/>
                  </a:lnTo>
                  <a:lnTo>
                    <a:pt x="1179" y="229"/>
                  </a:lnTo>
                  <a:lnTo>
                    <a:pt x="1185" y="234"/>
                  </a:lnTo>
                  <a:lnTo>
                    <a:pt x="1190" y="240"/>
                  </a:lnTo>
                  <a:lnTo>
                    <a:pt x="1196" y="246"/>
                  </a:lnTo>
                  <a:lnTo>
                    <a:pt x="1200" y="251"/>
                  </a:lnTo>
                  <a:lnTo>
                    <a:pt x="1203" y="257"/>
                  </a:lnTo>
                  <a:lnTo>
                    <a:pt x="1206" y="265"/>
                  </a:lnTo>
                  <a:lnTo>
                    <a:pt x="1208" y="271"/>
                  </a:lnTo>
                  <a:lnTo>
                    <a:pt x="1209" y="277"/>
                  </a:lnTo>
                  <a:lnTo>
                    <a:pt x="1209" y="283"/>
                  </a:lnTo>
                  <a:lnTo>
                    <a:pt x="1209" y="290"/>
                  </a:lnTo>
                  <a:lnTo>
                    <a:pt x="1207" y="296"/>
                  </a:lnTo>
                  <a:lnTo>
                    <a:pt x="1203" y="302"/>
                  </a:lnTo>
                  <a:lnTo>
                    <a:pt x="1199" y="307"/>
                  </a:lnTo>
                  <a:lnTo>
                    <a:pt x="1192" y="314"/>
                  </a:lnTo>
                  <a:lnTo>
                    <a:pt x="1178" y="323"/>
                  </a:lnTo>
                  <a:lnTo>
                    <a:pt x="1157" y="340"/>
                  </a:lnTo>
                  <a:lnTo>
                    <a:pt x="1148" y="348"/>
                  </a:lnTo>
                  <a:lnTo>
                    <a:pt x="1138" y="355"/>
                  </a:lnTo>
                  <a:lnTo>
                    <a:pt x="1135" y="358"/>
                  </a:lnTo>
                  <a:lnTo>
                    <a:pt x="1133" y="362"/>
                  </a:lnTo>
                  <a:lnTo>
                    <a:pt x="1132" y="365"/>
                  </a:lnTo>
                  <a:lnTo>
                    <a:pt x="1132" y="367"/>
                  </a:lnTo>
                  <a:lnTo>
                    <a:pt x="1137" y="381"/>
                  </a:lnTo>
                  <a:lnTo>
                    <a:pt x="1140" y="394"/>
                  </a:lnTo>
                  <a:lnTo>
                    <a:pt x="1142" y="403"/>
                  </a:lnTo>
                  <a:lnTo>
                    <a:pt x="1143" y="412"/>
                  </a:lnTo>
                  <a:lnTo>
                    <a:pt x="1143" y="417"/>
                  </a:lnTo>
                  <a:lnTo>
                    <a:pt x="1141" y="421"/>
                  </a:lnTo>
                  <a:lnTo>
                    <a:pt x="1138" y="423"/>
                  </a:lnTo>
                  <a:lnTo>
                    <a:pt x="1135" y="425"/>
                  </a:lnTo>
                  <a:lnTo>
                    <a:pt x="1124" y="425"/>
                  </a:lnTo>
                  <a:lnTo>
                    <a:pt x="1108" y="425"/>
                  </a:lnTo>
                  <a:lnTo>
                    <a:pt x="1100" y="425"/>
                  </a:lnTo>
                  <a:lnTo>
                    <a:pt x="1089" y="426"/>
                  </a:lnTo>
                  <a:lnTo>
                    <a:pt x="1079" y="427"/>
                  </a:lnTo>
                  <a:lnTo>
                    <a:pt x="1067" y="430"/>
                  </a:lnTo>
                  <a:lnTo>
                    <a:pt x="1059" y="434"/>
                  </a:lnTo>
                  <a:lnTo>
                    <a:pt x="1052" y="437"/>
                  </a:lnTo>
                  <a:lnTo>
                    <a:pt x="1043" y="441"/>
                  </a:lnTo>
                  <a:lnTo>
                    <a:pt x="1036" y="445"/>
                  </a:lnTo>
                  <a:lnTo>
                    <a:pt x="1029" y="450"/>
                  </a:lnTo>
                  <a:lnTo>
                    <a:pt x="1020" y="454"/>
                  </a:lnTo>
                  <a:lnTo>
                    <a:pt x="1012" y="458"/>
                  </a:lnTo>
                  <a:lnTo>
                    <a:pt x="1004" y="461"/>
                  </a:lnTo>
                  <a:lnTo>
                    <a:pt x="932" y="479"/>
                  </a:lnTo>
                  <a:lnTo>
                    <a:pt x="933" y="486"/>
                  </a:lnTo>
                  <a:lnTo>
                    <a:pt x="936" y="492"/>
                  </a:lnTo>
                  <a:lnTo>
                    <a:pt x="940" y="500"/>
                  </a:lnTo>
                  <a:lnTo>
                    <a:pt x="946" y="509"/>
                  </a:lnTo>
                  <a:lnTo>
                    <a:pt x="961" y="527"/>
                  </a:lnTo>
                  <a:lnTo>
                    <a:pt x="978" y="547"/>
                  </a:lnTo>
                  <a:lnTo>
                    <a:pt x="994" y="567"/>
                  </a:lnTo>
                  <a:lnTo>
                    <a:pt x="1010" y="587"/>
                  </a:lnTo>
                  <a:lnTo>
                    <a:pt x="1017" y="596"/>
                  </a:lnTo>
                  <a:lnTo>
                    <a:pt x="1023" y="606"/>
                  </a:lnTo>
                  <a:lnTo>
                    <a:pt x="1027" y="614"/>
                  </a:lnTo>
                  <a:lnTo>
                    <a:pt x="1029" y="621"/>
                  </a:lnTo>
                  <a:lnTo>
                    <a:pt x="1033" y="630"/>
                  </a:lnTo>
                  <a:lnTo>
                    <a:pt x="1037" y="639"/>
                  </a:lnTo>
                  <a:lnTo>
                    <a:pt x="1040" y="647"/>
                  </a:lnTo>
                  <a:lnTo>
                    <a:pt x="1042" y="657"/>
                  </a:lnTo>
                  <a:lnTo>
                    <a:pt x="1044" y="665"/>
                  </a:lnTo>
                  <a:lnTo>
                    <a:pt x="1045" y="675"/>
                  </a:lnTo>
                  <a:lnTo>
                    <a:pt x="1045" y="683"/>
                  </a:lnTo>
                  <a:lnTo>
                    <a:pt x="1044" y="691"/>
                  </a:lnTo>
                  <a:lnTo>
                    <a:pt x="1043" y="700"/>
                  </a:lnTo>
                  <a:lnTo>
                    <a:pt x="1041" y="708"/>
                  </a:lnTo>
                  <a:lnTo>
                    <a:pt x="1038" y="716"/>
                  </a:lnTo>
                  <a:lnTo>
                    <a:pt x="1035" y="725"/>
                  </a:lnTo>
                  <a:lnTo>
                    <a:pt x="1030" y="732"/>
                  </a:lnTo>
                  <a:lnTo>
                    <a:pt x="1025" y="740"/>
                  </a:lnTo>
                  <a:lnTo>
                    <a:pt x="1019" y="748"/>
                  </a:lnTo>
                  <a:lnTo>
                    <a:pt x="1012" y="755"/>
                  </a:lnTo>
                  <a:lnTo>
                    <a:pt x="1006" y="760"/>
                  </a:lnTo>
                  <a:lnTo>
                    <a:pt x="1000" y="765"/>
                  </a:lnTo>
                  <a:lnTo>
                    <a:pt x="992" y="769"/>
                  </a:lnTo>
                  <a:lnTo>
                    <a:pt x="984" y="773"/>
                  </a:lnTo>
                  <a:lnTo>
                    <a:pt x="976" y="776"/>
                  </a:lnTo>
                  <a:lnTo>
                    <a:pt x="967" y="778"/>
                  </a:lnTo>
                  <a:lnTo>
                    <a:pt x="959" y="779"/>
                  </a:lnTo>
                  <a:lnTo>
                    <a:pt x="952" y="779"/>
                  </a:lnTo>
                  <a:lnTo>
                    <a:pt x="945" y="779"/>
                  </a:lnTo>
                  <a:lnTo>
                    <a:pt x="940" y="778"/>
                  </a:lnTo>
                  <a:lnTo>
                    <a:pt x="936" y="776"/>
                  </a:lnTo>
                  <a:lnTo>
                    <a:pt x="933" y="773"/>
                  </a:lnTo>
                  <a:lnTo>
                    <a:pt x="929" y="769"/>
                  </a:lnTo>
                  <a:lnTo>
                    <a:pt x="927" y="765"/>
                  </a:lnTo>
                  <a:lnTo>
                    <a:pt x="925" y="761"/>
                  </a:lnTo>
                  <a:lnTo>
                    <a:pt x="922" y="756"/>
                  </a:lnTo>
                  <a:lnTo>
                    <a:pt x="917" y="735"/>
                  </a:lnTo>
                  <a:lnTo>
                    <a:pt x="911" y="714"/>
                  </a:lnTo>
                  <a:lnTo>
                    <a:pt x="908" y="707"/>
                  </a:lnTo>
                  <a:lnTo>
                    <a:pt x="904" y="702"/>
                  </a:lnTo>
                  <a:lnTo>
                    <a:pt x="902" y="701"/>
                  </a:lnTo>
                  <a:lnTo>
                    <a:pt x="899" y="701"/>
                  </a:lnTo>
                  <a:lnTo>
                    <a:pt x="896" y="701"/>
                  </a:lnTo>
                  <a:lnTo>
                    <a:pt x="894" y="702"/>
                  </a:lnTo>
                  <a:lnTo>
                    <a:pt x="890" y="705"/>
                  </a:lnTo>
                  <a:lnTo>
                    <a:pt x="885" y="709"/>
                  </a:lnTo>
                  <a:lnTo>
                    <a:pt x="880" y="716"/>
                  </a:lnTo>
                  <a:lnTo>
                    <a:pt x="874" y="724"/>
                  </a:lnTo>
                  <a:lnTo>
                    <a:pt x="865" y="741"/>
                  </a:lnTo>
                  <a:lnTo>
                    <a:pt x="856" y="759"/>
                  </a:lnTo>
                  <a:lnTo>
                    <a:pt x="848" y="776"/>
                  </a:lnTo>
                  <a:lnTo>
                    <a:pt x="842" y="787"/>
                  </a:lnTo>
                  <a:lnTo>
                    <a:pt x="839" y="793"/>
                  </a:lnTo>
                  <a:lnTo>
                    <a:pt x="837" y="801"/>
                  </a:lnTo>
                  <a:lnTo>
                    <a:pt x="837" y="809"/>
                  </a:lnTo>
                  <a:lnTo>
                    <a:pt x="837" y="820"/>
                  </a:lnTo>
                  <a:lnTo>
                    <a:pt x="839" y="840"/>
                  </a:lnTo>
                  <a:lnTo>
                    <a:pt x="842" y="863"/>
                  </a:lnTo>
                  <a:lnTo>
                    <a:pt x="844" y="874"/>
                  </a:lnTo>
                  <a:lnTo>
                    <a:pt x="845" y="885"/>
                  </a:lnTo>
                  <a:lnTo>
                    <a:pt x="845" y="896"/>
                  </a:lnTo>
                  <a:lnTo>
                    <a:pt x="845" y="905"/>
                  </a:lnTo>
                  <a:lnTo>
                    <a:pt x="843" y="915"/>
                  </a:lnTo>
                  <a:lnTo>
                    <a:pt x="841" y="923"/>
                  </a:lnTo>
                  <a:lnTo>
                    <a:pt x="839" y="926"/>
                  </a:lnTo>
                  <a:lnTo>
                    <a:pt x="837" y="929"/>
                  </a:lnTo>
                  <a:lnTo>
                    <a:pt x="834" y="932"/>
                  </a:lnTo>
                  <a:lnTo>
                    <a:pt x="831" y="934"/>
                  </a:lnTo>
                  <a:lnTo>
                    <a:pt x="830" y="939"/>
                  </a:lnTo>
                  <a:lnTo>
                    <a:pt x="827" y="943"/>
                  </a:lnTo>
                  <a:lnTo>
                    <a:pt x="822" y="946"/>
                  </a:lnTo>
                  <a:lnTo>
                    <a:pt x="817" y="949"/>
                  </a:lnTo>
                  <a:lnTo>
                    <a:pt x="812" y="951"/>
                  </a:lnTo>
                  <a:lnTo>
                    <a:pt x="807" y="953"/>
                  </a:lnTo>
                  <a:lnTo>
                    <a:pt x="801" y="953"/>
                  </a:lnTo>
                  <a:lnTo>
                    <a:pt x="797" y="954"/>
                  </a:lnTo>
                  <a:lnTo>
                    <a:pt x="794" y="953"/>
                  </a:lnTo>
                  <a:lnTo>
                    <a:pt x="791" y="952"/>
                  </a:lnTo>
                  <a:lnTo>
                    <a:pt x="789" y="949"/>
                  </a:lnTo>
                  <a:lnTo>
                    <a:pt x="787" y="946"/>
                  </a:lnTo>
                  <a:lnTo>
                    <a:pt x="783" y="939"/>
                  </a:lnTo>
                  <a:lnTo>
                    <a:pt x="780" y="928"/>
                  </a:lnTo>
                  <a:lnTo>
                    <a:pt x="775" y="908"/>
                  </a:lnTo>
                  <a:lnTo>
                    <a:pt x="772" y="893"/>
                  </a:lnTo>
                  <a:lnTo>
                    <a:pt x="768" y="883"/>
                  </a:lnTo>
                  <a:lnTo>
                    <a:pt x="761" y="872"/>
                  </a:lnTo>
                  <a:lnTo>
                    <a:pt x="750" y="860"/>
                  </a:lnTo>
                  <a:lnTo>
                    <a:pt x="738" y="849"/>
                  </a:lnTo>
                  <a:lnTo>
                    <a:pt x="733" y="844"/>
                  </a:lnTo>
                  <a:lnTo>
                    <a:pt x="726" y="838"/>
                  </a:lnTo>
                  <a:lnTo>
                    <a:pt x="720" y="835"/>
                  </a:lnTo>
                  <a:lnTo>
                    <a:pt x="714" y="832"/>
                  </a:lnTo>
                  <a:lnTo>
                    <a:pt x="709" y="830"/>
                  </a:lnTo>
                  <a:lnTo>
                    <a:pt x="703" y="829"/>
                  </a:lnTo>
                  <a:lnTo>
                    <a:pt x="698" y="829"/>
                  </a:lnTo>
                  <a:lnTo>
                    <a:pt x="695" y="831"/>
                  </a:lnTo>
                  <a:lnTo>
                    <a:pt x="689" y="835"/>
                  </a:lnTo>
                  <a:lnTo>
                    <a:pt x="683" y="838"/>
                  </a:lnTo>
                  <a:lnTo>
                    <a:pt x="675" y="841"/>
                  </a:lnTo>
                  <a:lnTo>
                    <a:pt x="668" y="845"/>
                  </a:lnTo>
                  <a:lnTo>
                    <a:pt x="653" y="849"/>
                  </a:lnTo>
                  <a:lnTo>
                    <a:pt x="638" y="852"/>
                  </a:lnTo>
                  <a:lnTo>
                    <a:pt x="623" y="856"/>
                  </a:lnTo>
                  <a:lnTo>
                    <a:pt x="609" y="860"/>
                  </a:lnTo>
                  <a:lnTo>
                    <a:pt x="602" y="862"/>
                  </a:lnTo>
                  <a:lnTo>
                    <a:pt x="596" y="865"/>
                  </a:lnTo>
                  <a:lnTo>
                    <a:pt x="591" y="870"/>
                  </a:lnTo>
                  <a:lnTo>
                    <a:pt x="586" y="874"/>
                  </a:lnTo>
                  <a:lnTo>
                    <a:pt x="587" y="880"/>
                  </a:lnTo>
                  <a:lnTo>
                    <a:pt x="590" y="887"/>
                  </a:lnTo>
                  <a:lnTo>
                    <a:pt x="593" y="894"/>
                  </a:lnTo>
                  <a:lnTo>
                    <a:pt x="597" y="901"/>
                  </a:lnTo>
                  <a:lnTo>
                    <a:pt x="600" y="908"/>
                  </a:lnTo>
                  <a:lnTo>
                    <a:pt x="601" y="916"/>
                  </a:lnTo>
                  <a:lnTo>
                    <a:pt x="601" y="920"/>
                  </a:lnTo>
                  <a:lnTo>
                    <a:pt x="601" y="923"/>
                  </a:lnTo>
                  <a:lnTo>
                    <a:pt x="599" y="927"/>
                  </a:lnTo>
                  <a:lnTo>
                    <a:pt x="597" y="931"/>
                  </a:lnTo>
                  <a:lnTo>
                    <a:pt x="588" y="947"/>
                  </a:lnTo>
                  <a:lnTo>
                    <a:pt x="576" y="965"/>
                  </a:lnTo>
                  <a:lnTo>
                    <a:pt x="570" y="973"/>
                  </a:lnTo>
                  <a:lnTo>
                    <a:pt x="563" y="980"/>
                  </a:lnTo>
                  <a:lnTo>
                    <a:pt x="555" y="986"/>
                  </a:lnTo>
                  <a:lnTo>
                    <a:pt x="548" y="992"/>
                  </a:lnTo>
                  <a:lnTo>
                    <a:pt x="545" y="999"/>
                  </a:lnTo>
                  <a:lnTo>
                    <a:pt x="541" y="1006"/>
                  </a:lnTo>
                  <a:lnTo>
                    <a:pt x="536" y="1014"/>
                  </a:lnTo>
                  <a:lnTo>
                    <a:pt x="530" y="1020"/>
                  </a:lnTo>
                  <a:lnTo>
                    <a:pt x="524" y="1026"/>
                  </a:lnTo>
                  <a:lnTo>
                    <a:pt x="518" y="1031"/>
                  </a:lnTo>
                  <a:lnTo>
                    <a:pt x="511" y="1037"/>
                  </a:lnTo>
                  <a:lnTo>
                    <a:pt x="504" y="1041"/>
                  </a:lnTo>
                  <a:lnTo>
                    <a:pt x="498" y="1044"/>
                  </a:lnTo>
                  <a:lnTo>
                    <a:pt x="491" y="1045"/>
                  </a:lnTo>
                  <a:lnTo>
                    <a:pt x="482" y="1046"/>
                  </a:lnTo>
                  <a:lnTo>
                    <a:pt x="475" y="1046"/>
                  </a:lnTo>
                  <a:lnTo>
                    <a:pt x="468" y="1046"/>
                  </a:lnTo>
                  <a:lnTo>
                    <a:pt x="461" y="1046"/>
                  </a:lnTo>
                  <a:lnTo>
                    <a:pt x="455" y="1047"/>
                  </a:lnTo>
                  <a:lnTo>
                    <a:pt x="450" y="1049"/>
                  </a:lnTo>
                  <a:lnTo>
                    <a:pt x="449" y="1061"/>
                  </a:lnTo>
                  <a:lnTo>
                    <a:pt x="446" y="1075"/>
                  </a:lnTo>
                  <a:lnTo>
                    <a:pt x="441" y="1090"/>
                  </a:lnTo>
                  <a:lnTo>
                    <a:pt x="434" y="1105"/>
                  </a:lnTo>
                  <a:lnTo>
                    <a:pt x="427" y="1121"/>
                  </a:lnTo>
                  <a:lnTo>
                    <a:pt x="419" y="1136"/>
                  </a:lnTo>
                  <a:lnTo>
                    <a:pt x="412" y="1148"/>
                  </a:lnTo>
                  <a:lnTo>
                    <a:pt x="405" y="1158"/>
                  </a:lnTo>
                  <a:lnTo>
                    <a:pt x="401" y="1163"/>
                  </a:lnTo>
                  <a:lnTo>
                    <a:pt x="396" y="1166"/>
                  </a:lnTo>
                  <a:lnTo>
                    <a:pt x="391" y="1169"/>
                  </a:lnTo>
                  <a:lnTo>
                    <a:pt x="385" y="1172"/>
                  </a:lnTo>
                  <a:lnTo>
                    <a:pt x="374" y="1175"/>
                  </a:lnTo>
                  <a:lnTo>
                    <a:pt x="361" y="1177"/>
                  </a:lnTo>
                  <a:lnTo>
                    <a:pt x="349" y="1178"/>
                  </a:lnTo>
                  <a:lnTo>
                    <a:pt x="335" y="1181"/>
                  </a:lnTo>
                  <a:lnTo>
                    <a:pt x="323" y="1182"/>
                  </a:lnTo>
                  <a:lnTo>
                    <a:pt x="310" y="1185"/>
                  </a:lnTo>
                  <a:lnTo>
                    <a:pt x="291" y="1193"/>
                  </a:lnTo>
                  <a:lnTo>
                    <a:pt x="273" y="1201"/>
                  </a:lnTo>
                  <a:lnTo>
                    <a:pt x="263" y="1203"/>
                  </a:lnTo>
                  <a:lnTo>
                    <a:pt x="254" y="1206"/>
                  </a:lnTo>
                  <a:lnTo>
                    <a:pt x="244" y="1206"/>
                  </a:lnTo>
                  <a:lnTo>
                    <a:pt x="232" y="1203"/>
                  </a:lnTo>
                  <a:lnTo>
                    <a:pt x="218" y="1201"/>
                  </a:lnTo>
                  <a:lnTo>
                    <a:pt x="204" y="1199"/>
                  </a:lnTo>
                  <a:lnTo>
                    <a:pt x="190" y="1198"/>
                  </a:lnTo>
                  <a:lnTo>
                    <a:pt x="178" y="1197"/>
                  </a:lnTo>
                  <a:lnTo>
                    <a:pt x="151" y="1197"/>
                  </a:lnTo>
                  <a:lnTo>
                    <a:pt x="123" y="1197"/>
                  </a:lnTo>
                  <a:lnTo>
                    <a:pt x="109" y="1198"/>
                  </a:lnTo>
                  <a:lnTo>
                    <a:pt x="98" y="1200"/>
                  </a:lnTo>
                  <a:lnTo>
                    <a:pt x="86" y="1203"/>
                  </a:lnTo>
                  <a:lnTo>
                    <a:pt x="76" y="1209"/>
                  </a:lnTo>
                  <a:lnTo>
                    <a:pt x="65" y="1215"/>
                  </a:lnTo>
                  <a:lnTo>
                    <a:pt x="56" y="1222"/>
                  </a:lnTo>
                  <a:lnTo>
                    <a:pt x="47" y="1232"/>
                  </a:lnTo>
                  <a:lnTo>
                    <a:pt x="38" y="1242"/>
                  </a:lnTo>
                  <a:lnTo>
                    <a:pt x="38" y="1242"/>
                  </a:lnTo>
                  <a:lnTo>
                    <a:pt x="61" y="1305"/>
                  </a:lnTo>
                  <a:lnTo>
                    <a:pt x="61" y="1305"/>
                  </a:lnTo>
                  <a:lnTo>
                    <a:pt x="76" y="1312"/>
                  </a:lnTo>
                  <a:lnTo>
                    <a:pt x="89" y="1320"/>
                  </a:lnTo>
                  <a:lnTo>
                    <a:pt x="96" y="1323"/>
                  </a:lnTo>
                  <a:lnTo>
                    <a:pt x="103" y="1327"/>
                  </a:lnTo>
                  <a:lnTo>
                    <a:pt x="111" y="1330"/>
                  </a:lnTo>
                  <a:lnTo>
                    <a:pt x="120" y="1331"/>
                  </a:lnTo>
                  <a:lnTo>
                    <a:pt x="128" y="1333"/>
                  </a:lnTo>
                  <a:lnTo>
                    <a:pt x="135" y="1334"/>
                  </a:lnTo>
                  <a:lnTo>
                    <a:pt x="141" y="1336"/>
                  </a:lnTo>
                  <a:lnTo>
                    <a:pt x="148" y="1339"/>
                  </a:lnTo>
                  <a:lnTo>
                    <a:pt x="159" y="1344"/>
                  </a:lnTo>
                  <a:lnTo>
                    <a:pt x="172" y="1353"/>
                  </a:lnTo>
                  <a:lnTo>
                    <a:pt x="171" y="1365"/>
                  </a:lnTo>
                  <a:lnTo>
                    <a:pt x="168" y="1379"/>
                  </a:lnTo>
                  <a:lnTo>
                    <a:pt x="164" y="1391"/>
                  </a:lnTo>
                  <a:lnTo>
                    <a:pt x="163" y="1406"/>
                  </a:lnTo>
                  <a:lnTo>
                    <a:pt x="163" y="1412"/>
                  </a:lnTo>
                  <a:lnTo>
                    <a:pt x="165" y="1417"/>
                  </a:lnTo>
                  <a:lnTo>
                    <a:pt x="168" y="1423"/>
                  </a:lnTo>
                  <a:lnTo>
                    <a:pt x="170" y="1428"/>
                  </a:lnTo>
                  <a:lnTo>
                    <a:pt x="176" y="1437"/>
                  </a:lnTo>
                  <a:lnTo>
                    <a:pt x="180" y="1448"/>
                  </a:lnTo>
                  <a:lnTo>
                    <a:pt x="183" y="1463"/>
                  </a:lnTo>
                  <a:lnTo>
                    <a:pt x="186" y="1477"/>
                  </a:lnTo>
                  <a:lnTo>
                    <a:pt x="187" y="1484"/>
                  </a:lnTo>
                  <a:lnTo>
                    <a:pt x="190" y="1491"/>
                  </a:lnTo>
                  <a:lnTo>
                    <a:pt x="194" y="1498"/>
                  </a:lnTo>
                  <a:lnTo>
                    <a:pt x="198" y="1505"/>
                  </a:lnTo>
                  <a:lnTo>
                    <a:pt x="209" y="1516"/>
                  </a:lnTo>
                  <a:lnTo>
                    <a:pt x="222" y="1527"/>
                  </a:lnTo>
                  <a:lnTo>
                    <a:pt x="227" y="1532"/>
                  </a:lnTo>
                  <a:lnTo>
                    <a:pt x="232" y="1538"/>
                  </a:lnTo>
                  <a:lnTo>
                    <a:pt x="233" y="1541"/>
                  </a:lnTo>
                  <a:lnTo>
                    <a:pt x="235" y="1545"/>
                  </a:lnTo>
                  <a:lnTo>
                    <a:pt x="235" y="1549"/>
                  </a:lnTo>
                  <a:lnTo>
                    <a:pt x="236" y="1552"/>
                  </a:lnTo>
                  <a:lnTo>
                    <a:pt x="226" y="1567"/>
                  </a:lnTo>
                  <a:lnTo>
                    <a:pt x="213" y="1580"/>
                  </a:lnTo>
                  <a:lnTo>
                    <a:pt x="208" y="1586"/>
                  </a:lnTo>
                  <a:lnTo>
                    <a:pt x="203" y="1594"/>
                  </a:lnTo>
                  <a:lnTo>
                    <a:pt x="198" y="1601"/>
                  </a:lnTo>
                  <a:lnTo>
                    <a:pt x="195" y="1609"/>
                  </a:lnTo>
                  <a:lnTo>
                    <a:pt x="182" y="1645"/>
                  </a:lnTo>
                  <a:lnTo>
                    <a:pt x="168" y="1677"/>
                  </a:lnTo>
                  <a:lnTo>
                    <a:pt x="159" y="1693"/>
                  </a:lnTo>
                  <a:lnTo>
                    <a:pt x="150" y="1708"/>
                  </a:lnTo>
                  <a:lnTo>
                    <a:pt x="139" y="1723"/>
                  </a:lnTo>
                  <a:lnTo>
                    <a:pt x="127" y="1737"/>
                  </a:lnTo>
                  <a:lnTo>
                    <a:pt x="122" y="1742"/>
                  </a:lnTo>
                  <a:lnTo>
                    <a:pt x="113" y="1746"/>
                  </a:lnTo>
                  <a:lnTo>
                    <a:pt x="105" y="1749"/>
                  </a:lnTo>
                  <a:lnTo>
                    <a:pt x="96" y="1752"/>
                  </a:lnTo>
                  <a:lnTo>
                    <a:pt x="75" y="1755"/>
                  </a:lnTo>
                  <a:lnTo>
                    <a:pt x="53" y="1758"/>
                  </a:lnTo>
                  <a:lnTo>
                    <a:pt x="33" y="1760"/>
                  </a:lnTo>
                  <a:lnTo>
                    <a:pt x="15" y="1761"/>
                  </a:lnTo>
                  <a:lnTo>
                    <a:pt x="9" y="1762"/>
                  </a:lnTo>
                  <a:lnTo>
                    <a:pt x="4" y="1763"/>
                  </a:lnTo>
                  <a:lnTo>
                    <a:pt x="1" y="1765"/>
                  </a:lnTo>
                  <a:lnTo>
                    <a:pt x="0" y="1766"/>
                  </a:lnTo>
                  <a:lnTo>
                    <a:pt x="3" y="1769"/>
                  </a:lnTo>
                  <a:lnTo>
                    <a:pt x="6" y="1772"/>
                  </a:lnTo>
                  <a:lnTo>
                    <a:pt x="8" y="1776"/>
                  </a:lnTo>
                  <a:lnTo>
                    <a:pt x="11" y="1781"/>
                  </a:lnTo>
                  <a:lnTo>
                    <a:pt x="16" y="1794"/>
                  </a:lnTo>
                  <a:lnTo>
                    <a:pt x="21" y="1808"/>
                  </a:lnTo>
                  <a:lnTo>
                    <a:pt x="26" y="1823"/>
                  </a:lnTo>
                  <a:lnTo>
                    <a:pt x="29" y="1841"/>
                  </a:lnTo>
                  <a:lnTo>
                    <a:pt x="33" y="1860"/>
                  </a:lnTo>
                  <a:lnTo>
                    <a:pt x="36" y="1878"/>
                  </a:lnTo>
                  <a:lnTo>
                    <a:pt x="41" y="1917"/>
                  </a:lnTo>
                  <a:lnTo>
                    <a:pt x="45" y="1954"/>
                  </a:lnTo>
                  <a:lnTo>
                    <a:pt x="47" y="1984"/>
                  </a:lnTo>
                  <a:lnTo>
                    <a:pt x="48" y="2005"/>
                  </a:lnTo>
                  <a:lnTo>
                    <a:pt x="47" y="2015"/>
                  </a:lnTo>
                  <a:lnTo>
                    <a:pt x="47" y="2022"/>
                  </a:lnTo>
                  <a:lnTo>
                    <a:pt x="48" y="2029"/>
                  </a:lnTo>
                  <a:lnTo>
                    <a:pt x="50" y="2033"/>
                  </a:lnTo>
                  <a:lnTo>
                    <a:pt x="53" y="2035"/>
                  </a:lnTo>
                  <a:lnTo>
                    <a:pt x="57" y="2037"/>
                  </a:lnTo>
                  <a:lnTo>
                    <a:pt x="60" y="2038"/>
                  </a:lnTo>
                  <a:lnTo>
                    <a:pt x="64" y="2038"/>
                  </a:lnTo>
                  <a:lnTo>
                    <a:pt x="67" y="2039"/>
                  </a:lnTo>
                  <a:lnTo>
                    <a:pt x="71" y="2040"/>
                  </a:lnTo>
                  <a:lnTo>
                    <a:pt x="73" y="2042"/>
                  </a:lnTo>
                  <a:lnTo>
                    <a:pt x="74" y="2044"/>
                  </a:lnTo>
                  <a:lnTo>
                    <a:pt x="74" y="2050"/>
                  </a:lnTo>
                  <a:lnTo>
                    <a:pt x="73" y="2055"/>
                  </a:lnTo>
                  <a:lnTo>
                    <a:pt x="70" y="2063"/>
                  </a:lnTo>
                  <a:lnTo>
                    <a:pt x="64" y="2075"/>
                  </a:lnTo>
                  <a:lnTo>
                    <a:pt x="58" y="2084"/>
                  </a:lnTo>
                  <a:lnTo>
                    <a:pt x="53" y="2098"/>
                  </a:lnTo>
                  <a:lnTo>
                    <a:pt x="51" y="2104"/>
                  </a:lnTo>
                  <a:lnTo>
                    <a:pt x="51" y="2110"/>
                  </a:lnTo>
                  <a:lnTo>
                    <a:pt x="52" y="2112"/>
                  </a:lnTo>
                  <a:lnTo>
                    <a:pt x="54" y="2114"/>
                  </a:lnTo>
                  <a:lnTo>
                    <a:pt x="56" y="2115"/>
                  </a:lnTo>
                  <a:lnTo>
                    <a:pt x="59" y="2116"/>
                  </a:lnTo>
                  <a:lnTo>
                    <a:pt x="65" y="2117"/>
                  </a:lnTo>
                  <a:lnTo>
                    <a:pt x="74" y="2115"/>
                  </a:lnTo>
                  <a:lnTo>
                    <a:pt x="81" y="2113"/>
                  </a:lnTo>
                  <a:lnTo>
                    <a:pt x="89" y="2111"/>
                  </a:lnTo>
                  <a:lnTo>
                    <a:pt x="98" y="2109"/>
                  </a:lnTo>
                  <a:lnTo>
                    <a:pt x="105" y="2107"/>
                  </a:lnTo>
                  <a:lnTo>
                    <a:pt x="109" y="2107"/>
                  </a:lnTo>
                  <a:lnTo>
                    <a:pt x="112" y="2107"/>
                  </a:lnTo>
                  <a:lnTo>
                    <a:pt x="116" y="2108"/>
                  </a:lnTo>
                  <a:lnTo>
                    <a:pt x="120" y="2110"/>
                  </a:lnTo>
                  <a:lnTo>
                    <a:pt x="129" y="2116"/>
                  </a:lnTo>
                  <a:lnTo>
                    <a:pt x="137" y="2124"/>
                  </a:lnTo>
                  <a:lnTo>
                    <a:pt x="146" y="2133"/>
                  </a:lnTo>
                  <a:lnTo>
                    <a:pt x="154" y="2143"/>
                  </a:lnTo>
                  <a:lnTo>
                    <a:pt x="169" y="2166"/>
                  </a:lnTo>
                  <a:lnTo>
                    <a:pt x="183" y="2190"/>
                  </a:lnTo>
                  <a:lnTo>
                    <a:pt x="192" y="2203"/>
                  </a:lnTo>
                  <a:lnTo>
                    <a:pt x="199" y="2213"/>
                  </a:lnTo>
                  <a:lnTo>
                    <a:pt x="208" y="2225"/>
                  </a:lnTo>
                  <a:lnTo>
                    <a:pt x="217" y="2234"/>
                  </a:lnTo>
                  <a:lnTo>
                    <a:pt x="227" y="2242"/>
                  </a:lnTo>
                  <a:lnTo>
                    <a:pt x="238" y="2248"/>
                  </a:lnTo>
                  <a:lnTo>
                    <a:pt x="245" y="2251"/>
                  </a:lnTo>
                  <a:lnTo>
                    <a:pt x="251" y="2253"/>
                  </a:lnTo>
                  <a:lnTo>
                    <a:pt x="257" y="2254"/>
                  </a:lnTo>
                  <a:lnTo>
                    <a:pt x="265" y="2255"/>
                  </a:lnTo>
                  <a:lnTo>
                    <a:pt x="274" y="2257"/>
                  </a:lnTo>
                  <a:lnTo>
                    <a:pt x="281" y="2259"/>
                  </a:lnTo>
                  <a:lnTo>
                    <a:pt x="287" y="2262"/>
                  </a:lnTo>
                  <a:lnTo>
                    <a:pt x="293" y="2266"/>
                  </a:lnTo>
                  <a:lnTo>
                    <a:pt x="295" y="2270"/>
                  </a:lnTo>
                  <a:lnTo>
                    <a:pt x="297" y="2275"/>
                  </a:lnTo>
                  <a:lnTo>
                    <a:pt x="298" y="2280"/>
                  </a:lnTo>
                  <a:lnTo>
                    <a:pt x="298" y="2286"/>
                  </a:lnTo>
                  <a:lnTo>
                    <a:pt x="293" y="2316"/>
                  </a:lnTo>
                  <a:lnTo>
                    <a:pt x="289" y="2350"/>
                  </a:lnTo>
                  <a:lnTo>
                    <a:pt x="290" y="2354"/>
                  </a:lnTo>
                  <a:lnTo>
                    <a:pt x="291" y="2359"/>
                  </a:lnTo>
                  <a:lnTo>
                    <a:pt x="294" y="2364"/>
                  </a:lnTo>
                  <a:lnTo>
                    <a:pt x="298" y="2368"/>
                  </a:lnTo>
                  <a:lnTo>
                    <a:pt x="307" y="2375"/>
                  </a:lnTo>
                  <a:lnTo>
                    <a:pt x="319" y="2383"/>
                  </a:lnTo>
                  <a:lnTo>
                    <a:pt x="344" y="2397"/>
                  </a:lnTo>
                  <a:lnTo>
                    <a:pt x="364" y="2409"/>
                  </a:lnTo>
                  <a:lnTo>
                    <a:pt x="369" y="2413"/>
                  </a:lnTo>
                  <a:lnTo>
                    <a:pt x="373" y="2415"/>
                  </a:lnTo>
                  <a:lnTo>
                    <a:pt x="377" y="2416"/>
                  </a:lnTo>
                  <a:lnTo>
                    <a:pt x="381" y="2417"/>
                  </a:lnTo>
                  <a:lnTo>
                    <a:pt x="390" y="2416"/>
                  </a:lnTo>
                  <a:lnTo>
                    <a:pt x="398" y="2413"/>
                  </a:lnTo>
                  <a:lnTo>
                    <a:pt x="405" y="2409"/>
                  </a:lnTo>
                  <a:lnTo>
                    <a:pt x="414" y="2405"/>
                  </a:lnTo>
                  <a:lnTo>
                    <a:pt x="422" y="2402"/>
                  </a:lnTo>
                  <a:lnTo>
                    <a:pt x="431" y="2401"/>
                  </a:lnTo>
                  <a:lnTo>
                    <a:pt x="440" y="2402"/>
                  </a:lnTo>
                  <a:lnTo>
                    <a:pt x="448" y="2403"/>
                  </a:lnTo>
                  <a:lnTo>
                    <a:pt x="456" y="2405"/>
                  </a:lnTo>
                  <a:lnTo>
                    <a:pt x="465" y="2407"/>
                  </a:lnTo>
                  <a:lnTo>
                    <a:pt x="473" y="2411"/>
                  </a:lnTo>
                  <a:lnTo>
                    <a:pt x="482" y="2413"/>
                  </a:lnTo>
                  <a:lnTo>
                    <a:pt x="492" y="2414"/>
                  </a:lnTo>
                  <a:lnTo>
                    <a:pt x="501" y="2414"/>
                  </a:lnTo>
                  <a:lnTo>
                    <a:pt x="530" y="2414"/>
                  </a:lnTo>
                  <a:lnTo>
                    <a:pt x="560" y="2413"/>
                  </a:lnTo>
                  <a:lnTo>
                    <a:pt x="574" y="2413"/>
                  </a:lnTo>
                  <a:lnTo>
                    <a:pt x="589" y="2411"/>
                  </a:lnTo>
                  <a:lnTo>
                    <a:pt x="602" y="2408"/>
                  </a:lnTo>
                  <a:lnTo>
                    <a:pt x="617" y="2406"/>
                  </a:lnTo>
                  <a:lnTo>
                    <a:pt x="629" y="2404"/>
                  </a:lnTo>
                  <a:lnTo>
                    <a:pt x="639" y="2402"/>
                  </a:lnTo>
                  <a:lnTo>
                    <a:pt x="646" y="2402"/>
                  </a:lnTo>
                  <a:lnTo>
                    <a:pt x="651" y="2403"/>
                  </a:lnTo>
                  <a:lnTo>
                    <a:pt x="664" y="2407"/>
                  </a:lnTo>
                  <a:lnTo>
                    <a:pt x="684" y="2414"/>
                  </a:lnTo>
                  <a:lnTo>
                    <a:pt x="683" y="2419"/>
                  </a:lnTo>
                  <a:lnTo>
                    <a:pt x="681" y="2425"/>
                  </a:lnTo>
                  <a:lnTo>
                    <a:pt x="677" y="2430"/>
                  </a:lnTo>
                  <a:lnTo>
                    <a:pt x="674" y="2437"/>
                  </a:lnTo>
                  <a:lnTo>
                    <a:pt x="665" y="2448"/>
                  </a:lnTo>
                  <a:lnTo>
                    <a:pt x="653" y="2460"/>
                  </a:lnTo>
                  <a:lnTo>
                    <a:pt x="643" y="2471"/>
                  </a:lnTo>
                  <a:lnTo>
                    <a:pt x="634" y="2485"/>
                  </a:lnTo>
                  <a:lnTo>
                    <a:pt x="629" y="2492"/>
                  </a:lnTo>
                  <a:lnTo>
                    <a:pt x="627" y="2499"/>
                  </a:lnTo>
                  <a:lnTo>
                    <a:pt x="625" y="2507"/>
                  </a:lnTo>
                  <a:lnTo>
                    <a:pt x="624" y="2515"/>
                  </a:lnTo>
                  <a:lnTo>
                    <a:pt x="623" y="2522"/>
                  </a:lnTo>
                  <a:lnTo>
                    <a:pt x="624" y="2529"/>
                  </a:lnTo>
                  <a:lnTo>
                    <a:pt x="625" y="2536"/>
                  </a:lnTo>
                  <a:lnTo>
                    <a:pt x="627" y="2542"/>
                  </a:lnTo>
                  <a:lnTo>
                    <a:pt x="629" y="2547"/>
                  </a:lnTo>
                  <a:lnTo>
                    <a:pt x="634" y="2551"/>
                  </a:lnTo>
                  <a:lnTo>
                    <a:pt x="637" y="2557"/>
                  </a:lnTo>
                  <a:lnTo>
                    <a:pt x="642" y="2560"/>
                  </a:lnTo>
                  <a:lnTo>
                    <a:pt x="662" y="2573"/>
                  </a:lnTo>
                  <a:lnTo>
                    <a:pt x="682" y="2587"/>
                  </a:lnTo>
                  <a:lnTo>
                    <a:pt x="695" y="2589"/>
                  </a:lnTo>
                  <a:lnTo>
                    <a:pt x="709" y="2592"/>
                  </a:lnTo>
                  <a:lnTo>
                    <a:pt x="709" y="2592"/>
                  </a:lnTo>
                  <a:lnTo>
                    <a:pt x="723" y="2578"/>
                  </a:lnTo>
                  <a:lnTo>
                    <a:pt x="736" y="2565"/>
                  </a:lnTo>
                  <a:lnTo>
                    <a:pt x="741" y="2559"/>
                  </a:lnTo>
                  <a:lnTo>
                    <a:pt x="745" y="2550"/>
                  </a:lnTo>
                  <a:lnTo>
                    <a:pt x="749" y="2543"/>
                  </a:lnTo>
                  <a:lnTo>
                    <a:pt x="754" y="2534"/>
                  </a:lnTo>
                  <a:lnTo>
                    <a:pt x="759" y="2520"/>
                  </a:lnTo>
                  <a:lnTo>
                    <a:pt x="767" y="2499"/>
                  </a:lnTo>
                  <a:lnTo>
                    <a:pt x="772" y="2490"/>
                  </a:lnTo>
                  <a:lnTo>
                    <a:pt x="776" y="2481"/>
                  </a:lnTo>
                  <a:lnTo>
                    <a:pt x="779" y="2477"/>
                  </a:lnTo>
                  <a:lnTo>
                    <a:pt x="781" y="2475"/>
                  </a:lnTo>
                  <a:lnTo>
                    <a:pt x="783" y="2473"/>
                  </a:lnTo>
                  <a:lnTo>
                    <a:pt x="785" y="2473"/>
                  </a:lnTo>
                  <a:lnTo>
                    <a:pt x="787" y="2479"/>
                  </a:lnTo>
                  <a:lnTo>
                    <a:pt x="792" y="2488"/>
                  </a:lnTo>
                  <a:lnTo>
                    <a:pt x="800" y="2499"/>
                  </a:lnTo>
                  <a:lnTo>
                    <a:pt x="811" y="2510"/>
                  </a:lnTo>
                  <a:lnTo>
                    <a:pt x="821" y="2521"/>
                  </a:lnTo>
                  <a:lnTo>
                    <a:pt x="832" y="2531"/>
                  </a:lnTo>
                  <a:lnTo>
                    <a:pt x="840" y="2537"/>
                  </a:lnTo>
                  <a:lnTo>
                    <a:pt x="846" y="2540"/>
                  </a:lnTo>
                  <a:lnTo>
                    <a:pt x="862" y="2542"/>
                  </a:lnTo>
                  <a:lnTo>
                    <a:pt x="877" y="2542"/>
                  </a:lnTo>
                  <a:lnTo>
                    <a:pt x="891" y="2541"/>
                  </a:lnTo>
                  <a:lnTo>
                    <a:pt x="906" y="2540"/>
                  </a:lnTo>
                  <a:lnTo>
                    <a:pt x="935" y="2537"/>
                  </a:lnTo>
                  <a:lnTo>
                    <a:pt x="965" y="2535"/>
                  </a:lnTo>
                  <a:lnTo>
                    <a:pt x="970" y="2536"/>
                  </a:lnTo>
                  <a:lnTo>
                    <a:pt x="977" y="2539"/>
                  </a:lnTo>
                  <a:lnTo>
                    <a:pt x="985" y="2543"/>
                  </a:lnTo>
                  <a:lnTo>
                    <a:pt x="993" y="2548"/>
                  </a:lnTo>
                  <a:lnTo>
                    <a:pt x="1013" y="2562"/>
                  </a:lnTo>
                  <a:lnTo>
                    <a:pt x="1035" y="2578"/>
                  </a:lnTo>
                  <a:lnTo>
                    <a:pt x="1077" y="2612"/>
                  </a:lnTo>
                  <a:lnTo>
                    <a:pt x="1106" y="2636"/>
                  </a:lnTo>
                  <a:lnTo>
                    <a:pt x="1111" y="2641"/>
                  </a:lnTo>
                  <a:lnTo>
                    <a:pt x="1116" y="2646"/>
                  </a:lnTo>
                  <a:lnTo>
                    <a:pt x="1121" y="2653"/>
                  </a:lnTo>
                  <a:lnTo>
                    <a:pt x="1124" y="2659"/>
                  </a:lnTo>
                  <a:lnTo>
                    <a:pt x="1129" y="2672"/>
                  </a:lnTo>
                  <a:lnTo>
                    <a:pt x="1133" y="2687"/>
                  </a:lnTo>
                  <a:lnTo>
                    <a:pt x="1137" y="2700"/>
                  </a:lnTo>
                  <a:lnTo>
                    <a:pt x="1142" y="2711"/>
                  </a:lnTo>
                  <a:lnTo>
                    <a:pt x="1146" y="2716"/>
                  </a:lnTo>
                  <a:lnTo>
                    <a:pt x="1150" y="2721"/>
                  </a:lnTo>
                  <a:lnTo>
                    <a:pt x="1154" y="2725"/>
                  </a:lnTo>
                  <a:lnTo>
                    <a:pt x="1160" y="2728"/>
                  </a:lnTo>
                  <a:lnTo>
                    <a:pt x="1177" y="2736"/>
                  </a:lnTo>
                  <a:lnTo>
                    <a:pt x="1197" y="2746"/>
                  </a:lnTo>
                  <a:lnTo>
                    <a:pt x="1206" y="2753"/>
                  </a:lnTo>
                  <a:lnTo>
                    <a:pt x="1213" y="2760"/>
                  </a:lnTo>
                  <a:lnTo>
                    <a:pt x="1216" y="2763"/>
                  </a:lnTo>
                  <a:lnTo>
                    <a:pt x="1220" y="2767"/>
                  </a:lnTo>
                  <a:lnTo>
                    <a:pt x="1221" y="2770"/>
                  </a:lnTo>
                  <a:lnTo>
                    <a:pt x="1223" y="2775"/>
                  </a:lnTo>
                  <a:lnTo>
                    <a:pt x="1223" y="2782"/>
                  </a:lnTo>
                  <a:lnTo>
                    <a:pt x="1223" y="2788"/>
                  </a:lnTo>
                  <a:lnTo>
                    <a:pt x="1222" y="2795"/>
                  </a:lnTo>
                  <a:lnTo>
                    <a:pt x="1220" y="2802"/>
                  </a:lnTo>
                  <a:lnTo>
                    <a:pt x="1216" y="2815"/>
                  </a:lnTo>
                  <a:lnTo>
                    <a:pt x="1215" y="2829"/>
                  </a:lnTo>
                  <a:lnTo>
                    <a:pt x="1215" y="2833"/>
                  </a:lnTo>
                  <a:lnTo>
                    <a:pt x="1218" y="2837"/>
                  </a:lnTo>
                  <a:lnTo>
                    <a:pt x="1220" y="2841"/>
                  </a:lnTo>
                  <a:lnTo>
                    <a:pt x="1223" y="2846"/>
                  </a:lnTo>
                  <a:lnTo>
                    <a:pt x="1231" y="2852"/>
                  </a:lnTo>
                  <a:lnTo>
                    <a:pt x="1241" y="2859"/>
                  </a:lnTo>
                  <a:lnTo>
                    <a:pt x="1252" y="2865"/>
                  </a:lnTo>
                  <a:lnTo>
                    <a:pt x="1262" y="2873"/>
                  </a:lnTo>
                  <a:lnTo>
                    <a:pt x="1267" y="2877"/>
                  </a:lnTo>
                  <a:lnTo>
                    <a:pt x="1271" y="2881"/>
                  </a:lnTo>
                  <a:lnTo>
                    <a:pt x="1274" y="2885"/>
                  </a:lnTo>
                  <a:lnTo>
                    <a:pt x="1277" y="2889"/>
                  </a:lnTo>
                  <a:lnTo>
                    <a:pt x="1281" y="2902"/>
                  </a:lnTo>
                  <a:lnTo>
                    <a:pt x="1283" y="2913"/>
                  </a:lnTo>
                  <a:lnTo>
                    <a:pt x="1284" y="2927"/>
                  </a:lnTo>
                  <a:lnTo>
                    <a:pt x="1285" y="2939"/>
                  </a:lnTo>
                  <a:lnTo>
                    <a:pt x="1285" y="2952"/>
                  </a:lnTo>
                  <a:lnTo>
                    <a:pt x="1285" y="2966"/>
                  </a:lnTo>
                  <a:lnTo>
                    <a:pt x="1287" y="2978"/>
                  </a:lnTo>
                  <a:lnTo>
                    <a:pt x="1290" y="2991"/>
                  </a:lnTo>
                  <a:lnTo>
                    <a:pt x="1293" y="2997"/>
                  </a:lnTo>
                  <a:lnTo>
                    <a:pt x="1296" y="3004"/>
                  </a:lnTo>
                  <a:lnTo>
                    <a:pt x="1301" y="3012"/>
                  </a:lnTo>
                  <a:lnTo>
                    <a:pt x="1306" y="3021"/>
                  </a:lnTo>
                  <a:lnTo>
                    <a:pt x="1319" y="3038"/>
                  </a:lnTo>
                  <a:lnTo>
                    <a:pt x="1333" y="3055"/>
                  </a:lnTo>
                  <a:lnTo>
                    <a:pt x="1349" y="3072"/>
                  </a:lnTo>
                  <a:lnTo>
                    <a:pt x="1365" y="3087"/>
                  </a:lnTo>
                  <a:lnTo>
                    <a:pt x="1372" y="3092"/>
                  </a:lnTo>
                  <a:lnTo>
                    <a:pt x="1379" y="3097"/>
                  </a:lnTo>
                  <a:lnTo>
                    <a:pt x="1385" y="3101"/>
                  </a:lnTo>
                  <a:lnTo>
                    <a:pt x="1392" y="3104"/>
                  </a:lnTo>
                  <a:lnTo>
                    <a:pt x="1414" y="3112"/>
                  </a:lnTo>
                  <a:lnTo>
                    <a:pt x="1436" y="3119"/>
                  </a:lnTo>
                  <a:lnTo>
                    <a:pt x="1448" y="3121"/>
                  </a:lnTo>
                  <a:lnTo>
                    <a:pt x="1459" y="3123"/>
                  </a:lnTo>
                  <a:lnTo>
                    <a:pt x="1471" y="3124"/>
                  </a:lnTo>
                  <a:lnTo>
                    <a:pt x="1481" y="3124"/>
                  </a:lnTo>
                  <a:lnTo>
                    <a:pt x="1502" y="3123"/>
                  </a:lnTo>
                  <a:lnTo>
                    <a:pt x="1523" y="3121"/>
                  </a:lnTo>
                  <a:lnTo>
                    <a:pt x="1543" y="3119"/>
                  </a:lnTo>
                  <a:lnTo>
                    <a:pt x="1562" y="3118"/>
                  </a:lnTo>
                  <a:lnTo>
                    <a:pt x="1565" y="3122"/>
                  </a:lnTo>
                  <a:lnTo>
                    <a:pt x="1565" y="3127"/>
                  </a:lnTo>
                  <a:lnTo>
                    <a:pt x="1566" y="3133"/>
                  </a:lnTo>
                  <a:lnTo>
                    <a:pt x="1565" y="3140"/>
                  </a:lnTo>
                  <a:lnTo>
                    <a:pt x="1565" y="3146"/>
                  </a:lnTo>
                  <a:lnTo>
                    <a:pt x="1566" y="3152"/>
                  </a:lnTo>
                  <a:lnTo>
                    <a:pt x="1568" y="3157"/>
                  </a:lnTo>
                  <a:lnTo>
                    <a:pt x="1571" y="3163"/>
                  </a:lnTo>
                  <a:lnTo>
                    <a:pt x="1575" y="3165"/>
                  </a:lnTo>
                  <a:lnTo>
                    <a:pt x="1580" y="3166"/>
                  </a:lnTo>
                  <a:lnTo>
                    <a:pt x="1587" y="3166"/>
                  </a:lnTo>
                  <a:lnTo>
                    <a:pt x="1593" y="3164"/>
                  </a:lnTo>
                  <a:lnTo>
                    <a:pt x="1606" y="3161"/>
                  </a:lnTo>
                  <a:lnTo>
                    <a:pt x="1618" y="3159"/>
                  </a:lnTo>
                  <a:lnTo>
                    <a:pt x="1623" y="3159"/>
                  </a:lnTo>
                  <a:lnTo>
                    <a:pt x="1626" y="3160"/>
                  </a:lnTo>
                  <a:lnTo>
                    <a:pt x="1629" y="3161"/>
                  </a:lnTo>
                  <a:lnTo>
                    <a:pt x="1631" y="3163"/>
                  </a:lnTo>
                  <a:lnTo>
                    <a:pt x="1636" y="3167"/>
                  </a:lnTo>
                  <a:lnTo>
                    <a:pt x="1640" y="3173"/>
                  </a:lnTo>
                  <a:lnTo>
                    <a:pt x="1642" y="3176"/>
                  </a:lnTo>
                  <a:lnTo>
                    <a:pt x="1644" y="3177"/>
                  </a:lnTo>
                  <a:lnTo>
                    <a:pt x="1647" y="3179"/>
                  </a:lnTo>
                  <a:lnTo>
                    <a:pt x="1650" y="3179"/>
                  </a:lnTo>
                  <a:lnTo>
                    <a:pt x="1658" y="3180"/>
                  </a:lnTo>
                  <a:lnTo>
                    <a:pt x="1665" y="3179"/>
                  </a:lnTo>
                  <a:lnTo>
                    <a:pt x="1672" y="3178"/>
                  </a:lnTo>
                  <a:lnTo>
                    <a:pt x="1679" y="3178"/>
                  </a:lnTo>
                  <a:lnTo>
                    <a:pt x="1687" y="3178"/>
                  </a:lnTo>
                  <a:lnTo>
                    <a:pt x="1693" y="3179"/>
                  </a:lnTo>
                  <a:lnTo>
                    <a:pt x="1701" y="3186"/>
                  </a:lnTo>
                  <a:lnTo>
                    <a:pt x="1710" y="3192"/>
                  </a:lnTo>
                  <a:lnTo>
                    <a:pt x="1716" y="3199"/>
                  </a:lnTo>
                  <a:lnTo>
                    <a:pt x="1724" y="3207"/>
                  </a:lnTo>
                  <a:lnTo>
                    <a:pt x="1724" y="3207"/>
                  </a:lnTo>
                  <a:lnTo>
                    <a:pt x="1757" y="3198"/>
                  </a:lnTo>
                  <a:lnTo>
                    <a:pt x="1790" y="3189"/>
                  </a:lnTo>
                  <a:lnTo>
                    <a:pt x="1807" y="3184"/>
                  </a:lnTo>
                  <a:lnTo>
                    <a:pt x="1822" y="3177"/>
                  </a:lnTo>
                  <a:lnTo>
                    <a:pt x="1838" y="3170"/>
                  </a:lnTo>
                  <a:lnTo>
                    <a:pt x="1852" y="3163"/>
                  </a:lnTo>
                  <a:lnTo>
                    <a:pt x="1861" y="3156"/>
                  </a:lnTo>
                  <a:lnTo>
                    <a:pt x="1867" y="3150"/>
                  </a:lnTo>
                  <a:lnTo>
                    <a:pt x="1871" y="3143"/>
                  </a:lnTo>
                  <a:lnTo>
                    <a:pt x="1873" y="3136"/>
                  </a:lnTo>
                  <a:lnTo>
                    <a:pt x="1874" y="3128"/>
                  </a:lnTo>
                  <a:lnTo>
                    <a:pt x="1873" y="3120"/>
                  </a:lnTo>
                  <a:lnTo>
                    <a:pt x="1872" y="3111"/>
                  </a:lnTo>
                  <a:lnTo>
                    <a:pt x="1870" y="3101"/>
                  </a:lnTo>
                  <a:lnTo>
                    <a:pt x="1867" y="3086"/>
                  </a:lnTo>
                  <a:lnTo>
                    <a:pt x="1866" y="3071"/>
                  </a:lnTo>
                  <a:lnTo>
                    <a:pt x="1865" y="3056"/>
                  </a:lnTo>
                  <a:lnTo>
                    <a:pt x="1864" y="3043"/>
                  </a:lnTo>
                  <a:lnTo>
                    <a:pt x="1865" y="3014"/>
                  </a:lnTo>
                  <a:lnTo>
                    <a:pt x="1866" y="2983"/>
                  </a:lnTo>
                  <a:lnTo>
                    <a:pt x="1867" y="2973"/>
                  </a:lnTo>
                  <a:lnTo>
                    <a:pt x="1868" y="2959"/>
                  </a:lnTo>
                  <a:lnTo>
                    <a:pt x="1868" y="2952"/>
                  </a:lnTo>
                  <a:lnTo>
                    <a:pt x="1867" y="2946"/>
                  </a:lnTo>
                  <a:lnTo>
                    <a:pt x="1865" y="2940"/>
                  </a:lnTo>
                  <a:lnTo>
                    <a:pt x="1862" y="2936"/>
                  </a:lnTo>
                  <a:lnTo>
                    <a:pt x="1858" y="2933"/>
                  </a:lnTo>
                  <a:lnTo>
                    <a:pt x="1850" y="2931"/>
                  </a:lnTo>
                  <a:lnTo>
                    <a:pt x="1844" y="2930"/>
                  </a:lnTo>
                  <a:lnTo>
                    <a:pt x="1836" y="2930"/>
                  </a:lnTo>
                  <a:lnTo>
                    <a:pt x="1828" y="2929"/>
                  </a:lnTo>
                  <a:lnTo>
                    <a:pt x="1821" y="2927"/>
                  </a:lnTo>
                  <a:lnTo>
                    <a:pt x="1815" y="2925"/>
                  </a:lnTo>
                  <a:lnTo>
                    <a:pt x="1810" y="2922"/>
                  </a:lnTo>
                  <a:lnTo>
                    <a:pt x="1807" y="2921"/>
                  </a:lnTo>
                  <a:lnTo>
                    <a:pt x="1803" y="2920"/>
                  </a:lnTo>
                  <a:lnTo>
                    <a:pt x="1801" y="2918"/>
                  </a:lnTo>
                  <a:lnTo>
                    <a:pt x="1798" y="2915"/>
                  </a:lnTo>
                  <a:lnTo>
                    <a:pt x="1795" y="2910"/>
                  </a:lnTo>
                  <a:lnTo>
                    <a:pt x="1793" y="2904"/>
                  </a:lnTo>
                  <a:lnTo>
                    <a:pt x="1791" y="2898"/>
                  </a:lnTo>
                  <a:lnTo>
                    <a:pt x="1791" y="2890"/>
                  </a:lnTo>
                  <a:lnTo>
                    <a:pt x="1792" y="2884"/>
                  </a:lnTo>
                  <a:lnTo>
                    <a:pt x="1793" y="2878"/>
                  </a:lnTo>
                  <a:lnTo>
                    <a:pt x="1797" y="2872"/>
                  </a:lnTo>
                  <a:lnTo>
                    <a:pt x="1801" y="2866"/>
                  </a:lnTo>
                  <a:lnTo>
                    <a:pt x="1806" y="2862"/>
                  </a:lnTo>
                  <a:lnTo>
                    <a:pt x="1811" y="2858"/>
                  </a:lnTo>
                  <a:lnTo>
                    <a:pt x="1821" y="2851"/>
                  </a:lnTo>
                  <a:lnTo>
                    <a:pt x="1834" y="2846"/>
                  </a:lnTo>
                  <a:lnTo>
                    <a:pt x="1859" y="2836"/>
                  </a:lnTo>
                  <a:lnTo>
                    <a:pt x="1882" y="2826"/>
                  </a:lnTo>
                  <a:lnTo>
                    <a:pt x="1889" y="2812"/>
                  </a:lnTo>
                  <a:lnTo>
                    <a:pt x="1896" y="2797"/>
                  </a:lnTo>
                  <a:lnTo>
                    <a:pt x="1898" y="2788"/>
                  </a:lnTo>
                  <a:lnTo>
                    <a:pt x="1899" y="2780"/>
                  </a:lnTo>
                  <a:lnTo>
                    <a:pt x="1899" y="2773"/>
                  </a:lnTo>
                  <a:lnTo>
                    <a:pt x="1897" y="2764"/>
                  </a:lnTo>
                  <a:lnTo>
                    <a:pt x="1894" y="2759"/>
                  </a:lnTo>
                  <a:lnTo>
                    <a:pt x="1890" y="2755"/>
                  </a:lnTo>
                  <a:lnTo>
                    <a:pt x="1885" y="2751"/>
                  </a:lnTo>
                  <a:lnTo>
                    <a:pt x="1880" y="2746"/>
                  </a:lnTo>
                  <a:lnTo>
                    <a:pt x="1869" y="2739"/>
                  </a:lnTo>
                  <a:lnTo>
                    <a:pt x="1860" y="2730"/>
                  </a:lnTo>
                  <a:lnTo>
                    <a:pt x="1856" y="2724"/>
                  </a:lnTo>
                  <a:lnTo>
                    <a:pt x="1854" y="2717"/>
                  </a:lnTo>
                  <a:lnTo>
                    <a:pt x="1851" y="2712"/>
                  </a:lnTo>
                  <a:lnTo>
                    <a:pt x="1851" y="2707"/>
                  </a:lnTo>
                  <a:lnTo>
                    <a:pt x="1851" y="2702"/>
                  </a:lnTo>
                  <a:lnTo>
                    <a:pt x="1852" y="2696"/>
                  </a:lnTo>
                  <a:lnTo>
                    <a:pt x="1855" y="2692"/>
                  </a:lnTo>
                  <a:lnTo>
                    <a:pt x="1857" y="2687"/>
                  </a:lnTo>
                  <a:lnTo>
                    <a:pt x="1862" y="2678"/>
                  </a:lnTo>
                  <a:lnTo>
                    <a:pt x="1866" y="2667"/>
                  </a:lnTo>
                  <a:lnTo>
                    <a:pt x="1867" y="2661"/>
                  </a:lnTo>
                  <a:lnTo>
                    <a:pt x="1868" y="2656"/>
                  </a:lnTo>
                  <a:lnTo>
                    <a:pt x="1868" y="2648"/>
                  </a:lnTo>
                  <a:lnTo>
                    <a:pt x="1867" y="2642"/>
                  </a:lnTo>
                  <a:lnTo>
                    <a:pt x="1865" y="2637"/>
                  </a:lnTo>
                  <a:lnTo>
                    <a:pt x="1862" y="2631"/>
                  </a:lnTo>
                  <a:lnTo>
                    <a:pt x="1858" y="2624"/>
                  </a:lnTo>
                  <a:lnTo>
                    <a:pt x="1854" y="2617"/>
                  </a:lnTo>
                  <a:lnTo>
                    <a:pt x="1848" y="2611"/>
                  </a:lnTo>
                  <a:lnTo>
                    <a:pt x="1843" y="2605"/>
                  </a:lnTo>
                  <a:lnTo>
                    <a:pt x="1839" y="2600"/>
                  </a:lnTo>
                  <a:lnTo>
                    <a:pt x="1835" y="2596"/>
                  </a:lnTo>
                  <a:lnTo>
                    <a:pt x="1832" y="2596"/>
                  </a:lnTo>
                  <a:lnTo>
                    <a:pt x="1828" y="2596"/>
                  </a:lnTo>
                  <a:lnTo>
                    <a:pt x="1825" y="2597"/>
                  </a:lnTo>
                  <a:lnTo>
                    <a:pt x="1820" y="2599"/>
                  </a:lnTo>
                  <a:lnTo>
                    <a:pt x="1810" y="2605"/>
                  </a:lnTo>
                  <a:lnTo>
                    <a:pt x="1798" y="2612"/>
                  </a:lnTo>
                  <a:lnTo>
                    <a:pt x="1788" y="2620"/>
                  </a:lnTo>
                  <a:lnTo>
                    <a:pt x="1777" y="2628"/>
                  </a:lnTo>
                  <a:lnTo>
                    <a:pt x="1769" y="2634"/>
                  </a:lnTo>
                  <a:lnTo>
                    <a:pt x="1765" y="2639"/>
                  </a:lnTo>
                  <a:lnTo>
                    <a:pt x="1760" y="2640"/>
                  </a:lnTo>
                  <a:lnTo>
                    <a:pt x="1756" y="2641"/>
                  </a:lnTo>
                  <a:lnTo>
                    <a:pt x="1752" y="2640"/>
                  </a:lnTo>
                  <a:lnTo>
                    <a:pt x="1747" y="2636"/>
                  </a:lnTo>
                  <a:lnTo>
                    <a:pt x="1748" y="2626"/>
                  </a:lnTo>
                  <a:lnTo>
                    <a:pt x="1749" y="2618"/>
                  </a:lnTo>
                  <a:lnTo>
                    <a:pt x="1750" y="2610"/>
                  </a:lnTo>
                  <a:lnTo>
                    <a:pt x="1752" y="2602"/>
                  </a:lnTo>
                  <a:lnTo>
                    <a:pt x="1757" y="2589"/>
                  </a:lnTo>
                  <a:lnTo>
                    <a:pt x="1759" y="2577"/>
                  </a:lnTo>
                  <a:lnTo>
                    <a:pt x="1760" y="2571"/>
                  </a:lnTo>
                  <a:lnTo>
                    <a:pt x="1759" y="2566"/>
                  </a:lnTo>
                  <a:lnTo>
                    <a:pt x="1757" y="2560"/>
                  </a:lnTo>
                  <a:lnTo>
                    <a:pt x="1753" y="2554"/>
                  </a:lnTo>
                  <a:lnTo>
                    <a:pt x="1748" y="2548"/>
                  </a:lnTo>
                  <a:lnTo>
                    <a:pt x="1742" y="2542"/>
                  </a:lnTo>
                  <a:lnTo>
                    <a:pt x="1734" y="2536"/>
                  </a:lnTo>
                  <a:lnTo>
                    <a:pt x="1722" y="2529"/>
                  </a:lnTo>
                  <a:lnTo>
                    <a:pt x="1715" y="2524"/>
                  </a:lnTo>
                  <a:lnTo>
                    <a:pt x="1709" y="2517"/>
                  </a:lnTo>
                  <a:lnTo>
                    <a:pt x="1704" y="2511"/>
                  </a:lnTo>
                  <a:lnTo>
                    <a:pt x="1700" y="2502"/>
                  </a:lnTo>
                  <a:lnTo>
                    <a:pt x="1697" y="2494"/>
                  </a:lnTo>
                  <a:lnTo>
                    <a:pt x="1696" y="2485"/>
                  </a:lnTo>
                  <a:lnTo>
                    <a:pt x="1695" y="2475"/>
                  </a:lnTo>
                  <a:lnTo>
                    <a:pt x="1694" y="2466"/>
                  </a:lnTo>
                  <a:lnTo>
                    <a:pt x="1697" y="2427"/>
                  </a:lnTo>
                  <a:lnTo>
                    <a:pt x="1700" y="2393"/>
                  </a:lnTo>
                  <a:lnTo>
                    <a:pt x="1701" y="2378"/>
                  </a:lnTo>
                  <a:lnTo>
                    <a:pt x="1704" y="2366"/>
                  </a:lnTo>
                  <a:lnTo>
                    <a:pt x="1709" y="2355"/>
                  </a:lnTo>
                  <a:lnTo>
                    <a:pt x="1715" y="2345"/>
                  </a:lnTo>
                  <a:lnTo>
                    <a:pt x="1722" y="2335"/>
                  </a:lnTo>
                  <a:lnTo>
                    <a:pt x="1730" y="2326"/>
                  </a:lnTo>
                  <a:lnTo>
                    <a:pt x="1740" y="2318"/>
                  </a:lnTo>
                  <a:lnTo>
                    <a:pt x="1750" y="2309"/>
                  </a:lnTo>
                  <a:lnTo>
                    <a:pt x="1764" y="2296"/>
                  </a:lnTo>
                  <a:lnTo>
                    <a:pt x="1776" y="2285"/>
                  </a:lnTo>
                  <a:lnTo>
                    <a:pt x="1788" y="2277"/>
                  </a:lnTo>
                  <a:lnTo>
                    <a:pt x="1797" y="2269"/>
                  </a:lnTo>
                  <a:lnTo>
                    <a:pt x="1802" y="2264"/>
                  </a:lnTo>
                  <a:lnTo>
                    <a:pt x="1807" y="2259"/>
                  </a:lnTo>
                  <a:lnTo>
                    <a:pt x="1811" y="2254"/>
                  </a:lnTo>
                  <a:lnTo>
                    <a:pt x="1814" y="2248"/>
                  </a:lnTo>
                  <a:lnTo>
                    <a:pt x="1817" y="2240"/>
                  </a:lnTo>
                  <a:lnTo>
                    <a:pt x="1821" y="2232"/>
                  </a:lnTo>
                  <a:lnTo>
                    <a:pt x="1823" y="2223"/>
                  </a:lnTo>
                  <a:lnTo>
                    <a:pt x="1826" y="2211"/>
                  </a:lnTo>
                  <a:lnTo>
                    <a:pt x="1830" y="2201"/>
                  </a:lnTo>
                  <a:lnTo>
                    <a:pt x="1835" y="2189"/>
                  </a:lnTo>
                  <a:lnTo>
                    <a:pt x="1835" y="2189"/>
                  </a:lnTo>
                  <a:lnTo>
                    <a:pt x="1839" y="2180"/>
                  </a:lnTo>
                  <a:lnTo>
                    <a:pt x="1844" y="2172"/>
                  </a:lnTo>
                  <a:lnTo>
                    <a:pt x="1850" y="2163"/>
                  </a:lnTo>
                  <a:lnTo>
                    <a:pt x="1858" y="2158"/>
                  </a:lnTo>
                  <a:lnTo>
                    <a:pt x="1862" y="2156"/>
                  </a:lnTo>
                  <a:lnTo>
                    <a:pt x="1865" y="2154"/>
                  </a:lnTo>
                  <a:lnTo>
                    <a:pt x="1869" y="2153"/>
                  </a:lnTo>
                  <a:lnTo>
                    <a:pt x="1873" y="2153"/>
                  </a:lnTo>
                  <a:lnTo>
                    <a:pt x="1878" y="2154"/>
                  </a:lnTo>
                  <a:lnTo>
                    <a:pt x="1883" y="2155"/>
                  </a:lnTo>
                  <a:lnTo>
                    <a:pt x="1887" y="2158"/>
                  </a:lnTo>
                  <a:lnTo>
                    <a:pt x="1892" y="2161"/>
                  </a:lnTo>
                  <a:lnTo>
                    <a:pt x="1899" y="2167"/>
                  </a:lnTo>
                  <a:lnTo>
                    <a:pt x="1906" y="2172"/>
                  </a:lnTo>
                  <a:lnTo>
                    <a:pt x="1913" y="2175"/>
                  </a:lnTo>
                  <a:lnTo>
                    <a:pt x="1918" y="2177"/>
                  </a:lnTo>
                  <a:lnTo>
                    <a:pt x="1923" y="2178"/>
                  </a:lnTo>
                  <a:lnTo>
                    <a:pt x="1928" y="2178"/>
                  </a:lnTo>
                  <a:lnTo>
                    <a:pt x="1932" y="2177"/>
                  </a:lnTo>
                  <a:lnTo>
                    <a:pt x="1936" y="2174"/>
                  </a:lnTo>
                  <a:lnTo>
                    <a:pt x="1939" y="2171"/>
                  </a:lnTo>
                  <a:lnTo>
                    <a:pt x="1942" y="2166"/>
                  </a:lnTo>
                  <a:lnTo>
                    <a:pt x="1944" y="2162"/>
                  </a:lnTo>
                  <a:lnTo>
                    <a:pt x="1946" y="2157"/>
                  </a:lnTo>
                  <a:lnTo>
                    <a:pt x="1949" y="2144"/>
                  </a:lnTo>
                  <a:lnTo>
                    <a:pt x="1952" y="2130"/>
                  </a:lnTo>
                  <a:lnTo>
                    <a:pt x="1954" y="2099"/>
                  </a:lnTo>
                  <a:lnTo>
                    <a:pt x="1954" y="2067"/>
                  </a:lnTo>
                  <a:lnTo>
                    <a:pt x="1953" y="2041"/>
                  </a:lnTo>
                  <a:lnTo>
                    <a:pt x="1954" y="2026"/>
                  </a:lnTo>
                  <a:lnTo>
                    <a:pt x="1968" y="2022"/>
                  </a:lnTo>
                  <a:lnTo>
                    <a:pt x="1984" y="2018"/>
                  </a:lnTo>
                  <a:lnTo>
                    <a:pt x="2001" y="2014"/>
                  </a:lnTo>
                  <a:lnTo>
                    <a:pt x="2016" y="2008"/>
                  </a:lnTo>
                  <a:lnTo>
                    <a:pt x="2023" y="2005"/>
                  </a:lnTo>
                  <a:lnTo>
                    <a:pt x="2031" y="2001"/>
                  </a:lnTo>
                  <a:lnTo>
                    <a:pt x="2037" y="1996"/>
                  </a:lnTo>
                  <a:lnTo>
                    <a:pt x="2043" y="1991"/>
                  </a:lnTo>
                  <a:lnTo>
                    <a:pt x="2047" y="1985"/>
                  </a:lnTo>
                  <a:lnTo>
                    <a:pt x="2052" y="1979"/>
                  </a:lnTo>
                  <a:lnTo>
                    <a:pt x="2055" y="1970"/>
                  </a:lnTo>
                  <a:lnTo>
                    <a:pt x="2057" y="1962"/>
                  </a:lnTo>
                  <a:lnTo>
                    <a:pt x="2058" y="1935"/>
                  </a:lnTo>
                  <a:lnTo>
                    <a:pt x="2060" y="1901"/>
                  </a:lnTo>
                  <a:lnTo>
                    <a:pt x="2062" y="1894"/>
                  </a:lnTo>
                  <a:lnTo>
                    <a:pt x="2064" y="1888"/>
                  </a:lnTo>
                  <a:lnTo>
                    <a:pt x="2067" y="1883"/>
                  </a:lnTo>
                  <a:lnTo>
                    <a:pt x="2071" y="1878"/>
                  </a:lnTo>
                  <a:lnTo>
                    <a:pt x="2074" y="1877"/>
                  </a:lnTo>
                  <a:lnTo>
                    <a:pt x="2076" y="1877"/>
                  </a:lnTo>
                  <a:lnTo>
                    <a:pt x="2079" y="1876"/>
                  </a:lnTo>
                  <a:lnTo>
                    <a:pt x="2082" y="1877"/>
                  </a:lnTo>
                  <a:lnTo>
                    <a:pt x="2088" y="1880"/>
                  </a:lnTo>
                  <a:lnTo>
                    <a:pt x="2096" y="1885"/>
                  </a:lnTo>
                  <a:lnTo>
                    <a:pt x="2106" y="1891"/>
                  </a:lnTo>
                  <a:lnTo>
                    <a:pt x="2115" y="1896"/>
                  </a:lnTo>
                  <a:lnTo>
                    <a:pt x="2124" y="1901"/>
                  </a:lnTo>
                  <a:lnTo>
                    <a:pt x="2132" y="1905"/>
                  </a:lnTo>
                  <a:lnTo>
                    <a:pt x="2139" y="1907"/>
                  </a:lnTo>
                  <a:lnTo>
                    <a:pt x="2148" y="1909"/>
                  </a:lnTo>
                  <a:lnTo>
                    <a:pt x="2155" y="1909"/>
                  </a:lnTo>
                  <a:lnTo>
                    <a:pt x="2161" y="1909"/>
                  </a:lnTo>
                  <a:lnTo>
                    <a:pt x="2168" y="1909"/>
                  </a:lnTo>
                  <a:lnTo>
                    <a:pt x="2175" y="1908"/>
                  </a:lnTo>
                  <a:lnTo>
                    <a:pt x="2182" y="1906"/>
                  </a:lnTo>
                  <a:lnTo>
                    <a:pt x="2188" y="1902"/>
                  </a:lnTo>
                  <a:lnTo>
                    <a:pt x="2201" y="1896"/>
                  </a:lnTo>
                  <a:lnTo>
                    <a:pt x="2212" y="1889"/>
                  </a:lnTo>
                  <a:lnTo>
                    <a:pt x="2236" y="1871"/>
                  </a:lnTo>
                  <a:lnTo>
                    <a:pt x="2262" y="1852"/>
                  </a:lnTo>
                  <a:lnTo>
                    <a:pt x="2276" y="1843"/>
                  </a:lnTo>
                  <a:lnTo>
                    <a:pt x="2290" y="1836"/>
                  </a:lnTo>
                  <a:lnTo>
                    <a:pt x="2298" y="1833"/>
                  </a:lnTo>
                  <a:lnTo>
                    <a:pt x="2306" y="1830"/>
                  </a:lnTo>
                  <a:lnTo>
                    <a:pt x="2314" y="1828"/>
                  </a:lnTo>
                  <a:lnTo>
                    <a:pt x="2323" y="1826"/>
                  </a:lnTo>
                  <a:lnTo>
                    <a:pt x="2331" y="1815"/>
                  </a:lnTo>
                  <a:lnTo>
                    <a:pt x="2339" y="1803"/>
                  </a:lnTo>
                  <a:lnTo>
                    <a:pt x="2346" y="1792"/>
                  </a:lnTo>
                  <a:lnTo>
                    <a:pt x="2352" y="1780"/>
                  </a:lnTo>
                  <a:lnTo>
                    <a:pt x="2357" y="1768"/>
                  </a:lnTo>
                  <a:lnTo>
                    <a:pt x="2360" y="1754"/>
                  </a:lnTo>
                  <a:lnTo>
                    <a:pt x="2362" y="1741"/>
                  </a:lnTo>
                  <a:lnTo>
                    <a:pt x="2362" y="1726"/>
                  </a:lnTo>
                  <a:lnTo>
                    <a:pt x="2362" y="1717"/>
                  </a:lnTo>
                  <a:lnTo>
                    <a:pt x="2363" y="1709"/>
                  </a:lnTo>
                  <a:lnTo>
                    <a:pt x="2364" y="1703"/>
                  </a:lnTo>
                  <a:lnTo>
                    <a:pt x="2365" y="1697"/>
                  </a:lnTo>
                  <a:lnTo>
                    <a:pt x="2369" y="1692"/>
                  </a:lnTo>
                  <a:lnTo>
                    <a:pt x="2372" y="1687"/>
                  </a:lnTo>
                  <a:lnTo>
                    <a:pt x="2377" y="1681"/>
                  </a:lnTo>
                  <a:lnTo>
                    <a:pt x="2384" y="1675"/>
                  </a:lnTo>
                  <a:lnTo>
                    <a:pt x="2393" y="1667"/>
                  </a:lnTo>
                  <a:lnTo>
                    <a:pt x="2403" y="1656"/>
                  </a:lnTo>
                  <a:lnTo>
                    <a:pt x="2407" y="1650"/>
                  </a:lnTo>
                  <a:lnTo>
                    <a:pt x="2411" y="1645"/>
                  </a:lnTo>
                  <a:lnTo>
                    <a:pt x="2413" y="1639"/>
                  </a:lnTo>
                  <a:lnTo>
                    <a:pt x="2414" y="1633"/>
                  </a:lnTo>
                  <a:lnTo>
                    <a:pt x="2413" y="1626"/>
                  </a:lnTo>
                  <a:lnTo>
                    <a:pt x="2411" y="1619"/>
                  </a:lnTo>
                  <a:lnTo>
                    <a:pt x="2408" y="1612"/>
                  </a:lnTo>
                  <a:lnTo>
                    <a:pt x="2405" y="1607"/>
                  </a:lnTo>
                  <a:lnTo>
                    <a:pt x="2395" y="1597"/>
                  </a:lnTo>
                  <a:lnTo>
                    <a:pt x="2384" y="1586"/>
                  </a:lnTo>
                  <a:lnTo>
                    <a:pt x="2373" y="1576"/>
                  </a:lnTo>
                  <a:lnTo>
                    <a:pt x="2362" y="1564"/>
                  </a:lnTo>
                  <a:lnTo>
                    <a:pt x="2359" y="1558"/>
                  </a:lnTo>
                  <a:lnTo>
                    <a:pt x="2356" y="1552"/>
                  </a:lnTo>
                  <a:lnTo>
                    <a:pt x="2354" y="1545"/>
                  </a:lnTo>
                  <a:lnTo>
                    <a:pt x="2353" y="1537"/>
                  </a:lnTo>
                  <a:lnTo>
                    <a:pt x="2358" y="1533"/>
                  </a:lnTo>
                  <a:lnTo>
                    <a:pt x="2364" y="1531"/>
                  </a:lnTo>
                  <a:lnTo>
                    <a:pt x="2372" y="1529"/>
                  </a:lnTo>
                  <a:lnTo>
                    <a:pt x="2380" y="1527"/>
                  </a:lnTo>
                  <a:lnTo>
                    <a:pt x="2387" y="1526"/>
                  </a:lnTo>
                  <a:lnTo>
                    <a:pt x="2396" y="1524"/>
                  </a:lnTo>
                  <a:lnTo>
                    <a:pt x="2403" y="1521"/>
                  </a:lnTo>
                  <a:lnTo>
                    <a:pt x="2409" y="1516"/>
                  </a:lnTo>
                  <a:lnTo>
                    <a:pt x="2416" y="1510"/>
                  </a:lnTo>
                  <a:lnTo>
                    <a:pt x="2420" y="1502"/>
                  </a:lnTo>
                  <a:lnTo>
                    <a:pt x="2424" y="1494"/>
                  </a:lnTo>
                  <a:lnTo>
                    <a:pt x="2427" y="1485"/>
                  </a:lnTo>
                  <a:lnTo>
                    <a:pt x="2430" y="1466"/>
                  </a:lnTo>
                  <a:lnTo>
                    <a:pt x="2431" y="1448"/>
                  </a:lnTo>
                  <a:lnTo>
                    <a:pt x="2431" y="1448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8" name="Freeform 145">
              <a:extLst>
                <a:ext uri="{FF2B5EF4-FFF2-40B4-BE49-F238E27FC236}">
                  <a16:creationId xmlns:a16="http://schemas.microsoft.com/office/drawing/2014/main" id="{F9CD6C1D-FEC1-4728-AE7A-EA407C6FA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1321" y="5106957"/>
              <a:ext cx="749128" cy="566826"/>
            </a:xfrm>
            <a:custGeom>
              <a:avLst/>
              <a:gdLst>
                <a:gd name="T0" fmla="*/ 2931 w 2980"/>
                <a:gd name="T1" fmla="*/ 911 h 2333"/>
                <a:gd name="T2" fmla="*/ 2842 w 2980"/>
                <a:gd name="T3" fmla="*/ 878 h 2333"/>
                <a:gd name="T4" fmla="*/ 2749 w 2980"/>
                <a:gd name="T5" fmla="*/ 932 h 2333"/>
                <a:gd name="T6" fmla="*/ 2665 w 2980"/>
                <a:gd name="T7" fmla="*/ 965 h 2333"/>
                <a:gd name="T8" fmla="*/ 2545 w 2980"/>
                <a:gd name="T9" fmla="*/ 994 h 2333"/>
                <a:gd name="T10" fmla="*/ 2469 w 2980"/>
                <a:gd name="T11" fmla="*/ 1099 h 2333"/>
                <a:gd name="T12" fmla="*/ 2383 w 2980"/>
                <a:gd name="T13" fmla="*/ 1190 h 2333"/>
                <a:gd name="T14" fmla="*/ 2271 w 2980"/>
                <a:gd name="T15" fmla="*/ 1197 h 2333"/>
                <a:gd name="T16" fmla="*/ 2199 w 2980"/>
                <a:gd name="T17" fmla="*/ 1244 h 2333"/>
                <a:gd name="T18" fmla="*/ 2220 w 2980"/>
                <a:gd name="T19" fmla="*/ 1383 h 2333"/>
                <a:gd name="T20" fmla="*/ 2234 w 2980"/>
                <a:gd name="T21" fmla="*/ 1498 h 2333"/>
                <a:gd name="T22" fmla="*/ 2097 w 2980"/>
                <a:gd name="T23" fmla="*/ 1498 h 2333"/>
                <a:gd name="T24" fmla="*/ 1866 w 2980"/>
                <a:gd name="T25" fmla="*/ 1505 h 2333"/>
                <a:gd name="T26" fmla="*/ 1788 w 2980"/>
                <a:gd name="T27" fmla="*/ 1509 h 2333"/>
                <a:gd name="T28" fmla="*/ 1662 w 2980"/>
                <a:gd name="T29" fmla="*/ 1574 h 2333"/>
                <a:gd name="T30" fmla="*/ 1508 w 2980"/>
                <a:gd name="T31" fmla="*/ 1789 h 2333"/>
                <a:gd name="T32" fmla="*/ 1509 w 2980"/>
                <a:gd name="T33" fmla="*/ 2013 h 2333"/>
                <a:gd name="T34" fmla="*/ 1483 w 2980"/>
                <a:gd name="T35" fmla="*/ 2073 h 2333"/>
                <a:gd name="T36" fmla="*/ 1306 w 2980"/>
                <a:gd name="T37" fmla="*/ 2048 h 2333"/>
                <a:gd name="T38" fmla="*/ 1200 w 2980"/>
                <a:gd name="T39" fmla="*/ 2173 h 2333"/>
                <a:gd name="T40" fmla="*/ 1112 w 2980"/>
                <a:gd name="T41" fmla="*/ 2318 h 2333"/>
                <a:gd name="T42" fmla="*/ 1054 w 2980"/>
                <a:gd name="T43" fmla="*/ 2262 h 2333"/>
                <a:gd name="T44" fmla="*/ 1013 w 2980"/>
                <a:gd name="T45" fmla="*/ 2050 h 2333"/>
                <a:gd name="T46" fmla="*/ 980 w 2980"/>
                <a:gd name="T47" fmla="*/ 1928 h 2333"/>
                <a:gd name="T48" fmla="*/ 828 w 2980"/>
                <a:gd name="T49" fmla="*/ 1836 h 2333"/>
                <a:gd name="T50" fmla="*/ 735 w 2980"/>
                <a:gd name="T51" fmla="*/ 1803 h 2333"/>
                <a:gd name="T52" fmla="*/ 691 w 2980"/>
                <a:gd name="T53" fmla="*/ 1677 h 2333"/>
                <a:gd name="T54" fmla="*/ 520 w 2980"/>
                <a:gd name="T55" fmla="*/ 1691 h 2333"/>
                <a:gd name="T56" fmla="*/ 405 w 2980"/>
                <a:gd name="T57" fmla="*/ 1800 h 2333"/>
                <a:gd name="T58" fmla="*/ 305 w 2980"/>
                <a:gd name="T59" fmla="*/ 1754 h 2333"/>
                <a:gd name="T60" fmla="*/ 180 w 2980"/>
                <a:gd name="T61" fmla="*/ 1529 h 2333"/>
                <a:gd name="T62" fmla="*/ 24 w 2980"/>
                <a:gd name="T63" fmla="*/ 1368 h 2333"/>
                <a:gd name="T64" fmla="*/ 39 w 2980"/>
                <a:gd name="T65" fmla="*/ 1243 h 2333"/>
                <a:gd name="T66" fmla="*/ 136 w 2980"/>
                <a:gd name="T67" fmla="*/ 1164 h 2333"/>
                <a:gd name="T68" fmla="*/ 126 w 2980"/>
                <a:gd name="T69" fmla="*/ 1007 h 2333"/>
                <a:gd name="T70" fmla="*/ 206 w 2980"/>
                <a:gd name="T71" fmla="*/ 879 h 2333"/>
                <a:gd name="T72" fmla="*/ 339 w 2980"/>
                <a:gd name="T73" fmla="*/ 757 h 2333"/>
                <a:gd name="T74" fmla="*/ 400 w 2980"/>
                <a:gd name="T75" fmla="*/ 703 h 2333"/>
                <a:gd name="T76" fmla="*/ 561 w 2980"/>
                <a:gd name="T77" fmla="*/ 668 h 2333"/>
                <a:gd name="T78" fmla="*/ 709 w 2980"/>
                <a:gd name="T79" fmla="*/ 615 h 2333"/>
                <a:gd name="T80" fmla="*/ 751 w 2980"/>
                <a:gd name="T81" fmla="*/ 492 h 2333"/>
                <a:gd name="T82" fmla="*/ 756 w 2980"/>
                <a:gd name="T83" fmla="*/ 422 h 2333"/>
                <a:gd name="T84" fmla="*/ 863 w 2980"/>
                <a:gd name="T85" fmla="*/ 376 h 2333"/>
                <a:gd name="T86" fmla="*/ 963 w 2980"/>
                <a:gd name="T87" fmla="*/ 334 h 2333"/>
                <a:gd name="T88" fmla="*/ 1063 w 2980"/>
                <a:gd name="T89" fmla="*/ 355 h 2333"/>
                <a:gd name="T90" fmla="*/ 1209 w 2980"/>
                <a:gd name="T91" fmla="*/ 279 h 2333"/>
                <a:gd name="T92" fmla="*/ 1241 w 2980"/>
                <a:gd name="T93" fmla="*/ 374 h 2333"/>
                <a:gd name="T94" fmla="*/ 1324 w 2980"/>
                <a:gd name="T95" fmla="*/ 400 h 2333"/>
                <a:gd name="T96" fmla="*/ 1355 w 2980"/>
                <a:gd name="T97" fmla="*/ 297 h 2333"/>
                <a:gd name="T98" fmla="*/ 1503 w 2980"/>
                <a:gd name="T99" fmla="*/ 275 h 2333"/>
                <a:gd name="T100" fmla="*/ 1768 w 2980"/>
                <a:gd name="T101" fmla="*/ 182 h 2333"/>
                <a:gd name="T102" fmla="*/ 1984 w 2980"/>
                <a:gd name="T103" fmla="*/ 182 h 2333"/>
                <a:gd name="T104" fmla="*/ 2096 w 2980"/>
                <a:gd name="T105" fmla="*/ 123 h 2333"/>
                <a:gd name="T106" fmla="*/ 2174 w 2980"/>
                <a:gd name="T107" fmla="*/ 68 h 2333"/>
                <a:gd name="T108" fmla="*/ 2319 w 2980"/>
                <a:gd name="T109" fmla="*/ 20 h 2333"/>
                <a:gd name="T110" fmla="*/ 2407 w 2980"/>
                <a:gd name="T111" fmla="*/ 159 h 2333"/>
                <a:gd name="T112" fmla="*/ 2512 w 2980"/>
                <a:gd name="T113" fmla="*/ 264 h 2333"/>
                <a:gd name="T114" fmla="*/ 2560 w 2980"/>
                <a:gd name="T115" fmla="*/ 396 h 2333"/>
                <a:gd name="T116" fmla="*/ 2761 w 2980"/>
                <a:gd name="T117" fmla="*/ 568 h 2333"/>
                <a:gd name="T118" fmla="*/ 2822 w 2980"/>
                <a:gd name="T119" fmla="*/ 701 h 2333"/>
                <a:gd name="T120" fmla="*/ 2957 w 2980"/>
                <a:gd name="T121" fmla="*/ 783 h 2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0" h="2333">
                  <a:moveTo>
                    <a:pt x="2957" y="783"/>
                  </a:moveTo>
                  <a:lnTo>
                    <a:pt x="2980" y="846"/>
                  </a:lnTo>
                  <a:lnTo>
                    <a:pt x="2980" y="846"/>
                  </a:lnTo>
                  <a:lnTo>
                    <a:pt x="2975" y="856"/>
                  </a:lnTo>
                  <a:lnTo>
                    <a:pt x="2969" y="868"/>
                  </a:lnTo>
                  <a:lnTo>
                    <a:pt x="2966" y="874"/>
                  </a:lnTo>
                  <a:lnTo>
                    <a:pt x="2964" y="880"/>
                  </a:lnTo>
                  <a:lnTo>
                    <a:pt x="2962" y="885"/>
                  </a:lnTo>
                  <a:lnTo>
                    <a:pt x="2961" y="891"/>
                  </a:lnTo>
                  <a:lnTo>
                    <a:pt x="2956" y="897"/>
                  </a:lnTo>
                  <a:lnTo>
                    <a:pt x="2951" y="902"/>
                  </a:lnTo>
                  <a:lnTo>
                    <a:pt x="2947" y="907"/>
                  </a:lnTo>
                  <a:lnTo>
                    <a:pt x="2940" y="912"/>
                  </a:lnTo>
                  <a:lnTo>
                    <a:pt x="2931" y="911"/>
                  </a:lnTo>
                  <a:lnTo>
                    <a:pt x="2924" y="908"/>
                  </a:lnTo>
                  <a:lnTo>
                    <a:pt x="2917" y="904"/>
                  </a:lnTo>
                  <a:lnTo>
                    <a:pt x="2909" y="899"/>
                  </a:lnTo>
                  <a:lnTo>
                    <a:pt x="2897" y="887"/>
                  </a:lnTo>
                  <a:lnTo>
                    <a:pt x="2885" y="876"/>
                  </a:lnTo>
                  <a:lnTo>
                    <a:pt x="2880" y="871"/>
                  </a:lnTo>
                  <a:lnTo>
                    <a:pt x="2874" y="868"/>
                  </a:lnTo>
                  <a:lnTo>
                    <a:pt x="2869" y="866"/>
                  </a:lnTo>
                  <a:lnTo>
                    <a:pt x="2862" y="864"/>
                  </a:lnTo>
                  <a:lnTo>
                    <a:pt x="2859" y="866"/>
                  </a:lnTo>
                  <a:lnTo>
                    <a:pt x="2856" y="867"/>
                  </a:lnTo>
                  <a:lnTo>
                    <a:pt x="2852" y="869"/>
                  </a:lnTo>
                  <a:lnTo>
                    <a:pt x="2849" y="871"/>
                  </a:lnTo>
                  <a:lnTo>
                    <a:pt x="2842" y="878"/>
                  </a:lnTo>
                  <a:lnTo>
                    <a:pt x="2833" y="888"/>
                  </a:lnTo>
                  <a:lnTo>
                    <a:pt x="2827" y="898"/>
                  </a:lnTo>
                  <a:lnTo>
                    <a:pt x="2820" y="910"/>
                  </a:lnTo>
                  <a:lnTo>
                    <a:pt x="2811" y="922"/>
                  </a:lnTo>
                  <a:lnTo>
                    <a:pt x="2802" y="933"/>
                  </a:lnTo>
                  <a:lnTo>
                    <a:pt x="2797" y="939"/>
                  </a:lnTo>
                  <a:lnTo>
                    <a:pt x="2791" y="942"/>
                  </a:lnTo>
                  <a:lnTo>
                    <a:pt x="2786" y="945"/>
                  </a:lnTo>
                  <a:lnTo>
                    <a:pt x="2781" y="947"/>
                  </a:lnTo>
                  <a:lnTo>
                    <a:pt x="2775" y="947"/>
                  </a:lnTo>
                  <a:lnTo>
                    <a:pt x="2769" y="946"/>
                  </a:lnTo>
                  <a:lnTo>
                    <a:pt x="2763" y="944"/>
                  </a:lnTo>
                  <a:lnTo>
                    <a:pt x="2757" y="939"/>
                  </a:lnTo>
                  <a:lnTo>
                    <a:pt x="2749" y="932"/>
                  </a:lnTo>
                  <a:lnTo>
                    <a:pt x="2739" y="927"/>
                  </a:lnTo>
                  <a:lnTo>
                    <a:pt x="2730" y="923"/>
                  </a:lnTo>
                  <a:lnTo>
                    <a:pt x="2721" y="920"/>
                  </a:lnTo>
                  <a:lnTo>
                    <a:pt x="2710" y="918"/>
                  </a:lnTo>
                  <a:lnTo>
                    <a:pt x="2700" y="919"/>
                  </a:lnTo>
                  <a:lnTo>
                    <a:pt x="2696" y="920"/>
                  </a:lnTo>
                  <a:lnTo>
                    <a:pt x="2690" y="921"/>
                  </a:lnTo>
                  <a:lnTo>
                    <a:pt x="2686" y="924"/>
                  </a:lnTo>
                  <a:lnTo>
                    <a:pt x="2682" y="927"/>
                  </a:lnTo>
                  <a:lnTo>
                    <a:pt x="2677" y="931"/>
                  </a:lnTo>
                  <a:lnTo>
                    <a:pt x="2674" y="937"/>
                  </a:lnTo>
                  <a:lnTo>
                    <a:pt x="2671" y="944"/>
                  </a:lnTo>
                  <a:lnTo>
                    <a:pt x="2668" y="950"/>
                  </a:lnTo>
                  <a:lnTo>
                    <a:pt x="2665" y="965"/>
                  </a:lnTo>
                  <a:lnTo>
                    <a:pt x="2662" y="978"/>
                  </a:lnTo>
                  <a:lnTo>
                    <a:pt x="2660" y="984"/>
                  </a:lnTo>
                  <a:lnTo>
                    <a:pt x="2658" y="991"/>
                  </a:lnTo>
                  <a:lnTo>
                    <a:pt x="2655" y="996"/>
                  </a:lnTo>
                  <a:lnTo>
                    <a:pt x="2650" y="1000"/>
                  </a:lnTo>
                  <a:lnTo>
                    <a:pt x="2644" y="1002"/>
                  </a:lnTo>
                  <a:lnTo>
                    <a:pt x="2637" y="1004"/>
                  </a:lnTo>
                  <a:lnTo>
                    <a:pt x="2628" y="1004"/>
                  </a:lnTo>
                  <a:lnTo>
                    <a:pt x="2616" y="1003"/>
                  </a:lnTo>
                  <a:lnTo>
                    <a:pt x="2603" y="1001"/>
                  </a:lnTo>
                  <a:lnTo>
                    <a:pt x="2587" y="998"/>
                  </a:lnTo>
                  <a:lnTo>
                    <a:pt x="2570" y="996"/>
                  </a:lnTo>
                  <a:lnTo>
                    <a:pt x="2554" y="994"/>
                  </a:lnTo>
                  <a:lnTo>
                    <a:pt x="2545" y="994"/>
                  </a:lnTo>
                  <a:lnTo>
                    <a:pt x="2537" y="995"/>
                  </a:lnTo>
                  <a:lnTo>
                    <a:pt x="2530" y="996"/>
                  </a:lnTo>
                  <a:lnTo>
                    <a:pt x="2522" y="998"/>
                  </a:lnTo>
                  <a:lnTo>
                    <a:pt x="2515" y="1000"/>
                  </a:lnTo>
                  <a:lnTo>
                    <a:pt x="2509" y="1003"/>
                  </a:lnTo>
                  <a:lnTo>
                    <a:pt x="2504" y="1008"/>
                  </a:lnTo>
                  <a:lnTo>
                    <a:pt x="2499" y="1014"/>
                  </a:lnTo>
                  <a:lnTo>
                    <a:pt x="2493" y="1020"/>
                  </a:lnTo>
                  <a:lnTo>
                    <a:pt x="2489" y="1026"/>
                  </a:lnTo>
                  <a:lnTo>
                    <a:pt x="2485" y="1033"/>
                  </a:lnTo>
                  <a:lnTo>
                    <a:pt x="2482" y="1040"/>
                  </a:lnTo>
                  <a:lnTo>
                    <a:pt x="2477" y="1054"/>
                  </a:lnTo>
                  <a:lnTo>
                    <a:pt x="2473" y="1069"/>
                  </a:lnTo>
                  <a:lnTo>
                    <a:pt x="2469" y="1099"/>
                  </a:lnTo>
                  <a:lnTo>
                    <a:pt x="2464" y="1128"/>
                  </a:lnTo>
                  <a:lnTo>
                    <a:pt x="2461" y="1142"/>
                  </a:lnTo>
                  <a:lnTo>
                    <a:pt x="2457" y="1153"/>
                  </a:lnTo>
                  <a:lnTo>
                    <a:pt x="2454" y="1160"/>
                  </a:lnTo>
                  <a:lnTo>
                    <a:pt x="2450" y="1165"/>
                  </a:lnTo>
                  <a:lnTo>
                    <a:pt x="2445" y="1169"/>
                  </a:lnTo>
                  <a:lnTo>
                    <a:pt x="2440" y="1174"/>
                  </a:lnTo>
                  <a:lnTo>
                    <a:pt x="2435" y="1177"/>
                  </a:lnTo>
                  <a:lnTo>
                    <a:pt x="2429" y="1182"/>
                  </a:lnTo>
                  <a:lnTo>
                    <a:pt x="2421" y="1185"/>
                  </a:lnTo>
                  <a:lnTo>
                    <a:pt x="2413" y="1187"/>
                  </a:lnTo>
                  <a:lnTo>
                    <a:pt x="2405" y="1189"/>
                  </a:lnTo>
                  <a:lnTo>
                    <a:pt x="2394" y="1190"/>
                  </a:lnTo>
                  <a:lnTo>
                    <a:pt x="2383" y="1190"/>
                  </a:lnTo>
                  <a:lnTo>
                    <a:pt x="2371" y="1190"/>
                  </a:lnTo>
                  <a:lnTo>
                    <a:pt x="2360" y="1190"/>
                  </a:lnTo>
                  <a:lnTo>
                    <a:pt x="2351" y="1191"/>
                  </a:lnTo>
                  <a:lnTo>
                    <a:pt x="2344" y="1193"/>
                  </a:lnTo>
                  <a:lnTo>
                    <a:pt x="2338" y="1196"/>
                  </a:lnTo>
                  <a:lnTo>
                    <a:pt x="2328" y="1206"/>
                  </a:lnTo>
                  <a:lnTo>
                    <a:pt x="2314" y="1219"/>
                  </a:lnTo>
                  <a:lnTo>
                    <a:pt x="2311" y="1221"/>
                  </a:lnTo>
                  <a:lnTo>
                    <a:pt x="2307" y="1222"/>
                  </a:lnTo>
                  <a:lnTo>
                    <a:pt x="2304" y="1221"/>
                  </a:lnTo>
                  <a:lnTo>
                    <a:pt x="2299" y="1219"/>
                  </a:lnTo>
                  <a:lnTo>
                    <a:pt x="2290" y="1213"/>
                  </a:lnTo>
                  <a:lnTo>
                    <a:pt x="2281" y="1206"/>
                  </a:lnTo>
                  <a:lnTo>
                    <a:pt x="2271" y="1197"/>
                  </a:lnTo>
                  <a:lnTo>
                    <a:pt x="2262" y="1191"/>
                  </a:lnTo>
                  <a:lnTo>
                    <a:pt x="2257" y="1189"/>
                  </a:lnTo>
                  <a:lnTo>
                    <a:pt x="2252" y="1188"/>
                  </a:lnTo>
                  <a:lnTo>
                    <a:pt x="2248" y="1189"/>
                  </a:lnTo>
                  <a:lnTo>
                    <a:pt x="2243" y="1191"/>
                  </a:lnTo>
                  <a:lnTo>
                    <a:pt x="2237" y="1192"/>
                  </a:lnTo>
                  <a:lnTo>
                    <a:pt x="2232" y="1194"/>
                  </a:lnTo>
                  <a:lnTo>
                    <a:pt x="2226" y="1198"/>
                  </a:lnTo>
                  <a:lnTo>
                    <a:pt x="2222" y="1204"/>
                  </a:lnTo>
                  <a:lnTo>
                    <a:pt x="2215" y="1214"/>
                  </a:lnTo>
                  <a:lnTo>
                    <a:pt x="2209" y="1224"/>
                  </a:lnTo>
                  <a:lnTo>
                    <a:pt x="2207" y="1231"/>
                  </a:lnTo>
                  <a:lnTo>
                    <a:pt x="2203" y="1237"/>
                  </a:lnTo>
                  <a:lnTo>
                    <a:pt x="2199" y="1244"/>
                  </a:lnTo>
                  <a:lnTo>
                    <a:pt x="2195" y="1252"/>
                  </a:lnTo>
                  <a:lnTo>
                    <a:pt x="2190" y="1259"/>
                  </a:lnTo>
                  <a:lnTo>
                    <a:pt x="2186" y="1267"/>
                  </a:lnTo>
                  <a:lnTo>
                    <a:pt x="2183" y="1274"/>
                  </a:lnTo>
                  <a:lnTo>
                    <a:pt x="2180" y="1283"/>
                  </a:lnTo>
                  <a:lnTo>
                    <a:pt x="2179" y="1291"/>
                  </a:lnTo>
                  <a:lnTo>
                    <a:pt x="2180" y="1298"/>
                  </a:lnTo>
                  <a:lnTo>
                    <a:pt x="2183" y="1306"/>
                  </a:lnTo>
                  <a:lnTo>
                    <a:pt x="2186" y="1313"/>
                  </a:lnTo>
                  <a:lnTo>
                    <a:pt x="2192" y="1328"/>
                  </a:lnTo>
                  <a:lnTo>
                    <a:pt x="2198" y="1342"/>
                  </a:lnTo>
                  <a:lnTo>
                    <a:pt x="2208" y="1353"/>
                  </a:lnTo>
                  <a:lnTo>
                    <a:pt x="2217" y="1365"/>
                  </a:lnTo>
                  <a:lnTo>
                    <a:pt x="2220" y="1383"/>
                  </a:lnTo>
                  <a:lnTo>
                    <a:pt x="2223" y="1403"/>
                  </a:lnTo>
                  <a:lnTo>
                    <a:pt x="2223" y="1413"/>
                  </a:lnTo>
                  <a:lnTo>
                    <a:pt x="2222" y="1424"/>
                  </a:lnTo>
                  <a:lnTo>
                    <a:pt x="2221" y="1428"/>
                  </a:lnTo>
                  <a:lnTo>
                    <a:pt x="2219" y="1433"/>
                  </a:lnTo>
                  <a:lnTo>
                    <a:pt x="2216" y="1437"/>
                  </a:lnTo>
                  <a:lnTo>
                    <a:pt x="2213" y="1442"/>
                  </a:lnTo>
                  <a:lnTo>
                    <a:pt x="2214" y="1450"/>
                  </a:lnTo>
                  <a:lnTo>
                    <a:pt x="2217" y="1457"/>
                  </a:lnTo>
                  <a:lnTo>
                    <a:pt x="2220" y="1464"/>
                  </a:lnTo>
                  <a:lnTo>
                    <a:pt x="2223" y="1472"/>
                  </a:lnTo>
                  <a:lnTo>
                    <a:pt x="2227" y="1480"/>
                  </a:lnTo>
                  <a:lnTo>
                    <a:pt x="2231" y="1489"/>
                  </a:lnTo>
                  <a:lnTo>
                    <a:pt x="2234" y="1498"/>
                  </a:lnTo>
                  <a:lnTo>
                    <a:pt x="2234" y="1508"/>
                  </a:lnTo>
                  <a:lnTo>
                    <a:pt x="2231" y="1511"/>
                  </a:lnTo>
                  <a:lnTo>
                    <a:pt x="2227" y="1514"/>
                  </a:lnTo>
                  <a:lnTo>
                    <a:pt x="2223" y="1516"/>
                  </a:lnTo>
                  <a:lnTo>
                    <a:pt x="2219" y="1519"/>
                  </a:lnTo>
                  <a:lnTo>
                    <a:pt x="2211" y="1522"/>
                  </a:lnTo>
                  <a:lnTo>
                    <a:pt x="2200" y="1523"/>
                  </a:lnTo>
                  <a:lnTo>
                    <a:pt x="2190" y="1522"/>
                  </a:lnTo>
                  <a:lnTo>
                    <a:pt x="2179" y="1521"/>
                  </a:lnTo>
                  <a:lnTo>
                    <a:pt x="2168" y="1519"/>
                  </a:lnTo>
                  <a:lnTo>
                    <a:pt x="2157" y="1515"/>
                  </a:lnTo>
                  <a:lnTo>
                    <a:pt x="2133" y="1508"/>
                  </a:lnTo>
                  <a:lnTo>
                    <a:pt x="2109" y="1501"/>
                  </a:lnTo>
                  <a:lnTo>
                    <a:pt x="2097" y="1498"/>
                  </a:lnTo>
                  <a:lnTo>
                    <a:pt x="2087" y="1496"/>
                  </a:lnTo>
                  <a:lnTo>
                    <a:pt x="2076" y="1494"/>
                  </a:lnTo>
                  <a:lnTo>
                    <a:pt x="2067" y="1494"/>
                  </a:lnTo>
                  <a:lnTo>
                    <a:pt x="2047" y="1492"/>
                  </a:lnTo>
                  <a:lnTo>
                    <a:pt x="2020" y="1491"/>
                  </a:lnTo>
                  <a:lnTo>
                    <a:pt x="1990" y="1490"/>
                  </a:lnTo>
                  <a:lnTo>
                    <a:pt x="1957" y="1490"/>
                  </a:lnTo>
                  <a:lnTo>
                    <a:pt x="1942" y="1490"/>
                  </a:lnTo>
                  <a:lnTo>
                    <a:pt x="1926" y="1491"/>
                  </a:lnTo>
                  <a:lnTo>
                    <a:pt x="1911" y="1492"/>
                  </a:lnTo>
                  <a:lnTo>
                    <a:pt x="1898" y="1495"/>
                  </a:lnTo>
                  <a:lnTo>
                    <a:pt x="1885" y="1498"/>
                  </a:lnTo>
                  <a:lnTo>
                    <a:pt x="1875" y="1501"/>
                  </a:lnTo>
                  <a:lnTo>
                    <a:pt x="1866" y="1505"/>
                  </a:lnTo>
                  <a:lnTo>
                    <a:pt x="1859" y="1510"/>
                  </a:lnTo>
                  <a:lnTo>
                    <a:pt x="1849" y="1520"/>
                  </a:lnTo>
                  <a:lnTo>
                    <a:pt x="1840" y="1527"/>
                  </a:lnTo>
                  <a:lnTo>
                    <a:pt x="1834" y="1529"/>
                  </a:lnTo>
                  <a:lnTo>
                    <a:pt x="1829" y="1531"/>
                  </a:lnTo>
                  <a:lnTo>
                    <a:pt x="1825" y="1532"/>
                  </a:lnTo>
                  <a:lnTo>
                    <a:pt x="1820" y="1532"/>
                  </a:lnTo>
                  <a:lnTo>
                    <a:pt x="1816" y="1531"/>
                  </a:lnTo>
                  <a:lnTo>
                    <a:pt x="1810" y="1530"/>
                  </a:lnTo>
                  <a:lnTo>
                    <a:pt x="1806" y="1527"/>
                  </a:lnTo>
                  <a:lnTo>
                    <a:pt x="1801" y="1524"/>
                  </a:lnTo>
                  <a:lnTo>
                    <a:pt x="1797" y="1521"/>
                  </a:lnTo>
                  <a:lnTo>
                    <a:pt x="1793" y="1515"/>
                  </a:lnTo>
                  <a:lnTo>
                    <a:pt x="1788" y="1509"/>
                  </a:lnTo>
                  <a:lnTo>
                    <a:pt x="1784" y="1503"/>
                  </a:lnTo>
                  <a:lnTo>
                    <a:pt x="1773" y="1498"/>
                  </a:lnTo>
                  <a:lnTo>
                    <a:pt x="1762" y="1495"/>
                  </a:lnTo>
                  <a:lnTo>
                    <a:pt x="1750" y="1491"/>
                  </a:lnTo>
                  <a:lnTo>
                    <a:pt x="1738" y="1488"/>
                  </a:lnTo>
                  <a:lnTo>
                    <a:pt x="1713" y="1486"/>
                  </a:lnTo>
                  <a:lnTo>
                    <a:pt x="1689" y="1485"/>
                  </a:lnTo>
                  <a:lnTo>
                    <a:pt x="1686" y="1490"/>
                  </a:lnTo>
                  <a:lnTo>
                    <a:pt x="1683" y="1499"/>
                  </a:lnTo>
                  <a:lnTo>
                    <a:pt x="1680" y="1509"/>
                  </a:lnTo>
                  <a:lnTo>
                    <a:pt x="1677" y="1522"/>
                  </a:lnTo>
                  <a:lnTo>
                    <a:pt x="1672" y="1547"/>
                  </a:lnTo>
                  <a:lnTo>
                    <a:pt x="1670" y="1563"/>
                  </a:lnTo>
                  <a:lnTo>
                    <a:pt x="1662" y="1574"/>
                  </a:lnTo>
                  <a:lnTo>
                    <a:pt x="1654" y="1582"/>
                  </a:lnTo>
                  <a:lnTo>
                    <a:pt x="1645" y="1590"/>
                  </a:lnTo>
                  <a:lnTo>
                    <a:pt x="1636" y="1595"/>
                  </a:lnTo>
                  <a:lnTo>
                    <a:pt x="1627" y="1599"/>
                  </a:lnTo>
                  <a:lnTo>
                    <a:pt x="1617" y="1602"/>
                  </a:lnTo>
                  <a:lnTo>
                    <a:pt x="1607" y="1604"/>
                  </a:lnTo>
                  <a:lnTo>
                    <a:pt x="1598" y="1606"/>
                  </a:lnTo>
                  <a:lnTo>
                    <a:pt x="1578" y="1610"/>
                  </a:lnTo>
                  <a:lnTo>
                    <a:pt x="1557" y="1617"/>
                  </a:lnTo>
                  <a:lnTo>
                    <a:pt x="1547" y="1621"/>
                  </a:lnTo>
                  <a:lnTo>
                    <a:pt x="1536" y="1627"/>
                  </a:lnTo>
                  <a:lnTo>
                    <a:pt x="1526" y="1634"/>
                  </a:lnTo>
                  <a:lnTo>
                    <a:pt x="1516" y="1644"/>
                  </a:lnTo>
                  <a:lnTo>
                    <a:pt x="1508" y="1789"/>
                  </a:lnTo>
                  <a:lnTo>
                    <a:pt x="1506" y="1807"/>
                  </a:lnTo>
                  <a:lnTo>
                    <a:pt x="1503" y="1824"/>
                  </a:lnTo>
                  <a:lnTo>
                    <a:pt x="1498" y="1841"/>
                  </a:lnTo>
                  <a:lnTo>
                    <a:pt x="1493" y="1858"/>
                  </a:lnTo>
                  <a:lnTo>
                    <a:pt x="1488" y="1875"/>
                  </a:lnTo>
                  <a:lnTo>
                    <a:pt x="1484" y="1893"/>
                  </a:lnTo>
                  <a:lnTo>
                    <a:pt x="1481" y="1912"/>
                  </a:lnTo>
                  <a:lnTo>
                    <a:pt x="1480" y="1932"/>
                  </a:lnTo>
                  <a:lnTo>
                    <a:pt x="1479" y="1942"/>
                  </a:lnTo>
                  <a:lnTo>
                    <a:pt x="1481" y="1953"/>
                  </a:lnTo>
                  <a:lnTo>
                    <a:pt x="1483" y="1963"/>
                  </a:lnTo>
                  <a:lnTo>
                    <a:pt x="1487" y="1974"/>
                  </a:lnTo>
                  <a:lnTo>
                    <a:pt x="1499" y="1994"/>
                  </a:lnTo>
                  <a:lnTo>
                    <a:pt x="1509" y="2013"/>
                  </a:lnTo>
                  <a:lnTo>
                    <a:pt x="1513" y="2020"/>
                  </a:lnTo>
                  <a:lnTo>
                    <a:pt x="1515" y="2027"/>
                  </a:lnTo>
                  <a:lnTo>
                    <a:pt x="1516" y="2033"/>
                  </a:lnTo>
                  <a:lnTo>
                    <a:pt x="1516" y="2038"/>
                  </a:lnTo>
                  <a:lnTo>
                    <a:pt x="1515" y="2050"/>
                  </a:lnTo>
                  <a:lnTo>
                    <a:pt x="1514" y="2063"/>
                  </a:lnTo>
                  <a:lnTo>
                    <a:pt x="1510" y="2067"/>
                  </a:lnTo>
                  <a:lnTo>
                    <a:pt x="1506" y="2070"/>
                  </a:lnTo>
                  <a:lnTo>
                    <a:pt x="1503" y="2073"/>
                  </a:lnTo>
                  <a:lnTo>
                    <a:pt x="1499" y="2075"/>
                  </a:lnTo>
                  <a:lnTo>
                    <a:pt x="1494" y="2075"/>
                  </a:lnTo>
                  <a:lnTo>
                    <a:pt x="1491" y="2075"/>
                  </a:lnTo>
                  <a:lnTo>
                    <a:pt x="1487" y="2074"/>
                  </a:lnTo>
                  <a:lnTo>
                    <a:pt x="1483" y="2073"/>
                  </a:lnTo>
                  <a:lnTo>
                    <a:pt x="1467" y="2065"/>
                  </a:lnTo>
                  <a:lnTo>
                    <a:pt x="1452" y="2056"/>
                  </a:lnTo>
                  <a:lnTo>
                    <a:pt x="1440" y="2051"/>
                  </a:lnTo>
                  <a:lnTo>
                    <a:pt x="1429" y="2046"/>
                  </a:lnTo>
                  <a:lnTo>
                    <a:pt x="1417" y="2043"/>
                  </a:lnTo>
                  <a:lnTo>
                    <a:pt x="1406" y="2041"/>
                  </a:lnTo>
                  <a:lnTo>
                    <a:pt x="1394" y="2040"/>
                  </a:lnTo>
                  <a:lnTo>
                    <a:pt x="1383" y="2039"/>
                  </a:lnTo>
                  <a:lnTo>
                    <a:pt x="1371" y="2039"/>
                  </a:lnTo>
                  <a:lnTo>
                    <a:pt x="1358" y="2039"/>
                  </a:lnTo>
                  <a:lnTo>
                    <a:pt x="1344" y="2040"/>
                  </a:lnTo>
                  <a:lnTo>
                    <a:pt x="1331" y="2042"/>
                  </a:lnTo>
                  <a:lnTo>
                    <a:pt x="1318" y="2044"/>
                  </a:lnTo>
                  <a:lnTo>
                    <a:pt x="1306" y="2048"/>
                  </a:lnTo>
                  <a:lnTo>
                    <a:pt x="1294" y="2053"/>
                  </a:lnTo>
                  <a:lnTo>
                    <a:pt x="1283" y="2058"/>
                  </a:lnTo>
                  <a:lnTo>
                    <a:pt x="1272" y="2064"/>
                  </a:lnTo>
                  <a:lnTo>
                    <a:pt x="1263" y="2070"/>
                  </a:lnTo>
                  <a:lnTo>
                    <a:pt x="1254" y="2078"/>
                  </a:lnTo>
                  <a:lnTo>
                    <a:pt x="1245" y="2086"/>
                  </a:lnTo>
                  <a:lnTo>
                    <a:pt x="1237" y="2095"/>
                  </a:lnTo>
                  <a:lnTo>
                    <a:pt x="1229" y="2105"/>
                  </a:lnTo>
                  <a:lnTo>
                    <a:pt x="1222" y="2116"/>
                  </a:lnTo>
                  <a:lnTo>
                    <a:pt x="1216" y="2127"/>
                  </a:lnTo>
                  <a:lnTo>
                    <a:pt x="1210" y="2139"/>
                  </a:lnTo>
                  <a:lnTo>
                    <a:pt x="1205" y="2151"/>
                  </a:lnTo>
                  <a:lnTo>
                    <a:pt x="1202" y="2161"/>
                  </a:lnTo>
                  <a:lnTo>
                    <a:pt x="1200" y="2173"/>
                  </a:lnTo>
                  <a:lnTo>
                    <a:pt x="1199" y="2184"/>
                  </a:lnTo>
                  <a:lnTo>
                    <a:pt x="1197" y="2197"/>
                  </a:lnTo>
                  <a:lnTo>
                    <a:pt x="1196" y="2209"/>
                  </a:lnTo>
                  <a:lnTo>
                    <a:pt x="1194" y="2220"/>
                  </a:lnTo>
                  <a:lnTo>
                    <a:pt x="1192" y="2226"/>
                  </a:lnTo>
                  <a:lnTo>
                    <a:pt x="1190" y="2230"/>
                  </a:lnTo>
                  <a:lnTo>
                    <a:pt x="1188" y="2235"/>
                  </a:lnTo>
                  <a:lnTo>
                    <a:pt x="1185" y="2238"/>
                  </a:lnTo>
                  <a:lnTo>
                    <a:pt x="1161" y="2269"/>
                  </a:lnTo>
                  <a:lnTo>
                    <a:pt x="1139" y="2296"/>
                  </a:lnTo>
                  <a:lnTo>
                    <a:pt x="1133" y="2302"/>
                  </a:lnTo>
                  <a:lnTo>
                    <a:pt x="1126" y="2307"/>
                  </a:lnTo>
                  <a:lnTo>
                    <a:pt x="1119" y="2312"/>
                  </a:lnTo>
                  <a:lnTo>
                    <a:pt x="1112" y="2318"/>
                  </a:lnTo>
                  <a:lnTo>
                    <a:pt x="1103" y="2323"/>
                  </a:lnTo>
                  <a:lnTo>
                    <a:pt x="1095" y="2327"/>
                  </a:lnTo>
                  <a:lnTo>
                    <a:pt x="1086" y="2330"/>
                  </a:lnTo>
                  <a:lnTo>
                    <a:pt x="1075" y="2333"/>
                  </a:lnTo>
                  <a:lnTo>
                    <a:pt x="1075" y="2333"/>
                  </a:lnTo>
                  <a:lnTo>
                    <a:pt x="1073" y="2330"/>
                  </a:lnTo>
                  <a:lnTo>
                    <a:pt x="1070" y="2328"/>
                  </a:lnTo>
                  <a:lnTo>
                    <a:pt x="1068" y="2321"/>
                  </a:lnTo>
                  <a:lnTo>
                    <a:pt x="1064" y="2310"/>
                  </a:lnTo>
                  <a:lnTo>
                    <a:pt x="1060" y="2301"/>
                  </a:lnTo>
                  <a:lnTo>
                    <a:pt x="1057" y="2295"/>
                  </a:lnTo>
                  <a:lnTo>
                    <a:pt x="1057" y="2284"/>
                  </a:lnTo>
                  <a:lnTo>
                    <a:pt x="1055" y="2273"/>
                  </a:lnTo>
                  <a:lnTo>
                    <a:pt x="1054" y="2262"/>
                  </a:lnTo>
                  <a:lnTo>
                    <a:pt x="1052" y="2253"/>
                  </a:lnTo>
                  <a:lnTo>
                    <a:pt x="1048" y="2233"/>
                  </a:lnTo>
                  <a:lnTo>
                    <a:pt x="1042" y="2214"/>
                  </a:lnTo>
                  <a:lnTo>
                    <a:pt x="1037" y="2196"/>
                  </a:lnTo>
                  <a:lnTo>
                    <a:pt x="1033" y="2177"/>
                  </a:lnTo>
                  <a:lnTo>
                    <a:pt x="1028" y="2156"/>
                  </a:lnTo>
                  <a:lnTo>
                    <a:pt x="1026" y="2135"/>
                  </a:lnTo>
                  <a:lnTo>
                    <a:pt x="1026" y="2119"/>
                  </a:lnTo>
                  <a:lnTo>
                    <a:pt x="1026" y="2106"/>
                  </a:lnTo>
                  <a:lnTo>
                    <a:pt x="1025" y="2092"/>
                  </a:lnTo>
                  <a:lnTo>
                    <a:pt x="1024" y="2079"/>
                  </a:lnTo>
                  <a:lnTo>
                    <a:pt x="1021" y="2067"/>
                  </a:lnTo>
                  <a:lnTo>
                    <a:pt x="1016" y="2056"/>
                  </a:lnTo>
                  <a:lnTo>
                    <a:pt x="1013" y="2050"/>
                  </a:lnTo>
                  <a:lnTo>
                    <a:pt x="1009" y="2044"/>
                  </a:lnTo>
                  <a:lnTo>
                    <a:pt x="1003" y="2038"/>
                  </a:lnTo>
                  <a:lnTo>
                    <a:pt x="998" y="2033"/>
                  </a:lnTo>
                  <a:lnTo>
                    <a:pt x="994" y="2028"/>
                  </a:lnTo>
                  <a:lnTo>
                    <a:pt x="991" y="2022"/>
                  </a:lnTo>
                  <a:lnTo>
                    <a:pt x="988" y="2017"/>
                  </a:lnTo>
                  <a:lnTo>
                    <a:pt x="986" y="2011"/>
                  </a:lnTo>
                  <a:lnTo>
                    <a:pt x="984" y="1998"/>
                  </a:lnTo>
                  <a:lnTo>
                    <a:pt x="982" y="1985"/>
                  </a:lnTo>
                  <a:lnTo>
                    <a:pt x="982" y="1972"/>
                  </a:lnTo>
                  <a:lnTo>
                    <a:pt x="984" y="1959"/>
                  </a:lnTo>
                  <a:lnTo>
                    <a:pt x="982" y="1945"/>
                  </a:lnTo>
                  <a:lnTo>
                    <a:pt x="981" y="1932"/>
                  </a:lnTo>
                  <a:lnTo>
                    <a:pt x="980" y="1928"/>
                  </a:lnTo>
                  <a:lnTo>
                    <a:pt x="978" y="1922"/>
                  </a:lnTo>
                  <a:lnTo>
                    <a:pt x="976" y="1918"/>
                  </a:lnTo>
                  <a:lnTo>
                    <a:pt x="973" y="1914"/>
                  </a:lnTo>
                  <a:lnTo>
                    <a:pt x="967" y="1906"/>
                  </a:lnTo>
                  <a:lnTo>
                    <a:pt x="959" y="1898"/>
                  </a:lnTo>
                  <a:lnTo>
                    <a:pt x="942" y="1887"/>
                  </a:lnTo>
                  <a:lnTo>
                    <a:pt x="924" y="1875"/>
                  </a:lnTo>
                  <a:lnTo>
                    <a:pt x="912" y="1869"/>
                  </a:lnTo>
                  <a:lnTo>
                    <a:pt x="897" y="1863"/>
                  </a:lnTo>
                  <a:lnTo>
                    <a:pt x="881" y="1857"/>
                  </a:lnTo>
                  <a:lnTo>
                    <a:pt x="865" y="1851"/>
                  </a:lnTo>
                  <a:lnTo>
                    <a:pt x="849" y="1845"/>
                  </a:lnTo>
                  <a:lnTo>
                    <a:pt x="834" y="1839"/>
                  </a:lnTo>
                  <a:lnTo>
                    <a:pt x="828" y="1836"/>
                  </a:lnTo>
                  <a:lnTo>
                    <a:pt x="822" y="1833"/>
                  </a:lnTo>
                  <a:lnTo>
                    <a:pt x="817" y="1828"/>
                  </a:lnTo>
                  <a:lnTo>
                    <a:pt x="813" y="1825"/>
                  </a:lnTo>
                  <a:lnTo>
                    <a:pt x="807" y="1820"/>
                  </a:lnTo>
                  <a:lnTo>
                    <a:pt x="802" y="1816"/>
                  </a:lnTo>
                  <a:lnTo>
                    <a:pt x="797" y="1812"/>
                  </a:lnTo>
                  <a:lnTo>
                    <a:pt x="792" y="1810"/>
                  </a:lnTo>
                  <a:lnTo>
                    <a:pt x="786" y="1808"/>
                  </a:lnTo>
                  <a:lnTo>
                    <a:pt x="780" y="1805"/>
                  </a:lnTo>
                  <a:lnTo>
                    <a:pt x="774" y="1804"/>
                  </a:lnTo>
                  <a:lnTo>
                    <a:pt x="767" y="1804"/>
                  </a:lnTo>
                  <a:lnTo>
                    <a:pt x="750" y="1804"/>
                  </a:lnTo>
                  <a:lnTo>
                    <a:pt x="740" y="1804"/>
                  </a:lnTo>
                  <a:lnTo>
                    <a:pt x="735" y="1803"/>
                  </a:lnTo>
                  <a:lnTo>
                    <a:pt x="731" y="1800"/>
                  </a:lnTo>
                  <a:lnTo>
                    <a:pt x="726" y="1795"/>
                  </a:lnTo>
                  <a:lnTo>
                    <a:pt x="721" y="1788"/>
                  </a:lnTo>
                  <a:lnTo>
                    <a:pt x="721" y="1770"/>
                  </a:lnTo>
                  <a:lnTo>
                    <a:pt x="722" y="1752"/>
                  </a:lnTo>
                  <a:lnTo>
                    <a:pt x="722" y="1736"/>
                  </a:lnTo>
                  <a:lnTo>
                    <a:pt x="721" y="1720"/>
                  </a:lnTo>
                  <a:lnTo>
                    <a:pt x="720" y="1712"/>
                  </a:lnTo>
                  <a:lnTo>
                    <a:pt x="718" y="1705"/>
                  </a:lnTo>
                  <a:lnTo>
                    <a:pt x="715" y="1698"/>
                  </a:lnTo>
                  <a:lnTo>
                    <a:pt x="710" y="1692"/>
                  </a:lnTo>
                  <a:lnTo>
                    <a:pt x="705" y="1687"/>
                  </a:lnTo>
                  <a:lnTo>
                    <a:pt x="699" y="1681"/>
                  </a:lnTo>
                  <a:lnTo>
                    <a:pt x="691" y="1677"/>
                  </a:lnTo>
                  <a:lnTo>
                    <a:pt x="681" y="1673"/>
                  </a:lnTo>
                  <a:lnTo>
                    <a:pt x="666" y="1668"/>
                  </a:lnTo>
                  <a:lnTo>
                    <a:pt x="646" y="1664"/>
                  </a:lnTo>
                  <a:lnTo>
                    <a:pt x="624" y="1660"/>
                  </a:lnTo>
                  <a:lnTo>
                    <a:pt x="600" y="1659"/>
                  </a:lnTo>
                  <a:lnTo>
                    <a:pt x="588" y="1659"/>
                  </a:lnTo>
                  <a:lnTo>
                    <a:pt x="577" y="1660"/>
                  </a:lnTo>
                  <a:lnTo>
                    <a:pt x="566" y="1662"/>
                  </a:lnTo>
                  <a:lnTo>
                    <a:pt x="556" y="1664"/>
                  </a:lnTo>
                  <a:lnTo>
                    <a:pt x="547" y="1667"/>
                  </a:lnTo>
                  <a:lnTo>
                    <a:pt x="538" y="1670"/>
                  </a:lnTo>
                  <a:lnTo>
                    <a:pt x="531" y="1675"/>
                  </a:lnTo>
                  <a:lnTo>
                    <a:pt x="526" y="1680"/>
                  </a:lnTo>
                  <a:lnTo>
                    <a:pt x="520" y="1691"/>
                  </a:lnTo>
                  <a:lnTo>
                    <a:pt x="513" y="1701"/>
                  </a:lnTo>
                  <a:lnTo>
                    <a:pt x="509" y="1713"/>
                  </a:lnTo>
                  <a:lnTo>
                    <a:pt x="505" y="1725"/>
                  </a:lnTo>
                  <a:lnTo>
                    <a:pt x="498" y="1749"/>
                  </a:lnTo>
                  <a:lnTo>
                    <a:pt x="491" y="1773"/>
                  </a:lnTo>
                  <a:lnTo>
                    <a:pt x="486" y="1777"/>
                  </a:lnTo>
                  <a:lnTo>
                    <a:pt x="480" y="1781"/>
                  </a:lnTo>
                  <a:lnTo>
                    <a:pt x="473" y="1785"/>
                  </a:lnTo>
                  <a:lnTo>
                    <a:pt x="465" y="1789"/>
                  </a:lnTo>
                  <a:lnTo>
                    <a:pt x="451" y="1794"/>
                  </a:lnTo>
                  <a:lnTo>
                    <a:pt x="436" y="1798"/>
                  </a:lnTo>
                  <a:lnTo>
                    <a:pt x="427" y="1799"/>
                  </a:lnTo>
                  <a:lnTo>
                    <a:pt x="416" y="1799"/>
                  </a:lnTo>
                  <a:lnTo>
                    <a:pt x="405" y="1800"/>
                  </a:lnTo>
                  <a:lnTo>
                    <a:pt x="395" y="1800"/>
                  </a:lnTo>
                  <a:lnTo>
                    <a:pt x="375" y="1802"/>
                  </a:lnTo>
                  <a:lnTo>
                    <a:pt x="354" y="1803"/>
                  </a:lnTo>
                  <a:lnTo>
                    <a:pt x="349" y="1803"/>
                  </a:lnTo>
                  <a:lnTo>
                    <a:pt x="344" y="1802"/>
                  </a:lnTo>
                  <a:lnTo>
                    <a:pt x="339" y="1801"/>
                  </a:lnTo>
                  <a:lnTo>
                    <a:pt x="335" y="1799"/>
                  </a:lnTo>
                  <a:lnTo>
                    <a:pt x="331" y="1797"/>
                  </a:lnTo>
                  <a:lnTo>
                    <a:pt x="328" y="1794"/>
                  </a:lnTo>
                  <a:lnTo>
                    <a:pt x="324" y="1790"/>
                  </a:lnTo>
                  <a:lnTo>
                    <a:pt x="320" y="1785"/>
                  </a:lnTo>
                  <a:lnTo>
                    <a:pt x="315" y="1774"/>
                  </a:lnTo>
                  <a:lnTo>
                    <a:pt x="310" y="1764"/>
                  </a:lnTo>
                  <a:lnTo>
                    <a:pt x="305" y="1754"/>
                  </a:lnTo>
                  <a:lnTo>
                    <a:pt x="301" y="1744"/>
                  </a:lnTo>
                  <a:lnTo>
                    <a:pt x="297" y="1732"/>
                  </a:lnTo>
                  <a:lnTo>
                    <a:pt x="296" y="1722"/>
                  </a:lnTo>
                  <a:lnTo>
                    <a:pt x="295" y="1717"/>
                  </a:lnTo>
                  <a:lnTo>
                    <a:pt x="294" y="1712"/>
                  </a:lnTo>
                  <a:lnTo>
                    <a:pt x="292" y="1706"/>
                  </a:lnTo>
                  <a:lnTo>
                    <a:pt x="289" y="1701"/>
                  </a:lnTo>
                  <a:lnTo>
                    <a:pt x="289" y="1701"/>
                  </a:lnTo>
                  <a:lnTo>
                    <a:pt x="271" y="1673"/>
                  </a:lnTo>
                  <a:lnTo>
                    <a:pt x="254" y="1645"/>
                  </a:lnTo>
                  <a:lnTo>
                    <a:pt x="236" y="1617"/>
                  </a:lnTo>
                  <a:lnTo>
                    <a:pt x="217" y="1587"/>
                  </a:lnTo>
                  <a:lnTo>
                    <a:pt x="198" y="1558"/>
                  </a:lnTo>
                  <a:lnTo>
                    <a:pt x="180" y="1529"/>
                  </a:lnTo>
                  <a:lnTo>
                    <a:pt x="161" y="1499"/>
                  </a:lnTo>
                  <a:lnTo>
                    <a:pt x="143" y="1469"/>
                  </a:lnTo>
                  <a:lnTo>
                    <a:pt x="133" y="1451"/>
                  </a:lnTo>
                  <a:lnTo>
                    <a:pt x="122" y="1434"/>
                  </a:lnTo>
                  <a:lnTo>
                    <a:pt x="116" y="1427"/>
                  </a:lnTo>
                  <a:lnTo>
                    <a:pt x="110" y="1421"/>
                  </a:lnTo>
                  <a:lnTo>
                    <a:pt x="100" y="1415"/>
                  </a:lnTo>
                  <a:lnTo>
                    <a:pt x="90" y="1412"/>
                  </a:lnTo>
                  <a:lnTo>
                    <a:pt x="77" y="1408"/>
                  </a:lnTo>
                  <a:lnTo>
                    <a:pt x="68" y="1404"/>
                  </a:lnTo>
                  <a:lnTo>
                    <a:pt x="61" y="1399"/>
                  </a:lnTo>
                  <a:lnTo>
                    <a:pt x="53" y="1393"/>
                  </a:lnTo>
                  <a:lnTo>
                    <a:pt x="40" y="1381"/>
                  </a:lnTo>
                  <a:lnTo>
                    <a:pt x="24" y="1368"/>
                  </a:lnTo>
                  <a:lnTo>
                    <a:pt x="14" y="1340"/>
                  </a:lnTo>
                  <a:lnTo>
                    <a:pt x="3" y="1315"/>
                  </a:lnTo>
                  <a:lnTo>
                    <a:pt x="2" y="1309"/>
                  </a:lnTo>
                  <a:lnTo>
                    <a:pt x="1" y="1303"/>
                  </a:lnTo>
                  <a:lnTo>
                    <a:pt x="0" y="1296"/>
                  </a:lnTo>
                  <a:lnTo>
                    <a:pt x="1" y="1290"/>
                  </a:lnTo>
                  <a:lnTo>
                    <a:pt x="2" y="1283"/>
                  </a:lnTo>
                  <a:lnTo>
                    <a:pt x="4" y="1276"/>
                  </a:lnTo>
                  <a:lnTo>
                    <a:pt x="9" y="1268"/>
                  </a:lnTo>
                  <a:lnTo>
                    <a:pt x="14" y="1261"/>
                  </a:lnTo>
                  <a:lnTo>
                    <a:pt x="19" y="1255"/>
                  </a:lnTo>
                  <a:lnTo>
                    <a:pt x="25" y="1249"/>
                  </a:lnTo>
                  <a:lnTo>
                    <a:pt x="32" y="1246"/>
                  </a:lnTo>
                  <a:lnTo>
                    <a:pt x="39" y="1243"/>
                  </a:lnTo>
                  <a:lnTo>
                    <a:pt x="55" y="1239"/>
                  </a:lnTo>
                  <a:lnTo>
                    <a:pt x="70" y="1236"/>
                  </a:lnTo>
                  <a:lnTo>
                    <a:pt x="79" y="1235"/>
                  </a:lnTo>
                  <a:lnTo>
                    <a:pt x="87" y="1233"/>
                  </a:lnTo>
                  <a:lnTo>
                    <a:pt x="94" y="1230"/>
                  </a:lnTo>
                  <a:lnTo>
                    <a:pt x="101" y="1226"/>
                  </a:lnTo>
                  <a:lnTo>
                    <a:pt x="108" y="1221"/>
                  </a:lnTo>
                  <a:lnTo>
                    <a:pt x="114" y="1216"/>
                  </a:lnTo>
                  <a:lnTo>
                    <a:pt x="119" y="1210"/>
                  </a:lnTo>
                  <a:lnTo>
                    <a:pt x="123" y="1201"/>
                  </a:lnTo>
                  <a:lnTo>
                    <a:pt x="129" y="1188"/>
                  </a:lnTo>
                  <a:lnTo>
                    <a:pt x="132" y="1181"/>
                  </a:lnTo>
                  <a:lnTo>
                    <a:pt x="134" y="1173"/>
                  </a:lnTo>
                  <a:lnTo>
                    <a:pt x="136" y="1164"/>
                  </a:lnTo>
                  <a:lnTo>
                    <a:pt x="141" y="1137"/>
                  </a:lnTo>
                  <a:lnTo>
                    <a:pt x="147" y="1109"/>
                  </a:lnTo>
                  <a:lnTo>
                    <a:pt x="149" y="1094"/>
                  </a:lnTo>
                  <a:lnTo>
                    <a:pt x="152" y="1079"/>
                  </a:lnTo>
                  <a:lnTo>
                    <a:pt x="152" y="1066"/>
                  </a:lnTo>
                  <a:lnTo>
                    <a:pt x="150" y="1052"/>
                  </a:lnTo>
                  <a:lnTo>
                    <a:pt x="149" y="1045"/>
                  </a:lnTo>
                  <a:lnTo>
                    <a:pt x="147" y="1039"/>
                  </a:lnTo>
                  <a:lnTo>
                    <a:pt x="144" y="1033"/>
                  </a:lnTo>
                  <a:lnTo>
                    <a:pt x="142" y="1029"/>
                  </a:lnTo>
                  <a:lnTo>
                    <a:pt x="134" y="1021"/>
                  </a:lnTo>
                  <a:lnTo>
                    <a:pt x="123" y="1012"/>
                  </a:lnTo>
                  <a:lnTo>
                    <a:pt x="123" y="1012"/>
                  </a:lnTo>
                  <a:lnTo>
                    <a:pt x="126" y="1007"/>
                  </a:lnTo>
                  <a:lnTo>
                    <a:pt x="129" y="1001"/>
                  </a:lnTo>
                  <a:lnTo>
                    <a:pt x="130" y="994"/>
                  </a:lnTo>
                  <a:lnTo>
                    <a:pt x="130" y="987"/>
                  </a:lnTo>
                  <a:lnTo>
                    <a:pt x="131" y="978"/>
                  </a:lnTo>
                  <a:lnTo>
                    <a:pt x="131" y="970"/>
                  </a:lnTo>
                  <a:lnTo>
                    <a:pt x="133" y="961"/>
                  </a:lnTo>
                  <a:lnTo>
                    <a:pt x="135" y="955"/>
                  </a:lnTo>
                  <a:lnTo>
                    <a:pt x="143" y="941"/>
                  </a:lnTo>
                  <a:lnTo>
                    <a:pt x="153" y="927"/>
                  </a:lnTo>
                  <a:lnTo>
                    <a:pt x="163" y="915"/>
                  </a:lnTo>
                  <a:lnTo>
                    <a:pt x="173" y="904"/>
                  </a:lnTo>
                  <a:lnTo>
                    <a:pt x="184" y="896"/>
                  </a:lnTo>
                  <a:lnTo>
                    <a:pt x="194" y="887"/>
                  </a:lnTo>
                  <a:lnTo>
                    <a:pt x="206" y="879"/>
                  </a:lnTo>
                  <a:lnTo>
                    <a:pt x="218" y="873"/>
                  </a:lnTo>
                  <a:lnTo>
                    <a:pt x="242" y="859"/>
                  </a:lnTo>
                  <a:lnTo>
                    <a:pt x="267" y="846"/>
                  </a:lnTo>
                  <a:lnTo>
                    <a:pt x="280" y="838"/>
                  </a:lnTo>
                  <a:lnTo>
                    <a:pt x="292" y="831"/>
                  </a:lnTo>
                  <a:lnTo>
                    <a:pt x="305" y="822"/>
                  </a:lnTo>
                  <a:lnTo>
                    <a:pt x="317" y="811"/>
                  </a:lnTo>
                  <a:lnTo>
                    <a:pt x="331" y="800"/>
                  </a:lnTo>
                  <a:lnTo>
                    <a:pt x="339" y="790"/>
                  </a:lnTo>
                  <a:lnTo>
                    <a:pt x="341" y="786"/>
                  </a:lnTo>
                  <a:lnTo>
                    <a:pt x="342" y="782"/>
                  </a:lnTo>
                  <a:lnTo>
                    <a:pt x="343" y="779"/>
                  </a:lnTo>
                  <a:lnTo>
                    <a:pt x="343" y="775"/>
                  </a:lnTo>
                  <a:lnTo>
                    <a:pt x="339" y="757"/>
                  </a:lnTo>
                  <a:lnTo>
                    <a:pt x="332" y="731"/>
                  </a:lnTo>
                  <a:lnTo>
                    <a:pt x="330" y="713"/>
                  </a:lnTo>
                  <a:lnTo>
                    <a:pt x="329" y="685"/>
                  </a:lnTo>
                  <a:lnTo>
                    <a:pt x="330" y="671"/>
                  </a:lnTo>
                  <a:lnTo>
                    <a:pt x="331" y="660"/>
                  </a:lnTo>
                  <a:lnTo>
                    <a:pt x="333" y="655"/>
                  </a:lnTo>
                  <a:lnTo>
                    <a:pt x="335" y="652"/>
                  </a:lnTo>
                  <a:lnTo>
                    <a:pt x="337" y="650"/>
                  </a:lnTo>
                  <a:lnTo>
                    <a:pt x="340" y="649"/>
                  </a:lnTo>
                  <a:lnTo>
                    <a:pt x="351" y="660"/>
                  </a:lnTo>
                  <a:lnTo>
                    <a:pt x="363" y="670"/>
                  </a:lnTo>
                  <a:lnTo>
                    <a:pt x="377" y="682"/>
                  </a:lnTo>
                  <a:lnTo>
                    <a:pt x="389" y="693"/>
                  </a:lnTo>
                  <a:lnTo>
                    <a:pt x="400" y="703"/>
                  </a:lnTo>
                  <a:lnTo>
                    <a:pt x="409" y="709"/>
                  </a:lnTo>
                  <a:lnTo>
                    <a:pt x="417" y="712"/>
                  </a:lnTo>
                  <a:lnTo>
                    <a:pt x="427" y="714"/>
                  </a:lnTo>
                  <a:lnTo>
                    <a:pt x="447" y="713"/>
                  </a:lnTo>
                  <a:lnTo>
                    <a:pt x="472" y="712"/>
                  </a:lnTo>
                  <a:lnTo>
                    <a:pt x="488" y="706"/>
                  </a:lnTo>
                  <a:lnTo>
                    <a:pt x="502" y="698"/>
                  </a:lnTo>
                  <a:lnTo>
                    <a:pt x="514" y="689"/>
                  </a:lnTo>
                  <a:lnTo>
                    <a:pt x="527" y="681"/>
                  </a:lnTo>
                  <a:lnTo>
                    <a:pt x="533" y="678"/>
                  </a:lnTo>
                  <a:lnTo>
                    <a:pt x="539" y="675"/>
                  </a:lnTo>
                  <a:lnTo>
                    <a:pt x="547" y="671"/>
                  </a:lnTo>
                  <a:lnTo>
                    <a:pt x="554" y="669"/>
                  </a:lnTo>
                  <a:lnTo>
                    <a:pt x="561" y="668"/>
                  </a:lnTo>
                  <a:lnTo>
                    <a:pt x="570" y="668"/>
                  </a:lnTo>
                  <a:lnTo>
                    <a:pt x="579" y="669"/>
                  </a:lnTo>
                  <a:lnTo>
                    <a:pt x="588" y="671"/>
                  </a:lnTo>
                  <a:lnTo>
                    <a:pt x="606" y="676"/>
                  </a:lnTo>
                  <a:lnTo>
                    <a:pt x="620" y="677"/>
                  </a:lnTo>
                  <a:lnTo>
                    <a:pt x="626" y="677"/>
                  </a:lnTo>
                  <a:lnTo>
                    <a:pt x="631" y="676"/>
                  </a:lnTo>
                  <a:lnTo>
                    <a:pt x="636" y="675"/>
                  </a:lnTo>
                  <a:lnTo>
                    <a:pt x="641" y="673"/>
                  </a:lnTo>
                  <a:lnTo>
                    <a:pt x="650" y="667"/>
                  </a:lnTo>
                  <a:lnTo>
                    <a:pt x="659" y="659"/>
                  </a:lnTo>
                  <a:lnTo>
                    <a:pt x="671" y="650"/>
                  </a:lnTo>
                  <a:lnTo>
                    <a:pt x="684" y="636"/>
                  </a:lnTo>
                  <a:lnTo>
                    <a:pt x="709" y="615"/>
                  </a:lnTo>
                  <a:lnTo>
                    <a:pt x="737" y="591"/>
                  </a:lnTo>
                  <a:lnTo>
                    <a:pt x="744" y="585"/>
                  </a:lnTo>
                  <a:lnTo>
                    <a:pt x="750" y="578"/>
                  </a:lnTo>
                  <a:lnTo>
                    <a:pt x="755" y="571"/>
                  </a:lnTo>
                  <a:lnTo>
                    <a:pt x="760" y="564"/>
                  </a:lnTo>
                  <a:lnTo>
                    <a:pt x="764" y="557"/>
                  </a:lnTo>
                  <a:lnTo>
                    <a:pt x="767" y="548"/>
                  </a:lnTo>
                  <a:lnTo>
                    <a:pt x="769" y="541"/>
                  </a:lnTo>
                  <a:lnTo>
                    <a:pt x="769" y="533"/>
                  </a:lnTo>
                  <a:lnTo>
                    <a:pt x="769" y="525"/>
                  </a:lnTo>
                  <a:lnTo>
                    <a:pt x="767" y="518"/>
                  </a:lnTo>
                  <a:lnTo>
                    <a:pt x="764" y="512"/>
                  </a:lnTo>
                  <a:lnTo>
                    <a:pt x="760" y="506"/>
                  </a:lnTo>
                  <a:lnTo>
                    <a:pt x="751" y="492"/>
                  </a:lnTo>
                  <a:lnTo>
                    <a:pt x="742" y="480"/>
                  </a:lnTo>
                  <a:lnTo>
                    <a:pt x="731" y="467"/>
                  </a:lnTo>
                  <a:lnTo>
                    <a:pt x="722" y="452"/>
                  </a:lnTo>
                  <a:lnTo>
                    <a:pt x="719" y="445"/>
                  </a:lnTo>
                  <a:lnTo>
                    <a:pt x="716" y="438"/>
                  </a:lnTo>
                  <a:lnTo>
                    <a:pt x="713" y="429"/>
                  </a:lnTo>
                  <a:lnTo>
                    <a:pt x="713" y="421"/>
                  </a:lnTo>
                  <a:lnTo>
                    <a:pt x="715" y="420"/>
                  </a:lnTo>
                  <a:lnTo>
                    <a:pt x="715" y="419"/>
                  </a:lnTo>
                  <a:lnTo>
                    <a:pt x="722" y="418"/>
                  </a:lnTo>
                  <a:lnTo>
                    <a:pt x="729" y="418"/>
                  </a:lnTo>
                  <a:lnTo>
                    <a:pt x="736" y="419"/>
                  </a:lnTo>
                  <a:lnTo>
                    <a:pt x="743" y="419"/>
                  </a:lnTo>
                  <a:lnTo>
                    <a:pt x="756" y="422"/>
                  </a:lnTo>
                  <a:lnTo>
                    <a:pt x="770" y="424"/>
                  </a:lnTo>
                  <a:lnTo>
                    <a:pt x="776" y="425"/>
                  </a:lnTo>
                  <a:lnTo>
                    <a:pt x="783" y="425"/>
                  </a:lnTo>
                  <a:lnTo>
                    <a:pt x="791" y="425"/>
                  </a:lnTo>
                  <a:lnTo>
                    <a:pt x="798" y="424"/>
                  </a:lnTo>
                  <a:lnTo>
                    <a:pt x="805" y="422"/>
                  </a:lnTo>
                  <a:lnTo>
                    <a:pt x="813" y="420"/>
                  </a:lnTo>
                  <a:lnTo>
                    <a:pt x="821" y="416"/>
                  </a:lnTo>
                  <a:lnTo>
                    <a:pt x="830" y="411"/>
                  </a:lnTo>
                  <a:lnTo>
                    <a:pt x="837" y="406"/>
                  </a:lnTo>
                  <a:lnTo>
                    <a:pt x="843" y="401"/>
                  </a:lnTo>
                  <a:lnTo>
                    <a:pt x="848" y="395"/>
                  </a:lnTo>
                  <a:lnTo>
                    <a:pt x="853" y="389"/>
                  </a:lnTo>
                  <a:lnTo>
                    <a:pt x="863" y="376"/>
                  </a:lnTo>
                  <a:lnTo>
                    <a:pt x="873" y="364"/>
                  </a:lnTo>
                  <a:lnTo>
                    <a:pt x="878" y="358"/>
                  </a:lnTo>
                  <a:lnTo>
                    <a:pt x="883" y="352"/>
                  </a:lnTo>
                  <a:lnTo>
                    <a:pt x="890" y="348"/>
                  </a:lnTo>
                  <a:lnTo>
                    <a:pt x="896" y="343"/>
                  </a:lnTo>
                  <a:lnTo>
                    <a:pt x="904" y="340"/>
                  </a:lnTo>
                  <a:lnTo>
                    <a:pt x="912" y="337"/>
                  </a:lnTo>
                  <a:lnTo>
                    <a:pt x="921" y="336"/>
                  </a:lnTo>
                  <a:lnTo>
                    <a:pt x="931" y="334"/>
                  </a:lnTo>
                  <a:lnTo>
                    <a:pt x="937" y="337"/>
                  </a:lnTo>
                  <a:lnTo>
                    <a:pt x="942" y="338"/>
                  </a:lnTo>
                  <a:lnTo>
                    <a:pt x="947" y="338"/>
                  </a:lnTo>
                  <a:lnTo>
                    <a:pt x="952" y="338"/>
                  </a:lnTo>
                  <a:lnTo>
                    <a:pt x="963" y="334"/>
                  </a:lnTo>
                  <a:lnTo>
                    <a:pt x="972" y="330"/>
                  </a:lnTo>
                  <a:lnTo>
                    <a:pt x="981" y="325"/>
                  </a:lnTo>
                  <a:lnTo>
                    <a:pt x="992" y="321"/>
                  </a:lnTo>
                  <a:lnTo>
                    <a:pt x="996" y="320"/>
                  </a:lnTo>
                  <a:lnTo>
                    <a:pt x="1001" y="318"/>
                  </a:lnTo>
                  <a:lnTo>
                    <a:pt x="1008" y="318"/>
                  </a:lnTo>
                  <a:lnTo>
                    <a:pt x="1013" y="318"/>
                  </a:lnTo>
                  <a:lnTo>
                    <a:pt x="1020" y="319"/>
                  </a:lnTo>
                  <a:lnTo>
                    <a:pt x="1027" y="321"/>
                  </a:lnTo>
                  <a:lnTo>
                    <a:pt x="1034" y="325"/>
                  </a:lnTo>
                  <a:lnTo>
                    <a:pt x="1039" y="329"/>
                  </a:lnTo>
                  <a:lnTo>
                    <a:pt x="1048" y="340"/>
                  </a:lnTo>
                  <a:lnTo>
                    <a:pt x="1058" y="350"/>
                  </a:lnTo>
                  <a:lnTo>
                    <a:pt x="1063" y="355"/>
                  </a:lnTo>
                  <a:lnTo>
                    <a:pt x="1068" y="360"/>
                  </a:lnTo>
                  <a:lnTo>
                    <a:pt x="1073" y="363"/>
                  </a:lnTo>
                  <a:lnTo>
                    <a:pt x="1079" y="365"/>
                  </a:lnTo>
                  <a:lnTo>
                    <a:pt x="1087" y="366"/>
                  </a:lnTo>
                  <a:lnTo>
                    <a:pt x="1095" y="365"/>
                  </a:lnTo>
                  <a:lnTo>
                    <a:pt x="1104" y="362"/>
                  </a:lnTo>
                  <a:lnTo>
                    <a:pt x="1115" y="356"/>
                  </a:lnTo>
                  <a:lnTo>
                    <a:pt x="1128" y="347"/>
                  </a:lnTo>
                  <a:lnTo>
                    <a:pt x="1142" y="336"/>
                  </a:lnTo>
                  <a:lnTo>
                    <a:pt x="1157" y="322"/>
                  </a:lnTo>
                  <a:lnTo>
                    <a:pt x="1171" y="307"/>
                  </a:lnTo>
                  <a:lnTo>
                    <a:pt x="1186" y="295"/>
                  </a:lnTo>
                  <a:lnTo>
                    <a:pt x="1200" y="283"/>
                  </a:lnTo>
                  <a:lnTo>
                    <a:pt x="1209" y="279"/>
                  </a:lnTo>
                  <a:lnTo>
                    <a:pt x="1216" y="276"/>
                  </a:lnTo>
                  <a:lnTo>
                    <a:pt x="1223" y="274"/>
                  </a:lnTo>
                  <a:lnTo>
                    <a:pt x="1231" y="274"/>
                  </a:lnTo>
                  <a:lnTo>
                    <a:pt x="1233" y="277"/>
                  </a:lnTo>
                  <a:lnTo>
                    <a:pt x="1234" y="281"/>
                  </a:lnTo>
                  <a:lnTo>
                    <a:pt x="1235" y="285"/>
                  </a:lnTo>
                  <a:lnTo>
                    <a:pt x="1236" y="292"/>
                  </a:lnTo>
                  <a:lnTo>
                    <a:pt x="1235" y="305"/>
                  </a:lnTo>
                  <a:lnTo>
                    <a:pt x="1234" y="321"/>
                  </a:lnTo>
                  <a:lnTo>
                    <a:pt x="1234" y="337"/>
                  </a:lnTo>
                  <a:lnTo>
                    <a:pt x="1235" y="353"/>
                  </a:lnTo>
                  <a:lnTo>
                    <a:pt x="1236" y="361"/>
                  </a:lnTo>
                  <a:lnTo>
                    <a:pt x="1238" y="368"/>
                  </a:lnTo>
                  <a:lnTo>
                    <a:pt x="1241" y="374"/>
                  </a:lnTo>
                  <a:lnTo>
                    <a:pt x="1245" y="380"/>
                  </a:lnTo>
                  <a:lnTo>
                    <a:pt x="1249" y="386"/>
                  </a:lnTo>
                  <a:lnTo>
                    <a:pt x="1254" y="390"/>
                  </a:lnTo>
                  <a:lnTo>
                    <a:pt x="1259" y="394"/>
                  </a:lnTo>
                  <a:lnTo>
                    <a:pt x="1265" y="397"/>
                  </a:lnTo>
                  <a:lnTo>
                    <a:pt x="1271" y="399"/>
                  </a:lnTo>
                  <a:lnTo>
                    <a:pt x="1278" y="401"/>
                  </a:lnTo>
                  <a:lnTo>
                    <a:pt x="1284" y="403"/>
                  </a:lnTo>
                  <a:lnTo>
                    <a:pt x="1291" y="404"/>
                  </a:lnTo>
                  <a:lnTo>
                    <a:pt x="1297" y="404"/>
                  </a:lnTo>
                  <a:lnTo>
                    <a:pt x="1305" y="404"/>
                  </a:lnTo>
                  <a:lnTo>
                    <a:pt x="1311" y="403"/>
                  </a:lnTo>
                  <a:lnTo>
                    <a:pt x="1318" y="402"/>
                  </a:lnTo>
                  <a:lnTo>
                    <a:pt x="1324" y="400"/>
                  </a:lnTo>
                  <a:lnTo>
                    <a:pt x="1330" y="397"/>
                  </a:lnTo>
                  <a:lnTo>
                    <a:pt x="1336" y="394"/>
                  </a:lnTo>
                  <a:lnTo>
                    <a:pt x="1341" y="391"/>
                  </a:lnTo>
                  <a:lnTo>
                    <a:pt x="1344" y="388"/>
                  </a:lnTo>
                  <a:lnTo>
                    <a:pt x="1347" y="385"/>
                  </a:lnTo>
                  <a:lnTo>
                    <a:pt x="1350" y="380"/>
                  </a:lnTo>
                  <a:lnTo>
                    <a:pt x="1352" y="377"/>
                  </a:lnTo>
                  <a:lnTo>
                    <a:pt x="1354" y="369"/>
                  </a:lnTo>
                  <a:lnTo>
                    <a:pt x="1355" y="360"/>
                  </a:lnTo>
                  <a:lnTo>
                    <a:pt x="1355" y="341"/>
                  </a:lnTo>
                  <a:lnTo>
                    <a:pt x="1354" y="322"/>
                  </a:lnTo>
                  <a:lnTo>
                    <a:pt x="1354" y="313"/>
                  </a:lnTo>
                  <a:lnTo>
                    <a:pt x="1354" y="304"/>
                  </a:lnTo>
                  <a:lnTo>
                    <a:pt x="1355" y="297"/>
                  </a:lnTo>
                  <a:lnTo>
                    <a:pt x="1358" y="291"/>
                  </a:lnTo>
                  <a:lnTo>
                    <a:pt x="1359" y="289"/>
                  </a:lnTo>
                  <a:lnTo>
                    <a:pt x="1361" y="286"/>
                  </a:lnTo>
                  <a:lnTo>
                    <a:pt x="1364" y="284"/>
                  </a:lnTo>
                  <a:lnTo>
                    <a:pt x="1367" y="282"/>
                  </a:lnTo>
                  <a:lnTo>
                    <a:pt x="1370" y="282"/>
                  </a:lnTo>
                  <a:lnTo>
                    <a:pt x="1376" y="281"/>
                  </a:lnTo>
                  <a:lnTo>
                    <a:pt x="1380" y="281"/>
                  </a:lnTo>
                  <a:lnTo>
                    <a:pt x="1385" y="282"/>
                  </a:lnTo>
                  <a:lnTo>
                    <a:pt x="1397" y="283"/>
                  </a:lnTo>
                  <a:lnTo>
                    <a:pt x="1413" y="283"/>
                  </a:lnTo>
                  <a:lnTo>
                    <a:pt x="1432" y="282"/>
                  </a:lnTo>
                  <a:lnTo>
                    <a:pt x="1454" y="281"/>
                  </a:lnTo>
                  <a:lnTo>
                    <a:pt x="1503" y="275"/>
                  </a:lnTo>
                  <a:lnTo>
                    <a:pt x="1557" y="268"/>
                  </a:lnTo>
                  <a:lnTo>
                    <a:pt x="1609" y="258"/>
                  </a:lnTo>
                  <a:lnTo>
                    <a:pt x="1656" y="248"/>
                  </a:lnTo>
                  <a:lnTo>
                    <a:pt x="1675" y="243"/>
                  </a:lnTo>
                  <a:lnTo>
                    <a:pt x="1691" y="237"/>
                  </a:lnTo>
                  <a:lnTo>
                    <a:pt x="1704" y="232"/>
                  </a:lnTo>
                  <a:lnTo>
                    <a:pt x="1711" y="228"/>
                  </a:lnTo>
                  <a:lnTo>
                    <a:pt x="1729" y="208"/>
                  </a:lnTo>
                  <a:lnTo>
                    <a:pt x="1744" y="192"/>
                  </a:lnTo>
                  <a:lnTo>
                    <a:pt x="1748" y="189"/>
                  </a:lnTo>
                  <a:lnTo>
                    <a:pt x="1751" y="186"/>
                  </a:lnTo>
                  <a:lnTo>
                    <a:pt x="1756" y="184"/>
                  </a:lnTo>
                  <a:lnTo>
                    <a:pt x="1761" y="182"/>
                  </a:lnTo>
                  <a:lnTo>
                    <a:pt x="1768" y="182"/>
                  </a:lnTo>
                  <a:lnTo>
                    <a:pt x="1774" y="181"/>
                  </a:lnTo>
                  <a:lnTo>
                    <a:pt x="1781" y="182"/>
                  </a:lnTo>
                  <a:lnTo>
                    <a:pt x="1791" y="183"/>
                  </a:lnTo>
                  <a:lnTo>
                    <a:pt x="1812" y="185"/>
                  </a:lnTo>
                  <a:lnTo>
                    <a:pt x="1834" y="186"/>
                  </a:lnTo>
                  <a:lnTo>
                    <a:pt x="1855" y="185"/>
                  </a:lnTo>
                  <a:lnTo>
                    <a:pt x="1877" y="185"/>
                  </a:lnTo>
                  <a:lnTo>
                    <a:pt x="1883" y="182"/>
                  </a:lnTo>
                  <a:lnTo>
                    <a:pt x="1890" y="180"/>
                  </a:lnTo>
                  <a:lnTo>
                    <a:pt x="1890" y="180"/>
                  </a:lnTo>
                  <a:lnTo>
                    <a:pt x="1904" y="181"/>
                  </a:lnTo>
                  <a:lnTo>
                    <a:pt x="1927" y="181"/>
                  </a:lnTo>
                  <a:lnTo>
                    <a:pt x="1955" y="182"/>
                  </a:lnTo>
                  <a:lnTo>
                    <a:pt x="1984" y="182"/>
                  </a:lnTo>
                  <a:lnTo>
                    <a:pt x="2014" y="181"/>
                  </a:lnTo>
                  <a:lnTo>
                    <a:pt x="2039" y="179"/>
                  </a:lnTo>
                  <a:lnTo>
                    <a:pt x="2050" y="177"/>
                  </a:lnTo>
                  <a:lnTo>
                    <a:pt x="2059" y="174"/>
                  </a:lnTo>
                  <a:lnTo>
                    <a:pt x="2065" y="171"/>
                  </a:lnTo>
                  <a:lnTo>
                    <a:pt x="2069" y="167"/>
                  </a:lnTo>
                  <a:lnTo>
                    <a:pt x="2076" y="162"/>
                  </a:lnTo>
                  <a:lnTo>
                    <a:pt x="2081" y="158"/>
                  </a:lnTo>
                  <a:lnTo>
                    <a:pt x="2087" y="153"/>
                  </a:lnTo>
                  <a:lnTo>
                    <a:pt x="2090" y="148"/>
                  </a:lnTo>
                  <a:lnTo>
                    <a:pt x="2092" y="143"/>
                  </a:lnTo>
                  <a:lnTo>
                    <a:pt x="2094" y="136"/>
                  </a:lnTo>
                  <a:lnTo>
                    <a:pt x="2095" y="130"/>
                  </a:lnTo>
                  <a:lnTo>
                    <a:pt x="2096" y="123"/>
                  </a:lnTo>
                  <a:lnTo>
                    <a:pt x="2097" y="110"/>
                  </a:lnTo>
                  <a:lnTo>
                    <a:pt x="2098" y="98"/>
                  </a:lnTo>
                  <a:lnTo>
                    <a:pt x="2099" y="91"/>
                  </a:lnTo>
                  <a:lnTo>
                    <a:pt x="2100" y="85"/>
                  </a:lnTo>
                  <a:lnTo>
                    <a:pt x="2102" y="80"/>
                  </a:lnTo>
                  <a:lnTo>
                    <a:pt x="2105" y="76"/>
                  </a:lnTo>
                  <a:lnTo>
                    <a:pt x="2114" y="74"/>
                  </a:lnTo>
                  <a:lnTo>
                    <a:pt x="2122" y="73"/>
                  </a:lnTo>
                  <a:lnTo>
                    <a:pt x="2130" y="72"/>
                  </a:lnTo>
                  <a:lnTo>
                    <a:pt x="2139" y="72"/>
                  </a:lnTo>
                  <a:lnTo>
                    <a:pt x="2148" y="73"/>
                  </a:lnTo>
                  <a:lnTo>
                    <a:pt x="2157" y="72"/>
                  </a:lnTo>
                  <a:lnTo>
                    <a:pt x="2166" y="71"/>
                  </a:lnTo>
                  <a:lnTo>
                    <a:pt x="2174" y="68"/>
                  </a:lnTo>
                  <a:lnTo>
                    <a:pt x="2179" y="66"/>
                  </a:lnTo>
                  <a:lnTo>
                    <a:pt x="2184" y="63"/>
                  </a:lnTo>
                  <a:lnTo>
                    <a:pt x="2188" y="60"/>
                  </a:lnTo>
                  <a:lnTo>
                    <a:pt x="2192" y="56"/>
                  </a:lnTo>
                  <a:lnTo>
                    <a:pt x="2199" y="48"/>
                  </a:lnTo>
                  <a:lnTo>
                    <a:pt x="2207" y="38"/>
                  </a:lnTo>
                  <a:lnTo>
                    <a:pt x="2219" y="17"/>
                  </a:lnTo>
                  <a:lnTo>
                    <a:pt x="2233" y="0"/>
                  </a:lnTo>
                  <a:lnTo>
                    <a:pt x="2233" y="0"/>
                  </a:lnTo>
                  <a:lnTo>
                    <a:pt x="2250" y="3"/>
                  </a:lnTo>
                  <a:lnTo>
                    <a:pt x="2268" y="6"/>
                  </a:lnTo>
                  <a:lnTo>
                    <a:pt x="2285" y="10"/>
                  </a:lnTo>
                  <a:lnTo>
                    <a:pt x="2302" y="14"/>
                  </a:lnTo>
                  <a:lnTo>
                    <a:pt x="2319" y="20"/>
                  </a:lnTo>
                  <a:lnTo>
                    <a:pt x="2335" y="27"/>
                  </a:lnTo>
                  <a:lnTo>
                    <a:pt x="2350" y="36"/>
                  </a:lnTo>
                  <a:lnTo>
                    <a:pt x="2366" y="46"/>
                  </a:lnTo>
                  <a:lnTo>
                    <a:pt x="2372" y="52"/>
                  </a:lnTo>
                  <a:lnTo>
                    <a:pt x="2379" y="58"/>
                  </a:lnTo>
                  <a:lnTo>
                    <a:pt x="2383" y="63"/>
                  </a:lnTo>
                  <a:lnTo>
                    <a:pt x="2387" y="70"/>
                  </a:lnTo>
                  <a:lnTo>
                    <a:pt x="2390" y="76"/>
                  </a:lnTo>
                  <a:lnTo>
                    <a:pt x="2392" y="82"/>
                  </a:lnTo>
                  <a:lnTo>
                    <a:pt x="2393" y="88"/>
                  </a:lnTo>
                  <a:lnTo>
                    <a:pt x="2394" y="95"/>
                  </a:lnTo>
                  <a:lnTo>
                    <a:pt x="2395" y="122"/>
                  </a:lnTo>
                  <a:lnTo>
                    <a:pt x="2398" y="152"/>
                  </a:lnTo>
                  <a:lnTo>
                    <a:pt x="2407" y="159"/>
                  </a:lnTo>
                  <a:lnTo>
                    <a:pt x="2415" y="167"/>
                  </a:lnTo>
                  <a:lnTo>
                    <a:pt x="2422" y="172"/>
                  </a:lnTo>
                  <a:lnTo>
                    <a:pt x="2431" y="176"/>
                  </a:lnTo>
                  <a:lnTo>
                    <a:pt x="2439" y="178"/>
                  </a:lnTo>
                  <a:lnTo>
                    <a:pt x="2447" y="181"/>
                  </a:lnTo>
                  <a:lnTo>
                    <a:pt x="2459" y="182"/>
                  </a:lnTo>
                  <a:lnTo>
                    <a:pt x="2470" y="184"/>
                  </a:lnTo>
                  <a:lnTo>
                    <a:pt x="2480" y="185"/>
                  </a:lnTo>
                  <a:lnTo>
                    <a:pt x="2487" y="188"/>
                  </a:lnTo>
                  <a:lnTo>
                    <a:pt x="2493" y="194"/>
                  </a:lnTo>
                  <a:lnTo>
                    <a:pt x="2499" y="199"/>
                  </a:lnTo>
                  <a:lnTo>
                    <a:pt x="2507" y="211"/>
                  </a:lnTo>
                  <a:lnTo>
                    <a:pt x="2515" y="225"/>
                  </a:lnTo>
                  <a:lnTo>
                    <a:pt x="2512" y="264"/>
                  </a:lnTo>
                  <a:lnTo>
                    <a:pt x="2509" y="303"/>
                  </a:lnTo>
                  <a:lnTo>
                    <a:pt x="2509" y="313"/>
                  </a:lnTo>
                  <a:lnTo>
                    <a:pt x="2509" y="322"/>
                  </a:lnTo>
                  <a:lnTo>
                    <a:pt x="2509" y="331"/>
                  </a:lnTo>
                  <a:lnTo>
                    <a:pt x="2511" y="341"/>
                  </a:lnTo>
                  <a:lnTo>
                    <a:pt x="2513" y="349"/>
                  </a:lnTo>
                  <a:lnTo>
                    <a:pt x="2516" y="357"/>
                  </a:lnTo>
                  <a:lnTo>
                    <a:pt x="2520" y="366"/>
                  </a:lnTo>
                  <a:lnTo>
                    <a:pt x="2526" y="374"/>
                  </a:lnTo>
                  <a:lnTo>
                    <a:pt x="2531" y="379"/>
                  </a:lnTo>
                  <a:lnTo>
                    <a:pt x="2535" y="384"/>
                  </a:lnTo>
                  <a:lnTo>
                    <a:pt x="2541" y="388"/>
                  </a:lnTo>
                  <a:lnTo>
                    <a:pt x="2548" y="391"/>
                  </a:lnTo>
                  <a:lnTo>
                    <a:pt x="2560" y="396"/>
                  </a:lnTo>
                  <a:lnTo>
                    <a:pt x="2575" y="399"/>
                  </a:lnTo>
                  <a:lnTo>
                    <a:pt x="2604" y="403"/>
                  </a:lnTo>
                  <a:lnTo>
                    <a:pt x="2631" y="409"/>
                  </a:lnTo>
                  <a:lnTo>
                    <a:pt x="2641" y="413"/>
                  </a:lnTo>
                  <a:lnTo>
                    <a:pt x="2652" y="420"/>
                  </a:lnTo>
                  <a:lnTo>
                    <a:pt x="2662" y="428"/>
                  </a:lnTo>
                  <a:lnTo>
                    <a:pt x="2673" y="438"/>
                  </a:lnTo>
                  <a:lnTo>
                    <a:pt x="2683" y="449"/>
                  </a:lnTo>
                  <a:lnTo>
                    <a:pt x="2692" y="461"/>
                  </a:lnTo>
                  <a:lnTo>
                    <a:pt x="2702" y="474"/>
                  </a:lnTo>
                  <a:lnTo>
                    <a:pt x="2711" y="488"/>
                  </a:lnTo>
                  <a:lnTo>
                    <a:pt x="2729" y="516"/>
                  </a:lnTo>
                  <a:lnTo>
                    <a:pt x="2746" y="543"/>
                  </a:lnTo>
                  <a:lnTo>
                    <a:pt x="2761" y="568"/>
                  </a:lnTo>
                  <a:lnTo>
                    <a:pt x="2776" y="588"/>
                  </a:lnTo>
                  <a:lnTo>
                    <a:pt x="2776" y="616"/>
                  </a:lnTo>
                  <a:lnTo>
                    <a:pt x="2777" y="645"/>
                  </a:lnTo>
                  <a:lnTo>
                    <a:pt x="2778" y="653"/>
                  </a:lnTo>
                  <a:lnTo>
                    <a:pt x="2780" y="660"/>
                  </a:lnTo>
                  <a:lnTo>
                    <a:pt x="2782" y="666"/>
                  </a:lnTo>
                  <a:lnTo>
                    <a:pt x="2784" y="673"/>
                  </a:lnTo>
                  <a:lnTo>
                    <a:pt x="2788" y="679"/>
                  </a:lnTo>
                  <a:lnTo>
                    <a:pt x="2793" y="684"/>
                  </a:lnTo>
                  <a:lnTo>
                    <a:pt x="2798" y="689"/>
                  </a:lnTo>
                  <a:lnTo>
                    <a:pt x="2804" y="693"/>
                  </a:lnTo>
                  <a:lnTo>
                    <a:pt x="2809" y="696"/>
                  </a:lnTo>
                  <a:lnTo>
                    <a:pt x="2815" y="699"/>
                  </a:lnTo>
                  <a:lnTo>
                    <a:pt x="2822" y="701"/>
                  </a:lnTo>
                  <a:lnTo>
                    <a:pt x="2828" y="702"/>
                  </a:lnTo>
                  <a:lnTo>
                    <a:pt x="2842" y="704"/>
                  </a:lnTo>
                  <a:lnTo>
                    <a:pt x="2855" y="704"/>
                  </a:lnTo>
                  <a:lnTo>
                    <a:pt x="2883" y="703"/>
                  </a:lnTo>
                  <a:lnTo>
                    <a:pt x="2910" y="701"/>
                  </a:lnTo>
                  <a:lnTo>
                    <a:pt x="2917" y="707"/>
                  </a:lnTo>
                  <a:lnTo>
                    <a:pt x="2921" y="714"/>
                  </a:lnTo>
                  <a:lnTo>
                    <a:pt x="2924" y="722"/>
                  </a:lnTo>
                  <a:lnTo>
                    <a:pt x="2927" y="730"/>
                  </a:lnTo>
                  <a:lnTo>
                    <a:pt x="2929" y="748"/>
                  </a:lnTo>
                  <a:lnTo>
                    <a:pt x="2930" y="765"/>
                  </a:lnTo>
                  <a:lnTo>
                    <a:pt x="2933" y="772"/>
                  </a:lnTo>
                  <a:lnTo>
                    <a:pt x="2936" y="777"/>
                  </a:lnTo>
                  <a:lnTo>
                    <a:pt x="2957" y="783"/>
                  </a:lnTo>
                  <a:lnTo>
                    <a:pt x="2957" y="78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09" name="Freeform 146">
              <a:extLst>
                <a:ext uri="{FF2B5EF4-FFF2-40B4-BE49-F238E27FC236}">
                  <a16:creationId xmlns:a16="http://schemas.microsoft.com/office/drawing/2014/main" id="{4A1BC507-A320-478B-A998-DC059163A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1321" y="5106957"/>
              <a:ext cx="749128" cy="566826"/>
            </a:xfrm>
            <a:custGeom>
              <a:avLst/>
              <a:gdLst>
                <a:gd name="T0" fmla="*/ 2931 w 2980"/>
                <a:gd name="T1" fmla="*/ 911 h 2333"/>
                <a:gd name="T2" fmla="*/ 2842 w 2980"/>
                <a:gd name="T3" fmla="*/ 878 h 2333"/>
                <a:gd name="T4" fmla="*/ 2749 w 2980"/>
                <a:gd name="T5" fmla="*/ 932 h 2333"/>
                <a:gd name="T6" fmla="*/ 2665 w 2980"/>
                <a:gd name="T7" fmla="*/ 965 h 2333"/>
                <a:gd name="T8" fmla="*/ 2545 w 2980"/>
                <a:gd name="T9" fmla="*/ 994 h 2333"/>
                <a:gd name="T10" fmla="*/ 2469 w 2980"/>
                <a:gd name="T11" fmla="*/ 1099 h 2333"/>
                <a:gd name="T12" fmla="*/ 2383 w 2980"/>
                <a:gd name="T13" fmla="*/ 1190 h 2333"/>
                <a:gd name="T14" fmla="*/ 2271 w 2980"/>
                <a:gd name="T15" fmla="*/ 1197 h 2333"/>
                <a:gd name="T16" fmla="*/ 2199 w 2980"/>
                <a:gd name="T17" fmla="*/ 1244 h 2333"/>
                <a:gd name="T18" fmla="*/ 2220 w 2980"/>
                <a:gd name="T19" fmla="*/ 1383 h 2333"/>
                <a:gd name="T20" fmla="*/ 2234 w 2980"/>
                <a:gd name="T21" fmla="*/ 1498 h 2333"/>
                <a:gd name="T22" fmla="*/ 2097 w 2980"/>
                <a:gd name="T23" fmla="*/ 1498 h 2333"/>
                <a:gd name="T24" fmla="*/ 1866 w 2980"/>
                <a:gd name="T25" fmla="*/ 1505 h 2333"/>
                <a:gd name="T26" fmla="*/ 1788 w 2980"/>
                <a:gd name="T27" fmla="*/ 1509 h 2333"/>
                <a:gd name="T28" fmla="*/ 1662 w 2980"/>
                <a:gd name="T29" fmla="*/ 1574 h 2333"/>
                <a:gd name="T30" fmla="*/ 1508 w 2980"/>
                <a:gd name="T31" fmla="*/ 1789 h 2333"/>
                <a:gd name="T32" fmla="*/ 1509 w 2980"/>
                <a:gd name="T33" fmla="*/ 2013 h 2333"/>
                <a:gd name="T34" fmla="*/ 1483 w 2980"/>
                <a:gd name="T35" fmla="*/ 2073 h 2333"/>
                <a:gd name="T36" fmla="*/ 1306 w 2980"/>
                <a:gd name="T37" fmla="*/ 2048 h 2333"/>
                <a:gd name="T38" fmla="*/ 1200 w 2980"/>
                <a:gd name="T39" fmla="*/ 2173 h 2333"/>
                <a:gd name="T40" fmla="*/ 1112 w 2980"/>
                <a:gd name="T41" fmla="*/ 2318 h 2333"/>
                <a:gd name="T42" fmla="*/ 1054 w 2980"/>
                <a:gd name="T43" fmla="*/ 2262 h 2333"/>
                <a:gd name="T44" fmla="*/ 1013 w 2980"/>
                <a:gd name="T45" fmla="*/ 2050 h 2333"/>
                <a:gd name="T46" fmla="*/ 980 w 2980"/>
                <a:gd name="T47" fmla="*/ 1928 h 2333"/>
                <a:gd name="T48" fmla="*/ 828 w 2980"/>
                <a:gd name="T49" fmla="*/ 1836 h 2333"/>
                <a:gd name="T50" fmla="*/ 735 w 2980"/>
                <a:gd name="T51" fmla="*/ 1803 h 2333"/>
                <a:gd name="T52" fmla="*/ 691 w 2980"/>
                <a:gd name="T53" fmla="*/ 1677 h 2333"/>
                <a:gd name="T54" fmla="*/ 520 w 2980"/>
                <a:gd name="T55" fmla="*/ 1691 h 2333"/>
                <a:gd name="T56" fmla="*/ 405 w 2980"/>
                <a:gd name="T57" fmla="*/ 1800 h 2333"/>
                <a:gd name="T58" fmla="*/ 305 w 2980"/>
                <a:gd name="T59" fmla="*/ 1754 h 2333"/>
                <a:gd name="T60" fmla="*/ 180 w 2980"/>
                <a:gd name="T61" fmla="*/ 1529 h 2333"/>
                <a:gd name="T62" fmla="*/ 24 w 2980"/>
                <a:gd name="T63" fmla="*/ 1368 h 2333"/>
                <a:gd name="T64" fmla="*/ 39 w 2980"/>
                <a:gd name="T65" fmla="*/ 1243 h 2333"/>
                <a:gd name="T66" fmla="*/ 136 w 2980"/>
                <a:gd name="T67" fmla="*/ 1164 h 2333"/>
                <a:gd name="T68" fmla="*/ 126 w 2980"/>
                <a:gd name="T69" fmla="*/ 1007 h 2333"/>
                <a:gd name="T70" fmla="*/ 206 w 2980"/>
                <a:gd name="T71" fmla="*/ 879 h 2333"/>
                <a:gd name="T72" fmla="*/ 339 w 2980"/>
                <a:gd name="T73" fmla="*/ 757 h 2333"/>
                <a:gd name="T74" fmla="*/ 400 w 2980"/>
                <a:gd name="T75" fmla="*/ 703 h 2333"/>
                <a:gd name="T76" fmla="*/ 561 w 2980"/>
                <a:gd name="T77" fmla="*/ 668 h 2333"/>
                <a:gd name="T78" fmla="*/ 709 w 2980"/>
                <a:gd name="T79" fmla="*/ 615 h 2333"/>
                <a:gd name="T80" fmla="*/ 751 w 2980"/>
                <a:gd name="T81" fmla="*/ 492 h 2333"/>
                <a:gd name="T82" fmla="*/ 756 w 2980"/>
                <a:gd name="T83" fmla="*/ 422 h 2333"/>
                <a:gd name="T84" fmla="*/ 863 w 2980"/>
                <a:gd name="T85" fmla="*/ 376 h 2333"/>
                <a:gd name="T86" fmla="*/ 963 w 2980"/>
                <a:gd name="T87" fmla="*/ 334 h 2333"/>
                <a:gd name="T88" fmla="*/ 1063 w 2980"/>
                <a:gd name="T89" fmla="*/ 355 h 2333"/>
                <a:gd name="T90" fmla="*/ 1209 w 2980"/>
                <a:gd name="T91" fmla="*/ 279 h 2333"/>
                <a:gd name="T92" fmla="*/ 1241 w 2980"/>
                <a:gd name="T93" fmla="*/ 374 h 2333"/>
                <a:gd name="T94" fmla="*/ 1324 w 2980"/>
                <a:gd name="T95" fmla="*/ 400 h 2333"/>
                <a:gd name="T96" fmla="*/ 1355 w 2980"/>
                <a:gd name="T97" fmla="*/ 297 h 2333"/>
                <a:gd name="T98" fmla="*/ 1503 w 2980"/>
                <a:gd name="T99" fmla="*/ 275 h 2333"/>
                <a:gd name="T100" fmla="*/ 1768 w 2980"/>
                <a:gd name="T101" fmla="*/ 182 h 2333"/>
                <a:gd name="T102" fmla="*/ 1984 w 2980"/>
                <a:gd name="T103" fmla="*/ 182 h 2333"/>
                <a:gd name="T104" fmla="*/ 2096 w 2980"/>
                <a:gd name="T105" fmla="*/ 123 h 2333"/>
                <a:gd name="T106" fmla="*/ 2174 w 2980"/>
                <a:gd name="T107" fmla="*/ 68 h 2333"/>
                <a:gd name="T108" fmla="*/ 2319 w 2980"/>
                <a:gd name="T109" fmla="*/ 20 h 2333"/>
                <a:gd name="T110" fmla="*/ 2407 w 2980"/>
                <a:gd name="T111" fmla="*/ 159 h 2333"/>
                <a:gd name="T112" fmla="*/ 2512 w 2980"/>
                <a:gd name="T113" fmla="*/ 264 h 2333"/>
                <a:gd name="T114" fmla="*/ 2560 w 2980"/>
                <a:gd name="T115" fmla="*/ 396 h 2333"/>
                <a:gd name="T116" fmla="*/ 2761 w 2980"/>
                <a:gd name="T117" fmla="*/ 568 h 2333"/>
                <a:gd name="T118" fmla="*/ 2822 w 2980"/>
                <a:gd name="T119" fmla="*/ 701 h 2333"/>
                <a:gd name="T120" fmla="*/ 2957 w 2980"/>
                <a:gd name="T121" fmla="*/ 783 h 2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0" h="2333">
                  <a:moveTo>
                    <a:pt x="2957" y="783"/>
                  </a:moveTo>
                  <a:lnTo>
                    <a:pt x="2980" y="846"/>
                  </a:lnTo>
                  <a:lnTo>
                    <a:pt x="2980" y="846"/>
                  </a:lnTo>
                  <a:lnTo>
                    <a:pt x="2975" y="856"/>
                  </a:lnTo>
                  <a:lnTo>
                    <a:pt x="2969" y="868"/>
                  </a:lnTo>
                  <a:lnTo>
                    <a:pt x="2966" y="874"/>
                  </a:lnTo>
                  <a:lnTo>
                    <a:pt x="2964" y="880"/>
                  </a:lnTo>
                  <a:lnTo>
                    <a:pt x="2962" y="885"/>
                  </a:lnTo>
                  <a:lnTo>
                    <a:pt x="2961" y="891"/>
                  </a:lnTo>
                  <a:lnTo>
                    <a:pt x="2956" y="897"/>
                  </a:lnTo>
                  <a:lnTo>
                    <a:pt x="2951" y="902"/>
                  </a:lnTo>
                  <a:lnTo>
                    <a:pt x="2947" y="907"/>
                  </a:lnTo>
                  <a:lnTo>
                    <a:pt x="2940" y="912"/>
                  </a:lnTo>
                  <a:lnTo>
                    <a:pt x="2931" y="911"/>
                  </a:lnTo>
                  <a:lnTo>
                    <a:pt x="2924" y="908"/>
                  </a:lnTo>
                  <a:lnTo>
                    <a:pt x="2917" y="904"/>
                  </a:lnTo>
                  <a:lnTo>
                    <a:pt x="2909" y="899"/>
                  </a:lnTo>
                  <a:lnTo>
                    <a:pt x="2897" y="887"/>
                  </a:lnTo>
                  <a:lnTo>
                    <a:pt x="2885" y="876"/>
                  </a:lnTo>
                  <a:lnTo>
                    <a:pt x="2880" y="871"/>
                  </a:lnTo>
                  <a:lnTo>
                    <a:pt x="2874" y="868"/>
                  </a:lnTo>
                  <a:lnTo>
                    <a:pt x="2869" y="866"/>
                  </a:lnTo>
                  <a:lnTo>
                    <a:pt x="2862" y="864"/>
                  </a:lnTo>
                  <a:lnTo>
                    <a:pt x="2859" y="866"/>
                  </a:lnTo>
                  <a:lnTo>
                    <a:pt x="2856" y="867"/>
                  </a:lnTo>
                  <a:lnTo>
                    <a:pt x="2852" y="869"/>
                  </a:lnTo>
                  <a:lnTo>
                    <a:pt x="2849" y="871"/>
                  </a:lnTo>
                  <a:lnTo>
                    <a:pt x="2842" y="878"/>
                  </a:lnTo>
                  <a:lnTo>
                    <a:pt x="2833" y="888"/>
                  </a:lnTo>
                  <a:lnTo>
                    <a:pt x="2827" y="898"/>
                  </a:lnTo>
                  <a:lnTo>
                    <a:pt x="2820" y="910"/>
                  </a:lnTo>
                  <a:lnTo>
                    <a:pt x="2811" y="922"/>
                  </a:lnTo>
                  <a:lnTo>
                    <a:pt x="2802" y="933"/>
                  </a:lnTo>
                  <a:lnTo>
                    <a:pt x="2797" y="939"/>
                  </a:lnTo>
                  <a:lnTo>
                    <a:pt x="2791" y="942"/>
                  </a:lnTo>
                  <a:lnTo>
                    <a:pt x="2786" y="945"/>
                  </a:lnTo>
                  <a:lnTo>
                    <a:pt x="2781" y="947"/>
                  </a:lnTo>
                  <a:lnTo>
                    <a:pt x="2775" y="947"/>
                  </a:lnTo>
                  <a:lnTo>
                    <a:pt x="2769" y="946"/>
                  </a:lnTo>
                  <a:lnTo>
                    <a:pt x="2763" y="944"/>
                  </a:lnTo>
                  <a:lnTo>
                    <a:pt x="2757" y="939"/>
                  </a:lnTo>
                  <a:lnTo>
                    <a:pt x="2749" y="932"/>
                  </a:lnTo>
                  <a:lnTo>
                    <a:pt x="2739" y="927"/>
                  </a:lnTo>
                  <a:lnTo>
                    <a:pt x="2730" y="923"/>
                  </a:lnTo>
                  <a:lnTo>
                    <a:pt x="2721" y="920"/>
                  </a:lnTo>
                  <a:lnTo>
                    <a:pt x="2710" y="918"/>
                  </a:lnTo>
                  <a:lnTo>
                    <a:pt x="2700" y="919"/>
                  </a:lnTo>
                  <a:lnTo>
                    <a:pt x="2696" y="920"/>
                  </a:lnTo>
                  <a:lnTo>
                    <a:pt x="2690" y="921"/>
                  </a:lnTo>
                  <a:lnTo>
                    <a:pt x="2686" y="924"/>
                  </a:lnTo>
                  <a:lnTo>
                    <a:pt x="2682" y="927"/>
                  </a:lnTo>
                  <a:lnTo>
                    <a:pt x="2677" y="931"/>
                  </a:lnTo>
                  <a:lnTo>
                    <a:pt x="2674" y="937"/>
                  </a:lnTo>
                  <a:lnTo>
                    <a:pt x="2671" y="944"/>
                  </a:lnTo>
                  <a:lnTo>
                    <a:pt x="2668" y="950"/>
                  </a:lnTo>
                  <a:lnTo>
                    <a:pt x="2665" y="965"/>
                  </a:lnTo>
                  <a:lnTo>
                    <a:pt x="2662" y="978"/>
                  </a:lnTo>
                  <a:lnTo>
                    <a:pt x="2660" y="984"/>
                  </a:lnTo>
                  <a:lnTo>
                    <a:pt x="2658" y="991"/>
                  </a:lnTo>
                  <a:lnTo>
                    <a:pt x="2655" y="996"/>
                  </a:lnTo>
                  <a:lnTo>
                    <a:pt x="2650" y="1000"/>
                  </a:lnTo>
                  <a:lnTo>
                    <a:pt x="2644" y="1002"/>
                  </a:lnTo>
                  <a:lnTo>
                    <a:pt x="2637" y="1004"/>
                  </a:lnTo>
                  <a:lnTo>
                    <a:pt x="2628" y="1004"/>
                  </a:lnTo>
                  <a:lnTo>
                    <a:pt x="2616" y="1003"/>
                  </a:lnTo>
                  <a:lnTo>
                    <a:pt x="2603" y="1001"/>
                  </a:lnTo>
                  <a:lnTo>
                    <a:pt x="2587" y="998"/>
                  </a:lnTo>
                  <a:lnTo>
                    <a:pt x="2570" y="996"/>
                  </a:lnTo>
                  <a:lnTo>
                    <a:pt x="2554" y="994"/>
                  </a:lnTo>
                  <a:lnTo>
                    <a:pt x="2545" y="994"/>
                  </a:lnTo>
                  <a:lnTo>
                    <a:pt x="2537" y="995"/>
                  </a:lnTo>
                  <a:lnTo>
                    <a:pt x="2530" y="996"/>
                  </a:lnTo>
                  <a:lnTo>
                    <a:pt x="2522" y="998"/>
                  </a:lnTo>
                  <a:lnTo>
                    <a:pt x="2515" y="1000"/>
                  </a:lnTo>
                  <a:lnTo>
                    <a:pt x="2509" y="1003"/>
                  </a:lnTo>
                  <a:lnTo>
                    <a:pt x="2504" y="1008"/>
                  </a:lnTo>
                  <a:lnTo>
                    <a:pt x="2499" y="1014"/>
                  </a:lnTo>
                  <a:lnTo>
                    <a:pt x="2493" y="1020"/>
                  </a:lnTo>
                  <a:lnTo>
                    <a:pt x="2489" y="1026"/>
                  </a:lnTo>
                  <a:lnTo>
                    <a:pt x="2485" y="1033"/>
                  </a:lnTo>
                  <a:lnTo>
                    <a:pt x="2482" y="1040"/>
                  </a:lnTo>
                  <a:lnTo>
                    <a:pt x="2477" y="1054"/>
                  </a:lnTo>
                  <a:lnTo>
                    <a:pt x="2473" y="1069"/>
                  </a:lnTo>
                  <a:lnTo>
                    <a:pt x="2469" y="1099"/>
                  </a:lnTo>
                  <a:lnTo>
                    <a:pt x="2464" y="1128"/>
                  </a:lnTo>
                  <a:lnTo>
                    <a:pt x="2461" y="1142"/>
                  </a:lnTo>
                  <a:lnTo>
                    <a:pt x="2457" y="1153"/>
                  </a:lnTo>
                  <a:lnTo>
                    <a:pt x="2454" y="1160"/>
                  </a:lnTo>
                  <a:lnTo>
                    <a:pt x="2450" y="1165"/>
                  </a:lnTo>
                  <a:lnTo>
                    <a:pt x="2445" y="1169"/>
                  </a:lnTo>
                  <a:lnTo>
                    <a:pt x="2440" y="1174"/>
                  </a:lnTo>
                  <a:lnTo>
                    <a:pt x="2435" y="1177"/>
                  </a:lnTo>
                  <a:lnTo>
                    <a:pt x="2429" y="1182"/>
                  </a:lnTo>
                  <a:lnTo>
                    <a:pt x="2421" y="1185"/>
                  </a:lnTo>
                  <a:lnTo>
                    <a:pt x="2413" y="1187"/>
                  </a:lnTo>
                  <a:lnTo>
                    <a:pt x="2405" y="1189"/>
                  </a:lnTo>
                  <a:lnTo>
                    <a:pt x="2394" y="1190"/>
                  </a:lnTo>
                  <a:lnTo>
                    <a:pt x="2383" y="1190"/>
                  </a:lnTo>
                  <a:lnTo>
                    <a:pt x="2371" y="1190"/>
                  </a:lnTo>
                  <a:lnTo>
                    <a:pt x="2360" y="1190"/>
                  </a:lnTo>
                  <a:lnTo>
                    <a:pt x="2351" y="1191"/>
                  </a:lnTo>
                  <a:lnTo>
                    <a:pt x="2344" y="1193"/>
                  </a:lnTo>
                  <a:lnTo>
                    <a:pt x="2338" y="1196"/>
                  </a:lnTo>
                  <a:lnTo>
                    <a:pt x="2328" y="1206"/>
                  </a:lnTo>
                  <a:lnTo>
                    <a:pt x="2314" y="1219"/>
                  </a:lnTo>
                  <a:lnTo>
                    <a:pt x="2311" y="1221"/>
                  </a:lnTo>
                  <a:lnTo>
                    <a:pt x="2307" y="1222"/>
                  </a:lnTo>
                  <a:lnTo>
                    <a:pt x="2304" y="1221"/>
                  </a:lnTo>
                  <a:lnTo>
                    <a:pt x="2299" y="1219"/>
                  </a:lnTo>
                  <a:lnTo>
                    <a:pt x="2290" y="1213"/>
                  </a:lnTo>
                  <a:lnTo>
                    <a:pt x="2281" y="1206"/>
                  </a:lnTo>
                  <a:lnTo>
                    <a:pt x="2271" y="1197"/>
                  </a:lnTo>
                  <a:lnTo>
                    <a:pt x="2262" y="1191"/>
                  </a:lnTo>
                  <a:lnTo>
                    <a:pt x="2257" y="1189"/>
                  </a:lnTo>
                  <a:lnTo>
                    <a:pt x="2252" y="1188"/>
                  </a:lnTo>
                  <a:lnTo>
                    <a:pt x="2248" y="1189"/>
                  </a:lnTo>
                  <a:lnTo>
                    <a:pt x="2243" y="1191"/>
                  </a:lnTo>
                  <a:lnTo>
                    <a:pt x="2237" y="1192"/>
                  </a:lnTo>
                  <a:lnTo>
                    <a:pt x="2232" y="1194"/>
                  </a:lnTo>
                  <a:lnTo>
                    <a:pt x="2226" y="1198"/>
                  </a:lnTo>
                  <a:lnTo>
                    <a:pt x="2222" y="1204"/>
                  </a:lnTo>
                  <a:lnTo>
                    <a:pt x="2215" y="1214"/>
                  </a:lnTo>
                  <a:lnTo>
                    <a:pt x="2209" y="1224"/>
                  </a:lnTo>
                  <a:lnTo>
                    <a:pt x="2207" y="1231"/>
                  </a:lnTo>
                  <a:lnTo>
                    <a:pt x="2203" y="1237"/>
                  </a:lnTo>
                  <a:lnTo>
                    <a:pt x="2199" y="1244"/>
                  </a:lnTo>
                  <a:lnTo>
                    <a:pt x="2195" y="1252"/>
                  </a:lnTo>
                  <a:lnTo>
                    <a:pt x="2190" y="1259"/>
                  </a:lnTo>
                  <a:lnTo>
                    <a:pt x="2186" y="1267"/>
                  </a:lnTo>
                  <a:lnTo>
                    <a:pt x="2183" y="1274"/>
                  </a:lnTo>
                  <a:lnTo>
                    <a:pt x="2180" y="1283"/>
                  </a:lnTo>
                  <a:lnTo>
                    <a:pt x="2179" y="1291"/>
                  </a:lnTo>
                  <a:lnTo>
                    <a:pt x="2180" y="1298"/>
                  </a:lnTo>
                  <a:lnTo>
                    <a:pt x="2183" y="1306"/>
                  </a:lnTo>
                  <a:lnTo>
                    <a:pt x="2186" y="1313"/>
                  </a:lnTo>
                  <a:lnTo>
                    <a:pt x="2192" y="1328"/>
                  </a:lnTo>
                  <a:lnTo>
                    <a:pt x="2198" y="1342"/>
                  </a:lnTo>
                  <a:lnTo>
                    <a:pt x="2208" y="1353"/>
                  </a:lnTo>
                  <a:lnTo>
                    <a:pt x="2217" y="1365"/>
                  </a:lnTo>
                  <a:lnTo>
                    <a:pt x="2220" y="1383"/>
                  </a:lnTo>
                  <a:lnTo>
                    <a:pt x="2223" y="1403"/>
                  </a:lnTo>
                  <a:lnTo>
                    <a:pt x="2223" y="1413"/>
                  </a:lnTo>
                  <a:lnTo>
                    <a:pt x="2222" y="1424"/>
                  </a:lnTo>
                  <a:lnTo>
                    <a:pt x="2221" y="1428"/>
                  </a:lnTo>
                  <a:lnTo>
                    <a:pt x="2219" y="1433"/>
                  </a:lnTo>
                  <a:lnTo>
                    <a:pt x="2216" y="1437"/>
                  </a:lnTo>
                  <a:lnTo>
                    <a:pt x="2213" y="1442"/>
                  </a:lnTo>
                  <a:lnTo>
                    <a:pt x="2214" y="1450"/>
                  </a:lnTo>
                  <a:lnTo>
                    <a:pt x="2217" y="1457"/>
                  </a:lnTo>
                  <a:lnTo>
                    <a:pt x="2220" y="1464"/>
                  </a:lnTo>
                  <a:lnTo>
                    <a:pt x="2223" y="1472"/>
                  </a:lnTo>
                  <a:lnTo>
                    <a:pt x="2227" y="1480"/>
                  </a:lnTo>
                  <a:lnTo>
                    <a:pt x="2231" y="1489"/>
                  </a:lnTo>
                  <a:lnTo>
                    <a:pt x="2234" y="1498"/>
                  </a:lnTo>
                  <a:lnTo>
                    <a:pt x="2234" y="1508"/>
                  </a:lnTo>
                  <a:lnTo>
                    <a:pt x="2231" y="1511"/>
                  </a:lnTo>
                  <a:lnTo>
                    <a:pt x="2227" y="1514"/>
                  </a:lnTo>
                  <a:lnTo>
                    <a:pt x="2223" y="1516"/>
                  </a:lnTo>
                  <a:lnTo>
                    <a:pt x="2219" y="1519"/>
                  </a:lnTo>
                  <a:lnTo>
                    <a:pt x="2211" y="1522"/>
                  </a:lnTo>
                  <a:lnTo>
                    <a:pt x="2200" y="1523"/>
                  </a:lnTo>
                  <a:lnTo>
                    <a:pt x="2190" y="1522"/>
                  </a:lnTo>
                  <a:lnTo>
                    <a:pt x="2179" y="1521"/>
                  </a:lnTo>
                  <a:lnTo>
                    <a:pt x="2168" y="1519"/>
                  </a:lnTo>
                  <a:lnTo>
                    <a:pt x="2157" y="1515"/>
                  </a:lnTo>
                  <a:lnTo>
                    <a:pt x="2133" y="1508"/>
                  </a:lnTo>
                  <a:lnTo>
                    <a:pt x="2109" y="1501"/>
                  </a:lnTo>
                  <a:lnTo>
                    <a:pt x="2097" y="1498"/>
                  </a:lnTo>
                  <a:lnTo>
                    <a:pt x="2087" y="1496"/>
                  </a:lnTo>
                  <a:lnTo>
                    <a:pt x="2076" y="1494"/>
                  </a:lnTo>
                  <a:lnTo>
                    <a:pt x="2067" y="1494"/>
                  </a:lnTo>
                  <a:lnTo>
                    <a:pt x="2047" y="1492"/>
                  </a:lnTo>
                  <a:lnTo>
                    <a:pt x="2020" y="1491"/>
                  </a:lnTo>
                  <a:lnTo>
                    <a:pt x="1990" y="1490"/>
                  </a:lnTo>
                  <a:lnTo>
                    <a:pt x="1957" y="1490"/>
                  </a:lnTo>
                  <a:lnTo>
                    <a:pt x="1942" y="1490"/>
                  </a:lnTo>
                  <a:lnTo>
                    <a:pt x="1926" y="1491"/>
                  </a:lnTo>
                  <a:lnTo>
                    <a:pt x="1911" y="1492"/>
                  </a:lnTo>
                  <a:lnTo>
                    <a:pt x="1898" y="1495"/>
                  </a:lnTo>
                  <a:lnTo>
                    <a:pt x="1885" y="1498"/>
                  </a:lnTo>
                  <a:lnTo>
                    <a:pt x="1875" y="1501"/>
                  </a:lnTo>
                  <a:lnTo>
                    <a:pt x="1866" y="1505"/>
                  </a:lnTo>
                  <a:lnTo>
                    <a:pt x="1859" y="1510"/>
                  </a:lnTo>
                  <a:lnTo>
                    <a:pt x="1849" y="1520"/>
                  </a:lnTo>
                  <a:lnTo>
                    <a:pt x="1840" y="1527"/>
                  </a:lnTo>
                  <a:lnTo>
                    <a:pt x="1834" y="1529"/>
                  </a:lnTo>
                  <a:lnTo>
                    <a:pt x="1829" y="1531"/>
                  </a:lnTo>
                  <a:lnTo>
                    <a:pt x="1825" y="1532"/>
                  </a:lnTo>
                  <a:lnTo>
                    <a:pt x="1820" y="1532"/>
                  </a:lnTo>
                  <a:lnTo>
                    <a:pt x="1816" y="1531"/>
                  </a:lnTo>
                  <a:lnTo>
                    <a:pt x="1810" y="1530"/>
                  </a:lnTo>
                  <a:lnTo>
                    <a:pt x="1806" y="1527"/>
                  </a:lnTo>
                  <a:lnTo>
                    <a:pt x="1801" y="1524"/>
                  </a:lnTo>
                  <a:lnTo>
                    <a:pt x="1797" y="1521"/>
                  </a:lnTo>
                  <a:lnTo>
                    <a:pt x="1793" y="1515"/>
                  </a:lnTo>
                  <a:lnTo>
                    <a:pt x="1788" y="1509"/>
                  </a:lnTo>
                  <a:lnTo>
                    <a:pt x="1784" y="1503"/>
                  </a:lnTo>
                  <a:lnTo>
                    <a:pt x="1773" y="1498"/>
                  </a:lnTo>
                  <a:lnTo>
                    <a:pt x="1762" y="1495"/>
                  </a:lnTo>
                  <a:lnTo>
                    <a:pt x="1750" y="1491"/>
                  </a:lnTo>
                  <a:lnTo>
                    <a:pt x="1738" y="1488"/>
                  </a:lnTo>
                  <a:lnTo>
                    <a:pt x="1713" y="1486"/>
                  </a:lnTo>
                  <a:lnTo>
                    <a:pt x="1689" y="1485"/>
                  </a:lnTo>
                  <a:lnTo>
                    <a:pt x="1686" y="1490"/>
                  </a:lnTo>
                  <a:lnTo>
                    <a:pt x="1683" y="1499"/>
                  </a:lnTo>
                  <a:lnTo>
                    <a:pt x="1680" y="1509"/>
                  </a:lnTo>
                  <a:lnTo>
                    <a:pt x="1677" y="1522"/>
                  </a:lnTo>
                  <a:lnTo>
                    <a:pt x="1672" y="1547"/>
                  </a:lnTo>
                  <a:lnTo>
                    <a:pt x="1670" y="1563"/>
                  </a:lnTo>
                  <a:lnTo>
                    <a:pt x="1662" y="1574"/>
                  </a:lnTo>
                  <a:lnTo>
                    <a:pt x="1654" y="1582"/>
                  </a:lnTo>
                  <a:lnTo>
                    <a:pt x="1645" y="1590"/>
                  </a:lnTo>
                  <a:lnTo>
                    <a:pt x="1636" y="1595"/>
                  </a:lnTo>
                  <a:lnTo>
                    <a:pt x="1627" y="1599"/>
                  </a:lnTo>
                  <a:lnTo>
                    <a:pt x="1617" y="1602"/>
                  </a:lnTo>
                  <a:lnTo>
                    <a:pt x="1607" y="1604"/>
                  </a:lnTo>
                  <a:lnTo>
                    <a:pt x="1598" y="1606"/>
                  </a:lnTo>
                  <a:lnTo>
                    <a:pt x="1578" y="1610"/>
                  </a:lnTo>
                  <a:lnTo>
                    <a:pt x="1557" y="1617"/>
                  </a:lnTo>
                  <a:lnTo>
                    <a:pt x="1547" y="1621"/>
                  </a:lnTo>
                  <a:lnTo>
                    <a:pt x="1536" y="1627"/>
                  </a:lnTo>
                  <a:lnTo>
                    <a:pt x="1526" y="1634"/>
                  </a:lnTo>
                  <a:lnTo>
                    <a:pt x="1516" y="1644"/>
                  </a:lnTo>
                  <a:lnTo>
                    <a:pt x="1508" y="1789"/>
                  </a:lnTo>
                  <a:lnTo>
                    <a:pt x="1506" y="1807"/>
                  </a:lnTo>
                  <a:lnTo>
                    <a:pt x="1503" y="1824"/>
                  </a:lnTo>
                  <a:lnTo>
                    <a:pt x="1498" y="1841"/>
                  </a:lnTo>
                  <a:lnTo>
                    <a:pt x="1493" y="1858"/>
                  </a:lnTo>
                  <a:lnTo>
                    <a:pt x="1488" y="1875"/>
                  </a:lnTo>
                  <a:lnTo>
                    <a:pt x="1484" y="1893"/>
                  </a:lnTo>
                  <a:lnTo>
                    <a:pt x="1481" y="1912"/>
                  </a:lnTo>
                  <a:lnTo>
                    <a:pt x="1480" y="1932"/>
                  </a:lnTo>
                  <a:lnTo>
                    <a:pt x="1479" y="1942"/>
                  </a:lnTo>
                  <a:lnTo>
                    <a:pt x="1481" y="1953"/>
                  </a:lnTo>
                  <a:lnTo>
                    <a:pt x="1483" y="1963"/>
                  </a:lnTo>
                  <a:lnTo>
                    <a:pt x="1487" y="1974"/>
                  </a:lnTo>
                  <a:lnTo>
                    <a:pt x="1499" y="1994"/>
                  </a:lnTo>
                  <a:lnTo>
                    <a:pt x="1509" y="2013"/>
                  </a:lnTo>
                  <a:lnTo>
                    <a:pt x="1513" y="2020"/>
                  </a:lnTo>
                  <a:lnTo>
                    <a:pt x="1515" y="2027"/>
                  </a:lnTo>
                  <a:lnTo>
                    <a:pt x="1516" y="2033"/>
                  </a:lnTo>
                  <a:lnTo>
                    <a:pt x="1516" y="2038"/>
                  </a:lnTo>
                  <a:lnTo>
                    <a:pt x="1515" y="2050"/>
                  </a:lnTo>
                  <a:lnTo>
                    <a:pt x="1514" y="2063"/>
                  </a:lnTo>
                  <a:lnTo>
                    <a:pt x="1510" y="2067"/>
                  </a:lnTo>
                  <a:lnTo>
                    <a:pt x="1506" y="2070"/>
                  </a:lnTo>
                  <a:lnTo>
                    <a:pt x="1503" y="2073"/>
                  </a:lnTo>
                  <a:lnTo>
                    <a:pt x="1499" y="2075"/>
                  </a:lnTo>
                  <a:lnTo>
                    <a:pt x="1494" y="2075"/>
                  </a:lnTo>
                  <a:lnTo>
                    <a:pt x="1491" y="2075"/>
                  </a:lnTo>
                  <a:lnTo>
                    <a:pt x="1487" y="2074"/>
                  </a:lnTo>
                  <a:lnTo>
                    <a:pt x="1483" y="2073"/>
                  </a:lnTo>
                  <a:lnTo>
                    <a:pt x="1467" y="2065"/>
                  </a:lnTo>
                  <a:lnTo>
                    <a:pt x="1452" y="2056"/>
                  </a:lnTo>
                  <a:lnTo>
                    <a:pt x="1440" y="2051"/>
                  </a:lnTo>
                  <a:lnTo>
                    <a:pt x="1429" y="2046"/>
                  </a:lnTo>
                  <a:lnTo>
                    <a:pt x="1417" y="2043"/>
                  </a:lnTo>
                  <a:lnTo>
                    <a:pt x="1406" y="2041"/>
                  </a:lnTo>
                  <a:lnTo>
                    <a:pt x="1394" y="2040"/>
                  </a:lnTo>
                  <a:lnTo>
                    <a:pt x="1383" y="2039"/>
                  </a:lnTo>
                  <a:lnTo>
                    <a:pt x="1371" y="2039"/>
                  </a:lnTo>
                  <a:lnTo>
                    <a:pt x="1358" y="2039"/>
                  </a:lnTo>
                  <a:lnTo>
                    <a:pt x="1344" y="2040"/>
                  </a:lnTo>
                  <a:lnTo>
                    <a:pt x="1331" y="2042"/>
                  </a:lnTo>
                  <a:lnTo>
                    <a:pt x="1318" y="2044"/>
                  </a:lnTo>
                  <a:lnTo>
                    <a:pt x="1306" y="2048"/>
                  </a:lnTo>
                  <a:lnTo>
                    <a:pt x="1294" y="2053"/>
                  </a:lnTo>
                  <a:lnTo>
                    <a:pt x="1283" y="2058"/>
                  </a:lnTo>
                  <a:lnTo>
                    <a:pt x="1272" y="2064"/>
                  </a:lnTo>
                  <a:lnTo>
                    <a:pt x="1263" y="2070"/>
                  </a:lnTo>
                  <a:lnTo>
                    <a:pt x="1254" y="2078"/>
                  </a:lnTo>
                  <a:lnTo>
                    <a:pt x="1245" y="2086"/>
                  </a:lnTo>
                  <a:lnTo>
                    <a:pt x="1237" y="2095"/>
                  </a:lnTo>
                  <a:lnTo>
                    <a:pt x="1229" y="2105"/>
                  </a:lnTo>
                  <a:lnTo>
                    <a:pt x="1222" y="2116"/>
                  </a:lnTo>
                  <a:lnTo>
                    <a:pt x="1216" y="2127"/>
                  </a:lnTo>
                  <a:lnTo>
                    <a:pt x="1210" y="2139"/>
                  </a:lnTo>
                  <a:lnTo>
                    <a:pt x="1205" y="2151"/>
                  </a:lnTo>
                  <a:lnTo>
                    <a:pt x="1202" y="2161"/>
                  </a:lnTo>
                  <a:lnTo>
                    <a:pt x="1200" y="2173"/>
                  </a:lnTo>
                  <a:lnTo>
                    <a:pt x="1199" y="2184"/>
                  </a:lnTo>
                  <a:lnTo>
                    <a:pt x="1197" y="2197"/>
                  </a:lnTo>
                  <a:lnTo>
                    <a:pt x="1196" y="2209"/>
                  </a:lnTo>
                  <a:lnTo>
                    <a:pt x="1194" y="2220"/>
                  </a:lnTo>
                  <a:lnTo>
                    <a:pt x="1192" y="2226"/>
                  </a:lnTo>
                  <a:lnTo>
                    <a:pt x="1190" y="2230"/>
                  </a:lnTo>
                  <a:lnTo>
                    <a:pt x="1188" y="2235"/>
                  </a:lnTo>
                  <a:lnTo>
                    <a:pt x="1185" y="2238"/>
                  </a:lnTo>
                  <a:lnTo>
                    <a:pt x="1161" y="2269"/>
                  </a:lnTo>
                  <a:lnTo>
                    <a:pt x="1139" y="2296"/>
                  </a:lnTo>
                  <a:lnTo>
                    <a:pt x="1133" y="2302"/>
                  </a:lnTo>
                  <a:lnTo>
                    <a:pt x="1126" y="2307"/>
                  </a:lnTo>
                  <a:lnTo>
                    <a:pt x="1119" y="2312"/>
                  </a:lnTo>
                  <a:lnTo>
                    <a:pt x="1112" y="2318"/>
                  </a:lnTo>
                  <a:lnTo>
                    <a:pt x="1103" y="2323"/>
                  </a:lnTo>
                  <a:lnTo>
                    <a:pt x="1095" y="2327"/>
                  </a:lnTo>
                  <a:lnTo>
                    <a:pt x="1086" y="2330"/>
                  </a:lnTo>
                  <a:lnTo>
                    <a:pt x="1075" y="2333"/>
                  </a:lnTo>
                  <a:lnTo>
                    <a:pt x="1075" y="2333"/>
                  </a:lnTo>
                  <a:lnTo>
                    <a:pt x="1073" y="2330"/>
                  </a:lnTo>
                  <a:lnTo>
                    <a:pt x="1070" y="2328"/>
                  </a:lnTo>
                  <a:lnTo>
                    <a:pt x="1068" y="2321"/>
                  </a:lnTo>
                  <a:lnTo>
                    <a:pt x="1064" y="2310"/>
                  </a:lnTo>
                  <a:lnTo>
                    <a:pt x="1060" y="2301"/>
                  </a:lnTo>
                  <a:lnTo>
                    <a:pt x="1057" y="2295"/>
                  </a:lnTo>
                  <a:lnTo>
                    <a:pt x="1057" y="2284"/>
                  </a:lnTo>
                  <a:lnTo>
                    <a:pt x="1055" y="2273"/>
                  </a:lnTo>
                  <a:lnTo>
                    <a:pt x="1054" y="2262"/>
                  </a:lnTo>
                  <a:lnTo>
                    <a:pt x="1052" y="2253"/>
                  </a:lnTo>
                  <a:lnTo>
                    <a:pt x="1048" y="2233"/>
                  </a:lnTo>
                  <a:lnTo>
                    <a:pt x="1042" y="2214"/>
                  </a:lnTo>
                  <a:lnTo>
                    <a:pt x="1037" y="2196"/>
                  </a:lnTo>
                  <a:lnTo>
                    <a:pt x="1033" y="2177"/>
                  </a:lnTo>
                  <a:lnTo>
                    <a:pt x="1028" y="2156"/>
                  </a:lnTo>
                  <a:lnTo>
                    <a:pt x="1026" y="2135"/>
                  </a:lnTo>
                  <a:lnTo>
                    <a:pt x="1026" y="2119"/>
                  </a:lnTo>
                  <a:lnTo>
                    <a:pt x="1026" y="2106"/>
                  </a:lnTo>
                  <a:lnTo>
                    <a:pt x="1025" y="2092"/>
                  </a:lnTo>
                  <a:lnTo>
                    <a:pt x="1024" y="2079"/>
                  </a:lnTo>
                  <a:lnTo>
                    <a:pt x="1021" y="2067"/>
                  </a:lnTo>
                  <a:lnTo>
                    <a:pt x="1016" y="2056"/>
                  </a:lnTo>
                  <a:lnTo>
                    <a:pt x="1013" y="2050"/>
                  </a:lnTo>
                  <a:lnTo>
                    <a:pt x="1009" y="2044"/>
                  </a:lnTo>
                  <a:lnTo>
                    <a:pt x="1003" y="2038"/>
                  </a:lnTo>
                  <a:lnTo>
                    <a:pt x="998" y="2033"/>
                  </a:lnTo>
                  <a:lnTo>
                    <a:pt x="994" y="2028"/>
                  </a:lnTo>
                  <a:lnTo>
                    <a:pt x="991" y="2022"/>
                  </a:lnTo>
                  <a:lnTo>
                    <a:pt x="988" y="2017"/>
                  </a:lnTo>
                  <a:lnTo>
                    <a:pt x="986" y="2011"/>
                  </a:lnTo>
                  <a:lnTo>
                    <a:pt x="984" y="1998"/>
                  </a:lnTo>
                  <a:lnTo>
                    <a:pt x="982" y="1985"/>
                  </a:lnTo>
                  <a:lnTo>
                    <a:pt x="982" y="1972"/>
                  </a:lnTo>
                  <a:lnTo>
                    <a:pt x="984" y="1959"/>
                  </a:lnTo>
                  <a:lnTo>
                    <a:pt x="982" y="1945"/>
                  </a:lnTo>
                  <a:lnTo>
                    <a:pt x="981" y="1932"/>
                  </a:lnTo>
                  <a:lnTo>
                    <a:pt x="980" y="1928"/>
                  </a:lnTo>
                  <a:lnTo>
                    <a:pt x="978" y="1922"/>
                  </a:lnTo>
                  <a:lnTo>
                    <a:pt x="976" y="1918"/>
                  </a:lnTo>
                  <a:lnTo>
                    <a:pt x="973" y="1914"/>
                  </a:lnTo>
                  <a:lnTo>
                    <a:pt x="967" y="1906"/>
                  </a:lnTo>
                  <a:lnTo>
                    <a:pt x="959" y="1898"/>
                  </a:lnTo>
                  <a:lnTo>
                    <a:pt x="942" y="1887"/>
                  </a:lnTo>
                  <a:lnTo>
                    <a:pt x="924" y="1875"/>
                  </a:lnTo>
                  <a:lnTo>
                    <a:pt x="912" y="1869"/>
                  </a:lnTo>
                  <a:lnTo>
                    <a:pt x="897" y="1863"/>
                  </a:lnTo>
                  <a:lnTo>
                    <a:pt x="881" y="1857"/>
                  </a:lnTo>
                  <a:lnTo>
                    <a:pt x="865" y="1851"/>
                  </a:lnTo>
                  <a:lnTo>
                    <a:pt x="849" y="1845"/>
                  </a:lnTo>
                  <a:lnTo>
                    <a:pt x="834" y="1839"/>
                  </a:lnTo>
                  <a:lnTo>
                    <a:pt x="828" y="1836"/>
                  </a:lnTo>
                  <a:lnTo>
                    <a:pt x="822" y="1833"/>
                  </a:lnTo>
                  <a:lnTo>
                    <a:pt x="817" y="1828"/>
                  </a:lnTo>
                  <a:lnTo>
                    <a:pt x="813" y="1825"/>
                  </a:lnTo>
                  <a:lnTo>
                    <a:pt x="807" y="1820"/>
                  </a:lnTo>
                  <a:lnTo>
                    <a:pt x="802" y="1816"/>
                  </a:lnTo>
                  <a:lnTo>
                    <a:pt x="797" y="1812"/>
                  </a:lnTo>
                  <a:lnTo>
                    <a:pt x="792" y="1810"/>
                  </a:lnTo>
                  <a:lnTo>
                    <a:pt x="786" y="1808"/>
                  </a:lnTo>
                  <a:lnTo>
                    <a:pt x="780" y="1805"/>
                  </a:lnTo>
                  <a:lnTo>
                    <a:pt x="774" y="1804"/>
                  </a:lnTo>
                  <a:lnTo>
                    <a:pt x="767" y="1804"/>
                  </a:lnTo>
                  <a:lnTo>
                    <a:pt x="750" y="1804"/>
                  </a:lnTo>
                  <a:lnTo>
                    <a:pt x="740" y="1804"/>
                  </a:lnTo>
                  <a:lnTo>
                    <a:pt x="735" y="1803"/>
                  </a:lnTo>
                  <a:lnTo>
                    <a:pt x="731" y="1800"/>
                  </a:lnTo>
                  <a:lnTo>
                    <a:pt x="726" y="1795"/>
                  </a:lnTo>
                  <a:lnTo>
                    <a:pt x="721" y="1788"/>
                  </a:lnTo>
                  <a:lnTo>
                    <a:pt x="721" y="1770"/>
                  </a:lnTo>
                  <a:lnTo>
                    <a:pt x="722" y="1752"/>
                  </a:lnTo>
                  <a:lnTo>
                    <a:pt x="722" y="1736"/>
                  </a:lnTo>
                  <a:lnTo>
                    <a:pt x="721" y="1720"/>
                  </a:lnTo>
                  <a:lnTo>
                    <a:pt x="720" y="1712"/>
                  </a:lnTo>
                  <a:lnTo>
                    <a:pt x="718" y="1705"/>
                  </a:lnTo>
                  <a:lnTo>
                    <a:pt x="715" y="1698"/>
                  </a:lnTo>
                  <a:lnTo>
                    <a:pt x="710" y="1692"/>
                  </a:lnTo>
                  <a:lnTo>
                    <a:pt x="705" y="1687"/>
                  </a:lnTo>
                  <a:lnTo>
                    <a:pt x="699" y="1681"/>
                  </a:lnTo>
                  <a:lnTo>
                    <a:pt x="691" y="1677"/>
                  </a:lnTo>
                  <a:lnTo>
                    <a:pt x="681" y="1673"/>
                  </a:lnTo>
                  <a:lnTo>
                    <a:pt x="666" y="1668"/>
                  </a:lnTo>
                  <a:lnTo>
                    <a:pt x="646" y="1664"/>
                  </a:lnTo>
                  <a:lnTo>
                    <a:pt x="624" y="1660"/>
                  </a:lnTo>
                  <a:lnTo>
                    <a:pt x="600" y="1659"/>
                  </a:lnTo>
                  <a:lnTo>
                    <a:pt x="588" y="1659"/>
                  </a:lnTo>
                  <a:lnTo>
                    <a:pt x="577" y="1660"/>
                  </a:lnTo>
                  <a:lnTo>
                    <a:pt x="566" y="1662"/>
                  </a:lnTo>
                  <a:lnTo>
                    <a:pt x="556" y="1664"/>
                  </a:lnTo>
                  <a:lnTo>
                    <a:pt x="547" y="1667"/>
                  </a:lnTo>
                  <a:lnTo>
                    <a:pt x="538" y="1670"/>
                  </a:lnTo>
                  <a:lnTo>
                    <a:pt x="531" y="1675"/>
                  </a:lnTo>
                  <a:lnTo>
                    <a:pt x="526" y="1680"/>
                  </a:lnTo>
                  <a:lnTo>
                    <a:pt x="520" y="1691"/>
                  </a:lnTo>
                  <a:lnTo>
                    <a:pt x="513" y="1701"/>
                  </a:lnTo>
                  <a:lnTo>
                    <a:pt x="509" y="1713"/>
                  </a:lnTo>
                  <a:lnTo>
                    <a:pt x="505" y="1725"/>
                  </a:lnTo>
                  <a:lnTo>
                    <a:pt x="498" y="1749"/>
                  </a:lnTo>
                  <a:lnTo>
                    <a:pt x="491" y="1773"/>
                  </a:lnTo>
                  <a:lnTo>
                    <a:pt x="486" y="1777"/>
                  </a:lnTo>
                  <a:lnTo>
                    <a:pt x="480" y="1781"/>
                  </a:lnTo>
                  <a:lnTo>
                    <a:pt x="473" y="1785"/>
                  </a:lnTo>
                  <a:lnTo>
                    <a:pt x="465" y="1789"/>
                  </a:lnTo>
                  <a:lnTo>
                    <a:pt x="451" y="1794"/>
                  </a:lnTo>
                  <a:lnTo>
                    <a:pt x="436" y="1798"/>
                  </a:lnTo>
                  <a:lnTo>
                    <a:pt x="427" y="1799"/>
                  </a:lnTo>
                  <a:lnTo>
                    <a:pt x="416" y="1799"/>
                  </a:lnTo>
                  <a:lnTo>
                    <a:pt x="405" y="1800"/>
                  </a:lnTo>
                  <a:lnTo>
                    <a:pt x="395" y="1800"/>
                  </a:lnTo>
                  <a:lnTo>
                    <a:pt x="375" y="1802"/>
                  </a:lnTo>
                  <a:lnTo>
                    <a:pt x="354" y="1803"/>
                  </a:lnTo>
                  <a:lnTo>
                    <a:pt x="349" y="1803"/>
                  </a:lnTo>
                  <a:lnTo>
                    <a:pt x="344" y="1802"/>
                  </a:lnTo>
                  <a:lnTo>
                    <a:pt x="339" y="1801"/>
                  </a:lnTo>
                  <a:lnTo>
                    <a:pt x="335" y="1799"/>
                  </a:lnTo>
                  <a:lnTo>
                    <a:pt x="331" y="1797"/>
                  </a:lnTo>
                  <a:lnTo>
                    <a:pt x="328" y="1794"/>
                  </a:lnTo>
                  <a:lnTo>
                    <a:pt x="324" y="1790"/>
                  </a:lnTo>
                  <a:lnTo>
                    <a:pt x="320" y="1785"/>
                  </a:lnTo>
                  <a:lnTo>
                    <a:pt x="315" y="1774"/>
                  </a:lnTo>
                  <a:lnTo>
                    <a:pt x="310" y="1764"/>
                  </a:lnTo>
                  <a:lnTo>
                    <a:pt x="305" y="1754"/>
                  </a:lnTo>
                  <a:lnTo>
                    <a:pt x="301" y="1744"/>
                  </a:lnTo>
                  <a:lnTo>
                    <a:pt x="297" y="1732"/>
                  </a:lnTo>
                  <a:lnTo>
                    <a:pt x="296" y="1722"/>
                  </a:lnTo>
                  <a:lnTo>
                    <a:pt x="295" y="1717"/>
                  </a:lnTo>
                  <a:lnTo>
                    <a:pt x="294" y="1712"/>
                  </a:lnTo>
                  <a:lnTo>
                    <a:pt x="292" y="1706"/>
                  </a:lnTo>
                  <a:lnTo>
                    <a:pt x="289" y="1701"/>
                  </a:lnTo>
                  <a:lnTo>
                    <a:pt x="289" y="1701"/>
                  </a:lnTo>
                  <a:lnTo>
                    <a:pt x="271" y="1673"/>
                  </a:lnTo>
                  <a:lnTo>
                    <a:pt x="254" y="1645"/>
                  </a:lnTo>
                  <a:lnTo>
                    <a:pt x="236" y="1617"/>
                  </a:lnTo>
                  <a:lnTo>
                    <a:pt x="217" y="1587"/>
                  </a:lnTo>
                  <a:lnTo>
                    <a:pt x="198" y="1558"/>
                  </a:lnTo>
                  <a:lnTo>
                    <a:pt x="180" y="1529"/>
                  </a:lnTo>
                  <a:lnTo>
                    <a:pt x="161" y="1499"/>
                  </a:lnTo>
                  <a:lnTo>
                    <a:pt x="143" y="1469"/>
                  </a:lnTo>
                  <a:lnTo>
                    <a:pt x="133" y="1451"/>
                  </a:lnTo>
                  <a:lnTo>
                    <a:pt x="122" y="1434"/>
                  </a:lnTo>
                  <a:lnTo>
                    <a:pt x="116" y="1427"/>
                  </a:lnTo>
                  <a:lnTo>
                    <a:pt x="110" y="1421"/>
                  </a:lnTo>
                  <a:lnTo>
                    <a:pt x="100" y="1415"/>
                  </a:lnTo>
                  <a:lnTo>
                    <a:pt x="90" y="1412"/>
                  </a:lnTo>
                  <a:lnTo>
                    <a:pt x="77" y="1408"/>
                  </a:lnTo>
                  <a:lnTo>
                    <a:pt x="68" y="1404"/>
                  </a:lnTo>
                  <a:lnTo>
                    <a:pt x="61" y="1399"/>
                  </a:lnTo>
                  <a:lnTo>
                    <a:pt x="53" y="1393"/>
                  </a:lnTo>
                  <a:lnTo>
                    <a:pt x="40" y="1381"/>
                  </a:lnTo>
                  <a:lnTo>
                    <a:pt x="24" y="1368"/>
                  </a:lnTo>
                  <a:lnTo>
                    <a:pt x="14" y="1340"/>
                  </a:lnTo>
                  <a:lnTo>
                    <a:pt x="3" y="1315"/>
                  </a:lnTo>
                  <a:lnTo>
                    <a:pt x="2" y="1309"/>
                  </a:lnTo>
                  <a:lnTo>
                    <a:pt x="1" y="1303"/>
                  </a:lnTo>
                  <a:lnTo>
                    <a:pt x="0" y="1296"/>
                  </a:lnTo>
                  <a:lnTo>
                    <a:pt x="1" y="1290"/>
                  </a:lnTo>
                  <a:lnTo>
                    <a:pt x="2" y="1283"/>
                  </a:lnTo>
                  <a:lnTo>
                    <a:pt x="4" y="1276"/>
                  </a:lnTo>
                  <a:lnTo>
                    <a:pt x="9" y="1268"/>
                  </a:lnTo>
                  <a:lnTo>
                    <a:pt x="14" y="1261"/>
                  </a:lnTo>
                  <a:lnTo>
                    <a:pt x="19" y="1255"/>
                  </a:lnTo>
                  <a:lnTo>
                    <a:pt x="25" y="1249"/>
                  </a:lnTo>
                  <a:lnTo>
                    <a:pt x="32" y="1246"/>
                  </a:lnTo>
                  <a:lnTo>
                    <a:pt x="39" y="1243"/>
                  </a:lnTo>
                  <a:lnTo>
                    <a:pt x="55" y="1239"/>
                  </a:lnTo>
                  <a:lnTo>
                    <a:pt x="70" y="1236"/>
                  </a:lnTo>
                  <a:lnTo>
                    <a:pt x="79" y="1235"/>
                  </a:lnTo>
                  <a:lnTo>
                    <a:pt x="87" y="1233"/>
                  </a:lnTo>
                  <a:lnTo>
                    <a:pt x="94" y="1230"/>
                  </a:lnTo>
                  <a:lnTo>
                    <a:pt x="101" y="1226"/>
                  </a:lnTo>
                  <a:lnTo>
                    <a:pt x="108" y="1221"/>
                  </a:lnTo>
                  <a:lnTo>
                    <a:pt x="114" y="1216"/>
                  </a:lnTo>
                  <a:lnTo>
                    <a:pt x="119" y="1210"/>
                  </a:lnTo>
                  <a:lnTo>
                    <a:pt x="123" y="1201"/>
                  </a:lnTo>
                  <a:lnTo>
                    <a:pt x="129" y="1188"/>
                  </a:lnTo>
                  <a:lnTo>
                    <a:pt x="132" y="1181"/>
                  </a:lnTo>
                  <a:lnTo>
                    <a:pt x="134" y="1173"/>
                  </a:lnTo>
                  <a:lnTo>
                    <a:pt x="136" y="1164"/>
                  </a:lnTo>
                  <a:lnTo>
                    <a:pt x="141" y="1137"/>
                  </a:lnTo>
                  <a:lnTo>
                    <a:pt x="147" y="1109"/>
                  </a:lnTo>
                  <a:lnTo>
                    <a:pt x="149" y="1094"/>
                  </a:lnTo>
                  <a:lnTo>
                    <a:pt x="152" y="1079"/>
                  </a:lnTo>
                  <a:lnTo>
                    <a:pt x="152" y="1066"/>
                  </a:lnTo>
                  <a:lnTo>
                    <a:pt x="150" y="1052"/>
                  </a:lnTo>
                  <a:lnTo>
                    <a:pt x="149" y="1045"/>
                  </a:lnTo>
                  <a:lnTo>
                    <a:pt x="147" y="1039"/>
                  </a:lnTo>
                  <a:lnTo>
                    <a:pt x="144" y="1033"/>
                  </a:lnTo>
                  <a:lnTo>
                    <a:pt x="142" y="1029"/>
                  </a:lnTo>
                  <a:lnTo>
                    <a:pt x="134" y="1021"/>
                  </a:lnTo>
                  <a:lnTo>
                    <a:pt x="123" y="1012"/>
                  </a:lnTo>
                  <a:lnTo>
                    <a:pt x="123" y="1012"/>
                  </a:lnTo>
                  <a:lnTo>
                    <a:pt x="126" y="1007"/>
                  </a:lnTo>
                  <a:lnTo>
                    <a:pt x="129" y="1001"/>
                  </a:lnTo>
                  <a:lnTo>
                    <a:pt x="130" y="994"/>
                  </a:lnTo>
                  <a:lnTo>
                    <a:pt x="130" y="987"/>
                  </a:lnTo>
                  <a:lnTo>
                    <a:pt x="131" y="978"/>
                  </a:lnTo>
                  <a:lnTo>
                    <a:pt x="131" y="970"/>
                  </a:lnTo>
                  <a:lnTo>
                    <a:pt x="133" y="961"/>
                  </a:lnTo>
                  <a:lnTo>
                    <a:pt x="135" y="955"/>
                  </a:lnTo>
                  <a:lnTo>
                    <a:pt x="143" y="941"/>
                  </a:lnTo>
                  <a:lnTo>
                    <a:pt x="153" y="927"/>
                  </a:lnTo>
                  <a:lnTo>
                    <a:pt x="163" y="915"/>
                  </a:lnTo>
                  <a:lnTo>
                    <a:pt x="173" y="904"/>
                  </a:lnTo>
                  <a:lnTo>
                    <a:pt x="184" y="896"/>
                  </a:lnTo>
                  <a:lnTo>
                    <a:pt x="194" y="887"/>
                  </a:lnTo>
                  <a:lnTo>
                    <a:pt x="206" y="879"/>
                  </a:lnTo>
                  <a:lnTo>
                    <a:pt x="218" y="873"/>
                  </a:lnTo>
                  <a:lnTo>
                    <a:pt x="242" y="859"/>
                  </a:lnTo>
                  <a:lnTo>
                    <a:pt x="267" y="846"/>
                  </a:lnTo>
                  <a:lnTo>
                    <a:pt x="280" y="838"/>
                  </a:lnTo>
                  <a:lnTo>
                    <a:pt x="292" y="831"/>
                  </a:lnTo>
                  <a:lnTo>
                    <a:pt x="305" y="822"/>
                  </a:lnTo>
                  <a:lnTo>
                    <a:pt x="317" y="811"/>
                  </a:lnTo>
                  <a:lnTo>
                    <a:pt x="331" y="800"/>
                  </a:lnTo>
                  <a:lnTo>
                    <a:pt x="339" y="790"/>
                  </a:lnTo>
                  <a:lnTo>
                    <a:pt x="341" y="786"/>
                  </a:lnTo>
                  <a:lnTo>
                    <a:pt x="342" y="782"/>
                  </a:lnTo>
                  <a:lnTo>
                    <a:pt x="343" y="779"/>
                  </a:lnTo>
                  <a:lnTo>
                    <a:pt x="343" y="775"/>
                  </a:lnTo>
                  <a:lnTo>
                    <a:pt x="339" y="757"/>
                  </a:lnTo>
                  <a:lnTo>
                    <a:pt x="332" y="731"/>
                  </a:lnTo>
                  <a:lnTo>
                    <a:pt x="330" y="713"/>
                  </a:lnTo>
                  <a:lnTo>
                    <a:pt x="329" y="685"/>
                  </a:lnTo>
                  <a:lnTo>
                    <a:pt x="330" y="671"/>
                  </a:lnTo>
                  <a:lnTo>
                    <a:pt x="331" y="660"/>
                  </a:lnTo>
                  <a:lnTo>
                    <a:pt x="333" y="655"/>
                  </a:lnTo>
                  <a:lnTo>
                    <a:pt x="335" y="652"/>
                  </a:lnTo>
                  <a:lnTo>
                    <a:pt x="337" y="650"/>
                  </a:lnTo>
                  <a:lnTo>
                    <a:pt x="340" y="649"/>
                  </a:lnTo>
                  <a:lnTo>
                    <a:pt x="351" y="660"/>
                  </a:lnTo>
                  <a:lnTo>
                    <a:pt x="363" y="670"/>
                  </a:lnTo>
                  <a:lnTo>
                    <a:pt x="377" y="682"/>
                  </a:lnTo>
                  <a:lnTo>
                    <a:pt x="389" y="693"/>
                  </a:lnTo>
                  <a:lnTo>
                    <a:pt x="400" y="703"/>
                  </a:lnTo>
                  <a:lnTo>
                    <a:pt x="409" y="709"/>
                  </a:lnTo>
                  <a:lnTo>
                    <a:pt x="417" y="712"/>
                  </a:lnTo>
                  <a:lnTo>
                    <a:pt x="427" y="714"/>
                  </a:lnTo>
                  <a:lnTo>
                    <a:pt x="447" y="713"/>
                  </a:lnTo>
                  <a:lnTo>
                    <a:pt x="472" y="712"/>
                  </a:lnTo>
                  <a:lnTo>
                    <a:pt x="488" y="706"/>
                  </a:lnTo>
                  <a:lnTo>
                    <a:pt x="502" y="698"/>
                  </a:lnTo>
                  <a:lnTo>
                    <a:pt x="514" y="689"/>
                  </a:lnTo>
                  <a:lnTo>
                    <a:pt x="527" y="681"/>
                  </a:lnTo>
                  <a:lnTo>
                    <a:pt x="533" y="678"/>
                  </a:lnTo>
                  <a:lnTo>
                    <a:pt x="539" y="675"/>
                  </a:lnTo>
                  <a:lnTo>
                    <a:pt x="547" y="671"/>
                  </a:lnTo>
                  <a:lnTo>
                    <a:pt x="554" y="669"/>
                  </a:lnTo>
                  <a:lnTo>
                    <a:pt x="561" y="668"/>
                  </a:lnTo>
                  <a:lnTo>
                    <a:pt x="570" y="668"/>
                  </a:lnTo>
                  <a:lnTo>
                    <a:pt x="579" y="669"/>
                  </a:lnTo>
                  <a:lnTo>
                    <a:pt x="588" y="671"/>
                  </a:lnTo>
                  <a:lnTo>
                    <a:pt x="606" y="676"/>
                  </a:lnTo>
                  <a:lnTo>
                    <a:pt x="620" y="677"/>
                  </a:lnTo>
                  <a:lnTo>
                    <a:pt x="626" y="677"/>
                  </a:lnTo>
                  <a:lnTo>
                    <a:pt x="631" y="676"/>
                  </a:lnTo>
                  <a:lnTo>
                    <a:pt x="636" y="675"/>
                  </a:lnTo>
                  <a:lnTo>
                    <a:pt x="641" y="673"/>
                  </a:lnTo>
                  <a:lnTo>
                    <a:pt x="650" y="667"/>
                  </a:lnTo>
                  <a:lnTo>
                    <a:pt x="659" y="659"/>
                  </a:lnTo>
                  <a:lnTo>
                    <a:pt x="671" y="650"/>
                  </a:lnTo>
                  <a:lnTo>
                    <a:pt x="684" y="636"/>
                  </a:lnTo>
                  <a:lnTo>
                    <a:pt x="709" y="615"/>
                  </a:lnTo>
                  <a:lnTo>
                    <a:pt x="737" y="591"/>
                  </a:lnTo>
                  <a:lnTo>
                    <a:pt x="744" y="585"/>
                  </a:lnTo>
                  <a:lnTo>
                    <a:pt x="750" y="578"/>
                  </a:lnTo>
                  <a:lnTo>
                    <a:pt x="755" y="571"/>
                  </a:lnTo>
                  <a:lnTo>
                    <a:pt x="760" y="564"/>
                  </a:lnTo>
                  <a:lnTo>
                    <a:pt x="764" y="557"/>
                  </a:lnTo>
                  <a:lnTo>
                    <a:pt x="767" y="548"/>
                  </a:lnTo>
                  <a:lnTo>
                    <a:pt x="769" y="541"/>
                  </a:lnTo>
                  <a:lnTo>
                    <a:pt x="769" y="533"/>
                  </a:lnTo>
                  <a:lnTo>
                    <a:pt x="769" y="525"/>
                  </a:lnTo>
                  <a:lnTo>
                    <a:pt x="767" y="518"/>
                  </a:lnTo>
                  <a:lnTo>
                    <a:pt x="764" y="512"/>
                  </a:lnTo>
                  <a:lnTo>
                    <a:pt x="760" y="506"/>
                  </a:lnTo>
                  <a:lnTo>
                    <a:pt x="751" y="492"/>
                  </a:lnTo>
                  <a:lnTo>
                    <a:pt x="742" y="480"/>
                  </a:lnTo>
                  <a:lnTo>
                    <a:pt x="731" y="467"/>
                  </a:lnTo>
                  <a:lnTo>
                    <a:pt x="722" y="452"/>
                  </a:lnTo>
                  <a:lnTo>
                    <a:pt x="719" y="445"/>
                  </a:lnTo>
                  <a:lnTo>
                    <a:pt x="716" y="438"/>
                  </a:lnTo>
                  <a:lnTo>
                    <a:pt x="713" y="429"/>
                  </a:lnTo>
                  <a:lnTo>
                    <a:pt x="713" y="421"/>
                  </a:lnTo>
                  <a:lnTo>
                    <a:pt x="715" y="420"/>
                  </a:lnTo>
                  <a:lnTo>
                    <a:pt x="715" y="419"/>
                  </a:lnTo>
                  <a:lnTo>
                    <a:pt x="722" y="418"/>
                  </a:lnTo>
                  <a:lnTo>
                    <a:pt x="729" y="418"/>
                  </a:lnTo>
                  <a:lnTo>
                    <a:pt x="736" y="419"/>
                  </a:lnTo>
                  <a:lnTo>
                    <a:pt x="743" y="419"/>
                  </a:lnTo>
                  <a:lnTo>
                    <a:pt x="756" y="422"/>
                  </a:lnTo>
                  <a:lnTo>
                    <a:pt x="770" y="424"/>
                  </a:lnTo>
                  <a:lnTo>
                    <a:pt x="776" y="425"/>
                  </a:lnTo>
                  <a:lnTo>
                    <a:pt x="783" y="425"/>
                  </a:lnTo>
                  <a:lnTo>
                    <a:pt x="791" y="425"/>
                  </a:lnTo>
                  <a:lnTo>
                    <a:pt x="798" y="424"/>
                  </a:lnTo>
                  <a:lnTo>
                    <a:pt x="805" y="422"/>
                  </a:lnTo>
                  <a:lnTo>
                    <a:pt x="813" y="420"/>
                  </a:lnTo>
                  <a:lnTo>
                    <a:pt x="821" y="416"/>
                  </a:lnTo>
                  <a:lnTo>
                    <a:pt x="830" y="411"/>
                  </a:lnTo>
                  <a:lnTo>
                    <a:pt x="837" y="406"/>
                  </a:lnTo>
                  <a:lnTo>
                    <a:pt x="843" y="401"/>
                  </a:lnTo>
                  <a:lnTo>
                    <a:pt x="848" y="395"/>
                  </a:lnTo>
                  <a:lnTo>
                    <a:pt x="853" y="389"/>
                  </a:lnTo>
                  <a:lnTo>
                    <a:pt x="863" y="376"/>
                  </a:lnTo>
                  <a:lnTo>
                    <a:pt x="873" y="364"/>
                  </a:lnTo>
                  <a:lnTo>
                    <a:pt x="878" y="358"/>
                  </a:lnTo>
                  <a:lnTo>
                    <a:pt x="883" y="352"/>
                  </a:lnTo>
                  <a:lnTo>
                    <a:pt x="890" y="348"/>
                  </a:lnTo>
                  <a:lnTo>
                    <a:pt x="896" y="343"/>
                  </a:lnTo>
                  <a:lnTo>
                    <a:pt x="904" y="340"/>
                  </a:lnTo>
                  <a:lnTo>
                    <a:pt x="912" y="337"/>
                  </a:lnTo>
                  <a:lnTo>
                    <a:pt x="921" y="336"/>
                  </a:lnTo>
                  <a:lnTo>
                    <a:pt x="931" y="334"/>
                  </a:lnTo>
                  <a:lnTo>
                    <a:pt x="937" y="337"/>
                  </a:lnTo>
                  <a:lnTo>
                    <a:pt x="942" y="338"/>
                  </a:lnTo>
                  <a:lnTo>
                    <a:pt x="947" y="338"/>
                  </a:lnTo>
                  <a:lnTo>
                    <a:pt x="952" y="338"/>
                  </a:lnTo>
                  <a:lnTo>
                    <a:pt x="963" y="334"/>
                  </a:lnTo>
                  <a:lnTo>
                    <a:pt x="972" y="330"/>
                  </a:lnTo>
                  <a:lnTo>
                    <a:pt x="981" y="325"/>
                  </a:lnTo>
                  <a:lnTo>
                    <a:pt x="992" y="321"/>
                  </a:lnTo>
                  <a:lnTo>
                    <a:pt x="996" y="320"/>
                  </a:lnTo>
                  <a:lnTo>
                    <a:pt x="1001" y="318"/>
                  </a:lnTo>
                  <a:lnTo>
                    <a:pt x="1008" y="318"/>
                  </a:lnTo>
                  <a:lnTo>
                    <a:pt x="1013" y="318"/>
                  </a:lnTo>
                  <a:lnTo>
                    <a:pt x="1020" y="319"/>
                  </a:lnTo>
                  <a:lnTo>
                    <a:pt x="1027" y="321"/>
                  </a:lnTo>
                  <a:lnTo>
                    <a:pt x="1034" y="325"/>
                  </a:lnTo>
                  <a:lnTo>
                    <a:pt x="1039" y="329"/>
                  </a:lnTo>
                  <a:lnTo>
                    <a:pt x="1048" y="340"/>
                  </a:lnTo>
                  <a:lnTo>
                    <a:pt x="1058" y="350"/>
                  </a:lnTo>
                  <a:lnTo>
                    <a:pt x="1063" y="355"/>
                  </a:lnTo>
                  <a:lnTo>
                    <a:pt x="1068" y="360"/>
                  </a:lnTo>
                  <a:lnTo>
                    <a:pt x="1073" y="363"/>
                  </a:lnTo>
                  <a:lnTo>
                    <a:pt x="1079" y="365"/>
                  </a:lnTo>
                  <a:lnTo>
                    <a:pt x="1087" y="366"/>
                  </a:lnTo>
                  <a:lnTo>
                    <a:pt x="1095" y="365"/>
                  </a:lnTo>
                  <a:lnTo>
                    <a:pt x="1104" y="362"/>
                  </a:lnTo>
                  <a:lnTo>
                    <a:pt x="1115" y="356"/>
                  </a:lnTo>
                  <a:lnTo>
                    <a:pt x="1128" y="347"/>
                  </a:lnTo>
                  <a:lnTo>
                    <a:pt x="1142" y="336"/>
                  </a:lnTo>
                  <a:lnTo>
                    <a:pt x="1157" y="322"/>
                  </a:lnTo>
                  <a:lnTo>
                    <a:pt x="1171" y="307"/>
                  </a:lnTo>
                  <a:lnTo>
                    <a:pt x="1186" y="295"/>
                  </a:lnTo>
                  <a:lnTo>
                    <a:pt x="1200" y="283"/>
                  </a:lnTo>
                  <a:lnTo>
                    <a:pt x="1209" y="279"/>
                  </a:lnTo>
                  <a:lnTo>
                    <a:pt x="1216" y="276"/>
                  </a:lnTo>
                  <a:lnTo>
                    <a:pt x="1223" y="274"/>
                  </a:lnTo>
                  <a:lnTo>
                    <a:pt x="1231" y="274"/>
                  </a:lnTo>
                  <a:lnTo>
                    <a:pt x="1233" y="277"/>
                  </a:lnTo>
                  <a:lnTo>
                    <a:pt x="1234" y="281"/>
                  </a:lnTo>
                  <a:lnTo>
                    <a:pt x="1235" y="285"/>
                  </a:lnTo>
                  <a:lnTo>
                    <a:pt x="1236" y="292"/>
                  </a:lnTo>
                  <a:lnTo>
                    <a:pt x="1235" y="305"/>
                  </a:lnTo>
                  <a:lnTo>
                    <a:pt x="1234" y="321"/>
                  </a:lnTo>
                  <a:lnTo>
                    <a:pt x="1234" y="337"/>
                  </a:lnTo>
                  <a:lnTo>
                    <a:pt x="1235" y="353"/>
                  </a:lnTo>
                  <a:lnTo>
                    <a:pt x="1236" y="361"/>
                  </a:lnTo>
                  <a:lnTo>
                    <a:pt x="1238" y="368"/>
                  </a:lnTo>
                  <a:lnTo>
                    <a:pt x="1241" y="374"/>
                  </a:lnTo>
                  <a:lnTo>
                    <a:pt x="1245" y="380"/>
                  </a:lnTo>
                  <a:lnTo>
                    <a:pt x="1249" y="386"/>
                  </a:lnTo>
                  <a:lnTo>
                    <a:pt x="1254" y="390"/>
                  </a:lnTo>
                  <a:lnTo>
                    <a:pt x="1259" y="394"/>
                  </a:lnTo>
                  <a:lnTo>
                    <a:pt x="1265" y="397"/>
                  </a:lnTo>
                  <a:lnTo>
                    <a:pt x="1271" y="399"/>
                  </a:lnTo>
                  <a:lnTo>
                    <a:pt x="1278" y="401"/>
                  </a:lnTo>
                  <a:lnTo>
                    <a:pt x="1284" y="403"/>
                  </a:lnTo>
                  <a:lnTo>
                    <a:pt x="1291" y="404"/>
                  </a:lnTo>
                  <a:lnTo>
                    <a:pt x="1297" y="404"/>
                  </a:lnTo>
                  <a:lnTo>
                    <a:pt x="1305" y="404"/>
                  </a:lnTo>
                  <a:lnTo>
                    <a:pt x="1311" y="403"/>
                  </a:lnTo>
                  <a:lnTo>
                    <a:pt x="1318" y="402"/>
                  </a:lnTo>
                  <a:lnTo>
                    <a:pt x="1324" y="400"/>
                  </a:lnTo>
                  <a:lnTo>
                    <a:pt x="1330" y="397"/>
                  </a:lnTo>
                  <a:lnTo>
                    <a:pt x="1336" y="394"/>
                  </a:lnTo>
                  <a:lnTo>
                    <a:pt x="1341" y="391"/>
                  </a:lnTo>
                  <a:lnTo>
                    <a:pt x="1344" y="388"/>
                  </a:lnTo>
                  <a:lnTo>
                    <a:pt x="1347" y="385"/>
                  </a:lnTo>
                  <a:lnTo>
                    <a:pt x="1350" y="380"/>
                  </a:lnTo>
                  <a:lnTo>
                    <a:pt x="1352" y="377"/>
                  </a:lnTo>
                  <a:lnTo>
                    <a:pt x="1354" y="369"/>
                  </a:lnTo>
                  <a:lnTo>
                    <a:pt x="1355" y="360"/>
                  </a:lnTo>
                  <a:lnTo>
                    <a:pt x="1355" y="341"/>
                  </a:lnTo>
                  <a:lnTo>
                    <a:pt x="1354" y="322"/>
                  </a:lnTo>
                  <a:lnTo>
                    <a:pt x="1354" y="313"/>
                  </a:lnTo>
                  <a:lnTo>
                    <a:pt x="1354" y="304"/>
                  </a:lnTo>
                  <a:lnTo>
                    <a:pt x="1355" y="297"/>
                  </a:lnTo>
                  <a:lnTo>
                    <a:pt x="1358" y="291"/>
                  </a:lnTo>
                  <a:lnTo>
                    <a:pt x="1359" y="289"/>
                  </a:lnTo>
                  <a:lnTo>
                    <a:pt x="1361" y="286"/>
                  </a:lnTo>
                  <a:lnTo>
                    <a:pt x="1364" y="284"/>
                  </a:lnTo>
                  <a:lnTo>
                    <a:pt x="1367" y="282"/>
                  </a:lnTo>
                  <a:lnTo>
                    <a:pt x="1370" y="282"/>
                  </a:lnTo>
                  <a:lnTo>
                    <a:pt x="1376" y="281"/>
                  </a:lnTo>
                  <a:lnTo>
                    <a:pt x="1380" y="281"/>
                  </a:lnTo>
                  <a:lnTo>
                    <a:pt x="1385" y="282"/>
                  </a:lnTo>
                  <a:lnTo>
                    <a:pt x="1397" y="283"/>
                  </a:lnTo>
                  <a:lnTo>
                    <a:pt x="1413" y="283"/>
                  </a:lnTo>
                  <a:lnTo>
                    <a:pt x="1432" y="282"/>
                  </a:lnTo>
                  <a:lnTo>
                    <a:pt x="1454" y="281"/>
                  </a:lnTo>
                  <a:lnTo>
                    <a:pt x="1503" y="275"/>
                  </a:lnTo>
                  <a:lnTo>
                    <a:pt x="1557" y="268"/>
                  </a:lnTo>
                  <a:lnTo>
                    <a:pt x="1609" y="258"/>
                  </a:lnTo>
                  <a:lnTo>
                    <a:pt x="1656" y="248"/>
                  </a:lnTo>
                  <a:lnTo>
                    <a:pt x="1675" y="243"/>
                  </a:lnTo>
                  <a:lnTo>
                    <a:pt x="1691" y="237"/>
                  </a:lnTo>
                  <a:lnTo>
                    <a:pt x="1704" y="232"/>
                  </a:lnTo>
                  <a:lnTo>
                    <a:pt x="1711" y="228"/>
                  </a:lnTo>
                  <a:lnTo>
                    <a:pt x="1729" y="208"/>
                  </a:lnTo>
                  <a:lnTo>
                    <a:pt x="1744" y="192"/>
                  </a:lnTo>
                  <a:lnTo>
                    <a:pt x="1748" y="189"/>
                  </a:lnTo>
                  <a:lnTo>
                    <a:pt x="1751" y="186"/>
                  </a:lnTo>
                  <a:lnTo>
                    <a:pt x="1756" y="184"/>
                  </a:lnTo>
                  <a:lnTo>
                    <a:pt x="1761" y="182"/>
                  </a:lnTo>
                  <a:lnTo>
                    <a:pt x="1768" y="182"/>
                  </a:lnTo>
                  <a:lnTo>
                    <a:pt x="1774" y="181"/>
                  </a:lnTo>
                  <a:lnTo>
                    <a:pt x="1781" y="182"/>
                  </a:lnTo>
                  <a:lnTo>
                    <a:pt x="1791" y="183"/>
                  </a:lnTo>
                  <a:lnTo>
                    <a:pt x="1812" y="185"/>
                  </a:lnTo>
                  <a:lnTo>
                    <a:pt x="1834" y="186"/>
                  </a:lnTo>
                  <a:lnTo>
                    <a:pt x="1855" y="185"/>
                  </a:lnTo>
                  <a:lnTo>
                    <a:pt x="1877" y="185"/>
                  </a:lnTo>
                  <a:lnTo>
                    <a:pt x="1883" y="182"/>
                  </a:lnTo>
                  <a:lnTo>
                    <a:pt x="1890" y="180"/>
                  </a:lnTo>
                  <a:lnTo>
                    <a:pt x="1890" y="180"/>
                  </a:lnTo>
                  <a:lnTo>
                    <a:pt x="1904" y="181"/>
                  </a:lnTo>
                  <a:lnTo>
                    <a:pt x="1927" y="181"/>
                  </a:lnTo>
                  <a:lnTo>
                    <a:pt x="1955" y="182"/>
                  </a:lnTo>
                  <a:lnTo>
                    <a:pt x="1984" y="182"/>
                  </a:lnTo>
                  <a:lnTo>
                    <a:pt x="2014" y="181"/>
                  </a:lnTo>
                  <a:lnTo>
                    <a:pt x="2039" y="179"/>
                  </a:lnTo>
                  <a:lnTo>
                    <a:pt x="2050" y="177"/>
                  </a:lnTo>
                  <a:lnTo>
                    <a:pt x="2059" y="174"/>
                  </a:lnTo>
                  <a:lnTo>
                    <a:pt x="2065" y="171"/>
                  </a:lnTo>
                  <a:lnTo>
                    <a:pt x="2069" y="167"/>
                  </a:lnTo>
                  <a:lnTo>
                    <a:pt x="2076" y="162"/>
                  </a:lnTo>
                  <a:lnTo>
                    <a:pt x="2081" y="158"/>
                  </a:lnTo>
                  <a:lnTo>
                    <a:pt x="2087" y="153"/>
                  </a:lnTo>
                  <a:lnTo>
                    <a:pt x="2090" y="148"/>
                  </a:lnTo>
                  <a:lnTo>
                    <a:pt x="2092" y="143"/>
                  </a:lnTo>
                  <a:lnTo>
                    <a:pt x="2094" y="136"/>
                  </a:lnTo>
                  <a:lnTo>
                    <a:pt x="2095" y="130"/>
                  </a:lnTo>
                  <a:lnTo>
                    <a:pt x="2096" y="123"/>
                  </a:lnTo>
                  <a:lnTo>
                    <a:pt x="2097" y="110"/>
                  </a:lnTo>
                  <a:lnTo>
                    <a:pt x="2098" y="98"/>
                  </a:lnTo>
                  <a:lnTo>
                    <a:pt x="2099" y="91"/>
                  </a:lnTo>
                  <a:lnTo>
                    <a:pt x="2100" y="85"/>
                  </a:lnTo>
                  <a:lnTo>
                    <a:pt x="2102" y="80"/>
                  </a:lnTo>
                  <a:lnTo>
                    <a:pt x="2105" y="76"/>
                  </a:lnTo>
                  <a:lnTo>
                    <a:pt x="2114" y="74"/>
                  </a:lnTo>
                  <a:lnTo>
                    <a:pt x="2122" y="73"/>
                  </a:lnTo>
                  <a:lnTo>
                    <a:pt x="2130" y="72"/>
                  </a:lnTo>
                  <a:lnTo>
                    <a:pt x="2139" y="72"/>
                  </a:lnTo>
                  <a:lnTo>
                    <a:pt x="2148" y="73"/>
                  </a:lnTo>
                  <a:lnTo>
                    <a:pt x="2157" y="72"/>
                  </a:lnTo>
                  <a:lnTo>
                    <a:pt x="2166" y="71"/>
                  </a:lnTo>
                  <a:lnTo>
                    <a:pt x="2174" y="68"/>
                  </a:lnTo>
                  <a:lnTo>
                    <a:pt x="2179" y="66"/>
                  </a:lnTo>
                  <a:lnTo>
                    <a:pt x="2184" y="63"/>
                  </a:lnTo>
                  <a:lnTo>
                    <a:pt x="2188" y="60"/>
                  </a:lnTo>
                  <a:lnTo>
                    <a:pt x="2192" y="56"/>
                  </a:lnTo>
                  <a:lnTo>
                    <a:pt x="2199" y="48"/>
                  </a:lnTo>
                  <a:lnTo>
                    <a:pt x="2207" y="38"/>
                  </a:lnTo>
                  <a:lnTo>
                    <a:pt x="2219" y="17"/>
                  </a:lnTo>
                  <a:lnTo>
                    <a:pt x="2233" y="0"/>
                  </a:lnTo>
                  <a:lnTo>
                    <a:pt x="2233" y="0"/>
                  </a:lnTo>
                  <a:lnTo>
                    <a:pt x="2250" y="3"/>
                  </a:lnTo>
                  <a:lnTo>
                    <a:pt x="2268" y="6"/>
                  </a:lnTo>
                  <a:lnTo>
                    <a:pt x="2285" y="10"/>
                  </a:lnTo>
                  <a:lnTo>
                    <a:pt x="2302" y="14"/>
                  </a:lnTo>
                  <a:lnTo>
                    <a:pt x="2319" y="20"/>
                  </a:lnTo>
                  <a:lnTo>
                    <a:pt x="2335" y="27"/>
                  </a:lnTo>
                  <a:lnTo>
                    <a:pt x="2350" y="36"/>
                  </a:lnTo>
                  <a:lnTo>
                    <a:pt x="2366" y="46"/>
                  </a:lnTo>
                  <a:lnTo>
                    <a:pt x="2372" y="52"/>
                  </a:lnTo>
                  <a:lnTo>
                    <a:pt x="2379" y="58"/>
                  </a:lnTo>
                  <a:lnTo>
                    <a:pt x="2383" y="63"/>
                  </a:lnTo>
                  <a:lnTo>
                    <a:pt x="2387" y="70"/>
                  </a:lnTo>
                  <a:lnTo>
                    <a:pt x="2390" y="76"/>
                  </a:lnTo>
                  <a:lnTo>
                    <a:pt x="2392" y="82"/>
                  </a:lnTo>
                  <a:lnTo>
                    <a:pt x="2393" y="88"/>
                  </a:lnTo>
                  <a:lnTo>
                    <a:pt x="2394" y="95"/>
                  </a:lnTo>
                  <a:lnTo>
                    <a:pt x="2395" y="122"/>
                  </a:lnTo>
                  <a:lnTo>
                    <a:pt x="2398" y="152"/>
                  </a:lnTo>
                  <a:lnTo>
                    <a:pt x="2407" y="159"/>
                  </a:lnTo>
                  <a:lnTo>
                    <a:pt x="2415" y="167"/>
                  </a:lnTo>
                  <a:lnTo>
                    <a:pt x="2422" y="172"/>
                  </a:lnTo>
                  <a:lnTo>
                    <a:pt x="2431" y="176"/>
                  </a:lnTo>
                  <a:lnTo>
                    <a:pt x="2439" y="178"/>
                  </a:lnTo>
                  <a:lnTo>
                    <a:pt x="2447" y="181"/>
                  </a:lnTo>
                  <a:lnTo>
                    <a:pt x="2459" y="182"/>
                  </a:lnTo>
                  <a:lnTo>
                    <a:pt x="2470" y="184"/>
                  </a:lnTo>
                  <a:lnTo>
                    <a:pt x="2480" y="185"/>
                  </a:lnTo>
                  <a:lnTo>
                    <a:pt x="2487" y="188"/>
                  </a:lnTo>
                  <a:lnTo>
                    <a:pt x="2493" y="194"/>
                  </a:lnTo>
                  <a:lnTo>
                    <a:pt x="2499" y="199"/>
                  </a:lnTo>
                  <a:lnTo>
                    <a:pt x="2507" y="211"/>
                  </a:lnTo>
                  <a:lnTo>
                    <a:pt x="2515" y="225"/>
                  </a:lnTo>
                  <a:lnTo>
                    <a:pt x="2512" y="264"/>
                  </a:lnTo>
                  <a:lnTo>
                    <a:pt x="2509" y="303"/>
                  </a:lnTo>
                  <a:lnTo>
                    <a:pt x="2509" y="313"/>
                  </a:lnTo>
                  <a:lnTo>
                    <a:pt x="2509" y="322"/>
                  </a:lnTo>
                  <a:lnTo>
                    <a:pt x="2509" y="331"/>
                  </a:lnTo>
                  <a:lnTo>
                    <a:pt x="2511" y="341"/>
                  </a:lnTo>
                  <a:lnTo>
                    <a:pt x="2513" y="349"/>
                  </a:lnTo>
                  <a:lnTo>
                    <a:pt x="2516" y="357"/>
                  </a:lnTo>
                  <a:lnTo>
                    <a:pt x="2520" y="366"/>
                  </a:lnTo>
                  <a:lnTo>
                    <a:pt x="2526" y="374"/>
                  </a:lnTo>
                  <a:lnTo>
                    <a:pt x="2531" y="379"/>
                  </a:lnTo>
                  <a:lnTo>
                    <a:pt x="2535" y="384"/>
                  </a:lnTo>
                  <a:lnTo>
                    <a:pt x="2541" y="388"/>
                  </a:lnTo>
                  <a:lnTo>
                    <a:pt x="2548" y="391"/>
                  </a:lnTo>
                  <a:lnTo>
                    <a:pt x="2560" y="396"/>
                  </a:lnTo>
                  <a:lnTo>
                    <a:pt x="2575" y="399"/>
                  </a:lnTo>
                  <a:lnTo>
                    <a:pt x="2604" y="403"/>
                  </a:lnTo>
                  <a:lnTo>
                    <a:pt x="2631" y="409"/>
                  </a:lnTo>
                  <a:lnTo>
                    <a:pt x="2641" y="413"/>
                  </a:lnTo>
                  <a:lnTo>
                    <a:pt x="2652" y="420"/>
                  </a:lnTo>
                  <a:lnTo>
                    <a:pt x="2662" y="428"/>
                  </a:lnTo>
                  <a:lnTo>
                    <a:pt x="2673" y="438"/>
                  </a:lnTo>
                  <a:lnTo>
                    <a:pt x="2683" y="449"/>
                  </a:lnTo>
                  <a:lnTo>
                    <a:pt x="2692" y="461"/>
                  </a:lnTo>
                  <a:lnTo>
                    <a:pt x="2702" y="474"/>
                  </a:lnTo>
                  <a:lnTo>
                    <a:pt x="2711" y="488"/>
                  </a:lnTo>
                  <a:lnTo>
                    <a:pt x="2729" y="516"/>
                  </a:lnTo>
                  <a:lnTo>
                    <a:pt x="2746" y="543"/>
                  </a:lnTo>
                  <a:lnTo>
                    <a:pt x="2761" y="568"/>
                  </a:lnTo>
                  <a:lnTo>
                    <a:pt x="2776" y="588"/>
                  </a:lnTo>
                  <a:lnTo>
                    <a:pt x="2776" y="616"/>
                  </a:lnTo>
                  <a:lnTo>
                    <a:pt x="2777" y="645"/>
                  </a:lnTo>
                  <a:lnTo>
                    <a:pt x="2778" y="653"/>
                  </a:lnTo>
                  <a:lnTo>
                    <a:pt x="2780" y="660"/>
                  </a:lnTo>
                  <a:lnTo>
                    <a:pt x="2782" y="666"/>
                  </a:lnTo>
                  <a:lnTo>
                    <a:pt x="2784" y="673"/>
                  </a:lnTo>
                  <a:lnTo>
                    <a:pt x="2788" y="679"/>
                  </a:lnTo>
                  <a:lnTo>
                    <a:pt x="2793" y="684"/>
                  </a:lnTo>
                  <a:lnTo>
                    <a:pt x="2798" y="689"/>
                  </a:lnTo>
                  <a:lnTo>
                    <a:pt x="2804" y="693"/>
                  </a:lnTo>
                  <a:lnTo>
                    <a:pt x="2809" y="696"/>
                  </a:lnTo>
                  <a:lnTo>
                    <a:pt x="2815" y="699"/>
                  </a:lnTo>
                  <a:lnTo>
                    <a:pt x="2822" y="701"/>
                  </a:lnTo>
                  <a:lnTo>
                    <a:pt x="2828" y="702"/>
                  </a:lnTo>
                  <a:lnTo>
                    <a:pt x="2842" y="704"/>
                  </a:lnTo>
                  <a:lnTo>
                    <a:pt x="2855" y="704"/>
                  </a:lnTo>
                  <a:lnTo>
                    <a:pt x="2883" y="703"/>
                  </a:lnTo>
                  <a:lnTo>
                    <a:pt x="2910" y="701"/>
                  </a:lnTo>
                  <a:lnTo>
                    <a:pt x="2917" y="707"/>
                  </a:lnTo>
                  <a:lnTo>
                    <a:pt x="2921" y="714"/>
                  </a:lnTo>
                  <a:lnTo>
                    <a:pt x="2924" y="722"/>
                  </a:lnTo>
                  <a:lnTo>
                    <a:pt x="2927" y="730"/>
                  </a:lnTo>
                  <a:lnTo>
                    <a:pt x="2929" y="748"/>
                  </a:lnTo>
                  <a:lnTo>
                    <a:pt x="2930" y="765"/>
                  </a:lnTo>
                  <a:lnTo>
                    <a:pt x="2933" y="772"/>
                  </a:lnTo>
                  <a:lnTo>
                    <a:pt x="2936" y="777"/>
                  </a:lnTo>
                  <a:lnTo>
                    <a:pt x="2957" y="783"/>
                  </a:lnTo>
                  <a:lnTo>
                    <a:pt x="2957" y="783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0" name="Freeform 147">
              <a:extLst>
                <a:ext uri="{FF2B5EF4-FFF2-40B4-BE49-F238E27FC236}">
                  <a16:creationId xmlns:a16="http://schemas.microsoft.com/office/drawing/2014/main" id="{3E3964E1-DD60-44E4-BDDC-F80BBC4AD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036" y="4454161"/>
              <a:ext cx="868204" cy="842223"/>
            </a:xfrm>
            <a:custGeom>
              <a:avLst/>
              <a:gdLst>
                <a:gd name="T0" fmla="*/ 2035 w 3456"/>
                <a:gd name="T1" fmla="*/ 2126 h 3472"/>
                <a:gd name="T2" fmla="*/ 2145 w 3456"/>
                <a:gd name="T3" fmla="*/ 2006 h 3472"/>
                <a:gd name="T4" fmla="*/ 2310 w 3456"/>
                <a:gd name="T5" fmla="*/ 2036 h 3472"/>
                <a:gd name="T6" fmla="*/ 2459 w 3456"/>
                <a:gd name="T7" fmla="*/ 2360 h 3472"/>
                <a:gd name="T8" fmla="*/ 2721 w 3456"/>
                <a:gd name="T9" fmla="*/ 2435 h 3472"/>
                <a:gd name="T10" fmla="*/ 2931 w 3456"/>
                <a:gd name="T11" fmla="*/ 2442 h 3472"/>
                <a:gd name="T12" fmla="*/ 3032 w 3456"/>
                <a:gd name="T13" fmla="*/ 2476 h 3472"/>
                <a:gd name="T14" fmla="*/ 3102 w 3456"/>
                <a:gd name="T15" fmla="*/ 2589 h 3472"/>
                <a:gd name="T16" fmla="*/ 3177 w 3456"/>
                <a:gd name="T17" fmla="*/ 2701 h 3472"/>
                <a:gd name="T18" fmla="*/ 3208 w 3456"/>
                <a:gd name="T19" fmla="*/ 2620 h 3472"/>
                <a:gd name="T20" fmla="*/ 3141 w 3456"/>
                <a:gd name="T21" fmla="*/ 2460 h 3472"/>
                <a:gd name="T22" fmla="*/ 3064 w 3456"/>
                <a:gd name="T23" fmla="*/ 2343 h 3472"/>
                <a:gd name="T24" fmla="*/ 3163 w 3456"/>
                <a:gd name="T25" fmla="*/ 2161 h 3472"/>
                <a:gd name="T26" fmla="*/ 3149 w 3456"/>
                <a:gd name="T27" fmla="*/ 2121 h 3472"/>
                <a:gd name="T28" fmla="*/ 3339 w 3456"/>
                <a:gd name="T29" fmla="*/ 2078 h 3472"/>
                <a:gd name="T30" fmla="*/ 3438 w 3456"/>
                <a:gd name="T31" fmla="*/ 2018 h 3472"/>
                <a:gd name="T32" fmla="*/ 3410 w 3456"/>
                <a:gd name="T33" fmla="*/ 1785 h 3472"/>
                <a:gd name="T34" fmla="*/ 3229 w 3456"/>
                <a:gd name="T35" fmla="*/ 1652 h 3472"/>
                <a:gd name="T36" fmla="*/ 3160 w 3456"/>
                <a:gd name="T37" fmla="*/ 1812 h 3472"/>
                <a:gd name="T38" fmla="*/ 3148 w 3456"/>
                <a:gd name="T39" fmla="*/ 1971 h 3472"/>
                <a:gd name="T40" fmla="*/ 2946 w 3456"/>
                <a:gd name="T41" fmla="*/ 1766 h 3472"/>
                <a:gd name="T42" fmla="*/ 2756 w 3456"/>
                <a:gd name="T43" fmla="*/ 1708 h 3472"/>
                <a:gd name="T44" fmla="*/ 2533 w 3456"/>
                <a:gd name="T45" fmla="*/ 1829 h 3472"/>
                <a:gd name="T46" fmla="*/ 2338 w 3456"/>
                <a:gd name="T47" fmla="*/ 1867 h 3472"/>
                <a:gd name="T48" fmla="*/ 2137 w 3456"/>
                <a:gd name="T49" fmla="*/ 1737 h 3472"/>
                <a:gd name="T50" fmla="*/ 1995 w 3456"/>
                <a:gd name="T51" fmla="*/ 1657 h 3472"/>
                <a:gd name="T52" fmla="*/ 2105 w 3456"/>
                <a:gd name="T53" fmla="*/ 1495 h 3472"/>
                <a:gd name="T54" fmla="*/ 2203 w 3456"/>
                <a:gd name="T55" fmla="*/ 1352 h 3472"/>
                <a:gd name="T56" fmla="*/ 1994 w 3456"/>
                <a:gd name="T57" fmla="*/ 1336 h 3472"/>
                <a:gd name="T58" fmla="*/ 1776 w 3456"/>
                <a:gd name="T59" fmla="*/ 1143 h 3472"/>
                <a:gd name="T60" fmla="*/ 1752 w 3456"/>
                <a:gd name="T61" fmla="*/ 880 h 3472"/>
                <a:gd name="T62" fmla="*/ 1920 w 3456"/>
                <a:gd name="T63" fmla="*/ 546 h 3472"/>
                <a:gd name="T64" fmla="*/ 1978 w 3456"/>
                <a:gd name="T65" fmla="*/ 245 h 3472"/>
                <a:gd name="T66" fmla="*/ 1673 w 3456"/>
                <a:gd name="T67" fmla="*/ 109 h 3472"/>
                <a:gd name="T68" fmla="*/ 1564 w 3456"/>
                <a:gd name="T69" fmla="*/ 76 h 3472"/>
                <a:gd name="T70" fmla="*/ 1614 w 3456"/>
                <a:gd name="T71" fmla="*/ 254 h 3472"/>
                <a:gd name="T72" fmla="*/ 1565 w 3456"/>
                <a:gd name="T73" fmla="*/ 361 h 3472"/>
                <a:gd name="T74" fmla="*/ 1682 w 3456"/>
                <a:gd name="T75" fmla="*/ 511 h 3472"/>
                <a:gd name="T76" fmla="*/ 1464 w 3456"/>
                <a:gd name="T77" fmla="*/ 680 h 3472"/>
                <a:gd name="T78" fmla="*/ 1365 w 3456"/>
                <a:gd name="T79" fmla="*/ 863 h 3472"/>
                <a:gd name="T80" fmla="*/ 1191 w 3456"/>
                <a:gd name="T81" fmla="*/ 1153 h 3472"/>
                <a:gd name="T82" fmla="*/ 921 w 3456"/>
                <a:gd name="T83" fmla="*/ 1385 h 3472"/>
                <a:gd name="T84" fmla="*/ 564 w 3456"/>
                <a:gd name="T85" fmla="*/ 1441 h 3472"/>
                <a:gd name="T86" fmla="*/ 310 w 3456"/>
                <a:gd name="T87" fmla="*/ 1386 h 3472"/>
                <a:gd name="T88" fmla="*/ 249 w 3456"/>
                <a:gd name="T89" fmla="*/ 1656 h 3472"/>
                <a:gd name="T90" fmla="*/ 87 w 3456"/>
                <a:gd name="T91" fmla="*/ 1908 h 3472"/>
                <a:gd name="T92" fmla="*/ 12 w 3456"/>
                <a:gd name="T93" fmla="*/ 2113 h 3472"/>
                <a:gd name="T94" fmla="*/ 55 w 3456"/>
                <a:gd name="T95" fmla="*/ 2383 h 3472"/>
                <a:gd name="T96" fmla="*/ 57 w 3456"/>
                <a:gd name="T97" fmla="*/ 2569 h 3472"/>
                <a:gd name="T98" fmla="*/ 161 w 3456"/>
                <a:gd name="T99" fmla="*/ 2784 h 3472"/>
                <a:gd name="T100" fmla="*/ 298 w 3456"/>
                <a:gd name="T101" fmla="*/ 3068 h 3472"/>
                <a:gd name="T102" fmla="*/ 560 w 3456"/>
                <a:gd name="T103" fmla="*/ 3373 h 3472"/>
                <a:gd name="T104" fmla="*/ 795 w 3456"/>
                <a:gd name="T105" fmla="*/ 3428 h 3472"/>
                <a:gd name="T106" fmla="*/ 1120 w 3456"/>
                <a:gd name="T107" fmla="*/ 3335 h 3472"/>
                <a:gd name="T108" fmla="*/ 1285 w 3456"/>
                <a:gd name="T109" fmla="*/ 3157 h 3472"/>
                <a:gd name="T110" fmla="*/ 1412 w 3456"/>
                <a:gd name="T111" fmla="*/ 3068 h 3472"/>
                <a:gd name="T112" fmla="*/ 1529 w 3456"/>
                <a:gd name="T113" fmla="*/ 3145 h 3472"/>
                <a:gd name="T114" fmla="*/ 1608 w 3456"/>
                <a:gd name="T115" fmla="*/ 2986 h 3472"/>
                <a:gd name="T116" fmla="*/ 1730 w 3456"/>
                <a:gd name="T117" fmla="*/ 2895 h 3472"/>
                <a:gd name="T118" fmla="*/ 1765 w 3456"/>
                <a:gd name="T119" fmla="*/ 2657 h 3472"/>
                <a:gd name="T120" fmla="*/ 1895 w 3456"/>
                <a:gd name="T121" fmla="*/ 2507 h 3472"/>
                <a:gd name="T122" fmla="*/ 2005 w 3456"/>
                <a:gd name="T123" fmla="*/ 2332 h 3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56" h="3472">
                  <a:moveTo>
                    <a:pt x="2145" y="2230"/>
                  </a:moveTo>
                  <a:lnTo>
                    <a:pt x="2142" y="2226"/>
                  </a:lnTo>
                  <a:lnTo>
                    <a:pt x="2139" y="2222"/>
                  </a:lnTo>
                  <a:lnTo>
                    <a:pt x="2137" y="2218"/>
                  </a:lnTo>
                  <a:lnTo>
                    <a:pt x="2136" y="2214"/>
                  </a:lnTo>
                  <a:lnTo>
                    <a:pt x="2136" y="2203"/>
                  </a:lnTo>
                  <a:lnTo>
                    <a:pt x="2138" y="2193"/>
                  </a:lnTo>
                  <a:lnTo>
                    <a:pt x="2140" y="2183"/>
                  </a:lnTo>
                  <a:lnTo>
                    <a:pt x="2142" y="2171"/>
                  </a:lnTo>
                  <a:lnTo>
                    <a:pt x="2142" y="2165"/>
                  </a:lnTo>
                  <a:lnTo>
                    <a:pt x="2142" y="2160"/>
                  </a:lnTo>
                  <a:lnTo>
                    <a:pt x="2142" y="2153"/>
                  </a:lnTo>
                  <a:lnTo>
                    <a:pt x="2141" y="2148"/>
                  </a:lnTo>
                  <a:lnTo>
                    <a:pt x="2140" y="2148"/>
                  </a:lnTo>
                  <a:lnTo>
                    <a:pt x="2139" y="2147"/>
                  </a:lnTo>
                  <a:lnTo>
                    <a:pt x="2137" y="2145"/>
                  </a:lnTo>
                  <a:lnTo>
                    <a:pt x="2135" y="2143"/>
                  </a:lnTo>
                  <a:lnTo>
                    <a:pt x="2131" y="2141"/>
                  </a:lnTo>
                  <a:lnTo>
                    <a:pt x="2126" y="2140"/>
                  </a:lnTo>
                  <a:lnTo>
                    <a:pt x="2114" y="2138"/>
                  </a:lnTo>
                  <a:lnTo>
                    <a:pt x="2100" y="2136"/>
                  </a:lnTo>
                  <a:lnTo>
                    <a:pt x="2072" y="2135"/>
                  </a:lnTo>
                  <a:lnTo>
                    <a:pt x="2055" y="2134"/>
                  </a:lnTo>
                  <a:lnTo>
                    <a:pt x="2048" y="2133"/>
                  </a:lnTo>
                  <a:lnTo>
                    <a:pt x="2043" y="2132"/>
                  </a:lnTo>
                  <a:lnTo>
                    <a:pt x="2039" y="2129"/>
                  </a:lnTo>
                  <a:lnTo>
                    <a:pt x="2035" y="2126"/>
                  </a:lnTo>
                  <a:lnTo>
                    <a:pt x="2033" y="2124"/>
                  </a:lnTo>
                  <a:lnTo>
                    <a:pt x="2030" y="2121"/>
                  </a:lnTo>
                  <a:lnTo>
                    <a:pt x="2029" y="2117"/>
                  </a:lnTo>
                  <a:lnTo>
                    <a:pt x="2027" y="2113"/>
                  </a:lnTo>
                  <a:lnTo>
                    <a:pt x="2025" y="2104"/>
                  </a:lnTo>
                  <a:lnTo>
                    <a:pt x="2024" y="2095"/>
                  </a:lnTo>
                  <a:lnTo>
                    <a:pt x="2024" y="2085"/>
                  </a:lnTo>
                  <a:lnTo>
                    <a:pt x="2025" y="2073"/>
                  </a:lnTo>
                  <a:lnTo>
                    <a:pt x="2049" y="2071"/>
                  </a:lnTo>
                  <a:lnTo>
                    <a:pt x="2077" y="2070"/>
                  </a:lnTo>
                  <a:lnTo>
                    <a:pt x="2083" y="2070"/>
                  </a:lnTo>
                  <a:lnTo>
                    <a:pt x="2089" y="2068"/>
                  </a:lnTo>
                  <a:lnTo>
                    <a:pt x="2094" y="2066"/>
                  </a:lnTo>
                  <a:lnTo>
                    <a:pt x="2100" y="2063"/>
                  </a:lnTo>
                  <a:lnTo>
                    <a:pt x="2105" y="2060"/>
                  </a:lnTo>
                  <a:lnTo>
                    <a:pt x="2109" y="2054"/>
                  </a:lnTo>
                  <a:lnTo>
                    <a:pt x="2112" y="2049"/>
                  </a:lnTo>
                  <a:lnTo>
                    <a:pt x="2114" y="2042"/>
                  </a:lnTo>
                  <a:lnTo>
                    <a:pt x="2116" y="2033"/>
                  </a:lnTo>
                  <a:lnTo>
                    <a:pt x="2119" y="2026"/>
                  </a:lnTo>
                  <a:lnTo>
                    <a:pt x="2122" y="2020"/>
                  </a:lnTo>
                  <a:lnTo>
                    <a:pt x="2126" y="2015"/>
                  </a:lnTo>
                  <a:lnTo>
                    <a:pt x="2129" y="2012"/>
                  </a:lnTo>
                  <a:lnTo>
                    <a:pt x="2133" y="2008"/>
                  </a:lnTo>
                  <a:lnTo>
                    <a:pt x="2137" y="2007"/>
                  </a:lnTo>
                  <a:lnTo>
                    <a:pt x="2141" y="2006"/>
                  </a:lnTo>
                  <a:lnTo>
                    <a:pt x="2145" y="2006"/>
                  </a:lnTo>
                  <a:lnTo>
                    <a:pt x="2151" y="2008"/>
                  </a:lnTo>
                  <a:lnTo>
                    <a:pt x="2156" y="2010"/>
                  </a:lnTo>
                  <a:lnTo>
                    <a:pt x="2161" y="2013"/>
                  </a:lnTo>
                  <a:lnTo>
                    <a:pt x="2171" y="2021"/>
                  </a:lnTo>
                  <a:lnTo>
                    <a:pt x="2184" y="2031"/>
                  </a:lnTo>
                  <a:lnTo>
                    <a:pt x="2192" y="2040"/>
                  </a:lnTo>
                  <a:lnTo>
                    <a:pt x="2201" y="2046"/>
                  </a:lnTo>
                  <a:lnTo>
                    <a:pt x="2209" y="2051"/>
                  </a:lnTo>
                  <a:lnTo>
                    <a:pt x="2217" y="2053"/>
                  </a:lnTo>
                  <a:lnTo>
                    <a:pt x="2226" y="2054"/>
                  </a:lnTo>
                  <a:lnTo>
                    <a:pt x="2234" y="2053"/>
                  </a:lnTo>
                  <a:lnTo>
                    <a:pt x="2244" y="2050"/>
                  </a:lnTo>
                  <a:lnTo>
                    <a:pt x="2256" y="2045"/>
                  </a:lnTo>
                  <a:lnTo>
                    <a:pt x="2260" y="2042"/>
                  </a:lnTo>
                  <a:lnTo>
                    <a:pt x="2265" y="2038"/>
                  </a:lnTo>
                  <a:lnTo>
                    <a:pt x="2269" y="2033"/>
                  </a:lnTo>
                  <a:lnTo>
                    <a:pt x="2274" y="2029"/>
                  </a:lnTo>
                  <a:lnTo>
                    <a:pt x="2281" y="2019"/>
                  </a:lnTo>
                  <a:lnTo>
                    <a:pt x="2288" y="2010"/>
                  </a:lnTo>
                  <a:lnTo>
                    <a:pt x="2291" y="2008"/>
                  </a:lnTo>
                  <a:lnTo>
                    <a:pt x="2294" y="2006"/>
                  </a:lnTo>
                  <a:lnTo>
                    <a:pt x="2298" y="2006"/>
                  </a:lnTo>
                  <a:lnTo>
                    <a:pt x="2301" y="2007"/>
                  </a:lnTo>
                  <a:lnTo>
                    <a:pt x="2303" y="2012"/>
                  </a:lnTo>
                  <a:lnTo>
                    <a:pt x="2306" y="2017"/>
                  </a:lnTo>
                  <a:lnTo>
                    <a:pt x="2308" y="2025"/>
                  </a:lnTo>
                  <a:lnTo>
                    <a:pt x="2310" y="2036"/>
                  </a:lnTo>
                  <a:lnTo>
                    <a:pt x="2313" y="2057"/>
                  </a:lnTo>
                  <a:lnTo>
                    <a:pt x="2316" y="2080"/>
                  </a:lnTo>
                  <a:lnTo>
                    <a:pt x="2318" y="2105"/>
                  </a:lnTo>
                  <a:lnTo>
                    <a:pt x="2320" y="2132"/>
                  </a:lnTo>
                  <a:lnTo>
                    <a:pt x="2321" y="2158"/>
                  </a:lnTo>
                  <a:lnTo>
                    <a:pt x="2321" y="2184"/>
                  </a:lnTo>
                  <a:lnTo>
                    <a:pt x="2322" y="2208"/>
                  </a:lnTo>
                  <a:lnTo>
                    <a:pt x="2322" y="2232"/>
                  </a:lnTo>
                  <a:lnTo>
                    <a:pt x="2321" y="2292"/>
                  </a:lnTo>
                  <a:lnTo>
                    <a:pt x="2322" y="2305"/>
                  </a:lnTo>
                  <a:lnTo>
                    <a:pt x="2324" y="2316"/>
                  </a:lnTo>
                  <a:lnTo>
                    <a:pt x="2326" y="2320"/>
                  </a:lnTo>
                  <a:lnTo>
                    <a:pt x="2328" y="2323"/>
                  </a:lnTo>
                  <a:lnTo>
                    <a:pt x="2330" y="2327"/>
                  </a:lnTo>
                  <a:lnTo>
                    <a:pt x="2333" y="2330"/>
                  </a:lnTo>
                  <a:lnTo>
                    <a:pt x="2339" y="2333"/>
                  </a:lnTo>
                  <a:lnTo>
                    <a:pt x="2348" y="2336"/>
                  </a:lnTo>
                  <a:lnTo>
                    <a:pt x="2356" y="2337"/>
                  </a:lnTo>
                  <a:lnTo>
                    <a:pt x="2364" y="2337"/>
                  </a:lnTo>
                  <a:lnTo>
                    <a:pt x="2384" y="2336"/>
                  </a:lnTo>
                  <a:lnTo>
                    <a:pt x="2404" y="2336"/>
                  </a:lnTo>
                  <a:lnTo>
                    <a:pt x="2413" y="2336"/>
                  </a:lnTo>
                  <a:lnTo>
                    <a:pt x="2423" y="2338"/>
                  </a:lnTo>
                  <a:lnTo>
                    <a:pt x="2431" y="2342"/>
                  </a:lnTo>
                  <a:lnTo>
                    <a:pt x="2439" y="2347"/>
                  </a:lnTo>
                  <a:lnTo>
                    <a:pt x="2450" y="2355"/>
                  </a:lnTo>
                  <a:lnTo>
                    <a:pt x="2459" y="2360"/>
                  </a:lnTo>
                  <a:lnTo>
                    <a:pt x="2470" y="2363"/>
                  </a:lnTo>
                  <a:lnTo>
                    <a:pt x="2478" y="2364"/>
                  </a:lnTo>
                  <a:lnTo>
                    <a:pt x="2495" y="2363"/>
                  </a:lnTo>
                  <a:lnTo>
                    <a:pt x="2510" y="2361"/>
                  </a:lnTo>
                  <a:lnTo>
                    <a:pt x="2518" y="2360"/>
                  </a:lnTo>
                  <a:lnTo>
                    <a:pt x="2525" y="2360"/>
                  </a:lnTo>
                  <a:lnTo>
                    <a:pt x="2531" y="2361"/>
                  </a:lnTo>
                  <a:lnTo>
                    <a:pt x="2538" y="2363"/>
                  </a:lnTo>
                  <a:lnTo>
                    <a:pt x="2545" y="2367"/>
                  </a:lnTo>
                  <a:lnTo>
                    <a:pt x="2552" y="2374"/>
                  </a:lnTo>
                  <a:lnTo>
                    <a:pt x="2558" y="2383"/>
                  </a:lnTo>
                  <a:lnTo>
                    <a:pt x="2566" y="2395"/>
                  </a:lnTo>
                  <a:lnTo>
                    <a:pt x="2571" y="2407"/>
                  </a:lnTo>
                  <a:lnTo>
                    <a:pt x="2576" y="2418"/>
                  </a:lnTo>
                  <a:lnTo>
                    <a:pt x="2582" y="2429"/>
                  </a:lnTo>
                  <a:lnTo>
                    <a:pt x="2589" y="2438"/>
                  </a:lnTo>
                  <a:lnTo>
                    <a:pt x="2593" y="2442"/>
                  </a:lnTo>
                  <a:lnTo>
                    <a:pt x="2597" y="2447"/>
                  </a:lnTo>
                  <a:lnTo>
                    <a:pt x="2601" y="2450"/>
                  </a:lnTo>
                  <a:lnTo>
                    <a:pt x="2606" y="2452"/>
                  </a:lnTo>
                  <a:lnTo>
                    <a:pt x="2613" y="2453"/>
                  </a:lnTo>
                  <a:lnTo>
                    <a:pt x="2619" y="2454"/>
                  </a:lnTo>
                  <a:lnTo>
                    <a:pt x="2625" y="2454"/>
                  </a:lnTo>
                  <a:lnTo>
                    <a:pt x="2633" y="2453"/>
                  </a:lnTo>
                  <a:lnTo>
                    <a:pt x="2672" y="2443"/>
                  </a:lnTo>
                  <a:lnTo>
                    <a:pt x="2704" y="2437"/>
                  </a:lnTo>
                  <a:lnTo>
                    <a:pt x="2721" y="2435"/>
                  </a:lnTo>
                  <a:lnTo>
                    <a:pt x="2738" y="2435"/>
                  </a:lnTo>
                  <a:lnTo>
                    <a:pt x="2756" y="2436"/>
                  </a:lnTo>
                  <a:lnTo>
                    <a:pt x="2779" y="2439"/>
                  </a:lnTo>
                  <a:lnTo>
                    <a:pt x="2787" y="2440"/>
                  </a:lnTo>
                  <a:lnTo>
                    <a:pt x="2794" y="2439"/>
                  </a:lnTo>
                  <a:lnTo>
                    <a:pt x="2800" y="2438"/>
                  </a:lnTo>
                  <a:lnTo>
                    <a:pt x="2806" y="2437"/>
                  </a:lnTo>
                  <a:lnTo>
                    <a:pt x="2818" y="2432"/>
                  </a:lnTo>
                  <a:lnTo>
                    <a:pt x="2828" y="2425"/>
                  </a:lnTo>
                  <a:lnTo>
                    <a:pt x="2838" y="2417"/>
                  </a:lnTo>
                  <a:lnTo>
                    <a:pt x="2848" y="2410"/>
                  </a:lnTo>
                  <a:lnTo>
                    <a:pt x="2853" y="2407"/>
                  </a:lnTo>
                  <a:lnTo>
                    <a:pt x="2860" y="2404"/>
                  </a:lnTo>
                  <a:lnTo>
                    <a:pt x="2866" y="2402"/>
                  </a:lnTo>
                  <a:lnTo>
                    <a:pt x="2872" y="2400"/>
                  </a:lnTo>
                  <a:lnTo>
                    <a:pt x="2878" y="2399"/>
                  </a:lnTo>
                  <a:lnTo>
                    <a:pt x="2884" y="2400"/>
                  </a:lnTo>
                  <a:lnTo>
                    <a:pt x="2889" y="2402"/>
                  </a:lnTo>
                  <a:lnTo>
                    <a:pt x="2892" y="2406"/>
                  </a:lnTo>
                  <a:lnTo>
                    <a:pt x="2898" y="2414"/>
                  </a:lnTo>
                  <a:lnTo>
                    <a:pt x="2902" y="2425"/>
                  </a:lnTo>
                  <a:lnTo>
                    <a:pt x="2907" y="2434"/>
                  </a:lnTo>
                  <a:lnTo>
                    <a:pt x="2912" y="2442"/>
                  </a:lnTo>
                  <a:lnTo>
                    <a:pt x="2916" y="2444"/>
                  </a:lnTo>
                  <a:lnTo>
                    <a:pt x="2920" y="2446"/>
                  </a:lnTo>
                  <a:lnTo>
                    <a:pt x="2924" y="2444"/>
                  </a:lnTo>
                  <a:lnTo>
                    <a:pt x="2931" y="2442"/>
                  </a:lnTo>
                  <a:lnTo>
                    <a:pt x="2936" y="2439"/>
                  </a:lnTo>
                  <a:lnTo>
                    <a:pt x="2941" y="2435"/>
                  </a:lnTo>
                  <a:lnTo>
                    <a:pt x="2945" y="2431"/>
                  </a:lnTo>
                  <a:lnTo>
                    <a:pt x="2949" y="2426"/>
                  </a:lnTo>
                  <a:lnTo>
                    <a:pt x="2957" y="2415"/>
                  </a:lnTo>
                  <a:lnTo>
                    <a:pt x="2963" y="2406"/>
                  </a:lnTo>
                  <a:lnTo>
                    <a:pt x="2966" y="2402"/>
                  </a:lnTo>
                  <a:lnTo>
                    <a:pt x="2970" y="2399"/>
                  </a:lnTo>
                  <a:lnTo>
                    <a:pt x="2974" y="2396"/>
                  </a:lnTo>
                  <a:lnTo>
                    <a:pt x="2978" y="2394"/>
                  </a:lnTo>
                  <a:lnTo>
                    <a:pt x="2984" y="2394"/>
                  </a:lnTo>
                  <a:lnTo>
                    <a:pt x="2990" y="2395"/>
                  </a:lnTo>
                  <a:lnTo>
                    <a:pt x="2996" y="2399"/>
                  </a:lnTo>
                  <a:lnTo>
                    <a:pt x="3005" y="2403"/>
                  </a:lnTo>
                  <a:lnTo>
                    <a:pt x="3011" y="2407"/>
                  </a:lnTo>
                  <a:lnTo>
                    <a:pt x="3015" y="2411"/>
                  </a:lnTo>
                  <a:lnTo>
                    <a:pt x="3019" y="2416"/>
                  </a:lnTo>
                  <a:lnTo>
                    <a:pt x="3022" y="2420"/>
                  </a:lnTo>
                  <a:lnTo>
                    <a:pt x="3024" y="2426"/>
                  </a:lnTo>
                  <a:lnTo>
                    <a:pt x="3025" y="2430"/>
                  </a:lnTo>
                  <a:lnTo>
                    <a:pt x="3026" y="2435"/>
                  </a:lnTo>
                  <a:lnTo>
                    <a:pt x="3026" y="2439"/>
                  </a:lnTo>
                  <a:lnTo>
                    <a:pt x="3027" y="2450"/>
                  </a:lnTo>
                  <a:lnTo>
                    <a:pt x="3027" y="2460"/>
                  </a:lnTo>
                  <a:lnTo>
                    <a:pt x="3029" y="2465"/>
                  </a:lnTo>
                  <a:lnTo>
                    <a:pt x="3030" y="2471"/>
                  </a:lnTo>
                  <a:lnTo>
                    <a:pt x="3032" y="2476"/>
                  </a:lnTo>
                  <a:lnTo>
                    <a:pt x="3034" y="2481"/>
                  </a:lnTo>
                  <a:lnTo>
                    <a:pt x="3048" y="2483"/>
                  </a:lnTo>
                  <a:lnTo>
                    <a:pt x="3061" y="2485"/>
                  </a:lnTo>
                  <a:lnTo>
                    <a:pt x="3066" y="2488"/>
                  </a:lnTo>
                  <a:lnTo>
                    <a:pt x="3069" y="2491"/>
                  </a:lnTo>
                  <a:lnTo>
                    <a:pt x="3070" y="2495"/>
                  </a:lnTo>
                  <a:lnTo>
                    <a:pt x="3070" y="2497"/>
                  </a:lnTo>
                  <a:lnTo>
                    <a:pt x="3070" y="2501"/>
                  </a:lnTo>
                  <a:lnTo>
                    <a:pt x="3070" y="2504"/>
                  </a:lnTo>
                  <a:lnTo>
                    <a:pt x="3065" y="2516"/>
                  </a:lnTo>
                  <a:lnTo>
                    <a:pt x="3057" y="2530"/>
                  </a:lnTo>
                  <a:lnTo>
                    <a:pt x="3053" y="2536"/>
                  </a:lnTo>
                  <a:lnTo>
                    <a:pt x="3050" y="2543"/>
                  </a:lnTo>
                  <a:lnTo>
                    <a:pt x="3049" y="2545"/>
                  </a:lnTo>
                  <a:lnTo>
                    <a:pt x="3049" y="2548"/>
                  </a:lnTo>
                  <a:lnTo>
                    <a:pt x="3050" y="2550"/>
                  </a:lnTo>
                  <a:lnTo>
                    <a:pt x="3051" y="2553"/>
                  </a:lnTo>
                  <a:lnTo>
                    <a:pt x="3057" y="2559"/>
                  </a:lnTo>
                  <a:lnTo>
                    <a:pt x="3062" y="2564"/>
                  </a:lnTo>
                  <a:lnTo>
                    <a:pt x="3067" y="2569"/>
                  </a:lnTo>
                  <a:lnTo>
                    <a:pt x="3072" y="2572"/>
                  </a:lnTo>
                  <a:lnTo>
                    <a:pt x="3082" y="2576"/>
                  </a:lnTo>
                  <a:lnTo>
                    <a:pt x="3090" y="2578"/>
                  </a:lnTo>
                  <a:lnTo>
                    <a:pt x="3093" y="2580"/>
                  </a:lnTo>
                  <a:lnTo>
                    <a:pt x="3096" y="2582"/>
                  </a:lnTo>
                  <a:lnTo>
                    <a:pt x="3098" y="2585"/>
                  </a:lnTo>
                  <a:lnTo>
                    <a:pt x="3102" y="2589"/>
                  </a:lnTo>
                  <a:lnTo>
                    <a:pt x="3103" y="2594"/>
                  </a:lnTo>
                  <a:lnTo>
                    <a:pt x="3105" y="2601"/>
                  </a:lnTo>
                  <a:lnTo>
                    <a:pt x="3105" y="2609"/>
                  </a:lnTo>
                  <a:lnTo>
                    <a:pt x="3106" y="2620"/>
                  </a:lnTo>
                  <a:lnTo>
                    <a:pt x="3092" y="2629"/>
                  </a:lnTo>
                  <a:lnTo>
                    <a:pt x="3082" y="2639"/>
                  </a:lnTo>
                  <a:lnTo>
                    <a:pt x="3076" y="2644"/>
                  </a:lnTo>
                  <a:lnTo>
                    <a:pt x="3073" y="2649"/>
                  </a:lnTo>
                  <a:lnTo>
                    <a:pt x="3070" y="2653"/>
                  </a:lnTo>
                  <a:lnTo>
                    <a:pt x="3068" y="2658"/>
                  </a:lnTo>
                  <a:lnTo>
                    <a:pt x="3067" y="2663"/>
                  </a:lnTo>
                  <a:lnTo>
                    <a:pt x="3067" y="2668"/>
                  </a:lnTo>
                  <a:lnTo>
                    <a:pt x="3068" y="2672"/>
                  </a:lnTo>
                  <a:lnTo>
                    <a:pt x="3070" y="2677"/>
                  </a:lnTo>
                  <a:lnTo>
                    <a:pt x="3073" y="2681"/>
                  </a:lnTo>
                  <a:lnTo>
                    <a:pt x="3079" y="2685"/>
                  </a:lnTo>
                  <a:lnTo>
                    <a:pt x="3084" y="2691"/>
                  </a:lnTo>
                  <a:lnTo>
                    <a:pt x="3091" y="2695"/>
                  </a:lnTo>
                  <a:lnTo>
                    <a:pt x="3097" y="2697"/>
                  </a:lnTo>
                  <a:lnTo>
                    <a:pt x="3104" y="2699"/>
                  </a:lnTo>
                  <a:lnTo>
                    <a:pt x="3111" y="2700"/>
                  </a:lnTo>
                  <a:lnTo>
                    <a:pt x="3117" y="2700"/>
                  </a:lnTo>
                  <a:lnTo>
                    <a:pt x="3132" y="2699"/>
                  </a:lnTo>
                  <a:lnTo>
                    <a:pt x="3146" y="2698"/>
                  </a:lnTo>
                  <a:lnTo>
                    <a:pt x="3159" y="2698"/>
                  </a:lnTo>
                  <a:lnTo>
                    <a:pt x="3171" y="2699"/>
                  </a:lnTo>
                  <a:lnTo>
                    <a:pt x="3177" y="2701"/>
                  </a:lnTo>
                  <a:lnTo>
                    <a:pt x="3181" y="2703"/>
                  </a:lnTo>
                  <a:lnTo>
                    <a:pt x="3184" y="2707"/>
                  </a:lnTo>
                  <a:lnTo>
                    <a:pt x="3187" y="2713"/>
                  </a:lnTo>
                  <a:lnTo>
                    <a:pt x="3190" y="2719"/>
                  </a:lnTo>
                  <a:lnTo>
                    <a:pt x="3193" y="2724"/>
                  </a:lnTo>
                  <a:lnTo>
                    <a:pt x="3197" y="2727"/>
                  </a:lnTo>
                  <a:lnTo>
                    <a:pt x="3202" y="2729"/>
                  </a:lnTo>
                  <a:lnTo>
                    <a:pt x="3206" y="2729"/>
                  </a:lnTo>
                  <a:lnTo>
                    <a:pt x="3210" y="2729"/>
                  </a:lnTo>
                  <a:lnTo>
                    <a:pt x="3215" y="2727"/>
                  </a:lnTo>
                  <a:lnTo>
                    <a:pt x="3220" y="2726"/>
                  </a:lnTo>
                  <a:lnTo>
                    <a:pt x="3239" y="2714"/>
                  </a:lnTo>
                  <a:lnTo>
                    <a:pt x="3258" y="2702"/>
                  </a:lnTo>
                  <a:lnTo>
                    <a:pt x="3264" y="2700"/>
                  </a:lnTo>
                  <a:lnTo>
                    <a:pt x="3269" y="2696"/>
                  </a:lnTo>
                  <a:lnTo>
                    <a:pt x="3273" y="2693"/>
                  </a:lnTo>
                  <a:lnTo>
                    <a:pt x="3274" y="2690"/>
                  </a:lnTo>
                  <a:lnTo>
                    <a:pt x="3274" y="2687"/>
                  </a:lnTo>
                  <a:lnTo>
                    <a:pt x="3273" y="2682"/>
                  </a:lnTo>
                  <a:lnTo>
                    <a:pt x="3269" y="2679"/>
                  </a:lnTo>
                  <a:lnTo>
                    <a:pt x="3266" y="2676"/>
                  </a:lnTo>
                  <a:lnTo>
                    <a:pt x="3250" y="2663"/>
                  </a:lnTo>
                  <a:lnTo>
                    <a:pt x="3234" y="2651"/>
                  </a:lnTo>
                  <a:lnTo>
                    <a:pt x="3223" y="2642"/>
                  </a:lnTo>
                  <a:lnTo>
                    <a:pt x="3216" y="2633"/>
                  </a:lnTo>
                  <a:lnTo>
                    <a:pt x="3211" y="2626"/>
                  </a:lnTo>
                  <a:lnTo>
                    <a:pt x="3208" y="2620"/>
                  </a:lnTo>
                  <a:lnTo>
                    <a:pt x="3207" y="2615"/>
                  </a:lnTo>
                  <a:lnTo>
                    <a:pt x="3207" y="2609"/>
                  </a:lnTo>
                  <a:lnTo>
                    <a:pt x="3209" y="2605"/>
                  </a:lnTo>
                  <a:lnTo>
                    <a:pt x="3211" y="2602"/>
                  </a:lnTo>
                  <a:lnTo>
                    <a:pt x="3233" y="2586"/>
                  </a:lnTo>
                  <a:lnTo>
                    <a:pt x="3262" y="2564"/>
                  </a:lnTo>
                  <a:lnTo>
                    <a:pt x="3266" y="2560"/>
                  </a:lnTo>
                  <a:lnTo>
                    <a:pt x="3270" y="2556"/>
                  </a:lnTo>
                  <a:lnTo>
                    <a:pt x="3273" y="2551"/>
                  </a:lnTo>
                  <a:lnTo>
                    <a:pt x="3274" y="2548"/>
                  </a:lnTo>
                  <a:lnTo>
                    <a:pt x="3274" y="2544"/>
                  </a:lnTo>
                  <a:lnTo>
                    <a:pt x="3274" y="2539"/>
                  </a:lnTo>
                  <a:lnTo>
                    <a:pt x="3271" y="2536"/>
                  </a:lnTo>
                  <a:lnTo>
                    <a:pt x="3269" y="2533"/>
                  </a:lnTo>
                  <a:lnTo>
                    <a:pt x="3263" y="2527"/>
                  </a:lnTo>
                  <a:lnTo>
                    <a:pt x="3255" y="2521"/>
                  </a:lnTo>
                  <a:lnTo>
                    <a:pt x="3243" y="2515"/>
                  </a:lnTo>
                  <a:lnTo>
                    <a:pt x="3231" y="2511"/>
                  </a:lnTo>
                  <a:lnTo>
                    <a:pt x="3205" y="2504"/>
                  </a:lnTo>
                  <a:lnTo>
                    <a:pt x="3179" y="2497"/>
                  </a:lnTo>
                  <a:lnTo>
                    <a:pt x="3156" y="2491"/>
                  </a:lnTo>
                  <a:lnTo>
                    <a:pt x="3142" y="2487"/>
                  </a:lnTo>
                  <a:lnTo>
                    <a:pt x="3138" y="2484"/>
                  </a:lnTo>
                  <a:lnTo>
                    <a:pt x="3137" y="2481"/>
                  </a:lnTo>
                  <a:lnTo>
                    <a:pt x="3136" y="2477"/>
                  </a:lnTo>
                  <a:lnTo>
                    <a:pt x="3137" y="2472"/>
                  </a:lnTo>
                  <a:lnTo>
                    <a:pt x="3141" y="2460"/>
                  </a:lnTo>
                  <a:lnTo>
                    <a:pt x="3148" y="2448"/>
                  </a:lnTo>
                  <a:lnTo>
                    <a:pt x="3156" y="2435"/>
                  </a:lnTo>
                  <a:lnTo>
                    <a:pt x="3161" y="2424"/>
                  </a:lnTo>
                  <a:lnTo>
                    <a:pt x="3163" y="2418"/>
                  </a:lnTo>
                  <a:lnTo>
                    <a:pt x="3164" y="2413"/>
                  </a:lnTo>
                  <a:lnTo>
                    <a:pt x="3164" y="2409"/>
                  </a:lnTo>
                  <a:lnTo>
                    <a:pt x="3162" y="2406"/>
                  </a:lnTo>
                  <a:lnTo>
                    <a:pt x="3158" y="2403"/>
                  </a:lnTo>
                  <a:lnTo>
                    <a:pt x="3153" y="2401"/>
                  </a:lnTo>
                  <a:lnTo>
                    <a:pt x="3146" y="2400"/>
                  </a:lnTo>
                  <a:lnTo>
                    <a:pt x="3139" y="2399"/>
                  </a:lnTo>
                  <a:lnTo>
                    <a:pt x="3122" y="2399"/>
                  </a:lnTo>
                  <a:lnTo>
                    <a:pt x="3105" y="2399"/>
                  </a:lnTo>
                  <a:lnTo>
                    <a:pt x="3095" y="2399"/>
                  </a:lnTo>
                  <a:lnTo>
                    <a:pt x="3087" y="2399"/>
                  </a:lnTo>
                  <a:lnTo>
                    <a:pt x="3080" y="2398"/>
                  </a:lnTo>
                  <a:lnTo>
                    <a:pt x="3072" y="2395"/>
                  </a:lnTo>
                  <a:lnTo>
                    <a:pt x="3066" y="2393"/>
                  </a:lnTo>
                  <a:lnTo>
                    <a:pt x="3062" y="2389"/>
                  </a:lnTo>
                  <a:lnTo>
                    <a:pt x="3060" y="2387"/>
                  </a:lnTo>
                  <a:lnTo>
                    <a:pt x="3059" y="2385"/>
                  </a:lnTo>
                  <a:lnTo>
                    <a:pt x="3058" y="2382"/>
                  </a:lnTo>
                  <a:lnTo>
                    <a:pt x="3057" y="2379"/>
                  </a:lnTo>
                  <a:lnTo>
                    <a:pt x="3057" y="2368"/>
                  </a:lnTo>
                  <a:lnTo>
                    <a:pt x="3058" y="2359"/>
                  </a:lnTo>
                  <a:lnTo>
                    <a:pt x="3060" y="2351"/>
                  </a:lnTo>
                  <a:lnTo>
                    <a:pt x="3064" y="2343"/>
                  </a:lnTo>
                  <a:lnTo>
                    <a:pt x="3068" y="2336"/>
                  </a:lnTo>
                  <a:lnTo>
                    <a:pt x="3072" y="2329"/>
                  </a:lnTo>
                  <a:lnTo>
                    <a:pt x="3079" y="2323"/>
                  </a:lnTo>
                  <a:lnTo>
                    <a:pt x="3085" y="2317"/>
                  </a:lnTo>
                  <a:lnTo>
                    <a:pt x="3097" y="2306"/>
                  </a:lnTo>
                  <a:lnTo>
                    <a:pt x="3111" y="2295"/>
                  </a:lnTo>
                  <a:lnTo>
                    <a:pt x="3118" y="2289"/>
                  </a:lnTo>
                  <a:lnTo>
                    <a:pt x="3124" y="2283"/>
                  </a:lnTo>
                  <a:lnTo>
                    <a:pt x="3130" y="2277"/>
                  </a:lnTo>
                  <a:lnTo>
                    <a:pt x="3135" y="2269"/>
                  </a:lnTo>
                  <a:lnTo>
                    <a:pt x="3141" y="2259"/>
                  </a:lnTo>
                  <a:lnTo>
                    <a:pt x="3151" y="2246"/>
                  </a:lnTo>
                  <a:lnTo>
                    <a:pt x="3163" y="2231"/>
                  </a:lnTo>
                  <a:lnTo>
                    <a:pt x="3177" y="2215"/>
                  </a:lnTo>
                  <a:lnTo>
                    <a:pt x="3188" y="2199"/>
                  </a:lnTo>
                  <a:lnTo>
                    <a:pt x="3196" y="2185"/>
                  </a:lnTo>
                  <a:lnTo>
                    <a:pt x="3200" y="2178"/>
                  </a:lnTo>
                  <a:lnTo>
                    <a:pt x="3202" y="2173"/>
                  </a:lnTo>
                  <a:lnTo>
                    <a:pt x="3201" y="2168"/>
                  </a:lnTo>
                  <a:lnTo>
                    <a:pt x="3200" y="2165"/>
                  </a:lnTo>
                  <a:lnTo>
                    <a:pt x="3196" y="2162"/>
                  </a:lnTo>
                  <a:lnTo>
                    <a:pt x="3193" y="2160"/>
                  </a:lnTo>
                  <a:lnTo>
                    <a:pt x="3190" y="2159"/>
                  </a:lnTo>
                  <a:lnTo>
                    <a:pt x="3187" y="2158"/>
                  </a:lnTo>
                  <a:lnTo>
                    <a:pt x="3180" y="2158"/>
                  </a:lnTo>
                  <a:lnTo>
                    <a:pt x="3171" y="2159"/>
                  </a:lnTo>
                  <a:lnTo>
                    <a:pt x="3163" y="2161"/>
                  </a:lnTo>
                  <a:lnTo>
                    <a:pt x="3154" y="2164"/>
                  </a:lnTo>
                  <a:lnTo>
                    <a:pt x="3144" y="2168"/>
                  </a:lnTo>
                  <a:lnTo>
                    <a:pt x="3135" y="2173"/>
                  </a:lnTo>
                  <a:lnTo>
                    <a:pt x="3115" y="2183"/>
                  </a:lnTo>
                  <a:lnTo>
                    <a:pt x="3096" y="2191"/>
                  </a:lnTo>
                  <a:lnTo>
                    <a:pt x="3087" y="2194"/>
                  </a:lnTo>
                  <a:lnTo>
                    <a:pt x="3079" y="2196"/>
                  </a:lnTo>
                  <a:lnTo>
                    <a:pt x="3070" y="2196"/>
                  </a:lnTo>
                  <a:lnTo>
                    <a:pt x="3063" y="2195"/>
                  </a:lnTo>
                  <a:lnTo>
                    <a:pt x="3062" y="2188"/>
                  </a:lnTo>
                  <a:lnTo>
                    <a:pt x="3062" y="2182"/>
                  </a:lnTo>
                  <a:lnTo>
                    <a:pt x="3062" y="2176"/>
                  </a:lnTo>
                  <a:lnTo>
                    <a:pt x="3064" y="2171"/>
                  </a:lnTo>
                  <a:lnTo>
                    <a:pt x="3067" y="2166"/>
                  </a:lnTo>
                  <a:lnTo>
                    <a:pt x="3070" y="2162"/>
                  </a:lnTo>
                  <a:lnTo>
                    <a:pt x="3073" y="2158"/>
                  </a:lnTo>
                  <a:lnTo>
                    <a:pt x="3079" y="2154"/>
                  </a:lnTo>
                  <a:lnTo>
                    <a:pt x="3088" y="2148"/>
                  </a:lnTo>
                  <a:lnTo>
                    <a:pt x="3099" y="2144"/>
                  </a:lnTo>
                  <a:lnTo>
                    <a:pt x="3112" y="2142"/>
                  </a:lnTo>
                  <a:lnTo>
                    <a:pt x="3123" y="2141"/>
                  </a:lnTo>
                  <a:lnTo>
                    <a:pt x="3133" y="2140"/>
                  </a:lnTo>
                  <a:lnTo>
                    <a:pt x="3140" y="2139"/>
                  </a:lnTo>
                  <a:lnTo>
                    <a:pt x="3145" y="2136"/>
                  </a:lnTo>
                  <a:lnTo>
                    <a:pt x="3148" y="2132"/>
                  </a:lnTo>
                  <a:lnTo>
                    <a:pt x="3149" y="2126"/>
                  </a:lnTo>
                  <a:lnTo>
                    <a:pt x="3149" y="2121"/>
                  </a:lnTo>
                  <a:lnTo>
                    <a:pt x="3148" y="2115"/>
                  </a:lnTo>
                  <a:lnTo>
                    <a:pt x="3147" y="2108"/>
                  </a:lnTo>
                  <a:lnTo>
                    <a:pt x="3134" y="2080"/>
                  </a:lnTo>
                  <a:lnTo>
                    <a:pt x="3121" y="2057"/>
                  </a:lnTo>
                  <a:lnTo>
                    <a:pt x="3120" y="2053"/>
                  </a:lnTo>
                  <a:lnTo>
                    <a:pt x="3120" y="2050"/>
                  </a:lnTo>
                  <a:lnTo>
                    <a:pt x="3122" y="2048"/>
                  </a:lnTo>
                  <a:lnTo>
                    <a:pt x="3124" y="2046"/>
                  </a:lnTo>
                  <a:lnTo>
                    <a:pt x="3127" y="2045"/>
                  </a:lnTo>
                  <a:lnTo>
                    <a:pt x="3129" y="2045"/>
                  </a:lnTo>
                  <a:lnTo>
                    <a:pt x="3131" y="2045"/>
                  </a:lnTo>
                  <a:lnTo>
                    <a:pt x="3133" y="2046"/>
                  </a:lnTo>
                  <a:lnTo>
                    <a:pt x="3143" y="2047"/>
                  </a:lnTo>
                  <a:lnTo>
                    <a:pt x="3155" y="2049"/>
                  </a:lnTo>
                  <a:lnTo>
                    <a:pt x="3166" y="2052"/>
                  </a:lnTo>
                  <a:lnTo>
                    <a:pt x="3179" y="2056"/>
                  </a:lnTo>
                  <a:lnTo>
                    <a:pt x="3202" y="2065"/>
                  </a:lnTo>
                  <a:lnTo>
                    <a:pt x="3225" y="2071"/>
                  </a:lnTo>
                  <a:lnTo>
                    <a:pt x="3236" y="2073"/>
                  </a:lnTo>
                  <a:lnTo>
                    <a:pt x="3249" y="2074"/>
                  </a:lnTo>
                  <a:lnTo>
                    <a:pt x="3261" y="2074"/>
                  </a:lnTo>
                  <a:lnTo>
                    <a:pt x="3275" y="2074"/>
                  </a:lnTo>
                  <a:lnTo>
                    <a:pt x="3288" y="2074"/>
                  </a:lnTo>
                  <a:lnTo>
                    <a:pt x="3301" y="2074"/>
                  </a:lnTo>
                  <a:lnTo>
                    <a:pt x="3314" y="2074"/>
                  </a:lnTo>
                  <a:lnTo>
                    <a:pt x="3327" y="2075"/>
                  </a:lnTo>
                  <a:lnTo>
                    <a:pt x="3339" y="2078"/>
                  </a:lnTo>
                  <a:lnTo>
                    <a:pt x="3350" y="2081"/>
                  </a:lnTo>
                  <a:lnTo>
                    <a:pt x="3358" y="2087"/>
                  </a:lnTo>
                  <a:lnTo>
                    <a:pt x="3366" y="2091"/>
                  </a:lnTo>
                  <a:lnTo>
                    <a:pt x="3375" y="2096"/>
                  </a:lnTo>
                  <a:lnTo>
                    <a:pt x="3382" y="2101"/>
                  </a:lnTo>
                  <a:lnTo>
                    <a:pt x="3391" y="2106"/>
                  </a:lnTo>
                  <a:lnTo>
                    <a:pt x="3402" y="2112"/>
                  </a:lnTo>
                  <a:lnTo>
                    <a:pt x="3410" y="2114"/>
                  </a:lnTo>
                  <a:lnTo>
                    <a:pt x="3418" y="2116"/>
                  </a:lnTo>
                  <a:lnTo>
                    <a:pt x="3425" y="2116"/>
                  </a:lnTo>
                  <a:lnTo>
                    <a:pt x="3431" y="2115"/>
                  </a:lnTo>
                  <a:lnTo>
                    <a:pt x="3436" y="2113"/>
                  </a:lnTo>
                  <a:lnTo>
                    <a:pt x="3441" y="2110"/>
                  </a:lnTo>
                  <a:lnTo>
                    <a:pt x="3446" y="2106"/>
                  </a:lnTo>
                  <a:lnTo>
                    <a:pt x="3449" y="2101"/>
                  </a:lnTo>
                  <a:lnTo>
                    <a:pt x="3451" y="2096"/>
                  </a:lnTo>
                  <a:lnTo>
                    <a:pt x="3453" y="2091"/>
                  </a:lnTo>
                  <a:lnTo>
                    <a:pt x="3455" y="2085"/>
                  </a:lnTo>
                  <a:lnTo>
                    <a:pt x="3455" y="2078"/>
                  </a:lnTo>
                  <a:lnTo>
                    <a:pt x="3456" y="2071"/>
                  </a:lnTo>
                  <a:lnTo>
                    <a:pt x="3455" y="2065"/>
                  </a:lnTo>
                  <a:lnTo>
                    <a:pt x="3454" y="2057"/>
                  </a:lnTo>
                  <a:lnTo>
                    <a:pt x="3453" y="2050"/>
                  </a:lnTo>
                  <a:lnTo>
                    <a:pt x="3450" y="2042"/>
                  </a:lnTo>
                  <a:lnTo>
                    <a:pt x="3447" y="2033"/>
                  </a:lnTo>
                  <a:lnTo>
                    <a:pt x="3442" y="2025"/>
                  </a:lnTo>
                  <a:lnTo>
                    <a:pt x="3438" y="2018"/>
                  </a:lnTo>
                  <a:lnTo>
                    <a:pt x="3428" y="2004"/>
                  </a:lnTo>
                  <a:lnTo>
                    <a:pt x="3417" y="1990"/>
                  </a:lnTo>
                  <a:lnTo>
                    <a:pt x="3408" y="1976"/>
                  </a:lnTo>
                  <a:lnTo>
                    <a:pt x="3400" y="1960"/>
                  </a:lnTo>
                  <a:lnTo>
                    <a:pt x="3397" y="1952"/>
                  </a:lnTo>
                  <a:lnTo>
                    <a:pt x="3394" y="1943"/>
                  </a:lnTo>
                  <a:lnTo>
                    <a:pt x="3393" y="1933"/>
                  </a:lnTo>
                  <a:lnTo>
                    <a:pt x="3393" y="1923"/>
                  </a:lnTo>
                  <a:lnTo>
                    <a:pt x="3394" y="1913"/>
                  </a:lnTo>
                  <a:lnTo>
                    <a:pt x="3398" y="1904"/>
                  </a:lnTo>
                  <a:lnTo>
                    <a:pt x="3402" y="1896"/>
                  </a:lnTo>
                  <a:lnTo>
                    <a:pt x="3408" y="1886"/>
                  </a:lnTo>
                  <a:lnTo>
                    <a:pt x="3420" y="1869"/>
                  </a:lnTo>
                  <a:lnTo>
                    <a:pt x="3430" y="1852"/>
                  </a:lnTo>
                  <a:lnTo>
                    <a:pt x="3434" y="1844"/>
                  </a:lnTo>
                  <a:lnTo>
                    <a:pt x="3437" y="1834"/>
                  </a:lnTo>
                  <a:lnTo>
                    <a:pt x="3437" y="1830"/>
                  </a:lnTo>
                  <a:lnTo>
                    <a:pt x="3438" y="1826"/>
                  </a:lnTo>
                  <a:lnTo>
                    <a:pt x="3437" y="1822"/>
                  </a:lnTo>
                  <a:lnTo>
                    <a:pt x="3436" y="1817"/>
                  </a:lnTo>
                  <a:lnTo>
                    <a:pt x="3435" y="1813"/>
                  </a:lnTo>
                  <a:lnTo>
                    <a:pt x="3433" y="1808"/>
                  </a:lnTo>
                  <a:lnTo>
                    <a:pt x="3430" y="1804"/>
                  </a:lnTo>
                  <a:lnTo>
                    <a:pt x="3426" y="1800"/>
                  </a:lnTo>
                  <a:lnTo>
                    <a:pt x="3422" y="1795"/>
                  </a:lnTo>
                  <a:lnTo>
                    <a:pt x="3416" y="1790"/>
                  </a:lnTo>
                  <a:lnTo>
                    <a:pt x="3410" y="1785"/>
                  </a:lnTo>
                  <a:lnTo>
                    <a:pt x="3403" y="1780"/>
                  </a:lnTo>
                  <a:lnTo>
                    <a:pt x="3397" y="1777"/>
                  </a:lnTo>
                  <a:lnTo>
                    <a:pt x="3389" y="1775"/>
                  </a:lnTo>
                  <a:lnTo>
                    <a:pt x="3384" y="1774"/>
                  </a:lnTo>
                  <a:lnTo>
                    <a:pt x="3378" y="1774"/>
                  </a:lnTo>
                  <a:lnTo>
                    <a:pt x="3366" y="1776"/>
                  </a:lnTo>
                  <a:lnTo>
                    <a:pt x="3356" y="1780"/>
                  </a:lnTo>
                  <a:lnTo>
                    <a:pt x="3347" y="1784"/>
                  </a:lnTo>
                  <a:lnTo>
                    <a:pt x="3336" y="1788"/>
                  </a:lnTo>
                  <a:lnTo>
                    <a:pt x="3331" y="1789"/>
                  </a:lnTo>
                  <a:lnTo>
                    <a:pt x="3326" y="1790"/>
                  </a:lnTo>
                  <a:lnTo>
                    <a:pt x="3320" y="1790"/>
                  </a:lnTo>
                  <a:lnTo>
                    <a:pt x="3315" y="1789"/>
                  </a:lnTo>
                  <a:lnTo>
                    <a:pt x="3312" y="1770"/>
                  </a:lnTo>
                  <a:lnTo>
                    <a:pt x="3310" y="1751"/>
                  </a:lnTo>
                  <a:lnTo>
                    <a:pt x="3308" y="1741"/>
                  </a:lnTo>
                  <a:lnTo>
                    <a:pt x="3304" y="1734"/>
                  </a:lnTo>
                  <a:lnTo>
                    <a:pt x="3301" y="1730"/>
                  </a:lnTo>
                  <a:lnTo>
                    <a:pt x="3298" y="1727"/>
                  </a:lnTo>
                  <a:lnTo>
                    <a:pt x="3293" y="1724"/>
                  </a:lnTo>
                  <a:lnTo>
                    <a:pt x="3288" y="1722"/>
                  </a:lnTo>
                  <a:lnTo>
                    <a:pt x="3275" y="1715"/>
                  </a:lnTo>
                  <a:lnTo>
                    <a:pt x="3265" y="1708"/>
                  </a:lnTo>
                  <a:lnTo>
                    <a:pt x="3258" y="1701"/>
                  </a:lnTo>
                  <a:lnTo>
                    <a:pt x="3252" y="1692"/>
                  </a:lnTo>
                  <a:lnTo>
                    <a:pt x="3242" y="1674"/>
                  </a:lnTo>
                  <a:lnTo>
                    <a:pt x="3229" y="1652"/>
                  </a:lnTo>
                  <a:lnTo>
                    <a:pt x="3225" y="1647"/>
                  </a:lnTo>
                  <a:lnTo>
                    <a:pt x="3220" y="1643"/>
                  </a:lnTo>
                  <a:lnTo>
                    <a:pt x="3216" y="1641"/>
                  </a:lnTo>
                  <a:lnTo>
                    <a:pt x="3213" y="1640"/>
                  </a:lnTo>
                  <a:lnTo>
                    <a:pt x="3209" y="1639"/>
                  </a:lnTo>
                  <a:lnTo>
                    <a:pt x="3205" y="1639"/>
                  </a:lnTo>
                  <a:lnTo>
                    <a:pt x="3202" y="1640"/>
                  </a:lnTo>
                  <a:lnTo>
                    <a:pt x="3197" y="1642"/>
                  </a:lnTo>
                  <a:lnTo>
                    <a:pt x="3190" y="1648"/>
                  </a:lnTo>
                  <a:lnTo>
                    <a:pt x="3183" y="1656"/>
                  </a:lnTo>
                  <a:lnTo>
                    <a:pt x="3177" y="1666"/>
                  </a:lnTo>
                  <a:lnTo>
                    <a:pt x="3170" y="1678"/>
                  </a:lnTo>
                  <a:lnTo>
                    <a:pt x="3164" y="1690"/>
                  </a:lnTo>
                  <a:lnTo>
                    <a:pt x="3159" y="1704"/>
                  </a:lnTo>
                  <a:lnTo>
                    <a:pt x="3154" y="1717"/>
                  </a:lnTo>
                  <a:lnTo>
                    <a:pt x="3151" y="1730"/>
                  </a:lnTo>
                  <a:lnTo>
                    <a:pt x="3146" y="1742"/>
                  </a:lnTo>
                  <a:lnTo>
                    <a:pt x="3144" y="1754"/>
                  </a:lnTo>
                  <a:lnTo>
                    <a:pt x="3143" y="1763"/>
                  </a:lnTo>
                  <a:lnTo>
                    <a:pt x="3142" y="1771"/>
                  </a:lnTo>
                  <a:lnTo>
                    <a:pt x="3143" y="1778"/>
                  </a:lnTo>
                  <a:lnTo>
                    <a:pt x="3144" y="1785"/>
                  </a:lnTo>
                  <a:lnTo>
                    <a:pt x="3146" y="1791"/>
                  </a:lnTo>
                  <a:lnTo>
                    <a:pt x="3148" y="1798"/>
                  </a:lnTo>
                  <a:lnTo>
                    <a:pt x="3152" y="1803"/>
                  </a:lnTo>
                  <a:lnTo>
                    <a:pt x="3156" y="1807"/>
                  </a:lnTo>
                  <a:lnTo>
                    <a:pt x="3160" y="1812"/>
                  </a:lnTo>
                  <a:lnTo>
                    <a:pt x="3164" y="1816"/>
                  </a:lnTo>
                  <a:lnTo>
                    <a:pt x="3186" y="1831"/>
                  </a:lnTo>
                  <a:lnTo>
                    <a:pt x="3208" y="1847"/>
                  </a:lnTo>
                  <a:lnTo>
                    <a:pt x="3211" y="1854"/>
                  </a:lnTo>
                  <a:lnTo>
                    <a:pt x="3215" y="1870"/>
                  </a:lnTo>
                  <a:lnTo>
                    <a:pt x="3219" y="1891"/>
                  </a:lnTo>
                  <a:lnTo>
                    <a:pt x="3223" y="1915"/>
                  </a:lnTo>
                  <a:lnTo>
                    <a:pt x="3227" y="1939"/>
                  </a:lnTo>
                  <a:lnTo>
                    <a:pt x="3229" y="1960"/>
                  </a:lnTo>
                  <a:lnTo>
                    <a:pt x="3230" y="1978"/>
                  </a:lnTo>
                  <a:lnTo>
                    <a:pt x="3229" y="1988"/>
                  </a:lnTo>
                  <a:lnTo>
                    <a:pt x="3226" y="1998"/>
                  </a:lnTo>
                  <a:lnTo>
                    <a:pt x="3221" y="2005"/>
                  </a:lnTo>
                  <a:lnTo>
                    <a:pt x="3217" y="2013"/>
                  </a:lnTo>
                  <a:lnTo>
                    <a:pt x="3213" y="2018"/>
                  </a:lnTo>
                  <a:lnTo>
                    <a:pt x="3209" y="2021"/>
                  </a:lnTo>
                  <a:lnTo>
                    <a:pt x="3205" y="2024"/>
                  </a:lnTo>
                  <a:lnTo>
                    <a:pt x="3200" y="2025"/>
                  </a:lnTo>
                  <a:lnTo>
                    <a:pt x="3195" y="2025"/>
                  </a:lnTo>
                  <a:lnTo>
                    <a:pt x="3191" y="2025"/>
                  </a:lnTo>
                  <a:lnTo>
                    <a:pt x="3187" y="2023"/>
                  </a:lnTo>
                  <a:lnTo>
                    <a:pt x="3183" y="2021"/>
                  </a:lnTo>
                  <a:lnTo>
                    <a:pt x="3179" y="2017"/>
                  </a:lnTo>
                  <a:lnTo>
                    <a:pt x="3170" y="2008"/>
                  </a:lnTo>
                  <a:lnTo>
                    <a:pt x="3163" y="1997"/>
                  </a:lnTo>
                  <a:lnTo>
                    <a:pt x="3155" y="1984"/>
                  </a:lnTo>
                  <a:lnTo>
                    <a:pt x="3148" y="1971"/>
                  </a:lnTo>
                  <a:lnTo>
                    <a:pt x="3141" y="1956"/>
                  </a:lnTo>
                  <a:lnTo>
                    <a:pt x="3136" y="1943"/>
                  </a:lnTo>
                  <a:lnTo>
                    <a:pt x="3127" y="1917"/>
                  </a:lnTo>
                  <a:lnTo>
                    <a:pt x="3121" y="1899"/>
                  </a:lnTo>
                  <a:lnTo>
                    <a:pt x="3118" y="1887"/>
                  </a:lnTo>
                  <a:lnTo>
                    <a:pt x="3115" y="1876"/>
                  </a:lnTo>
                  <a:lnTo>
                    <a:pt x="3111" y="1864"/>
                  </a:lnTo>
                  <a:lnTo>
                    <a:pt x="3106" y="1854"/>
                  </a:lnTo>
                  <a:lnTo>
                    <a:pt x="3100" y="1843"/>
                  </a:lnTo>
                  <a:lnTo>
                    <a:pt x="3094" y="1832"/>
                  </a:lnTo>
                  <a:lnTo>
                    <a:pt x="3088" y="1823"/>
                  </a:lnTo>
                  <a:lnTo>
                    <a:pt x="3081" y="1813"/>
                  </a:lnTo>
                  <a:lnTo>
                    <a:pt x="3072" y="1805"/>
                  </a:lnTo>
                  <a:lnTo>
                    <a:pt x="3064" y="1798"/>
                  </a:lnTo>
                  <a:lnTo>
                    <a:pt x="3055" y="1791"/>
                  </a:lnTo>
                  <a:lnTo>
                    <a:pt x="3044" y="1786"/>
                  </a:lnTo>
                  <a:lnTo>
                    <a:pt x="3034" y="1782"/>
                  </a:lnTo>
                  <a:lnTo>
                    <a:pt x="3022" y="1780"/>
                  </a:lnTo>
                  <a:lnTo>
                    <a:pt x="3011" y="1779"/>
                  </a:lnTo>
                  <a:lnTo>
                    <a:pt x="2997" y="1779"/>
                  </a:lnTo>
                  <a:lnTo>
                    <a:pt x="2990" y="1780"/>
                  </a:lnTo>
                  <a:lnTo>
                    <a:pt x="2982" y="1780"/>
                  </a:lnTo>
                  <a:lnTo>
                    <a:pt x="2973" y="1779"/>
                  </a:lnTo>
                  <a:lnTo>
                    <a:pt x="2966" y="1778"/>
                  </a:lnTo>
                  <a:lnTo>
                    <a:pt x="2959" y="1776"/>
                  </a:lnTo>
                  <a:lnTo>
                    <a:pt x="2952" y="1772"/>
                  </a:lnTo>
                  <a:lnTo>
                    <a:pt x="2946" y="1766"/>
                  </a:lnTo>
                  <a:lnTo>
                    <a:pt x="2940" y="1760"/>
                  </a:lnTo>
                  <a:lnTo>
                    <a:pt x="2935" y="1752"/>
                  </a:lnTo>
                  <a:lnTo>
                    <a:pt x="2932" y="1742"/>
                  </a:lnTo>
                  <a:lnTo>
                    <a:pt x="2931" y="1734"/>
                  </a:lnTo>
                  <a:lnTo>
                    <a:pt x="2929" y="1726"/>
                  </a:lnTo>
                  <a:lnTo>
                    <a:pt x="2932" y="1710"/>
                  </a:lnTo>
                  <a:lnTo>
                    <a:pt x="2934" y="1695"/>
                  </a:lnTo>
                  <a:lnTo>
                    <a:pt x="2934" y="1689"/>
                  </a:lnTo>
                  <a:lnTo>
                    <a:pt x="2933" y="1683"/>
                  </a:lnTo>
                  <a:lnTo>
                    <a:pt x="2931" y="1678"/>
                  </a:lnTo>
                  <a:lnTo>
                    <a:pt x="2927" y="1672"/>
                  </a:lnTo>
                  <a:lnTo>
                    <a:pt x="2921" y="1667"/>
                  </a:lnTo>
                  <a:lnTo>
                    <a:pt x="2914" y="1663"/>
                  </a:lnTo>
                  <a:lnTo>
                    <a:pt x="2902" y="1660"/>
                  </a:lnTo>
                  <a:lnTo>
                    <a:pt x="2888" y="1657"/>
                  </a:lnTo>
                  <a:lnTo>
                    <a:pt x="2884" y="1659"/>
                  </a:lnTo>
                  <a:lnTo>
                    <a:pt x="2879" y="1660"/>
                  </a:lnTo>
                  <a:lnTo>
                    <a:pt x="2873" y="1661"/>
                  </a:lnTo>
                  <a:lnTo>
                    <a:pt x="2867" y="1661"/>
                  </a:lnTo>
                  <a:lnTo>
                    <a:pt x="2861" y="1662"/>
                  </a:lnTo>
                  <a:lnTo>
                    <a:pt x="2854" y="1663"/>
                  </a:lnTo>
                  <a:lnTo>
                    <a:pt x="2849" y="1664"/>
                  </a:lnTo>
                  <a:lnTo>
                    <a:pt x="2844" y="1666"/>
                  </a:lnTo>
                  <a:lnTo>
                    <a:pt x="2784" y="1698"/>
                  </a:lnTo>
                  <a:lnTo>
                    <a:pt x="2774" y="1703"/>
                  </a:lnTo>
                  <a:lnTo>
                    <a:pt x="2765" y="1706"/>
                  </a:lnTo>
                  <a:lnTo>
                    <a:pt x="2756" y="1708"/>
                  </a:lnTo>
                  <a:lnTo>
                    <a:pt x="2749" y="1709"/>
                  </a:lnTo>
                  <a:lnTo>
                    <a:pt x="2743" y="1709"/>
                  </a:lnTo>
                  <a:lnTo>
                    <a:pt x="2736" y="1708"/>
                  </a:lnTo>
                  <a:lnTo>
                    <a:pt x="2729" y="1706"/>
                  </a:lnTo>
                  <a:lnTo>
                    <a:pt x="2723" y="1704"/>
                  </a:lnTo>
                  <a:lnTo>
                    <a:pt x="2699" y="1688"/>
                  </a:lnTo>
                  <a:lnTo>
                    <a:pt x="2670" y="1670"/>
                  </a:lnTo>
                  <a:lnTo>
                    <a:pt x="2664" y="1667"/>
                  </a:lnTo>
                  <a:lnTo>
                    <a:pt x="2656" y="1665"/>
                  </a:lnTo>
                  <a:lnTo>
                    <a:pt x="2650" y="1665"/>
                  </a:lnTo>
                  <a:lnTo>
                    <a:pt x="2643" y="1665"/>
                  </a:lnTo>
                  <a:lnTo>
                    <a:pt x="2636" y="1666"/>
                  </a:lnTo>
                  <a:lnTo>
                    <a:pt x="2630" y="1668"/>
                  </a:lnTo>
                  <a:lnTo>
                    <a:pt x="2624" y="1671"/>
                  </a:lnTo>
                  <a:lnTo>
                    <a:pt x="2618" y="1676"/>
                  </a:lnTo>
                  <a:lnTo>
                    <a:pt x="2611" y="1680"/>
                  </a:lnTo>
                  <a:lnTo>
                    <a:pt x="2605" y="1685"/>
                  </a:lnTo>
                  <a:lnTo>
                    <a:pt x="2600" y="1691"/>
                  </a:lnTo>
                  <a:lnTo>
                    <a:pt x="2594" y="1698"/>
                  </a:lnTo>
                  <a:lnTo>
                    <a:pt x="2583" y="1712"/>
                  </a:lnTo>
                  <a:lnTo>
                    <a:pt x="2574" y="1728"/>
                  </a:lnTo>
                  <a:lnTo>
                    <a:pt x="2565" y="1744"/>
                  </a:lnTo>
                  <a:lnTo>
                    <a:pt x="2556" y="1762"/>
                  </a:lnTo>
                  <a:lnTo>
                    <a:pt x="2549" y="1780"/>
                  </a:lnTo>
                  <a:lnTo>
                    <a:pt x="2543" y="1797"/>
                  </a:lnTo>
                  <a:lnTo>
                    <a:pt x="2537" y="1813"/>
                  </a:lnTo>
                  <a:lnTo>
                    <a:pt x="2533" y="1829"/>
                  </a:lnTo>
                  <a:lnTo>
                    <a:pt x="2530" y="1843"/>
                  </a:lnTo>
                  <a:lnTo>
                    <a:pt x="2528" y="1854"/>
                  </a:lnTo>
                  <a:lnTo>
                    <a:pt x="2527" y="1871"/>
                  </a:lnTo>
                  <a:lnTo>
                    <a:pt x="2526" y="1889"/>
                  </a:lnTo>
                  <a:lnTo>
                    <a:pt x="2525" y="1908"/>
                  </a:lnTo>
                  <a:lnTo>
                    <a:pt x="2521" y="1925"/>
                  </a:lnTo>
                  <a:lnTo>
                    <a:pt x="2519" y="1933"/>
                  </a:lnTo>
                  <a:lnTo>
                    <a:pt x="2514" y="1940"/>
                  </a:lnTo>
                  <a:lnTo>
                    <a:pt x="2510" y="1945"/>
                  </a:lnTo>
                  <a:lnTo>
                    <a:pt x="2505" y="1950"/>
                  </a:lnTo>
                  <a:lnTo>
                    <a:pt x="2498" y="1953"/>
                  </a:lnTo>
                  <a:lnTo>
                    <a:pt x="2489" y="1954"/>
                  </a:lnTo>
                  <a:lnTo>
                    <a:pt x="2479" y="1954"/>
                  </a:lnTo>
                  <a:lnTo>
                    <a:pt x="2468" y="1951"/>
                  </a:lnTo>
                  <a:lnTo>
                    <a:pt x="2458" y="1948"/>
                  </a:lnTo>
                  <a:lnTo>
                    <a:pt x="2449" y="1943"/>
                  </a:lnTo>
                  <a:lnTo>
                    <a:pt x="2440" y="1936"/>
                  </a:lnTo>
                  <a:lnTo>
                    <a:pt x="2432" y="1929"/>
                  </a:lnTo>
                  <a:lnTo>
                    <a:pt x="2416" y="1913"/>
                  </a:lnTo>
                  <a:lnTo>
                    <a:pt x="2401" y="1897"/>
                  </a:lnTo>
                  <a:lnTo>
                    <a:pt x="2393" y="1889"/>
                  </a:lnTo>
                  <a:lnTo>
                    <a:pt x="2384" y="1882"/>
                  </a:lnTo>
                  <a:lnTo>
                    <a:pt x="2375" y="1876"/>
                  </a:lnTo>
                  <a:lnTo>
                    <a:pt x="2365" y="1871"/>
                  </a:lnTo>
                  <a:lnTo>
                    <a:pt x="2355" y="1868"/>
                  </a:lnTo>
                  <a:lnTo>
                    <a:pt x="2344" y="1867"/>
                  </a:lnTo>
                  <a:lnTo>
                    <a:pt x="2338" y="1867"/>
                  </a:lnTo>
                  <a:lnTo>
                    <a:pt x="2332" y="1867"/>
                  </a:lnTo>
                  <a:lnTo>
                    <a:pt x="2325" y="1868"/>
                  </a:lnTo>
                  <a:lnTo>
                    <a:pt x="2318" y="1870"/>
                  </a:lnTo>
                  <a:lnTo>
                    <a:pt x="2297" y="1875"/>
                  </a:lnTo>
                  <a:lnTo>
                    <a:pt x="2279" y="1878"/>
                  </a:lnTo>
                  <a:lnTo>
                    <a:pt x="2264" y="1879"/>
                  </a:lnTo>
                  <a:lnTo>
                    <a:pt x="2252" y="1879"/>
                  </a:lnTo>
                  <a:lnTo>
                    <a:pt x="2226" y="1874"/>
                  </a:lnTo>
                  <a:lnTo>
                    <a:pt x="2188" y="1868"/>
                  </a:lnTo>
                  <a:lnTo>
                    <a:pt x="2160" y="1863"/>
                  </a:lnTo>
                  <a:lnTo>
                    <a:pt x="2138" y="1858"/>
                  </a:lnTo>
                  <a:lnTo>
                    <a:pt x="2130" y="1855"/>
                  </a:lnTo>
                  <a:lnTo>
                    <a:pt x="2122" y="1853"/>
                  </a:lnTo>
                  <a:lnTo>
                    <a:pt x="2116" y="1849"/>
                  </a:lnTo>
                  <a:lnTo>
                    <a:pt x="2112" y="1846"/>
                  </a:lnTo>
                  <a:lnTo>
                    <a:pt x="2108" y="1843"/>
                  </a:lnTo>
                  <a:lnTo>
                    <a:pt x="2106" y="1838"/>
                  </a:lnTo>
                  <a:lnTo>
                    <a:pt x="2104" y="1834"/>
                  </a:lnTo>
                  <a:lnTo>
                    <a:pt x="2103" y="1830"/>
                  </a:lnTo>
                  <a:lnTo>
                    <a:pt x="2103" y="1826"/>
                  </a:lnTo>
                  <a:lnTo>
                    <a:pt x="2104" y="1822"/>
                  </a:lnTo>
                  <a:lnTo>
                    <a:pt x="2105" y="1816"/>
                  </a:lnTo>
                  <a:lnTo>
                    <a:pt x="2107" y="1811"/>
                  </a:lnTo>
                  <a:lnTo>
                    <a:pt x="2117" y="1790"/>
                  </a:lnTo>
                  <a:lnTo>
                    <a:pt x="2129" y="1765"/>
                  </a:lnTo>
                  <a:lnTo>
                    <a:pt x="2134" y="1752"/>
                  </a:lnTo>
                  <a:lnTo>
                    <a:pt x="2137" y="1737"/>
                  </a:lnTo>
                  <a:lnTo>
                    <a:pt x="2138" y="1730"/>
                  </a:lnTo>
                  <a:lnTo>
                    <a:pt x="2138" y="1723"/>
                  </a:lnTo>
                  <a:lnTo>
                    <a:pt x="2137" y="1714"/>
                  </a:lnTo>
                  <a:lnTo>
                    <a:pt x="2135" y="1707"/>
                  </a:lnTo>
                  <a:lnTo>
                    <a:pt x="2111" y="1707"/>
                  </a:lnTo>
                  <a:lnTo>
                    <a:pt x="2081" y="1705"/>
                  </a:lnTo>
                  <a:lnTo>
                    <a:pt x="2073" y="1704"/>
                  </a:lnTo>
                  <a:lnTo>
                    <a:pt x="2066" y="1702"/>
                  </a:lnTo>
                  <a:lnTo>
                    <a:pt x="2060" y="1700"/>
                  </a:lnTo>
                  <a:lnTo>
                    <a:pt x="2054" y="1696"/>
                  </a:lnTo>
                  <a:lnTo>
                    <a:pt x="2049" y="1693"/>
                  </a:lnTo>
                  <a:lnTo>
                    <a:pt x="2044" y="1689"/>
                  </a:lnTo>
                  <a:lnTo>
                    <a:pt x="2041" y="1684"/>
                  </a:lnTo>
                  <a:lnTo>
                    <a:pt x="2039" y="1679"/>
                  </a:lnTo>
                  <a:lnTo>
                    <a:pt x="2037" y="1670"/>
                  </a:lnTo>
                  <a:lnTo>
                    <a:pt x="2034" y="1664"/>
                  </a:lnTo>
                  <a:lnTo>
                    <a:pt x="2031" y="1660"/>
                  </a:lnTo>
                  <a:lnTo>
                    <a:pt x="2028" y="1658"/>
                  </a:lnTo>
                  <a:lnTo>
                    <a:pt x="2024" y="1658"/>
                  </a:lnTo>
                  <a:lnTo>
                    <a:pt x="2021" y="1658"/>
                  </a:lnTo>
                  <a:lnTo>
                    <a:pt x="2017" y="1659"/>
                  </a:lnTo>
                  <a:lnTo>
                    <a:pt x="2014" y="1661"/>
                  </a:lnTo>
                  <a:lnTo>
                    <a:pt x="2010" y="1662"/>
                  </a:lnTo>
                  <a:lnTo>
                    <a:pt x="2007" y="1662"/>
                  </a:lnTo>
                  <a:lnTo>
                    <a:pt x="2003" y="1662"/>
                  </a:lnTo>
                  <a:lnTo>
                    <a:pt x="1999" y="1660"/>
                  </a:lnTo>
                  <a:lnTo>
                    <a:pt x="1995" y="1657"/>
                  </a:lnTo>
                  <a:lnTo>
                    <a:pt x="1992" y="1652"/>
                  </a:lnTo>
                  <a:lnTo>
                    <a:pt x="1989" y="1643"/>
                  </a:lnTo>
                  <a:lnTo>
                    <a:pt x="1987" y="1633"/>
                  </a:lnTo>
                  <a:lnTo>
                    <a:pt x="1985" y="1616"/>
                  </a:lnTo>
                  <a:lnTo>
                    <a:pt x="1982" y="1602"/>
                  </a:lnTo>
                  <a:lnTo>
                    <a:pt x="1981" y="1594"/>
                  </a:lnTo>
                  <a:lnTo>
                    <a:pt x="1981" y="1587"/>
                  </a:lnTo>
                  <a:lnTo>
                    <a:pt x="1983" y="1579"/>
                  </a:lnTo>
                  <a:lnTo>
                    <a:pt x="1987" y="1570"/>
                  </a:lnTo>
                  <a:lnTo>
                    <a:pt x="1993" y="1562"/>
                  </a:lnTo>
                  <a:lnTo>
                    <a:pt x="1999" y="1555"/>
                  </a:lnTo>
                  <a:lnTo>
                    <a:pt x="2007" y="1547"/>
                  </a:lnTo>
                  <a:lnTo>
                    <a:pt x="2014" y="1540"/>
                  </a:lnTo>
                  <a:lnTo>
                    <a:pt x="2021" y="1534"/>
                  </a:lnTo>
                  <a:lnTo>
                    <a:pt x="2028" y="1525"/>
                  </a:lnTo>
                  <a:lnTo>
                    <a:pt x="2035" y="1518"/>
                  </a:lnTo>
                  <a:lnTo>
                    <a:pt x="2040" y="1510"/>
                  </a:lnTo>
                  <a:lnTo>
                    <a:pt x="2043" y="1506"/>
                  </a:lnTo>
                  <a:lnTo>
                    <a:pt x="2046" y="1501"/>
                  </a:lnTo>
                  <a:lnTo>
                    <a:pt x="2049" y="1498"/>
                  </a:lnTo>
                  <a:lnTo>
                    <a:pt x="2054" y="1496"/>
                  </a:lnTo>
                  <a:lnTo>
                    <a:pt x="2061" y="1493"/>
                  </a:lnTo>
                  <a:lnTo>
                    <a:pt x="2069" y="1491"/>
                  </a:lnTo>
                  <a:lnTo>
                    <a:pt x="2078" y="1491"/>
                  </a:lnTo>
                  <a:lnTo>
                    <a:pt x="2087" y="1492"/>
                  </a:lnTo>
                  <a:lnTo>
                    <a:pt x="2095" y="1493"/>
                  </a:lnTo>
                  <a:lnTo>
                    <a:pt x="2105" y="1495"/>
                  </a:lnTo>
                  <a:lnTo>
                    <a:pt x="2113" y="1496"/>
                  </a:lnTo>
                  <a:lnTo>
                    <a:pt x="2120" y="1497"/>
                  </a:lnTo>
                  <a:lnTo>
                    <a:pt x="2128" y="1497"/>
                  </a:lnTo>
                  <a:lnTo>
                    <a:pt x="2134" y="1496"/>
                  </a:lnTo>
                  <a:lnTo>
                    <a:pt x="2137" y="1495"/>
                  </a:lnTo>
                  <a:lnTo>
                    <a:pt x="2139" y="1494"/>
                  </a:lnTo>
                  <a:lnTo>
                    <a:pt x="2141" y="1492"/>
                  </a:lnTo>
                  <a:lnTo>
                    <a:pt x="2143" y="1489"/>
                  </a:lnTo>
                  <a:lnTo>
                    <a:pt x="2144" y="1487"/>
                  </a:lnTo>
                  <a:lnTo>
                    <a:pt x="2145" y="1483"/>
                  </a:lnTo>
                  <a:lnTo>
                    <a:pt x="2146" y="1478"/>
                  </a:lnTo>
                  <a:lnTo>
                    <a:pt x="2146" y="1473"/>
                  </a:lnTo>
                  <a:lnTo>
                    <a:pt x="2145" y="1465"/>
                  </a:lnTo>
                  <a:lnTo>
                    <a:pt x="2142" y="1455"/>
                  </a:lnTo>
                  <a:lnTo>
                    <a:pt x="2139" y="1446"/>
                  </a:lnTo>
                  <a:lnTo>
                    <a:pt x="2136" y="1438"/>
                  </a:lnTo>
                  <a:lnTo>
                    <a:pt x="2133" y="1429"/>
                  </a:lnTo>
                  <a:lnTo>
                    <a:pt x="2132" y="1421"/>
                  </a:lnTo>
                  <a:lnTo>
                    <a:pt x="2132" y="1418"/>
                  </a:lnTo>
                  <a:lnTo>
                    <a:pt x="2133" y="1415"/>
                  </a:lnTo>
                  <a:lnTo>
                    <a:pt x="2134" y="1412"/>
                  </a:lnTo>
                  <a:lnTo>
                    <a:pt x="2137" y="1409"/>
                  </a:lnTo>
                  <a:lnTo>
                    <a:pt x="2158" y="1393"/>
                  </a:lnTo>
                  <a:lnTo>
                    <a:pt x="2185" y="1371"/>
                  </a:lnTo>
                  <a:lnTo>
                    <a:pt x="2192" y="1365"/>
                  </a:lnTo>
                  <a:lnTo>
                    <a:pt x="2198" y="1358"/>
                  </a:lnTo>
                  <a:lnTo>
                    <a:pt x="2203" y="1352"/>
                  </a:lnTo>
                  <a:lnTo>
                    <a:pt x="2206" y="1347"/>
                  </a:lnTo>
                  <a:lnTo>
                    <a:pt x="2209" y="1341"/>
                  </a:lnTo>
                  <a:lnTo>
                    <a:pt x="2210" y="1336"/>
                  </a:lnTo>
                  <a:lnTo>
                    <a:pt x="2209" y="1330"/>
                  </a:lnTo>
                  <a:lnTo>
                    <a:pt x="2207" y="1325"/>
                  </a:lnTo>
                  <a:lnTo>
                    <a:pt x="2201" y="1319"/>
                  </a:lnTo>
                  <a:lnTo>
                    <a:pt x="2194" y="1313"/>
                  </a:lnTo>
                  <a:lnTo>
                    <a:pt x="2187" y="1307"/>
                  </a:lnTo>
                  <a:lnTo>
                    <a:pt x="2178" y="1302"/>
                  </a:lnTo>
                  <a:lnTo>
                    <a:pt x="2168" y="1298"/>
                  </a:lnTo>
                  <a:lnTo>
                    <a:pt x="2159" y="1294"/>
                  </a:lnTo>
                  <a:lnTo>
                    <a:pt x="2149" y="1291"/>
                  </a:lnTo>
                  <a:lnTo>
                    <a:pt x="2137" y="1288"/>
                  </a:lnTo>
                  <a:lnTo>
                    <a:pt x="2127" y="1284"/>
                  </a:lnTo>
                  <a:lnTo>
                    <a:pt x="2115" y="1283"/>
                  </a:lnTo>
                  <a:lnTo>
                    <a:pt x="2105" y="1281"/>
                  </a:lnTo>
                  <a:lnTo>
                    <a:pt x="2094" y="1281"/>
                  </a:lnTo>
                  <a:lnTo>
                    <a:pt x="2084" y="1281"/>
                  </a:lnTo>
                  <a:lnTo>
                    <a:pt x="2075" y="1282"/>
                  </a:lnTo>
                  <a:lnTo>
                    <a:pt x="2066" y="1283"/>
                  </a:lnTo>
                  <a:lnTo>
                    <a:pt x="2058" y="1286"/>
                  </a:lnTo>
                  <a:lnTo>
                    <a:pt x="2047" y="1292"/>
                  </a:lnTo>
                  <a:lnTo>
                    <a:pt x="2037" y="1299"/>
                  </a:lnTo>
                  <a:lnTo>
                    <a:pt x="2025" y="1308"/>
                  </a:lnTo>
                  <a:lnTo>
                    <a:pt x="2015" y="1319"/>
                  </a:lnTo>
                  <a:lnTo>
                    <a:pt x="2005" y="1328"/>
                  </a:lnTo>
                  <a:lnTo>
                    <a:pt x="1994" y="1336"/>
                  </a:lnTo>
                  <a:lnTo>
                    <a:pt x="1989" y="1339"/>
                  </a:lnTo>
                  <a:lnTo>
                    <a:pt x="1985" y="1341"/>
                  </a:lnTo>
                  <a:lnTo>
                    <a:pt x="1980" y="1343"/>
                  </a:lnTo>
                  <a:lnTo>
                    <a:pt x="1975" y="1343"/>
                  </a:lnTo>
                  <a:lnTo>
                    <a:pt x="1969" y="1319"/>
                  </a:lnTo>
                  <a:lnTo>
                    <a:pt x="1961" y="1296"/>
                  </a:lnTo>
                  <a:lnTo>
                    <a:pt x="1951" y="1274"/>
                  </a:lnTo>
                  <a:lnTo>
                    <a:pt x="1941" y="1252"/>
                  </a:lnTo>
                  <a:lnTo>
                    <a:pt x="1929" y="1231"/>
                  </a:lnTo>
                  <a:lnTo>
                    <a:pt x="1915" y="1211"/>
                  </a:lnTo>
                  <a:lnTo>
                    <a:pt x="1899" y="1192"/>
                  </a:lnTo>
                  <a:lnTo>
                    <a:pt x="1881" y="1172"/>
                  </a:lnTo>
                  <a:lnTo>
                    <a:pt x="1877" y="1170"/>
                  </a:lnTo>
                  <a:lnTo>
                    <a:pt x="1874" y="1168"/>
                  </a:lnTo>
                  <a:lnTo>
                    <a:pt x="1870" y="1165"/>
                  </a:lnTo>
                  <a:lnTo>
                    <a:pt x="1865" y="1164"/>
                  </a:lnTo>
                  <a:lnTo>
                    <a:pt x="1856" y="1163"/>
                  </a:lnTo>
                  <a:lnTo>
                    <a:pt x="1844" y="1163"/>
                  </a:lnTo>
                  <a:lnTo>
                    <a:pt x="1834" y="1164"/>
                  </a:lnTo>
                  <a:lnTo>
                    <a:pt x="1822" y="1164"/>
                  </a:lnTo>
                  <a:lnTo>
                    <a:pt x="1812" y="1164"/>
                  </a:lnTo>
                  <a:lnTo>
                    <a:pt x="1801" y="1162"/>
                  </a:lnTo>
                  <a:lnTo>
                    <a:pt x="1795" y="1160"/>
                  </a:lnTo>
                  <a:lnTo>
                    <a:pt x="1789" y="1157"/>
                  </a:lnTo>
                  <a:lnTo>
                    <a:pt x="1784" y="1153"/>
                  </a:lnTo>
                  <a:lnTo>
                    <a:pt x="1779" y="1148"/>
                  </a:lnTo>
                  <a:lnTo>
                    <a:pt x="1776" y="1143"/>
                  </a:lnTo>
                  <a:lnTo>
                    <a:pt x="1774" y="1136"/>
                  </a:lnTo>
                  <a:lnTo>
                    <a:pt x="1772" y="1129"/>
                  </a:lnTo>
                  <a:lnTo>
                    <a:pt x="1770" y="1123"/>
                  </a:lnTo>
                  <a:lnTo>
                    <a:pt x="1768" y="1108"/>
                  </a:lnTo>
                  <a:lnTo>
                    <a:pt x="1768" y="1093"/>
                  </a:lnTo>
                  <a:lnTo>
                    <a:pt x="1770" y="1080"/>
                  </a:lnTo>
                  <a:lnTo>
                    <a:pt x="1771" y="1067"/>
                  </a:lnTo>
                  <a:lnTo>
                    <a:pt x="1767" y="1058"/>
                  </a:lnTo>
                  <a:lnTo>
                    <a:pt x="1762" y="1048"/>
                  </a:lnTo>
                  <a:lnTo>
                    <a:pt x="1754" y="1037"/>
                  </a:lnTo>
                  <a:lnTo>
                    <a:pt x="1747" y="1028"/>
                  </a:lnTo>
                  <a:lnTo>
                    <a:pt x="1740" y="1017"/>
                  </a:lnTo>
                  <a:lnTo>
                    <a:pt x="1734" y="1008"/>
                  </a:lnTo>
                  <a:lnTo>
                    <a:pt x="1731" y="1003"/>
                  </a:lnTo>
                  <a:lnTo>
                    <a:pt x="1729" y="997"/>
                  </a:lnTo>
                  <a:lnTo>
                    <a:pt x="1728" y="992"/>
                  </a:lnTo>
                  <a:lnTo>
                    <a:pt x="1727" y="987"/>
                  </a:lnTo>
                  <a:lnTo>
                    <a:pt x="1728" y="977"/>
                  </a:lnTo>
                  <a:lnTo>
                    <a:pt x="1730" y="966"/>
                  </a:lnTo>
                  <a:lnTo>
                    <a:pt x="1734" y="956"/>
                  </a:lnTo>
                  <a:lnTo>
                    <a:pt x="1738" y="946"/>
                  </a:lnTo>
                  <a:lnTo>
                    <a:pt x="1742" y="936"/>
                  </a:lnTo>
                  <a:lnTo>
                    <a:pt x="1745" y="926"/>
                  </a:lnTo>
                  <a:lnTo>
                    <a:pt x="1748" y="914"/>
                  </a:lnTo>
                  <a:lnTo>
                    <a:pt x="1749" y="904"/>
                  </a:lnTo>
                  <a:lnTo>
                    <a:pt x="1750" y="891"/>
                  </a:lnTo>
                  <a:lnTo>
                    <a:pt x="1752" y="880"/>
                  </a:lnTo>
                  <a:lnTo>
                    <a:pt x="1756" y="868"/>
                  </a:lnTo>
                  <a:lnTo>
                    <a:pt x="1761" y="858"/>
                  </a:lnTo>
                  <a:lnTo>
                    <a:pt x="1771" y="837"/>
                  </a:lnTo>
                  <a:lnTo>
                    <a:pt x="1784" y="816"/>
                  </a:lnTo>
                  <a:lnTo>
                    <a:pt x="1796" y="796"/>
                  </a:lnTo>
                  <a:lnTo>
                    <a:pt x="1807" y="775"/>
                  </a:lnTo>
                  <a:lnTo>
                    <a:pt x="1811" y="765"/>
                  </a:lnTo>
                  <a:lnTo>
                    <a:pt x="1815" y="753"/>
                  </a:lnTo>
                  <a:lnTo>
                    <a:pt x="1817" y="742"/>
                  </a:lnTo>
                  <a:lnTo>
                    <a:pt x="1818" y="729"/>
                  </a:lnTo>
                  <a:lnTo>
                    <a:pt x="1817" y="715"/>
                  </a:lnTo>
                  <a:lnTo>
                    <a:pt x="1815" y="700"/>
                  </a:lnTo>
                  <a:lnTo>
                    <a:pt x="1812" y="686"/>
                  </a:lnTo>
                  <a:lnTo>
                    <a:pt x="1808" y="671"/>
                  </a:lnTo>
                  <a:lnTo>
                    <a:pt x="1802" y="657"/>
                  </a:lnTo>
                  <a:lnTo>
                    <a:pt x="1799" y="644"/>
                  </a:lnTo>
                  <a:lnTo>
                    <a:pt x="1796" y="630"/>
                  </a:lnTo>
                  <a:lnTo>
                    <a:pt x="1795" y="617"/>
                  </a:lnTo>
                  <a:lnTo>
                    <a:pt x="1834" y="602"/>
                  </a:lnTo>
                  <a:lnTo>
                    <a:pt x="1869" y="591"/>
                  </a:lnTo>
                  <a:lnTo>
                    <a:pt x="1877" y="588"/>
                  </a:lnTo>
                  <a:lnTo>
                    <a:pt x="1886" y="583"/>
                  </a:lnTo>
                  <a:lnTo>
                    <a:pt x="1893" y="578"/>
                  </a:lnTo>
                  <a:lnTo>
                    <a:pt x="1900" y="572"/>
                  </a:lnTo>
                  <a:lnTo>
                    <a:pt x="1908" y="565"/>
                  </a:lnTo>
                  <a:lnTo>
                    <a:pt x="1914" y="556"/>
                  </a:lnTo>
                  <a:lnTo>
                    <a:pt x="1920" y="546"/>
                  </a:lnTo>
                  <a:lnTo>
                    <a:pt x="1926" y="534"/>
                  </a:lnTo>
                  <a:lnTo>
                    <a:pt x="1930" y="526"/>
                  </a:lnTo>
                  <a:lnTo>
                    <a:pt x="1930" y="519"/>
                  </a:lnTo>
                  <a:lnTo>
                    <a:pt x="1930" y="512"/>
                  </a:lnTo>
                  <a:lnTo>
                    <a:pt x="1927" y="507"/>
                  </a:lnTo>
                  <a:lnTo>
                    <a:pt x="1924" y="502"/>
                  </a:lnTo>
                  <a:lnTo>
                    <a:pt x="1922" y="496"/>
                  </a:lnTo>
                  <a:lnTo>
                    <a:pt x="1920" y="489"/>
                  </a:lnTo>
                  <a:lnTo>
                    <a:pt x="1919" y="482"/>
                  </a:lnTo>
                  <a:lnTo>
                    <a:pt x="1919" y="472"/>
                  </a:lnTo>
                  <a:lnTo>
                    <a:pt x="1921" y="464"/>
                  </a:lnTo>
                  <a:lnTo>
                    <a:pt x="1924" y="458"/>
                  </a:lnTo>
                  <a:lnTo>
                    <a:pt x="1929" y="453"/>
                  </a:lnTo>
                  <a:lnTo>
                    <a:pt x="1933" y="448"/>
                  </a:lnTo>
                  <a:lnTo>
                    <a:pt x="1938" y="442"/>
                  </a:lnTo>
                  <a:lnTo>
                    <a:pt x="1943" y="436"/>
                  </a:lnTo>
                  <a:lnTo>
                    <a:pt x="1947" y="429"/>
                  </a:lnTo>
                  <a:lnTo>
                    <a:pt x="1951" y="418"/>
                  </a:lnTo>
                  <a:lnTo>
                    <a:pt x="1957" y="404"/>
                  </a:lnTo>
                  <a:lnTo>
                    <a:pt x="1961" y="388"/>
                  </a:lnTo>
                  <a:lnTo>
                    <a:pt x="1965" y="369"/>
                  </a:lnTo>
                  <a:lnTo>
                    <a:pt x="1969" y="350"/>
                  </a:lnTo>
                  <a:lnTo>
                    <a:pt x="1972" y="329"/>
                  </a:lnTo>
                  <a:lnTo>
                    <a:pt x="1975" y="308"/>
                  </a:lnTo>
                  <a:lnTo>
                    <a:pt x="1976" y="286"/>
                  </a:lnTo>
                  <a:lnTo>
                    <a:pt x="1978" y="265"/>
                  </a:lnTo>
                  <a:lnTo>
                    <a:pt x="1978" y="245"/>
                  </a:lnTo>
                  <a:lnTo>
                    <a:pt x="1975" y="227"/>
                  </a:lnTo>
                  <a:lnTo>
                    <a:pt x="1971" y="210"/>
                  </a:lnTo>
                  <a:lnTo>
                    <a:pt x="1969" y="203"/>
                  </a:lnTo>
                  <a:lnTo>
                    <a:pt x="1966" y="195"/>
                  </a:lnTo>
                  <a:lnTo>
                    <a:pt x="1963" y="190"/>
                  </a:lnTo>
                  <a:lnTo>
                    <a:pt x="1959" y="185"/>
                  </a:lnTo>
                  <a:lnTo>
                    <a:pt x="1955" y="180"/>
                  </a:lnTo>
                  <a:lnTo>
                    <a:pt x="1949" y="176"/>
                  </a:lnTo>
                  <a:lnTo>
                    <a:pt x="1943" y="174"/>
                  </a:lnTo>
                  <a:lnTo>
                    <a:pt x="1937" y="173"/>
                  </a:lnTo>
                  <a:lnTo>
                    <a:pt x="1820" y="159"/>
                  </a:lnTo>
                  <a:lnTo>
                    <a:pt x="1804" y="156"/>
                  </a:lnTo>
                  <a:lnTo>
                    <a:pt x="1788" y="150"/>
                  </a:lnTo>
                  <a:lnTo>
                    <a:pt x="1771" y="144"/>
                  </a:lnTo>
                  <a:lnTo>
                    <a:pt x="1754" y="137"/>
                  </a:lnTo>
                  <a:lnTo>
                    <a:pt x="1738" y="131"/>
                  </a:lnTo>
                  <a:lnTo>
                    <a:pt x="1721" y="125"/>
                  </a:lnTo>
                  <a:lnTo>
                    <a:pt x="1714" y="123"/>
                  </a:lnTo>
                  <a:lnTo>
                    <a:pt x="1705" y="121"/>
                  </a:lnTo>
                  <a:lnTo>
                    <a:pt x="1698" y="120"/>
                  </a:lnTo>
                  <a:lnTo>
                    <a:pt x="1691" y="120"/>
                  </a:lnTo>
                  <a:lnTo>
                    <a:pt x="1691" y="120"/>
                  </a:lnTo>
                  <a:lnTo>
                    <a:pt x="1686" y="118"/>
                  </a:lnTo>
                  <a:lnTo>
                    <a:pt x="1681" y="116"/>
                  </a:lnTo>
                  <a:lnTo>
                    <a:pt x="1678" y="114"/>
                  </a:lnTo>
                  <a:lnTo>
                    <a:pt x="1675" y="112"/>
                  </a:lnTo>
                  <a:lnTo>
                    <a:pt x="1673" y="109"/>
                  </a:lnTo>
                  <a:lnTo>
                    <a:pt x="1672" y="106"/>
                  </a:lnTo>
                  <a:lnTo>
                    <a:pt x="1671" y="102"/>
                  </a:lnTo>
                  <a:lnTo>
                    <a:pt x="1670" y="99"/>
                  </a:lnTo>
                  <a:lnTo>
                    <a:pt x="1671" y="93"/>
                  </a:lnTo>
                  <a:lnTo>
                    <a:pt x="1672" y="86"/>
                  </a:lnTo>
                  <a:lnTo>
                    <a:pt x="1675" y="77"/>
                  </a:lnTo>
                  <a:lnTo>
                    <a:pt x="1679" y="69"/>
                  </a:lnTo>
                  <a:lnTo>
                    <a:pt x="1687" y="52"/>
                  </a:lnTo>
                  <a:lnTo>
                    <a:pt x="1693" y="35"/>
                  </a:lnTo>
                  <a:lnTo>
                    <a:pt x="1694" y="26"/>
                  </a:lnTo>
                  <a:lnTo>
                    <a:pt x="1694" y="18"/>
                  </a:lnTo>
                  <a:lnTo>
                    <a:pt x="1694" y="14"/>
                  </a:lnTo>
                  <a:lnTo>
                    <a:pt x="1692" y="10"/>
                  </a:lnTo>
                  <a:lnTo>
                    <a:pt x="1691" y="5"/>
                  </a:lnTo>
                  <a:lnTo>
                    <a:pt x="1689" y="2"/>
                  </a:lnTo>
                  <a:lnTo>
                    <a:pt x="1687" y="1"/>
                  </a:lnTo>
                  <a:lnTo>
                    <a:pt x="1686" y="0"/>
                  </a:lnTo>
                  <a:lnTo>
                    <a:pt x="1684" y="0"/>
                  </a:lnTo>
                  <a:lnTo>
                    <a:pt x="1680" y="1"/>
                  </a:lnTo>
                  <a:lnTo>
                    <a:pt x="1674" y="3"/>
                  </a:lnTo>
                  <a:lnTo>
                    <a:pt x="1667" y="6"/>
                  </a:lnTo>
                  <a:lnTo>
                    <a:pt x="1648" y="16"/>
                  </a:lnTo>
                  <a:lnTo>
                    <a:pt x="1627" y="29"/>
                  </a:lnTo>
                  <a:lnTo>
                    <a:pt x="1606" y="44"/>
                  </a:lnTo>
                  <a:lnTo>
                    <a:pt x="1588" y="58"/>
                  </a:lnTo>
                  <a:lnTo>
                    <a:pt x="1572" y="69"/>
                  </a:lnTo>
                  <a:lnTo>
                    <a:pt x="1564" y="76"/>
                  </a:lnTo>
                  <a:lnTo>
                    <a:pt x="1560" y="80"/>
                  </a:lnTo>
                  <a:lnTo>
                    <a:pt x="1558" y="84"/>
                  </a:lnTo>
                  <a:lnTo>
                    <a:pt x="1556" y="88"/>
                  </a:lnTo>
                  <a:lnTo>
                    <a:pt x="1555" y="91"/>
                  </a:lnTo>
                  <a:lnTo>
                    <a:pt x="1555" y="95"/>
                  </a:lnTo>
                  <a:lnTo>
                    <a:pt x="1555" y="98"/>
                  </a:lnTo>
                  <a:lnTo>
                    <a:pt x="1556" y="102"/>
                  </a:lnTo>
                  <a:lnTo>
                    <a:pt x="1558" y="106"/>
                  </a:lnTo>
                  <a:lnTo>
                    <a:pt x="1563" y="113"/>
                  </a:lnTo>
                  <a:lnTo>
                    <a:pt x="1569" y="120"/>
                  </a:lnTo>
                  <a:lnTo>
                    <a:pt x="1577" y="126"/>
                  </a:lnTo>
                  <a:lnTo>
                    <a:pt x="1585" y="134"/>
                  </a:lnTo>
                  <a:lnTo>
                    <a:pt x="1605" y="145"/>
                  </a:lnTo>
                  <a:lnTo>
                    <a:pt x="1625" y="156"/>
                  </a:lnTo>
                  <a:lnTo>
                    <a:pt x="1642" y="164"/>
                  </a:lnTo>
                  <a:lnTo>
                    <a:pt x="1654" y="170"/>
                  </a:lnTo>
                  <a:lnTo>
                    <a:pt x="1654" y="183"/>
                  </a:lnTo>
                  <a:lnTo>
                    <a:pt x="1654" y="196"/>
                  </a:lnTo>
                  <a:lnTo>
                    <a:pt x="1651" y="210"/>
                  </a:lnTo>
                  <a:lnTo>
                    <a:pt x="1647" y="222"/>
                  </a:lnTo>
                  <a:lnTo>
                    <a:pt x="1644" y="229"/>
                  </a:lnTo>
                  <a:lnTo>
                    <a:pt x="1641" y="234"/>
                  </a:lnTo>
                  <a:lnTo>
                    <a:pt x="1637" y="239"/>
                  </a:lnTo>
                  <a:lnTo>
                    <a:pt x="1631" y="243"/>
                  </a:lnTo>
                  <a:lnTo>
                    <a:pt x="1626" y="247"/>
                  </a:lnTo>
                  <a:lnTo>
                    <a:pt x="1620" y="251"/>
                  </a:lnTo>
                  <a:lnTo>
                    <a:pt x="1614" y="254"/>
                  </a:lnTo>
                  <a:lnTo>
                    <a:pt x="1606" y="255"/>
                  </a:lnTo>
                  <a:lnTo>
                    <a:pt x="1602" y="255"/>
                  </a:lnTo>
                  <a:lnTo>
                    <a:pt x="1596" y="254"/>
                  </a:lnTo>
                  <a:lnTo>
                    <a:pt x="1590" y="253"/>
                  </a:lnTo>
                  <a:lnTo>
                    <a:pt x="1582" y="251"/>
                  </a:lnTo>
                  <a:lnTo>
                    <a:pt x="1568" y="246"/>
                  </a:lnTo>
                  <a:lnTo>
                    <a:pt x="1553" y="241"/>
                  </a:lnTo>
                  <a:lnTo>
                    <a:pt x="1546" y="239"/>
                  </a:lnTo>
                  <a:lnTo>
                    <a:pt x="1540" y="238"/>
                  </a:lnTo>
                  <a:lnTo>
                    <a:pt x="1533" y="237"/>
                  </a:lnTo>
                  <a:lnTo>
                    <a:pt x="1528" y="237"/>
                  </a:lnTo>
                  <a:lnTo>
                    <a:pt x="1523" y="238"/>
                  </a:lnTo>
                  <a:lnTo>
                    <a:pt x="1520" y="239"/>
                  </a:lnTo>
                  <a:lnTo>
                    <a:pt x="1518" y="243"/>
                  </a:lnTo>
                  <a:lnTo>
                    <a:pt x="1517" y="247"/>
                  </a:lnTo>
                  <a:lnTo>
                    <a:pt x="1526" y="258"/>
                  </a:lnTo>
                  <a:lnTo>
                    <a:pt x="1540" y="277"/>
                  </a:lnTo>
                  <a:lnTo>
                    <a:pt x="1553" y="296"/>
                  </a:lnTo>
                  <a:lnTo>
                    <a:pt x="1562" y="310"/>
                  </a:lnTo>
                  <a:lnTo>
                    <a:pt x="1565" y="317"/>
                  </a:lnTo>
                  <a:lnTo>
                    <a:pt x="1566" y="325"/>
                  </a:lnTo>
                  <a:lnTo>
                    <a:pt x="1566" y="331"/>
                  </a:lnTo>
                  <a:lnTo>
                    <a:pt x="1566" y="336"/>
                  </a:lnTo>
                  <a:lnTo>
                    <a:pt x="1565" y="342"/>
                  </a:lnTo>
                  <a:lnTo>
                    <a:pt x="1565" y="348"/>
                  </a:lnTo>
                  <a:lnTo>
                    <a:pt x="1564" y="354"/>
                  </a:lnTo>
                  <a:lnTo>
                    <a:pt x="1565" y="361"/>
                  </a:lnTo>
                  <a:lnTo>
                    <a:pt x="1567" y="365"/>
                  </a:lnTo>
                  <a:lnTo>
                    <a:pt x="1569" y="369"/>
                  </a:lnTo>
                  <a:lnTo>
                    <a:pt x="1573" y="374"/>
                  </a:lnTo>
                  <a:lnTo>
                    <a:pt x="1577" y="379"/>
                  </a:lnTo>
                  <a:lnTo>
                    <a:pt x="1589" y="387"/>
                  </a:lnTo>
                  <a:lnTo>
                    <a:pt x="1602" y="397"/>
                  </a:lnTo>
                  <a:lnTo>
                    <a:pt x="1617" y="405"/>
                  </a:lnTo>
                  <a:lnTo>
                    <a:pt x="1630" y="413"/>
                  </a:lnTo>
                  <a:lnTo>
                    <a:pt x="1642" y="422"/>
                  </a:lnTo>
                  <a:lnTo>
                    <a:pt x="1650" y="429"/>
                  </a:lnTo>
                  <a:lnTo>
                    <a:pt x="1655" y="436"/>
                  </a:lnTo>
                  <a:lnTo>
                    <a:pt x="1660" y="444"/>
                  </a:lnTo>
                  <a:lnTo>
                    <a:pt x="1664" y="453"/>
                  </a:lnTo>
                  <a:lnTo>
                    <a:pt x="1667" y="461"/>
                  </a:lnTo>
                  <a:lnTo>
                    <a:pt x="1670" y="470"/>
                  </a:lnTo>
                  <a:lnTo>
                    <a:pt x="1673" y="477"/>
                  </a:lnTo>
                  <a:lnTo>
                    <a:pt x="1678" y="484"/>
                  </a:lnTo>
                  <a:lnTo>
                    <a:pt x="1684" y="489"/>
                  </a:lnTo>
                  <a:lnTo>
                    <a:pt x="1687" y="493"/>
                  </a:lnTo>
                  <a:lnTo>
                    <a:pt x="1689" y="495"/>
                  </a:lnTo>
                  <a:lnTo>
                    <a:pt x="1690" y="498"/>
                  </a:lnTo>
                  <a:lnTo>
                    <a:pt x="1691" y="500"/>
                  </a:lnTo>
                  <a:lnTo>
                    <a:pt x="1691" y="502"/>
                  </a:lnTo>
                  <a:lnTo>
                    <a:pt x="1690" y="504"/>
                  </a:lnTo>
                  <a:lnTo>
                    <a:pt x="1689" y="506"/>
                  </a:lnTo>
                  <a:lnTo>
                    <a:pt x="1687" y="508"/>
                  </a:lnTo>
                  <a:lnTo>
                    <a:pt x="1682" y="511"/>
                  </a:lnTo>
                  <a:lnTo>
                    <a:pt x="1675" y="514"/>
                  </a:lnTo>
                  <a:lnTo>
                    <a:pt x="1668" y="517"/>
                  </a:lnTo>
                  <a:lnTo>
                    <a:pt x="1658" y="520"/>
                  </a:lnTo>
                  <a:lnTo>
                    <a:pt x="1640" y="523"/>
                  </a:lnTo>
                  <a:lnTo>
                    <a:pt x="1621" y="526"/>
                  </a:lnTo>
                  <a:lnTo>
                    <a:pt x="1605" y="528"/>
                  </a:lnTo>
                  <a:lnTo>
                    <a:pt x="1595" y="530"/>
                  </a:lnTo>
                  <a:lnTo>
                    <a:pt x="1587" y="534"/>
                  </a:lnTo>
                  <a:lnTo>
                    <a:pt x="1578" y="537"/>
                  </a:lnTo>
                  <a:lnTo>
                    <a:pt x="1570" y="543"/>
                  </a:lnTo>
                  <a:lnTo>
                    <a:pt x="1563" y="548"/>
                  </a:lnTo>
                  <a:lnTo>
                    <a:pt x="1555" y="554"/>
                  </a:lnTo>
                  <a:lnTo>
                    <a:pt x="1548" y="560"/>
                  </a:lnTo>
                  <a:lnTo>
                    <a:pt x="1542" y="568"/>
                  </a:lnTo>
                  <a:lnTo>
                    <a:pt x="1535" y="575"/>
                  </a:lnTo>
                  <a:lnTo>
                    <a:pt x="1523" y="591"/>
                  </a:lnTo>
                  <a:lnTo>
                    <a:pt x="1513" y="606"/>
                  </a:lnTo>
                  <a:lnTo>
                    <a:pt x="1503" y="623"/>
                  </a:lnTo>
                  <a:lnTo>
                    <a:pt x="1495" y="639"/>
                  </a:lnTo>
                  <a:lnTo>
                    <a:pt x="1494" y="643"/>
                  </a:lnTo>
                  <a:lnTo>
                    <a:pt x="1493" y="648"/>
                  </a:lnTo>
                  <a:lnTo>
                    <a:pt x="1491" y="652"/>
                  </a:lnTo>
                  <a:lnTo>
                    <a:pt x="1489" y="655"/>
                  </a:lnTo>
                  <a:lnTo>
                    <a:pt x="1483" y="663"/>
                  </a:lnTo>
                  <a:lnTo>
                    <a:pt x="1476" y="669"/>
                  </a:lnTo>
                  <a:lnTo>
                    <a:pt x="1470" y="675"/>
                  </a:lnTo>
                  <a:lnTo>
                    <a:pt x="1464" y="680"/>
                  </a:lnTo>
                  <a:lnTo>
                    <a:pt x="1458" y="688"/>
                  </a:lnTo>
                  <a:lnTo>
                    <a:pt x="1454" y="696"/>
                  </a:lnTo>
                  <a:lnTo>
                    <a:pt x="1451" y="704"/>
                  </a:lnTo>
                  <a:lnTo>
                    <a:pt x="1449" y="712"/>
                  </a:lnTo>
                  <a:lnTo>
                    <a:pt x="1448" y="719"/>
                  </a:lnTo>
                  <a:lnTo>
                    <a:pt x="1448" y="725"/>
                  </a:lnTo>
                  <a:lnTo>
                    <a:pt x="1448" y="737"/>
                  </a:lnTo>
                  <a:lnTo>
                    <a:pt x="1448" y="746"/>
                  </a:lnTo>
                  <a:lnTo>
                    <a:pt x="1447" y="750"/>
                  </a:lnTo>
                  <a:lnTo>
                    <a:pt x="1446" y="755"/>
                  </a:lnTo>
                  <a:lnTo>
                    <a:pt x="1444" y="760"/>
                  </a:lnTo>
                  <a:lnTo>
                    <a:pt x="1442" y="765"/>
                  </a:lnTo>
                  <a:lnTo>
                    <a:pt x="1437" y="770"/>
                  </a:lnTo>
                  <a:lnTo>
                    <a:pt x="1431" y="775"/>
                  </a:lnTo>
                  <a:lnTo>
                    <a:pt x="1424" y="781"/>
                  </a:lnTo>
                  <a:lnTo>
                    <a:pt x="1416" y="787"/>
                  </a:lnTo>
                  <a:lnTo>
                    <a:pt x="1410" y="792"/>
                  </a:lnTo>
                  <a:lnTo>
                    <a:pt x="1407" y="797"/>
                  </a:lnTo>
                  <a:lnTo>
                    <a:pt x="1405" y="803"/>
                  </a:lnTo>
                  <a:lnTo>
                    <a:pt x="1403" y="810"/>
                  </a:lnTo>
                  <a:lnTo>
                    <a:pt x="1402" y="816"/>
                  </a:lnTo>
                  <a:lnTo>
                    <a:pt x="1400" y="822"/>
                  </a:lnTo>
                  <a:lnTo>
                    <a:pt x="1397" y="827"/>
                  </a:lnTo>
                  <a:lnTo>
                    <a:pt x="1393" y="833"/>
                  </a:lnTo>
                  <a:lnTo>
                    <a:pt x="1383" y="842"/>
                  </a:lnTo>
                  <a:lnTo>
                    <a:pt x="1375" y="852"/>
                  </a:lnTo>
                  <a:lnTo>
                    <a:pt x="1365" y="863"/>
                  </a:lnTo>
                  <a:lnTo>
                    <a:pt x="1358" y="873"/>
                  </a:lnTo>
                  <a:lnTo>
                    <a:pt x="1360" y="880"/>
                  </a:lnTo>
                  <a:lnTo>
                    <a:pt x="1363" y="886"/>
                  </a:lnTo>
                  <a:lnTo>
                    <a:pt x="1369" y="891"/>
                  </a:lnTo>
                  <a:lnTo>
                    <a:pt x="1373" y="896"/>
                  </a:lnTo>
                  <a:lnTo>
                    <a:pt x="1373" y="920"/>
                  </a:lnTo>
                  <a:lnTo>
                    <a:pt x="1372" y="938"/>
                  </a:lnTo>
                  <a:lnTo>
                    <a:pt x="1370" y="946"/>
                  </a:lnTo>
                  <a:lnTo>
                    <a:pt x="1365" y="955"/>
                  </a:lnTo>
                  <a:lnTo>
                    <a:pt x="1360" y="965"/>
                  </a:lnTo>
                  <a:lnTo>
                    <a:pt x="1353" y="978"/>
                  </a:lnTo>
                  <a:lnTo>
                    <a:pt x="1345" y="989"/>
                  </a:lnTo>
                  <a:lnTo>
                    <a:pt x="1336" y="1000"/>
                  </a:lnTo>
                  <a:lnTo>
                    <a:pt x="1327" y="1010"/>
                  </a:lnTo>
                  <a:lnTo>
                    <a:pt x="1318" y="1019"/>
                  </a:lnTo>
                  <a:lnTo>
                    <a:pt x="1298" y="1037"/>
                  </a:lnTo>
                  <a:lnTo>
                    <a:pt x="1277" y="1055"/>
                  </a:lnTo>
                  <a:lnTo>
                    <a:pt x="1257" y="1072"/>
                  </a:lnTo>
                  <a:lnTo>
                    <a:pt x="1237" y="1089"/>
                  </a:lnTo>
                  <a:lnTo>
                    <a:pt x="1228" y="1099"/>
                  </a:lnTo>
                  <a:lnTo>
                    <a:pt x="1220" y="1108"/>
                  </a:lnTo>
                  <a:lnTo>
                    <a:pt x="1211" y="1117"/>
                  </a:lnTo>
                  <a:lnTo>
                    <a:pt x="1203" y="1128"/>
                  </a:lnTo>
                  <a:lnTo>
                    <a:pt x="1203" y="1128"/>
                  </a:lnTo>
                  <a:lnTo>
                    <a:pt x="1199" y="1136"/>
                  </a:lnTo>
                  <a:lnTo>
                    <a:pt x="1195" y="1145"/>
                  </a:lnTo>
                  <a:lnTo>
                    <a:pt x="1191" y="1153"/>
                  </a:lnTo>
                  <a:lnTo>
                    <a:pt x="1188" y="1162"/>
                  </a:lnTo>
                  <a:lnTo>
                    <a:pt x="1185" y="1171"/>
                  </a:lnTo>
                  <a:lnTo>
                    <a:pt x="1181" y="1180"/>
                  </a:lnTo>
                  <a:lnTo>
                    <a:pt x="1176" y="1187"/>
                  </a:lnTo>
                  <a:lnTo>
                    <a:pt x="1171" y="1195"/>
                  </a:lnTo>
                  <a:lnTo>
                    <a:pt x="1165" y="1198"/>
                  </a:lnTo>
                  <a:lnTo>
                    <a:pt x="1161" y="1201"/>
                  </a:lnTo>
                  <a:lnTo>
                    <a:pt x="1157" y="1204"/>
                  </a:lnTo>
                  <a:lnTo>
                    <a:pt x="1152" y="1206"/>
                  </a:lnTo>
                  <a:lnTo>
                    <a:pt x="1143" y="1208"/>
                  </a:lnTo>
                  <a:lnTo>
                    <a:pt x="1134" y="1210"/>
                  </a:lnTo>
                  <a:lnTo>
                    <a:pt x="1125" y="1211"/>
                  </a:lnTo>
                  <a:lnTo>
                    <a:pt x="1114" y="1213"/>
                  </a:lnTo>
                  <a:lnTo>
                    <a:pt x="1104" y="1216"/>
                  </a:lnTo>
                  <a:lnTo>
                    <a:pt x="1093" y="1220"/>
                  </a:lnTo>
                  <a:lnTo>
                    <a:pt x="1089" y="1225"/>
                  </a:lnTo>
                  <a:lnTo>
                    <a:pt x="1085" y="1227"/>
                  </a:lnTo>
                  <a:lnTo>
                    <a:pt x="1000" y="1339"/>
                  </a:lnTo>
                  <a:lnTo>
                    <a:pt x="992" y="1348"/>
                  </a:lnTo>
                  <a:lnTo>
                    <a:pt x="984" y="1356"/>
                  </a:lnTo>
                  <a:lnTo>
                    <a:pt x="977" y="1363"/>
                  </a:lnTo>
                  <a:lnTo>
                    <a:pt x="969" y="1368"/>
                  </a:lnTo>
                  <a:lnTo>
                    <a:pt x="962" y="1373"/>
                  </a:lnTo>
                  <a:lnTo>
                    <a:pt x="954" y="1376"/>
                  </a:lnTo>
                  <a:lnTo>
                    <a:pt x="946" y="1379"/>
                  </a:lnTo>
                  <a:lnTo>
                    <a:pt x="938" y="1381"/>
                  </a:lnTo>
                  <a:lnTo>
                    <a:pt x="921" y="1385"/>
                  </a:lnTo>
                  <a:lnTo>
                    <a:pt x="903" y="1385"/>
                  </a:lnTo>
                  <a:lnTo>
                    <a:pt x="881" y="1385"/>
                  </a:lnTo>
                  <a:lnTo>
                    <a:pt x="858" y="1385"/>
                  </a:lnTo>
                  <a:lnTo>
                    <a:pt x="834" y="1385"/>
                  </a:lnTo>
                  <a:lnTo>
                    <a:pt x="817" y="1386"/>
                  </a:lnTo>
                  <a:lnTo>
                    <a:pt x="805" y="1387"/>
                  </a:lnTo>
                  <a:lnTo>
                    <a:pt x="794" y="1390"/>
                  </a:lnTo>
                  <a:lnTo>
                    <a:pt x="786" y="1395"/>
                  </a:lnTo>
                  <a:lnTo>
                    <a:pt x="775" y="1402"/>
                  </a:lnTo>
                  <a:lnTo>
                    <a:pt x="763" y="1413"/>
                  </a:lnTo>
                  <a:lnTo>
                    <a:pt x="746" y="1425"/>
                  </a:lnTo>
                  <a:lnTo>
                    <a:pt x="722" y="1443"/>
                  </a:lnTo>
                  <a:lnTo>
                    <a:pt x="697" y="1460"/>
                  </a:lnTo>
                  <a:lnTo>
                    <a:pt x="684" y="1467"/>
                  </a:lnTo>
                  <a:lnTo>
                    <a:pt x="670" y="1473"/>
                  </a:lnTo>
                  <a:lnTo>
                    <a:pt x="656" y="1478"/>
                  </a:lnTo>
                  <a:lnTo>
                    <a:pt x="643" y="1483"/>
                  </a:lnTo>
                  <a:lnTo>
                    <a:pt x="637" y="1484"/>
                  </a:lnTo>
                  <a:lnTo>
                    <a:pt x="630" y="1484"/>
                  </a:lnTo>
                  <a:lnTo>
                    <a:pt x="624" y="1484"/>
                  </a:lnTo>
                  <a:lnTo>
                    <a:pt x="619" y="1483"/>
                  </a:lnTo>
                  <a:lnTo>
                    <a:pt x="609" y="1478"/>
                  </a:lnTo>
                  <a:lnTo>
                    <a:pt x="599" y="1473"/>
                  </a:lnTo>
                  <a:lnTo>
                    <a:pt x="590" y="1467"/>
                  </a:lnTo>
                  <a:lnTo>
                    <a:pt x="580" y="1459"/>
                  </a:lnTo>
                  <a:lnTo>
                    <a:pt x="572" y="1450"/>
                  </a:lnTo>
                  <a:lnTo>
                    <a:pt x="564" y="1441"/>
                  </a:lnTo>
                  <a:lnTo>
                    <a:pt x="555" y="1431"/>
                  </a:lnTo>
                  <a:lnTo>
                    <a:pt x="547" y="1422"/>
                  </a:lnTo>
                  <a:lnTo>
                    <a:pt x="538" y="1413"/>
                  </a:lnTo>
                  <a:lnTo>
                    <a:pt x="527" y="1404"/>
                  </a:lnTo>
                  <a:lnTo>
                    <a:pt x="517" y="1397"/>
                  </a:lnTo>
                  <a:lnTo>
                    <a:pt x="505" y="1391"/>
                  </a:lnTo>
                  <a:lnTo>
                    <a:pt x="499" y="1389"/>
                  </a:lnTo>
                  <a:lnTo>
                    <a:pt x="492" y="1387"/>
                  </a:lnTo>
                  <a:lnTo>
                    <a:pt x="486" y="1385"/>
                  </a:lnTo>
                  <a:lnTo>
                    <a:pt x="478" y="1384"/>
                  </a:lnTo>
                  <a:lnTo>
                    <a:pt x="458" y="1381"/>
                  </a:lnTo>
                  <a:lnTo>
                    <a:pt x="442" y="1376"/>
                  </a:lnTo>
                  <a:lnTo>
                    <a:pt x="425" y="1371"/>
                  </a:lnTo>
                  <a:lnTo>
                    <a:pt x="409" y="1367"/>
                  </a:lnTo>
                  <a:lnTo>
                    <a:pt x="402" y="1364"/>
                  </a:lnTo>
                  <a:lnTo>
                    <a:pt x="394" y="1363"/>
                  </a:lnTo>
                  <a:lnTo>
                    <a:pt x="385" y="1361"/>
                  </a:lnTo>
                  <a:lnTo>
                    <a:pt x="377" y="1361"/>
                  </a:lnTo>
                  <a:lnTo>
                    <a:pt x="369" y="1361"/>
                  </a:lnTo>
                  <a:lnTo>
                    <a:pt x="358" y="1362"/>
                  </a:lnTo>
                  <a:lnTo>
                    <a:pt x="349" y="1363"/>
                  </a:lnTo>
                  <a:lnTo>
                    <a:pt x="337" y="1366"/>
                  </a:lnTo>
                  <a:lnTo>
                    <a:pt x="332" y="1368"/>
                  </a:lnTo>
                  <a:lnTo>
                    <a:pt x="327" y="1371"/>
                  </a:lnTo>
                  <a:lnTo>
                    <a:pt x="322" y="1374"/>
                  </a:lnTo>
                  <a:lnTo>
                    <a:pt x="318" y="1377"/>
                  </a:lnTo>
                  <a:lnTo>
                    <a:pt x="310" y="1386"/>
                  </a:lnTo>
                  <a:lnTo>
                    <a:pt x="304" y="1395"/>
                  </a:lnTo>
                  <a:lnTo>
                    <a:pt x="299" y="1406"/>
                  </a:lnTo>
                  <a:lnTo>
                    <a:pt x="295" y="1419"/>
                  </a:lnTo>
                  <a:lnTo>
                    <a:pt x="293" y="1431"/>
                  </a:lnTo>
                  <a:lnTo>
                    <a:pt x="292" y="1445"/>
                  </a:lnTo>
                  <a:lnTo>
                    <a:pt x="291" y="1459"/>
                  </a:lnTo>
                  <a:lnTo>
                    <a:pt x="292" y="1472"/>
                  </a:lnTo>
                  <a:lnTo>
                    <a:pt x="293" y="1487"/>
                  </a:lnTo>
                  <a:lnTo>
                    <a:pt x="295" y="1500"/>
                  </a:lnTo>
                  <a:lnTo>
                    <a:pt x="298" y="1513"/>
                  </a:lnTo>
                  <a:lnTo>
                    <a:pt x="301" y="1524"/>
                  </a:lnTo>
                  <a:lnTo>
                    <a:pt x="304" y="1536"/>
                  </a:lnTo>
                  <a:lnTo>
                    <a:pt x="308" y="1545"/>
                  </a:lnTo>
                  <a:lnTo>
                    <a:pt x="311" y="1553"/>
                  </a:lnTo>
                  <a:lnTo>
                    <a:pt x="312" y="1559"/>
                  </a:lnTo>
                  <a:lnTo>
                    <a:pt x="313" y="1566"/>
                  </a:lnTo>
                  <a:lnTo>
                    <a:pt x="312" y="1572"/>
                  </a:lnTo>
                  <a:lnTo>
                    <a:pt x="311" y="1580"/>
                  </a:lnTo>
                  <a:lnTo>
                    <a:pt x="309" y="1586"/>
                  </a:lnTo>
                  <a:lnTo>
                    <a:pt x="306" y="1592"/>
                  </a:lnTo>
                  <a:lnTo>
                    <a:pt x="303" y="1598"/>
                  </a:lnTo>
                  <a:lnTo>
                    <a:pt x="295" y="1611"/>
                  </a:lnTo>
                  <a:lnTo>
                    <a:pt x="285" y="1622"/>
                  </a:lnTo>
                  <a:lnTo>
                    <a:pt x="275" y="1632"/>
                  </a:lnTo>
                  <a:lnTo>
                    <a:pt x="264" y="1641"/>
                  </a:lnTo>
                  <a:lnTo>
                    <a:pt x="256" y="1648"/>
                  </a:lnTo>
                  <a:lnTo>
                    <a:pt x="249" y="1656"/>
                  </a:lnTo>
                  <a:lnTo>
                    <a:pt x="243" y="1663"/>
                  </a:lnTo>
                  <a:lnTo>
                    <a:pt x="238" y="1669"/>
                  </a:lnTo>
                  <a:lnTo>
                    <a:pt x="234" y="1675"/>
                  </a:lnTo>
                  <a:lnTo>
                    <a:pt x="232" y="1681"/>
                  </a:lnTo>
                  <a:lnTo>
                    <a:pt x="230" y="1686"/>
                  </a:lnTo>
                  <a:lnTo>
                    <a:pt x="229" y="1691"/>
                  </a:lnTo>
                  <a:lnTo>
                    <a:pt x="227" y="1703"/>
                  </a:lnTo>
                  <a:lnTo>
                    <a:pt x="226" y="1715"/>
                  </a:lnTo>
                  <a:lnTo>
                    <a:pt x="223" y="1730"/>
                  </a:lnTo>
                  <a:lnTo>
                    <a:pt x="217" y="1748"/>
                  </a:lnTo>
                  <a:lnTo>
                    <a:pt x="218" y="1766"/>
                  </a:lnTo>
                  <a:lnTo>
                    <a:pt x="217" y="1783"/>
                  </a:lnTo>
                  <a:lnTo>
                    <a:pt x="213" y="1797"/>
                  </a:lnTo>
                  <a:lnTo>
                    <a:pt x="209" y="1808"/>
                  </a:lnTo>
                  <a:lnTo>
                    <a:pt x="204" y="1819"/>
                  </a:lnTo>
                  <a:lnTo>
                    <a:pt x="197" y="1827"/>
                  </a:lnTo>
                  <a:lnTo>
                    <a:pt x="188" y="1834"/>
                  </a:lnTo>
                  <a:lnTo>
                    <a:pt x="179" y="1840"/>
                  </a:lnTo>
                  <a:lnTo>
                    <a:pt x="159" y="1853"/>
                  </a:lnTo>
                  <a:lnTo>
                    <a:pt x="137" y="1864"/>
                  </a:lnTo>
                  <a:lnTo>
                    <a:pt x="126" y="1871"/>
                  </a:lnTo>
                  <a:lnTo>
                    <a:pt x="114" y="1878"/>
                  </a:lnTo>
                  <a:lnTo>
                    <a:pt x="103" y="1886"/>
                  </a:lnTo>
                  <a:lnTo>
                    <a:pt x="91" y="1897"/>
                  </a:lnTo>
                  <a:lnTo>
                    <a:pt x="89" y="1900"/>
                  </a:lnTo>
                  <a:lnTo>
                    <a:pt x="88" y="1904"/>
                  </a:lnTo>
                  <a:lnTo>
                    <a:pt x="87" y="1908"/>
                  </a:lnTo>
                  <a:lnTo>
                    <a:pt x="87" y="1913"/>
                  </a:lnTo>
                  <a:lnTo>
                    <a:pt x="89" y="1925"/>
                  </a:lnTo>
                  <a:lnTo>
                    <a:pt x="93" y="1937"/>
                  </a:lnTo>
                  <a:lnTo>
                    <a:pt x="99" y="1950"/>
                  </a:lnTo>
                  <a:lnTo>
                    <a:pt x="103" y="1961"/>
                  </a:lnTo>
                  <a:lnTo>
                    <a:pt x="106" y="1972"/>
                  </a:lnTo>
                  <a:lnTo>
                    <a:pt x="107" y="1980"/>
                  </a:lnTo>
                  <a:lnTo>
                    <a:pt x="107" y="1990"/>
                  </a:lnTo>
                  <a:lnTo>
                    <a:pt x="105" y="1998"/>
                  </a:lnTo>
                  <a:lnTo>
                    <a:pt x="103" y="2005"/>
                  </a:lnTo>
                  <a:lnTo>
                    <a:pt x="100" y="2012"/>
                  </a:lnTo>
                  <a:lnTo>
                    <a:pt x="97" y="2017"/>
                  </a:lnTo>
                  <a:lnTo>
                    <a:pt x="92" y="2022"/>
                  </a:lnTo>
                  <a:lnTo>
                    <a:pt x="88" y="2026"/>
                  </a:lnTo>
                  <a:lnTo>
                    <a:pt x="84" y="2030"/>
                  </a:lnTo>
                  <a:lnTo>
                    <a:pt x="75" y="2039"/>
                  </a:lnTo>
                  <a:lnTo>
                    <a:pt x="65" y="2046"/>
                  </a:lnTo>
                  <a:lnTo>
                    <a:pt x="61" y="2050"/>
                  </a:lnTo>
                  <a:lnTo>
                    <a:pt x="58" y="2055"/>
                  </a:lnTo>
                  <a:lnTo>
                    <a:pt x="55" y="2061"/>
                  </a:lnTo>
                  <a:lnTo>
                    <a:pt x="53" y="2067"/>
                  </a:lnTo>
                  <a:lnTo>
                    <a:pt x="43" y="2072"/>
                  </a:lnTo>
                  <a:lnTo>
                    <a:pt x="34" y="2078"/>
                  </a:lnTo>
                  <a:lnTo>
                    <a:pt x="27" y="2086"/>
                  </a:lnTo>
                  <a:lnTo>
                    <a:pt x="22" y="2094"/>
                  </a:lnTo>
                  <a:lnTo>
                    <a:pt x="16" y="2103"/>
                  </a:lnTo>
                  <a:lnTo>
                    <a:pt x="12" y="2113"/>
                  </a:lnTo>
                  <a:lnTo>
                    <a:pt x="10" y="2122"/>
                  </a:lnTo>
                  <a:lnTo>
                    <a:pt x="9" y="2132"/>
                  </a:lnTo>
                  <a:lnTo>
                    <a:pt x="9" y="2142"/>
                  </a:lnTo>
                  <a:lnTo>
                    <a:pt x="10" y="2151"/>
                  </a:lnTo>
                  <a:lnTo>
                    <a:pt x="12" y="2161"/>
                  </a:lnTo>
                  <a:lnTo>
                    <a:pt x="16" y="2170"/>
                  </a:lnTo>
                  <a:lnTo>
                    <a:pt x="20" y="2180"/>
                  </a:lnTo>
                  <a:lnTo>
                    <a:pt x="27" y="2187"/>
                  </a:lnTo>
                  <a:lnTo>
                    <a:pt x="34" y="2194"/>
                  </a:lnTo>
                  <a:lnTo>
                    <a:pt x="42" y="2200"/>
                  </a:lnTo>
                  <a:lnTo>
                    <a:pt x="51" y="2207"/>
                  </a:lnTo>
                  <a:lnTo>
                    <a:pt x="58" y="2213"/>
                  </a:lnTo>
                  <a:lnTo>
                    <a:pt x="63" y="2221"/>
                  </a:lnTo>
                  <a:lnTo>
                    <a:pt x="67" y="2230"/>
                  </a:lnTo>
                  <a:lnTo>
                    <a:pt x="71" y="2239"/>
                  </a:lnTo>
                  <a:lnTo>
                    <a:pt x="72" y="2248"/>
                  </a:lnTo>
                  <a:lnTo>
                    <a:pt x="73" y="2259"/>
                  </a:lnTo>
                  <a:lnTo>
                    <a:pt x="72" y="2269"/>
                  </a:lnTo>
                  <a:lnTo>
                    <a:pt x="69" y="2291"/>
                  </a:lnTo>
                  <a:lnTo>
                    <a:pt x="67" y="2317"/>
                  </a:lnTo>
                  <a:lnTo>
                    <a:pt x="67" y="2330"/>
                  </a:lnTo>
                  <a:lnTo>
                    <a:pt x="65" y="2342"/>
                  </a:lnTo>
                  <a:lnTo>
                    <a:pt x="64" y="2353"/>
                  </a:lnTo>
                  <a:lnTo>
                    <a:pt x="61" y="2363"/>
                  </a:lnTo>
                  <a:lnTo>
                    <a:pt x="60" y="2369"/>
                  </a:lnTo>
                  <a:lnTo>
                    <a:pt x="58" y="2376"/>
                  </a:lnTo>
                  <a:lnTo>
                    <a:pt x="55" y="2383"/>
                  </a:lnTo>
                  <a:lnTo>
                    <a:pt x="52" y="2389"/>
                  </a:lnTo>
                  <a:lnTo>
                    <a:pt x="49" y="2395"/>
                  </a:lnTo>
                  <a:lnTo>
                    <a:pt x="47" y="2402"/>
                  </a:lnTo>
                  <a:lnTo>
                    <a:pt x="44" y="2408"/>
                  </a:lnTo>
                  <a:lnTo>
                    <a:pt x="43" y="2414"/>
                  </a:lnTo>
                  <a:lnTo>
                    <a:pt x="43" y="2424"/>
                  </a:lnTo>
                  <a:lnTo>
                    <a:pt x="43" y="2430"/>
                  </a:lnTo>
                  <a:lnTo>
                    <a:pt x="46" y="2435"/>
                  </a:lnTo>
                  <a:lnTo>
                    <a:pt x="48" y="2439"/>
                  </a:lnTo>
                  <a:lnTo>
                    <a:pt x="54" y="2447"/>
                  </a:lnTo>
                  <a:lnTo>
                    <a:pt x="63" y="2457"/>
                  </a:lnTo>
                  <a:lnTo>
                    <a:pt x="71" y="2459"/>
                  </a:lnTo>
                  <a:lnTo>
                    <a:pt x="79" y="2461"/>
                  </a:lnTo>
                  <a:lnTo>
                    <a:pt x="86" y="2464"/>
                  </a:lnTo>
                  <a:lnTo>
                    <a:pt x="95" y="2468"/>
                  </a:lnTo>
                  <a:lnTo>
                    <a:pt x="101" y="2473"/>
                  </a:lnTo>
                  <a:lnTo>
                    <a:pt x="107" y="2479"/>
                  </a:lnTo>
                  <a:lnTo>
                    <a:pt x="112" y="2485"/>
                  </a:lnTo>
                  <a:lnTo>
                    <a:pt x="115" y="2492"/>
                  </a:lnTo>
                  <a:lnTo>
                    <a:pt x="117" y="2501"/>
                  </a:lnTo>
                  <a:lnTo>
                    <a:pt x="117" y="2507"/>
                  </a:lnTo>
                  <a:lnTo>
                    <a:pt x="115" y="2513"/>
                  </a:lnTo>
                  <a:lnTo>
                    <a:pt x="113" y="2519"/>
                  </a:lnTo>
                  <a:lnTo>
                    <a:pt x="105" y="2529"/>
                  </a:lnTo>
                  <a:lnTo>
                    <a:pt x="95" y="2538"/>
                  </a:lnTo>
                  <a:lnTo>
                    <a:pt x="76" y="2554"/>
                  </a:lnTo>
                  <a:lnTo>
                    <a:pt x="57" y="2569"/>
                  </a:lnTo>
                  <a:lnTo>
                    <a:pt x="37" y="2583"/>
                  </a:lnTo>
                  <a:lnTo>
                    <a:pt x="18" y="2599"/>
                  </a:lnTo>
                  <a:lnTo>
                    <a:pt x="14" y="2603"/>
                  </a:lnTo>
                  <a:lnTo>
                    <a:pt x="11" y="2607"/>
                  </a:lnTo>
                  <a:lnTo>
                    <a:pt x="9" y="2612"/>
                  </a:lnTo>
                  <a:lnTo>
                    <a:pt x="7" y="2618"/>
                  </a:lnTo>
                  <a:lnTo>
                    <a:pt x="4" y="2629"/>
                  </a:lnTo>
                  <a:lnTo>
                    <a:pt x="2" y="2641"/>
                  </a:lnTo>
                  <a:lnTo>
                    <a:pt x="1" y="2666"/>
                  </a:lnTo>
                  <a:lnTo>
                    <a:pt x="0" y="2689"/>
                  </a:lnTo>
                  <a:lnTo>
                    <a:pt x="0" y="2689"/>
                  </a:lnTo>
                  <a:lnTo>
                    <a:pt x="17" y="2692"/>
                  </a:lnTo>
                  <a:lnTo>
                    <a:pt x="35" y="2695"/>
                  </a:lnTo>
                  <a:lnTo>
                    <a:pt x="52" y="2699"/>
                  </a:lnTo>
                  <a:lnTo>
                    <a:pt x="69" y="2703"/>
                  </a:lnTo>
                  <a:lnTo>
                    <a:pt x="86" y="2709"/>
                  </a:lnTo>
                  <a:lnTo>
                    <a:pt x="102" y="2716"/>
                  </a:lnTo>
                  <a:lnTo>
                    <a:pt x="117" y="2725"/>
                  </a:lnTo>
                  <a:lnTo>
                    <a:pt x="133" y="2735"/>
                  </a:lnTo>
                  <a:lnTo>
                    <a:pt x="139" y="2741"/>
                  </a:lnTo>
                  <a:lnTo>
                    <a:pt x="146" y="2747"/>
                  </a:lnTo>
                  <a:lnTo>
                    <a:pt x="150" y="2752"/>
                  </a:lnTo>
                  <a:lnTo>
                    <a:pt x="154" y="2759"/>
                  </a:lnTo>
                  <a:lnTo>
                    <a:pt x="157" y="2765"/>
                  </a:lnTo>
                  <a:lnTo>
                    <a:pt x="159" y="2771"/>
                  </a:lnTo>
                  <a:lnTo>
                    <a:pt x="160" y="2777"/>
                  </a:lnTo>
                  <a:lnTo>
                    <a:pt x="161" y="2784"/>
                  </a:lnTo>
                  <a:lnTo>
                    <a:pt x="162" y="2811"/>
                  </a:lnTo>
                  <a:lnTo>
                    <a:pt x="165" y="2841"/>
                  </a:lnTo>
                  <a:lnTo>
                    <a:pt x="174" y="2848"/>
                  </a:lnTo>
                  <a:lnTo>
                    <a:pt x="182" y="2856"/>
                  </a:lnTo>
                  <a:lnTo>
                    <a:pt x="189" y="2861"/>
                  </a:lnTo>
                  <a:lnTo>
                    <a:pt x="198" y="2865"/>
                  </a:lnTo>
                  <a:lnTo>
                    <a:pt x="206" y="2867"/>
                  </a:lnTo>
                  <a:lnTo>
                    <a:pt x="214" y="2870"/>
                  </a:lnTo>
                  <a:lnTo>
                    <a:pt x="226" y="2871"/>
                  </a:lnTo>
                  <a:lnTo>
                    <a:pt x="237" y="2873"/>
                  </a:lnTo>
                  <a:lnTo>
                    <a:pt x="247" y="2874"/>
                  </a:lnTo>
                  <a:lnTo>
                    <a:pt x="254" y="2877"/>
                  </a:lnTo>
                  <a:lnTo>
                    <a:pt x="260" y="2883"/>
                  </a:lnTo>
                  <a:lnTo>
                    <a:pt x="266" y="2888"/>
                  </a:lnTo>
                  <a:lnTo>
                    <a:pt x="274" y="2900"/>
                  </a:lnTo>
                  <a:lnTo>
                    <a:pt x="282" y="2914"/>
                  </a:lnTo>
                  <a:lnTo>
                    <a:pt x="279" y="2953"/>
                  </a:lnTo>
                  <a:lnTo>
                    <a:pt x="276" y="2992"/>
                  </a:lnTo>
                  <a:lnTo>
                    <a:pt x="276" y="3002"/>
                  </a:lnTo>
                  <a:lnTo>
                    <a:pt x="276" y="3011"/>
                  </a:lnTo>
                  <a:lnTo>
                    <a:pt x="276" y="3020"/>
                  </a:lnTo>
                  <a:lnTo>
                    <a:pt x="278" y="3030"/>
                  </a:lnTo>
                  <a:lnTo>
                    <a:pt x="280" y="3038"/>
                  </a:lnTo>
                  <a:lnTo>
                    <a:pt x="283" y="3046"/>
                  </a:lnTo>
                  <a:lnTo>
                    <a:pt x="287" y="3055"/>
                  </a:lnTo>
                  <a:lnTo>
                    <a:pt x="293" y="3063"/>
                  </a:lnTo>
                  <a:lnTo>
                    <a:pt x="298" y="3068"/>
                  </a:lnTo>
                  <a:lnTo>
                    <a:pt x="302" y="3073"/>
                  </a:lnTo>
                  <a:lnTo>
                    <a:pt x="308" y="3077"/>
                  </a:lnTo>
                  <a:lnTo>
                    <a:pt x="315" y="3080"/>
                  </a:lnTo>
                  <a:lnTo>
                    <a:pt x="327" y="3085"/>
                  </a:lnTo>
                  <a:lnTo>
                    <a:pt x="342" y="3088"/>
                  </a:lnTo>
                  <a:lnTo>
                    <a:pt x="371" y="3092"/>
                  </a:lnTo>
                  <a:lnTo>
                    <a:pt x="398" y="3098"/>
                  </a:lnTo>
                  <a:lnTo>
                    <a:pt x="408" y="3102"/>
                  </a:lnTo>
                  <a:lnTo>
                    <a:pt x="419" y="3109"/>
                  </a:lnTo>
                  <a:lnTo>
                    <a:pt x="429" y="3117"/>
                  </a:lnTo>
                  <a:lnTo>
                    <a:pt x="440" y="3127"/>
                  </a:lnTo>
                  <a:lnTo>
                    <a:pt x="450" y="3138"/>
                  </a:lnTo>
                  <a:lnTo>
                    <a:pt x="459" y="3150"/>
                  </a:lnTo>
                  <a:lnTo>
                    <a:pt x="469" y="3163"/>
                  </a:lnTo>
                  <a:lnTo>
                    <a:pt x="478" y="3177"/>
                  </a:lnTo>
                  <a:lnTo>
                    <a:pt x="496" y="3205"/>
                  </a:lnTo>
                  <a:lnTo>
                    <a:pt x="513" y="3232"/>
                  </a:lnTo>
                  <a:lnTo>
                    <a:pt x="528" y="3257"/>
                  </a:lnTo>
                  <a:lnTo>
                    <a:pt x="543" y="3277"/>
                  </a:lnTo>
                  <a:lnTo>
                    <a:pt x="543" y="3305"/>
                  </a:lnTo>
                  <a:lnTo>
                    <a:pt x="544" y="3334"/>
                  </a:lnTo>
                  <a:lnTo>
                    <a:pt x="545" y="3342"/>
                  </a:lnTo>
                  <a:lnTo>
                    <a:pt x="547" y="3349"/>
                  </a:lnTo>
                  <a:lnTo>
                    <a:pt x="549" y="3355"/>
                  </a:lnTo>
                  <a:lnTo>
                    <a:pt x="551" y="3362"/>
                  </a:lnTo>
                  <a:lnTo>
                    <a:pt x="555" y="3368"/>
                  </a:lnTo>
                  <a:lnTo>
                    <a:pt x="560" y="3373"/>
                  </a:lnTo>
                  <a:lnTo>
                    <a:pt x="565" y="3378"/>
                  </a:lnTo>
                  <a:lnTo>
                    <a:pt x="571" y="3382"/>
                  </a:lnTo>
                  <a:lnTo>
                    <a:pt x="576" y="3385"/>
                  </a:lnTo>
                  <a:lnTo>
                    <a:pt x="582" y="3388"/>
                  </a:lnTo>
                  <a:lnTo>
                    <a:pt x="589" y="3390"/>
                  </a:lnTo>
                  <a:lnTo>
                    <a:pt x="595" y="3391"/>
                  </a:lnTo>
                  <a:lnTo>
                    <a:pt x="609" y="3393"/>
                  </a:lnTo>
                  <a:lnTo>
                    <a:pt x="622" y="3393"/>
                  </a:lnTo>
                  <a:lnTo>
                    <a:pt x="650" y="3392"/>
                  </a:lnTo>
                  <a:lnTo>
                    <a:pt x="677" y="3390"/>
                  </a:lnTo>
                  <a:lnTo>
                    <a:pt x="684" y="3396"/>
                  </a:lnTo>
                  <a:lnTo>
                    <a:pt x="688" y="3403"/>
                  </a:lnTo>
                  <a:lnTo>
                    <a:pt x="691" y="3411"/>
                  </a:lnTo>
                  <a:lnTo>
                    <a:pt x="694" y="3419"/>
                  </a:lnTo>
                  <a:lnTo>
                    <a:pt x="696" y="3437"/>
                  </a:lnTo>
                  <a:lnTo>
                    <a:pt x="697" y="3454"/>
                  </a:lnTo>
                  <a:lnTo>
                    <a:pt x="700" y="3461"/>
                  </a:lnTo>
                  <a:lnTo>
                    <a:pt x="703" y="3466"/>
                  </a:lnTo>
                  <a:lnTo>
                    <a:pt x="724" y="3472"/>
                  </a:lnTo>
                  <a:lnTo>
                    <a:pt x="724" y="3472"/>
                  </a:lnTo>
                  <a:lnTo>
                    <a:pt x="733" y="3462"/>
                  </a:lnTo>
                  <a:lnTo>
                    <a:pt x="742" y="3452"/>
                  </a:lnTo>
                  <a:lnTo>
                    <a:pt x="751" y="3445"/>
                  </a:lnTo>
                  <a:lnTo>
                    <a:pt x="762" y="3439"/>
                  </a:lnTo>
                  <a:lnTo>
                    <a:pt x="772" y="3433"/>
                  </a:lnTo>
                  <a:lnTo>
                    <a:pt x="784" y="3430"/>
                  </a:lnTo>
                  <a:lnTo>
                    <a:pt x="795" y="3428"/>
                  </a:lnTo>
                  <a:lnTo>
                    <a:pt x="809" y="3427"/>
                  </a:lnTo>
                  <a:lnTo>
                    <a:pt x="837" y="3427"/>
                  </a:lnTo>
                  <a:lnTo>
                    <a:pt x="864" y="3427"/>
                  </a:lnTo>
                  <a:lnTo>
                    <a:pt x="876" y="3428"/>
                  </a:lnTo>
                  <a:lnTo>
                    <a:pt x="890" y="3429"/>
                  </a:lnTo>
                  <a:lnTo>
                    <a:pt x="904" y="3431"/>
                  </a:lnTo>
                  <a:lnTo>
                    <a:pt x="918" y="3433"/>
                  </a:lnTo>
                  <a:lnTo>
                    <a:pt x="930" y="3436"/>
                  </a:lnTo>
                  <a:lnTo>
                    <a:pt x="940" y="3436"/>
                  </a:lnTo>
                  <a:lnTo>
                    <a:pt x="949" y="3433"/>
                  </a:lnTo>
                  <a:lnTo>
                    <a:pt x="959" y="3431"/>
                  </a:lnTo>
                  <a:lnTo>
                    <a:pt x="977" y="3423"/>
                  </a:lnTo>
                  <a:lnTo>
                    <a:pt x="996" y="3415"/>
                  </a:lnTo>
                  <a:lnTo>
                    <a:pt x="1009" y="3412"/>
                  </a:lnTo>
                  <a:lnTo>
                    <a:pt x="1021" y="3411"/>
                  </a:lnTo>
                  <a:lnTo>
                    <a:pt x="1035" y="3408"/>
                  </a:lnTo>
                  <a:lnTo>
                    <a:pt x="1047" y="3407"/>
                  </a:lnTo>
                  <a:lnTo>
                    <a:pt x="1060" y="3405"/>
                  </a:lnTo>
                  <a:lnTo>
                    <a:pt x="1071" y="3402"/>
                  </a:lnTo>
                  <a:lnTo>
                    <a:pt x="1077" y="3399"/>
                  </a:lnTo>
                  <a:lnTo>
                    <a:pt x="1082" y="3396"/>
                  </a:lnTo>
                  <a:lnTo>
                    <a:pt x="1087" y="3393"/>
                  </a:lnTo>
                  <a:lnTo>
                    <a:pt x="1091" y="3388"/>
                  </a:lnTo>
                  <a:lnTo>
                    <a:pt x="1098" y="3378"/>
                  </a:lnTo>
                  <a:lnTo>
                    <a:pt x="1105" y="3366"/>
                  </a:lnTo>
                  <a:lnTo>
                    <a:pt x="1113" y="3351"/>
                  </a:lnTo>
                  <a:lnTo>
                    <a:pt x="1120" y="3335"/>
                  </a:lnTo>
                  <a:lnTo>
                    <a:pt x="1127" y="3320"/>
                  </a:lnTo>
                  <a:lnTo>
                    <a:pt x="1132" y="3305"/>
                  </a:lnTo>
                  <a:lnTo>
                    <a:pt x="1135" y="3291"/>
                  </a:lnTo>
                  <a:lnTo>
                    <a:pt x="1136" y="3279"/>
                  </a:lnTo>
                  <a:lnTo>
                    <a:pt x="1141" y="3277"/>
                  </a:lnTo>
                  <a:lnTo>
                    <a:pt x="1147" y="3276"/>
                  </a:lnTo>
                  <a:lnTo>
                    <a:pt x="1154" y="3276"/>
                  </a:lnTo>
                  <a:lnTo>
                    <a:pt x="1161" y="3276"/>
                  </a:lnTo>
                  <a:lnTo>
                    <a:pt x="1168" y="3276"/>
                  </a:lnTo>
                  <a:lnTo>
                    <a:pt x="1177" y="3275"/>
                  </a:lnTo>
                  <a:lnTo>
                    <a:pt x="1184" y="3274"/>
                  </a:lnTo>
                  <a:lnTo>
                    <a:pt x="1190" y="3271"/>
                  </a:lnTo>
                  <a:lnTo>
                    <a:pt x="1197" y="3267"/>
                  </a:lnTo>
                  <a:lnTo>
                    <a:pt x="1204" y="3261"/>
                  </a:lnTo>
                  <a:lnTo>
                    <a:pt x="1210" y="3256"/>
                  </a:lnTo>
                  <a:lnTo>
                    <a:pt x="1216" y="3250"/>
                  </a:lnTo>
                  <a:lnTo>
                    <a:pt x="1222" y="3244"/>
                  </a:lnTo>
                  <a:lnTo>
                    <a:pt x="1227" y="3236"/>
                  </a:lnTo>
                  <a:lnTo>
                    <a:pt x="1231" y="3229"/>
                  </a:lnTo>
                  <a:lnTo>
                    <a:pt x="1234" y="3222"/>
                  </a:lnTo>
                  <a:lnTo>
                    <a:pt x="1241" y="3216"/>
                  </a:lnTo>
                  <a:lnTo>
                    <a:pt x="1249" y="3210"/>
                  </a:lnTo>
                  <a:lnTo>
                    <a:pt x="1256" y="3203"/>
                  </a:lnTo>
                  <a:lnTo>
                    <a:pt x="1262" y="3195"/>
                  </a:lnTo>
                  <a:lnTo>
                    <a:pt x="1274" y="3177"/>
                  </a:lnTo>
                  <a:lnTo>
                    <a:pt x="1283" y="3161"/>
                  </a:lnTo>
                  <a:lnTo>
                    <a:pt x="1285" y="3157"/>
                  </a:lnTo>
                  <a:lnTo>
                    <a:pt x="1287" y="3153"/>
                  </a:lnTo>
                  <a:lnTo>
                    <a:pt x="1287" y="3150"/>
                  </a:lnTo>
                  <a:lnTo>
                    <a:pt x="1287" y="3146"/>
                  </a:lnTo>
                  <a:lnTo>
                    <a:pt x="1286" y="3138"/>
                  </a:lnTo>
                  <a:lnTo>
                    <a:pt x="1283" y="3131"/>
                  </a:lnTo>
                  <a:lnTo>
                    <a:pt x="1279" y="3124"/>
                  </a:lnTo>
                  <a:lnTo>
                    <a:pt x="1276" y="3117"/>
                  </a:lnTo>
                  <a:lnTo>
                    <a:pt x="1273" y="3110"/>
                  </a:lnTo>
                  <a:lnTo>
                    <a:pt x="1272" y="3104"/>
                  </a:lnTo>
                  <a:lnTo>
                    <a:pt x="1277" y="3100"/>
                  </a:lnTo>
                  <a:lnTo>
                    <a:pt x="1282" y="3095"/>
                  </a:lnTo>
                  <a:lnTo>
                    <a:pt x="1288" y="3092"/>
                  </a:lnTo>
                  <a:lnTo>
                    <a:pt x="1295" y="3090"/>
                  </a:lnTo>
                  <a:lnTo>
                    <a:pt x="1309" y="3086"/>
                  </a:lnTo>
                  <a:lnTo>
                    <a:pt x="1324" y="3082"/>
                  </a:lnTo>
                  <a:lnTo>
                    <a:pt x="1339" y="3079"/>
                  </a:lnTo>
                  <a:lnTo>
                    <a:pt x="1354" y="3075"/>
                  </a:lnTo>
                  <a:lnTo>
                    <a:pt x="1361" y="3071"/>
                  </a:lnTo>
                  <a:lnTo>
                    <a:pt x="1369" y="3068"/>
                  </a:lnTo>
                  <a:lnTo>
                    <a:pt x="1375" y="3065"/>
                  </a:lnTo>
                  <a:lnTo>
                    <a:pt x="1381" y="3061"/>
                  </a:lnTo>
                  <a:lnTo>
                    <a:pt x="1384" y="3059"/>
                  </a:lnTo>
                  <a:lnTo>
                    <a:pt x="1389" y="3059"/>
                  </a:lnTo>
                  <a:lnTo>
                    <a:pt x="1395" y="3060"/>
                  </a:lnTo>
                  <a:lnTo>
                    <a:pt x="1400" y="3062"/>
                  </a:lnTo>
                  <a:lnTo>
                    <a:pt x="1406" y="3065"/>
                  </a:lnTo>
                  <a:lnTo>
                    <a:pt x="1412" y="3068"/>
                  </a:lnTo>
                  <a:lnTo>
                    <a:pt x="1419" y="3074"/>
                  </a:lnTo>
                  <a:lnTo>
                    <a:pt x="1424" y="3079"/>
                  </a:lnTo>
                  <a:lnTo>
                    <a:pt x="1436" y="3090"/>
                  </a:lnTo>
                  <a:lnTo>
                    <a:pt x="1447" y="3102"/>
                  </a:lnTo>
                  <a:lnTo>
                    <a:pt x="1454" y="3113"/>
                  </a:lnTo>
                  <a:lnTo>
                    <a:pt x="1458" y="3123"/>
                  </a:lnTo>
                  <a:lnTo>
                    <a:pt x="1461" y="3138"/>
                  </a:lnTo>
                  <a:lnTo>
                    <a:pt x="1466" y="3158"/>
                  </a:lnTo>
                  <a:lnTo>
                    <a:pt x="1469" y="3169"/>
                  </a:lnTo>
                  <a:lnTo>
                    <a:pt x="1473" y="3176"/>
                  </a:lnTo>
                  <a:lnTo>
                    <a:pt x="1475" y="3179"/>
                  </a:lnTo>
                  <a:lnTo>
                    <a:pt x="1477" y="3182"/>
                  </a:lnTo>
                  <a:lnTo>
                    <a:pt x="1480" y="3183"/>
                  </a:lnTo>
                  <a:lnTo>
                    <a:pt x="1483" y="3184"/>
                  </a:lnTo>
                  <a:lnTo>
                    <a:pt x="1487" y="3183"/>
                  </a:lnTo>
                  <a:lnTo>
                    <a:pt x="1493" y="3183"/>
                  </a:lnTo>
                  <a:lnTo>
                    <a:pt x="1498" y="3181"/>
                  </a:lnTo>
                  <a:lnTo>
                    <a:pt x="1503" y="3179"/>
                  </a:lnTo>
                  <a:lnTo>
                    <a:pt x="1508" y="3176"/>
                  </a:lnTo>
                  <a:lnTo>
                    <a:pt x="1513" y="3173"/>
                  </a:lnTo>
                  <a:lnTo>
                    <a:pt x="1516" y="3169"/>
                  </a:lnTo>
                  <a:lnTo>
                    <a:pt x="1517" y="3164"/>
                  </a:lnTo>
                  <a:lnTo>
                    <a:pt x="1520" y="3162"/>
                  </a:lnTo>
                  <a:lnTo>
                    <a:pt x="1523" y="3159"/>
                  </a:lnTo>
                  <a:lnTo>
                    <a:pt x="1525" y="3156"/>
                  </a:lnTo>
                  <a:lnTo>
                    <a:pt x="1527" y="3153"/>
                  </a:lnTo>
                  <a:lnTo>
                    <a:pt x="1529" y="3145"/>
                  </a:lnTo>
                  <a:lnTo>
                    <a:pt x="1531" y="3135"/>
                  </a:lnTo>
                  <a:lnTo>
                    <a:pt x="1531" y="3126"/>
                  </a:lnTo>
                  <a:lnTo>
                    <a:pt x="1531" y="3115"/>
                  </a:lnTo>
                  <a:lnTo>
                    <a:pt x="1530" y="3104"/>
                  </a:lnTo>
                  <a:lnTo>
                    <a:pt x="1528" y="3093"/>
                  </a:lnTo>
                  <a:lnTo>
                    <a:pt x="1525" y="3070"/>
                  </a:lnTo>
                  <a:lnTo>
                    <a:pt x="1523" y="3050"/>
                  </a:lnTo>
                  <a:lnTo>
                    <a:pt x="1523" y="3039"/>
                  </a:lnTo>
                  <a:lnTo>
                    <a:pt x="1523" y="3031"/>
                  </a:lnTo>
                  <a:lnTo>
                    <a:pt x="1525" y="3023"/>
                  </a:lnTo>
                  <a:lnTo>
                    <a:pt x="1528" y="3017"/>
                  </a:lnTo>
                  <a:lnTo>
                    <a:pt x="1534" y="3006"/>
                  </a:lnTo>
                  <a:lnTo>
                    <a:pt x="1542" y="2989"/>
                  </a:lnTo>
                  <a:lnTo>
                    <a:pt x="1551" y="2971"/>
                  </a:lnTo>
                  <a:lnTo>
                    <a:pt x="1560" y="2954"/>
                  </a:lnTo>
                  <a:lnTo>
                    <a:pt x="1566" y="2946"/>
                  </a:lnTo>
                  <a:lnTo>
                    <a:pt x="1571" y="2939"/>
                  </a:lnTo>
                  <a:lnTo>
                    <a:pt x="1576" y="2935"/>
                  </a:lnTo>
                  <a:lnTo>
                    <a:pt x="1580" y="2932"/>
                  </a:lnTo>
                  <a:lnTo>
                    <a:pt x="1582" y="2931"/>
                  </a:lnTo>
                  <a:lnTo>
                    <a:pt x="1585" y="2931"/>
                  </a:lnTo>
                  <a:lnTo>
                    <a:pt x="1588" y="2931"/>
                  </a:lnTo>
                  <a:lnTo>
                    <a:pt x="1590" y="2932"/>
                  </a:lnTo>
                  <a:lnTo>
                    <a:pt x="1594" y="2937"/>
                  </a:lnTo>
                  <a:lnTo>
                    <a:pt x="1597" y="2944"/>
                  </a:lnTo>
                  <a:lnTo>
                    <a:pt x="1603" y="2965"/>
                  </a:lnTo>
                  <a:lnTo>
                    <a:pt x="1608" y="2986"/>
                  </a:lnTo>
                  <a:lnTo>
                    <a:pt x="1611" y="2991"/>
                  </a:lnTo>
                  <a:lnTo>
                    <a:pt x="1613" y="2995"/>
                  </a:lnTo>
                  <a:lnTo>
                    <a:pt x="1615" y="2999"/>
                  </a:lnTo>
                  <a:lnTo>
                    <a:pt x="1619" y="3003"/>
                  </a:lnTo>
                  <a:lnTo>
                    <a:pt x="1622" y="3006"/>
                  </a:lnTo>
                  <a:lnTo>
                    <a:pt x="1626" y="3008"/>
                  </a:lnTo>
                  <a:lnTo>
                    <a:pt x="1631" y="3009"/>
                  </a:lnTo>
                  <a:lnTo>
                    <a:pt x="1638" y="3009"/>
                  </a:lnTo>
                  <a:lnTo>
                    <a:pt x="1645" y="3009"/>
                  </a:lnTo>
                  <a:lnTo>
                    <a:pt x="1653" y="3008"/>
                  </a:lnTo>
                  <a:lnTo>
                    <a:pt x="1662" y="3006"/>
                  </a:lnTo>
                  <a:lnTo>
                    <a:pt x="1670" y="3003"/>
                  </a:lnTo>
                  <a:lnTo>
                    <a:pt x="1678" y="2999"/>
                  </a:lnTo>
                  <a:lnTo>
                    <a:pt x="1686" y="2995"/>
                  </a:lnTo>
                  <a:lnTo>
                    <a:pt x="1692" y="2990"/>
                  </a:lnTo>
                  <a:lnTo>
                    <a:pt x="1698" y="2985"/>
                  </a:lnTo>
                  <a:lnTo>
                    <a:pt x="1705" y="2978"/>
                  </a:lnTo>
                  <a:lnTo>
                    <a:pt x="1711" y="2970"/>
                  </a:lnTo>
                  <a:lnTo>
                    <a:pt x="1716" y="2962"/>
                  </a:lnTo>
                  <a:lnTo>
                    <a:pt x="1721" y="2955"/>
                  </a:lnTo>
                  <a:lnTo>
                    <a:pt x="1724" y="2946"/>
                  </a:lnTo>
                  <a:lnTo>
                    <a:pt x="1727" y="2938"/>
                  </a:lnTo>
                  <a:lnTo>
                    <a:pt x="1729" y="2930"/>
                  </a:lnTo>
                  <a:lnTo>
                    <a:pt x="1730" y="2921"/>
                  </a:lnTo>
                  <a:lnTo>
                    <a:pt x="1731" y="2913"/>
                  </a:lnTo>
                  <a:lnTo>
                    <a:pt x="1731" y="2905"/>
                  </a:lnTo>
                  <a:lnTo>
                    <a:pt x="1730" y="2895"/>
                  </a:lnTo>
                  <a:lnTo>
                    <a:pt x="1728" y="2887"/>
                  </a:lnTo>
                  <a:lnTo>
                    <a:pt x="1726" y="2877"/>
                  </a:lnTo>
                  <a:lnTo>
                    <a:pt x="1723" y="2869"/>
                  </a:lnTo>
                  <a:lnTo>
                    <a:pt x="1719" y="2860"/>
                  </a:lnTo>
                  <a:lnTo>
                    <a:pt x="1715" y="2851"/>
                  </a:lnTo>
                  <a:lnTo>
                    <a:pt x="1713" y="2844"/>
                  </a:lnTo>
                  <a:lnTo>
                    <a:pt x="1709" y="2836"/>
                  </a:lnTo>
                  <a:lnTo>
                    <a:pt x="1703" y="2826"/>
                  </a:lnTo>
                  <a:lnTo>
                    <a:pt x="1696" y="2817"/>
                  </a:lnTo>
                  <a:lnTo>
                    <a:pt x="1680" y="2797"/>
                  </a:lnTo>
                  <a:lnTo>
                    <a:pt x="1664" y="2777"/>
                  </a:lnTo>
                  <a:lnTo>
                    <a:pt x="1647" y="2757"/>
                  </a:lnTo>
                  <a:lnTo>
                    <a:pt x="1632" y="2739"/>
                  </a:lnTo>
                  <a:lnTo>
                    <a:pt x="1626" y="2730"/>
                  </a:lnTo>
                  <a:lnTo>
                    <a:pt x="1622" y="2722"/>
                  </a:lnTo>
                  <a:lnTo>
                    <a:pt x="1619" y="2716"/>
                  </a:lnTo>
                  <a:lnTo>
                    <a:pt x="1618" y="2709"/>
                  </a:lnTo>
                  <a:lnTo>
                    <a:pt x="1690" y="2691"/>
                  </a:lnTo>
                  <a:lnTo>
                    <a:pt x="1698" y="2688"/>
                  </a:lnTo>
                  <a:lnTo>
                    <a:pt x="1706" y="2684"/>
                  </a:lnTo>
                  <a:lnTo>
                    <a:pt x="1715" y="2680"/>
                  </a:lnTo>
                  <a:lnTo>
                    <a:pt x="1722" y="2675"/>
                  </a:lnTo>
                  <a:lnTo>
                    <a:pt x="1729" y="2671"/>
                  </a:lnTo>
                  <a:lnTo>
                    <a:pt x="1738" y="2667"/>
                  </a:lnTo>
                  <a:lnTo>
                    <a:pt x="1745" y="2664"/>
                  </a:lnTo>
                  <a:lnTo>
                    <a:pt x="1753" y="2660"/>
                  </a:lnTo>
                  <a:lnTo>
                    <a:pt x="1765" y="2657"/>
                  </a:lnTo>
                  <a:lnTo>
                    <a:pt x="1775" y="2656"/>
                  </a:lnTo>
                  <a:lnTo>
                    <a:pt x="1786" y="2655"/>
                  </a:lnTo>
                  <a:lnTo>
                    <a:pt x="1794" y="2655"/>
                  </a:lnTo>
                  <a:lnTo>
                    <a:pt x="1810" y="2655"/>
                  </a:lnTo>
                  <a:lnTo>
                    <a:pt x="1821" y="2655"/>
                  </a:lnTo>
                  <a:lnTo>
                    <a:pt x="1824" y="2653"/>
                  </a:lnTo>
                  <a:lnTo>
                    <a:pt x="1827" y="2651"/>
                  </a:lnTo>
                  <a:lnTo>
                    <a:pt x="1829" y="2647"/>
                  </a:lnTo>
                  <a:lnTo>
                    <a:pt x="1829" y="2642"/>
                  </a:lnTo>
                  <a:lnTo>
                    <a:pt x="1828" y="2633"/>
                  </a:lnTo>
                  <a:lnTo>
                    <a:pt x="1826" y="2624"/>
                  </a:lnTo>
                  <a:lnTo>
                    <a:pt x="1823" y="2611"/>
                  </a:lnTo>
                  <a:lnTo>
                    <a:pt x="1818" y="2597"/>
                  </a:lnTo>
                  <a:lnTo>
                    <a:pt x="1818" y="2595"/>
                  </a:lnTo>
                  <a:lnTo>
                    <a:pt x="1819" y="2592"/>
                  </a:lnTo>
                  <a:lnTo>
                    <a:pt x="1821" y="2588"/>
                  </a:lnTo>
                  <a:lnTo>
                    <a:pt x="1824" y="2585"/>
                  </a:lnTo>
                  <a:lnTo>
                    <a:pt x="1834" y="2578"/>
                  </a:lnTo>
                  <a:lnTo>
                    <a:pt x="1843" y="2570"/>
                  </a:lnTo>
                  <a:lnTo>
                    <a:pt x="1864" y="2553"/>
                  </a:lnTo>
                  <a:lnTo>
                    <a:pt x="1878" y="2544"/>
                  </a:lnTo>
                  <a:lnTo>
                    <a:pt x="1885" y="2537"/>
                  </a:lnTo>
                  <a:lnTo>
                    <a:pt x="1889" y="2532"/>
                  </a:lnTo>
                  <a:lnTo>
                    <a:pt x="1893" y="2526"/>
                  </a:lnTo>
                  <a:lnTo>
                    <a:pt x="1895" y="2520"/>
                  </a:lnTo>
                  <a:lnTo>
                    <a:pt x="1895" y="2513"/>
                  </a:lnTo>
                  <a:lnTo>
                    <a:pt x="1895" y="2507"/>
                  </a:lnTo>
                  <a:lnTo>
                    <a:pt x="1894" y="2501"/>
                  </a:lnTo>
                  <a:lnTo>
                    <a:pt x="1892" y="2495"/>
                  </a:lnTo>
                  <a:lnTo>
                    <a:pt x="1889" y="2487"/>
                  </a:lnTo>
                  <a:lnTo>
                    <a:pt x="1886" y="2481"/>
                  </a:lnTo>
                  <a:lnTo>
                    <a:pt x="1882" y="2476"/>
                  </a:lnTo>
                  <a:lnTo>
                    <a:pt x="1876" y="2470"/>
                  </a:lnTo>
                  <a:lnTo>
                    <a:pt x="1871" y="2464"/>
                  </a:lnTo>
                  <a:lnTo>
                    <a:pt x="1865" y="2459"/>
                  </a:lnTo>
                  <a:lnTo>
                    <a:pt x="1860" y="2455"/>
                  </a:lnTo>
                  <a:lnTo>
                    <a:pt x="1853" y="2451"/>
                  </a:lnTo>
                  <a:lnTo>
                    <a:pt x="1855" y="2447"/>
                  </a:lnTo>
                  <a:lnTo>
                    <a:pt x="1857" y="2443"/>
                  </a:lnTo>
                  <a:lnTo>
                    <a:pt x="1861" y="2439"/>
                  </a:lnTo>
                  <a:lnTo>
                    <a:pt x="1867" y="2436"/>
                  </a:lnTo>
                  <a:lnTo>
                    <a:pt x="1881" y="2431"/>
                  </a:lnTo>
                  <a:lnTo>
                    <a:pt x="1897" y="2427"/>
                  </a:lnTo>
                  <a:lnTo>
                    <a:pt x="1932" y="2420"/>
                  </a:lnTo>
                  <a:lnTo>
                    <a:pt x="1957" y="2416"/>
                  </a:lnTo>
                  <a:lnTo>
                    <a:pt x="1960" y="2402"/>
                  </a:lnTo>
                  <a:lnTo>
                    <a:pt x="1965" y="2386"/>
                  </a:lnTo>
                  <a:lnTo>
                    <a:pt x="1971" y="2371"/>
                  </a:lnTo>
                  <a:lnTo>
                    <a:pt x="1979" y="2357"/>
                  </a:lnTo>
                  <a:lnTo>
                    <a:pt x="1983" y="2351"/>
                  </a:lnTo>
                  <a:lnTo>
                    <a:pt x="1988" y="2344"/>
                  </a:lnTo>
                  <a:lnTo>
                    <a:pt x="1993" y="2339"/>
                  </a:lnTo>
                  <a:lnTo>
                    <a:pt x="1998" y="2335"/>
                  </a:lnTo>
                  <a:lnTo>
                    <a:pt x="2005" y="2332"/>
                  </a:lnTo>
                  <a:lnTo>
                    <a:pt x="2011" y="2330"/>
                  </a:lnTo>
                  <a:lnTo>
                    <a:pt x="2018" y="2328"/>
                  </a:lnTo>
                  <a:lnTo>
                    <a:pt x="2027" y="2328"/>
                  </a:lnTo>
                  <a:lnTo>
                    <a:pt x="2039" y="2328"/>
                  </a:lnTo>
                  <a:lnTo>
                    <a:pt x="2048" y="2327"/>
                  </a:lnTo>
                  <a:lnTo>
                    <a:pt x="2056" y="2325"/>
                  </a:lnTo>
                  <a:lnTo>
                    <a:pt x="2062" y="2321"/>
                  </a:lnTo>
                  <a:lnTo>
                    <a:pt x="2066" y="2317"/>
                  </a:lnTo>
                  <a:lnTo>
                    <a:pt x="2069" y="2312"/>
                  </a:lnTo>
                  <a:lnTo>
                    <a:pt x="2071" y="2307"/>
                  </a:lnTo>
                  <a:lnTo>
                    <a:pt x="2072" y="2301"/>
                  </a:lnTo>
                  <a:lnTo>
                    <a:pt x="2076" y="2288"/>
                  </a:lnTo>
                  <a:lnTo>
                    <a:pt x="2080" y="2274"/>
                  </a:lnTo>
                  <a:lnTo>
                    <a:pt x="2083" y="2268"/>
                  </a:lnTo>
                  <a:lnTo>
                    <a:pt x="2087" y="2262"/>
                  </a:lnTo>
                  <a:lnTo>
                    <a:pt x="2093" y="2256"/>
                  </a:lnTo>
                  <a:lnTo>
                    <a:pt x="2102" y="2250"/>
                  </a:lnTo>
                  <a:lnTo>
                    <a:pt x="2145" y="2230"/>
                  </a:lnTo>
                  <a:lnTo>
                    <a:pt x="2145" y="223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1" name="Freeform 148">
              <a:extLst>
                <a:ext uri="{FF2B5EF4-FFF2-40B4-BE49-F238E27FC236}">
                  <a16:creationId xmlns:a16="http://schemas.microsoft.com/office/drawing/2014/main" id="{9A48C844-8C92-41E0-B9EA-58521B379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036" y="4454161"/>
              <a:ext cx="868204" cy="842223"/>
            </a:xfrm>
            <a:custGeom>
              <a:avLst/>
              <a:gdLst>
                <a:gd name="T0" fmla="*/ 2035 w 3456"/>
                <a:gd name="T1" fmla="*/ 2126 h 3472"/>
                <a:gd name="T2" fmla="*/ 2145 w 3456"/>
                <a:gd name="T3" fmla="*/ 2006 h 3472"/>
                <a:gd name="T4" fmla="*/ 2310 w 3456"/>
                <a:gd name="T5" fmla="*/ 2036 h 3472"/>
                <a:gd name="T6" fmla="*/ 2459 w 3456"/>
                <a:gd name="T7" fmla="*/ 2360 h 3472"/>
                <a:gd name="T8" fmla="*/ 2721 w 3456"/>
                <a:gd name="T9" fmla="*/ 2435 h 3472"/>
                <a:gd name="T10" fmla="*/ 2931 w 3456"/>
                <a:gd name="T11" fmla="*/ 2442 h 3472"/>
                <a:gd name="T12" fmla="*/ 3032 w 3456"/>
                <a:gd name="T13" fmla="*/ 2476 h 3472"/>
                <a:gd name="T14" fmla="*/ 3102 w 3456"/>
                <a:gd name="T15" fmla="*/ 2589 h 3472"/>
                <a:gd name="T16" fmla="*/ 3177 w 3456"/>
                <a:gd name="T17" fmla="*/ 2701 h 3472"/>
                <a:gd name="T18" fmla="*/ 3208 w 3456"/>
                <a:gd name="T19" fmla="*/ 2620 h 3472"/>
                <a:gd name="T20" fmla="*/ 3141 w 3456"/>
                <a:gd name="T21" fmla="*/ 2460 h 3472"/>
                <a:gd name="T22" fmla="*/ 3064 w 3456"/>
                <a:gd name="T23" fmla="*/ 2343 h 3472"/>
                <a:gd name="T24" fmla="*/ 3163 w 3456"/>
                <a:gd name="T25" fmla="*/ 2161 h 3472"/>
                <a:gd name="T26" fmla="*/ 3149 w 3456"/>
                <a:gd name="T27" fmla="*/ 2121 h 3472"/>
                <a:gd name="T28" fmla="*/ 3339 w 3456"/>
                <a:gd name="T29" fmla="*/ 2078 h 3472"/>
                <a:gd name="T30" fmla="*/ 3438 w 3456"/>
                <a:gd name="T31" fmla="*/ 2018 h 3472"/>
                <a:gd name="T32" fmla="*/ 3410 w 3456"/>
                <a:gd name="T33" fmla="*/ 1785 h 3472"/>
                <a:gd name="T34" fmla="*/ 3229 w 3456"/>
                <a:gd name="T35" fmla="*/ 1652 h 3472"/>
                <a:gd name="T36" fmla="*/ 3160 w 3456"/>
                <a:gd name="T37" fmla="*/ 1812 h 3472"/>
                <a:gd name="T38" fmla="*/ 3148 w 3456"/>
                <a:gd name="T39" fmla="*/ 1971 h 3472"/>
                <a:gd name="T40" fmla="*/ 2946 w 3456"/>
                <a:gd name="T41" fmla="*/ 1766 h 3472"/>
                <a:gd name="T42" fmla="*/ 2756 w 3456"/>
                <a:gd name="T43" fmla="*/ 1708 h 3472"/>
                <a:gd name="T44" fmla="*/ 2533 w 3456"/>
                <a:gd name="T45" fmla="*/ 1829 h 3472"/>
                <a:gd name="T46" fmla="*/ 2338 w 3456"/>
                <a:gd name="T47" fmla="*/ 1867 h 3472"/>
                <a:gd name="T48" fmla="*/ 2137 w 3456"/>
                <a:gd name="T49" fmla="*/ 1737 h 3472"/>
                <a:gd name="T50" fmla="*/ 1995 w 3456"/>
                <a:gd name="T51" fmla="*/ 1657 h 3472"/>
                <a:gd name="T52" fmla="*/ 2105 w 3456"/>
                <a:gd name="T53" fmla="*/ 1495 h 3472"/>
                <a:gd name="T54" fmla="*/ 2203 w 3456"/>
                <a:gd name="T55" fmla="*/ 1352 h 3472"/>
                <a:gd name="T56" fmla="*/ 1994 w 3456"/>
                <a:gd name="T57" fmla="*/ 1336 h 3472"/>
                <a:gd name="T58" fmla="*/ 1776 w 3456"/>
                <a:gd name="T59" fmla="*/ 1143 h 3472"/>
                <a:gd name="T60" fmla="*/ 1752 w 3456"/>
                <a:gd name="T61" fmla="*/ 880 h 3472"/>
                <a:gd name="T62" fmla="*/ 1920 w 3456"/>
                <a:gd name="T63" fmla="*/ 546 h 3472"/>
                <a:gd name="T64" fmla="*/ 1978 w 3456"/>
                <a:gd name="T65" fmla="*/ 245 h 3472"/>
                <a:gd name="T66" fmla="*/ 1673 w 3456"/>
                <a:gd name="T67" fmla="*/ 109 h 3472"/>
                <a:gd name="T68" fmla="*/ 1564 w 3456"/>
                <a:gd name="T69" fmla="*/ 76 h 3472"/>
                <a:gd name="T70" fmla="*/ 1614 w 3456"/>
                <a:gd name="T71" fmla="*/ 254 h 3472"/>
                <a:gd name="T72" fmla="*/ 1565 w 3456"/>
                <a:gd name="T73" fmla="*/ 361 h 3472"/>
                <a:gd name="T74" fmla="*/ 1682 w 3456"/>
                <a:gd name="T75" fmla="*/ 511 h 3472"/>
                <a:gd name="T76" fmla="*/ 1464 w 3456"/>
                <a:gd name="T77" fmla="*/ 680 h 3472"/>
                <a:gd name="T78" fmla="*/ 1365 w 3456"/>
                <a:gd name="T79" fmla="*/ 863 h 3472"/>
                <a:gd name="T80" fmla="*/ 1191 w 3456"/>
                <a:gd name="T81" fmla="*/ 1153 h 3472"/>
                <a:gd name="T82" fmla="*/ 921 w 3456"/>
                <a:gd name="T83" fmla="*/ 1385 h 3472"/>
                <a:gd name="T84" fmla="*/ 564 w 3456"/>
                <a:gd name="T85" fmla="*/ 1441 h 3472"/>
                <a:gd name="T86" fmla="*/ 310 w 3456"/>
                <a:gd name="T87" fmla="*/ 1386 h 3472"/>
                <a:gd name="T88" fmla="*/ 249 w 3456"/>
                <a:gd name="T89" fmla="*/ 1656 h 3472"/>
                <a:gd name="T90" fmla="*/ 87 w 3456"/>
                <a:gd name="T91" fmla="*/ 1908 h 3472"/>
                <a:gd name="T92" fmla="*/ 12 w 3456"/>
                <a:gd name="T93" fmla="*/ 2113 h 3472"/>
                <a:gd name="T94" fmla="*/ 55 w 3456"/>
                <a:gd name="T95" fmla="*/ 2383 h 3472"/>
                <a:gd name="T96" fmla="*/ 57 w 3456"/>
                <a:gd name="T97" fmla="*/ 2569 h 3472"/>
                <a:gd name="T98" fmla="*/ 161 w 3456"/>
                <a:gd name="T99" fmla="*/ 2784 h 3472"/>
                <a:gd name="T100" fmla="*/ 298 w 3456"/>
                <a:gd name="T101" fmla="*/ 3068 h 3472"/>
                <a:gd name="T102" fmla="*/ 560 w 3456"/>
                <a:gd name="T103" fmla="*/ 3373 h 3472"/>
                <a:gd name="T104" fmla="*/ 795 w 3456"/>
                <a:gd name="T105" fmla="*/ 3428 h 3472"/>
                <a:gd name="T106" fmla="*/ 1120 w 3456"/>
                <a:gd name="T107" fmla="*/ 3335 h 3472"/>
                <a:gd name="T108" fmla="*/ 1285 w 3456"/>
                <a:gd name="T109" fmla="*/ 3157 h 3472"/>
                <a:gd name="T110" fmla="*/ 1412 w 3456"/>
                <a:gd name="T111" fmla="*/ 3068 h 3472"/>
                <a:gd name="T112" fmla="*/ 1529 w 3456"/>
                <a:gd name="T113" fmla="*/ 3145 h 3472"/>
                <a:gd name="T114" fmla="*/ 1608 w 3456"/>
                <a:gd name="T115" fmla="*/ 2986 h 3472"/>
                <a:gd name="T116" fmla="*/ 1730 w 3456"/>
                <a:gd name="T117" fmla="*/ 2895 h 3472"/>
                <a:gd name="T118" fmla="*/ 1765 w 3456"/>
                <a:gd name="T119" fmla="*/ 2657 h 3472"/>
                <a:gd name="T120" fmla="*/ 1895 w 3456"/>
                <a:gd name="T121" fmla="*/ 2507 h 3472"/>
                <a:gd name="T122" fmla="*/ 2005 w 3456"/>
                <a:gd name="T123" fmla="*/ 2332 h 3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56" h="3472">
                  <a:moveTo>
                    <a:pt x="2145" y="2230"/>
                  </a:moveTo>
                  <a:lnTo>
                    <a:pt x="2142" y="2226"/>
                  </a:lnTo>
                  <a:lnTo>
                    <a:pt x="2139" y="2222"/>
                  </a:lnTo>
                  <a:lnTo>
                    <a:pt x="2137" y="2218"/>
                  </a:lnTo>
                  <a:lnTo>
                    <a:pt x="2136" y="2214"/>
                  </a:lnTo>
                  <a:lnTo>
                    <a:pt x="2136" y="2203"/>
                  </a:lnTo>
                  <a:lnTo>
                    <a:pt x="2138" y="2193"/>
                  </a:lnTo>
                  <a:lnTo>
                    <a:pt x="2140" y="2183"/>
                  </a:lnTo>
                  <a:lnTo>
                    <a:pt x="2142" y="2171"/>
                  </a:lnTo>
                  <a:lnTo>
                    <a:pt x="2142" y="2165"/>
                  </a:lnTo>
                  <a:lnTo>
                    <a:pt x="2142" y="2160"/>
                  </a:lnTo>
                  <a:lnTo>
                    <a:pt x="2142" y="2153"/>
                  </a:lnTo>
                  <a:lnTo>
                    <a:pt x="2141" y="2148"/>
                  </a:lnTo>
                  <a:lnTo>
                    <a:pt x="2140" y="2148"/>
                  </a:lnTo>
                  <a:lnTo>
                    <a:pt x="2139" y="2147"/>
                  </a:lnTo>
                  <a:lnTo>
                    <a:pt x="2137" y="2145"/>
                  </a:lnTo>
                  <a:lnTo>
                    <a:pt x="2135" y="2143"/>
                  </a:lnTo>
                  <a:lnTo>
                    <a:pt x="2131" y="2141"/>
                  </a:lnTo>
                  <a:lnTo>
                    <a:pt x="2126" y="2140"/>
                  </a:lnTo>
                  <a:lnTo>
                    <a:pt x="2114" y="2138"/>
                  </a:lnTo>
                  <a:lnTo>
                    <a:pt x="2100" y="2136"/>
                  </a:lnTo>
                  <a:lnTo>
                    <a:pt x="2072" y="2135"/>
                  </a:lnTo>
                  <a:lnTo>
                    <a:pt x="2055" y="2134"/>
                  </a:lnTo>
                  <a:lnTo>
                    <a:pt x="2048" y="2133"/>
                  </a:lnTo>
                  <a:lnTo>
                    <a:pt x="2043" y="2132"/>
                  </a:lnTo>
                  <a:lnTo>
                    <a:pt x="2039" y="2129"/>
                  </a:lnTo>
                  <a:lnTo>
                    <a:pt x="2035" y="2126"/>
                  </a:lnTo>
                  <a:lnTo>
                    <a:pt x="2033" y="2124"/>
                  </a:lnTo>
                  <a:lnTo>
                    <a:pt x="2030" y="2121"/>
                  </a:lnTo>
                  <a:lnTo>
                    <a:pt x="2029" y="2117"/>
                  </a:lnTo>
                  <a:lnTo>
                    <a:pt x="2027" y="2113"/>
                  </a:lnTo>
                  <a:lnTo>
                    <a:pt x="2025" y="2104"/>
                  </a:lnTo>
                  <a:lnTo>
                    <a:pt x="2024" y="2095"/>
                  </a:lnTo>
                  <a:lnTo>
                    <a:pt x="2024" y="2085"/>
                  </a:lnTo>
                  <a:lnTo>
                    <a:pt x="2025" y="2073"/>
                  </a:lnTo>
                  <a:lnTo>
                    <a:pt x="2049" y="2071"/>
                  </a:lnTo>
                  <a:lnTo>
                    <a:pt x="2077" y="2070"/>
                  </a:lnTo>
                  <a:lnTo>
                    <a:pt x="2083" y="2070"/>
                  </a:lnTo>
                  <a:lnTo>
                    <a:pt x="2089" y="2068"/>
                  </a:lnTo>
                  <a:lnTo>
                    <a:pt x="2094" y="2066"/>
                  </a:lnTo>
                  <a:lnTo>
                    <a:pt x="2100" y="2063"/>
                  </a:lnTo>
                  <a:lnTo>
                    <a:pt x="2105" y="2060"/>
                  </a:lnTo>
                  <a:lnTo>
                    <a:pt x="2109" y="2054"/>
                  </a:lnTo>
                  <a:lnTo>
                    <a:pt x="2112" y="2049"/>
                  </a:lnTo>
                  <a:lnTo>
                    <a:pt x="2114" y="2042"/>
                  </a:lnTo>
                  <a:lnTo>
                    <a:pt x="2116" y="2033"/>
                  </a:lnTo>
                  <a:lnTo>
                    <a:pt x="2119" y="2026"/>
                  </a:lnTo>
                  <a:lnTo>
                    <a:pt x="2122" y="2020"/>
                  </a:lnTo>
                  <a:lnTo>
                    <a:pt x="2126" y="2015"/>
                  </a:lnTo>
                  <a:lnTo>
                    <a:pt x="2129" y="2012"/>
                  </a:lnTo>
                  <a:lnTo>
                    <a:pt x="2133" y="2008"/>
                  </a:lnTo>
                  <a:lnTo>
                    <a:pt x="2137" y="2007"/>
                  </a:lnTo>
                  <a:lnTo>
                    <a:pt x="2141" y="2006"/>
                  </a:lnTo>
                  <a:lnTo>
                    <a:pt x="2145" y="2006"/>
                  </a:lnTo>
                  <a:lnTo>
                    <a:pt x="2151" y="2008"/>
                  </a:lnTo>
                  <a:lnTo>
                    <a:pt x="2156" y="2010"/>
                  </a:lnTo>
                  <a:lnTo>
                    <a:pt x="2161" y="2013"/>
                  </a:lnTo>
                  <a:lnTo>
                    <a:pt x="2171" y="2021"/>
                  </a:lnTo>
                  <a:lnTo>
                    <a:pt x="2184" y="2031"/>
                  </a:lnTo>
                  <a:lnTo>
                    <a:pt x="2192" y="2040"/>
                  </a:lnTo>
                  <a:lnTo>
                    <a:pt x="2201" y="2046"/>
                  </a:lnTo>
                  <a:lnTo>
                    <a:pt x="2209" y="2051"/>
                  </a:lnTo>
                  <a:lnTo>
                    <a:pt x="2217" y="2053"/>
                  </a:lnTo>
                  <a:lnTo>
                    <a:pt x="2226" y="2054"/>
                  </a:lnTo>
                  <a:lnTo>
                    <a:pt x="2234" y="2053"/>
                  </a:lnTo>
                  <a:lnTo>
                    <a:pt x="2244" y="2050"/>
                  </a:lnTo>
                  <a:lnTo>
                    <a:pt x="2256" y="2045"/>
                  </a:lnTo>
                  <a:lnTo>
                    <a:pt x="2260" y="2042"/>
                  </a:lnTo>
                  <a:lnTo>
                    <a:pt x="2265" y="2038"/>
                  </a:lnTo>
                  <a:lnTo>
                    <a:pt x="2269" y="2033"/>
                  </a:lnTo>
                  <a:lnTo>
                    <a:pt x="2274" y="2029"/>
                  </a:lnTo>
                  <a:lnTo>
                    <a:pt x="2281" y="2019"/>
                  </a:lnTo>
                  <a:lnTo>
                    <a:pt x="2288" y="2010"/>
                  </a:lnTo>
                  <a:lnTo>
                    <a:pt x="2291" y="2008"/>
                  </a:lnTo>
                  <a:lnTo>
                    <a:pt x="2294" y="2006"/>
                  </a:lnTo>
                  <a:lnTo>
                    <a:pt x="2298" y="2006"/>
                  </a:lnTo>
                  <a:lnTo>
                    <a:pt x="2301" y="2007"/>
                  </a:lnTo>
                  <a:lnTo>
                    <a:pt x="2303" y="2012"/>
                  </a:lnTo>
                  <a:lnTo>
                    <a:pt x="2306" y="2017"/>
                  </a:lnTo>
                  <a:lnTo>
                    <a:pt x="2308" y="2025"/>
                  </a:lnTo>
                  <a:lnTo>
                    <a:pt x="2310" y="2036"/>
                  </a:lnTo>
                  <a:lnTo>
                    <a:pt x="2313" y="2057"/>
                  </a:lnTo>
                  <a:lnTo>
                    <a:pt x="2316" y="2080"/>
                  </a:lnTo>
                  <a:lnTo>
                    <a:pt x="2318" y="2105"/>
                  </a:lnTo>
                  <a:lnTo>
                    <a:pt x="2320" y="2132"/>
                  </a:lnTo>
                  <a:lnTo>
                    <a:pt x="2321" y="2158"/>
                  </a:lnTo>
                  <a:lnTo>
                    <a:pt x="2321" y="2184"/>
                  </a:lnTo>
                  <a:lnTo>
                    <a:pt x="2322" y="2208"/>
                  </a:lnTo>
                  <a:lnTo>
                    <a:pt x="2322" y="2232"/>
                  </a:lnTo>
                  <a:lnTo>
                    <a:pt x="2321" y="2292"/>
                  </a:lnTo>
                  <a:lnTo>
                    <a:pt x="2322" y="2305"/>
                  </a:lnTo>
                  <a:lnTo>
                    <a:pt x="2324" y="2316"/>
                  </a:lnTo>
                  <a:lnTo>
                    <a:pt x="2326" y="2320"/>
                  </a:lnTo>
                  <a:lnTo>
                    <a:pt x="2328" y="2323"/>
                  </a:lnTo>
                  <a:lnTo>
                    <a:pt x="2330" y="2327"/>
                  </a:lnTo>
                  <a:lnTo>
                    <a:pt x="2333" y="2330"/>
                  </a:lnTo>
                  <a:lnTo>
                    <a:pt x="2339" y="2333"/>
                  </a:lnTo>
                  <a:lnTo>
                    <a:pt x="2348" y="2336"/>
                  </a:lnTo>
                  <a:lnTo>
                    <a:pt x="2356" y="2337"/>
                  </a:lnTo>
                  <a:lnTo>
                    <a:pt x="2364" y="2337"/>
                  </a:lnTo>
                  <a:lnTo>
                    <a:pt x="2384" y="2336"/>
                  </a:lnTo>
                  <a:lnTo>
                    <a:pt x="2404" y="2336"/>
                  </a:lnTo>
                  <a:lnTo>
                    <a:pt x="2413" y="2336"/>
                  </a:lnTo>
                  <a:lnTo>
                    <a:pt x="2423" y="2338"/>
                  </a:lnTo>
                  <a:lnTo>
                    <a:pt x="2431" y="2342"/>
                  </a:lnTo>
                  <a:lnTo>
                    <a:pt x="2439" y="2347"/>
                  </a:lnTo>
                  <a:lnTo>
                    <a:pt x="2450" y="2355"/>
                  </a:lnTo>
                  <a:lnTo>
                    <a:pt x="2459" y="2360"/>
                  </a:lnTo>
                  <a:lnTo>
                    <a:pt x="2470" y="2363"/>
                  </a:lnTo>
                  <a:lnTo>
                    <a:pt x="2478" y="2364"/>
                  </a:lnTo>
                  <a:lnTo>
                    <a:pt x="2495" y="2363"/>
                  </a:lnTo>
                  <a:lnTo>
                    <a:pt x="2510" y="2361"/>
                  </a:lnTo>
                  <a:lnTo>
                    <a:pt x="2518" y="2360"/>
                  </a:lnTo>
                  <a:lnTo>
                    <a:pt x="2525" y="2360"/>
                  </a:lnTo>
                  <a:lnTo>
                    <a:pt x="2531" y="2361"/>
                  </a:lnTo>
                  <a:lnTo>
                    <a:pt x="2538" y="2363"/>
                  </a:lnTo>
                  <a:lnTo>
                    <a:pt x="2545" y="2367"/>
                  </a:lnTo>
                  <a:lnTo>
                    <a:pt x="2552" y="2374"/>
                  </a:lnTo>
                  <a:lnTo>
                    <a:pt x="2558" y="2383"/>
                  </a:lnTo>
                  <a:lnTo>
                    <a:pt x="2566" y="2395"/>
                  </a:lnTo>
                  <a:lnTo>
                    <a:pt x="2571" y="2407"/>
                  </a:lnTo>
                  <a:lnTo>
                    <a:pt x="2576" y="2418"/>
                  </a:lnTo>
                  <a:lnTo>
                    <a:pt x="2582" y="2429"/>
                  </a:lnTo>
                  <a:lnTo>
                    <a:pt x="2589" y="2438"/>
                  </a:lnTo>
                  <a:lnTo>
                    <a:pt x="2593" y="2442"/>
                  </a:lnTo>
                  <a:lnTo>
                    <a:pt x="2597" y="2447"/>
                  </a:lnTo>
                  <a:lnTo>
                    <a:pt x="2601" y="2450"/>
                  </a:lnTo>
                  <a:lnTo>
                    <a:pt x="2606" y="2452"/>
                  </a:lnTo>
                  <a:lnTo>
                    <a:pt x="2613" y="2453"/>
                  </a:lnTo>
                  <a:lnTo>
                    <a:pt x="2619" y="2454"/>
                  </a:lnTo>
                  <a:lnTo>
                    <a:pt x="2625" y="2454"/>
                  </a:lnTo>
                  <a:lnTo>
                    <a:pt x="2633" y="2453"/>
                  </a:lnTo>
                  <a:lnTo>
                    <a:pt x="2672" y="2443"/>
                  </a:lnTo>
                  <a:lnTo>
                    <a:pt x="2704" y="2437"/>
                  </a:lnTo>
                  <a:lnTo>
                    <a:pt x="2721" y="2435"/>
                  </a:lnTo>
                  <a:lnTo>
                    <a:pt x="2738" y="2435"/>
                  </a:lnTo>
                  <a:lnTo>
                    <a:pt x="2756" y="2436"/>
                  </a:lnTo>
                  <a:lnTo>
                    <a:pt x="2779" y="2439"/>
                  </a:lnTo>
                  <a:lnTo>
                    <a:pt x="2787" y="2440"/>
                  </a:lnTo>
                  <a:lnTo>
                    <a:pt x="2794" y="2439"/>
                  </a:lnTo>
                  <a:lnTo>
                    <a:pt x="2800" y="2438"/>
                  </a:lnTo>
                  <a:lnTo>
                    <a:pt x="2806" y="2437"/>
                  </a:lnTo>
                  <a:lnTo>
                    <a:pt x="2818" y="2432"/>
                  </a:lnTo>
                  <a:lnTo>
                    <a:pt x="2828" y="2425"/>
                  </a:lnTo>
                  <a:lnTo>
                    <a:pt x="2838" y="2417"/>
                  </a:lnTo>
                  <a:lnTo>
                    <a:pt x="2848" y="2410"/>
                  </a:lnTo>
                  <a:lnTo>
                    <a:pt x="2853" y="2407"/>
                  </a:lnTo>
                  <a:lnTo>
                    <a:pt x="2860" y="2404"/>
                  </a:lnTo>
                  <a:lnTo>
                    <a:pt x="2866" y="2402"/>
                  </a:lnTo>
                  <a:lnTo>
                    <a:pt x="2872" y="2400"/>
                  </a:lnTo>
                  <a:lnTo>
                    <a:pt x="2878" y="2399"/>
                  </a:lnTo>
                  <a:lnTo>
                    <a:pt x="2884" y="2400"/>
                  </a:lnTo>
                  <a:lnTo>
                    <a:pt x="2889" y="2402"/>
                  </a:lnTo>
                  <a:lnTo>
                    <a:pt x="2892" y="2406"/>
                  </a:lnTo>
                  <a:lnTo>
                    <a:pt x="2898" y="2414"/>
                  </a:lnTo>
                  <a:lnTo>
                    <a:pt x="2902" y="2425"/>
                  </a:lnTo>
                  <a:lnTo>
                    <a:pt x="2907" y="2434"/>
                  </a:lnTo>
                  <a:lnTo>
                    <a:pt x="2912" y="2442"/>
                  </a:lnTo>
                  <a:lnTo>
                    <a:pt x="2916" y="2444"/>
                  </a:lnTo>
                  <a:lnTo>
                    <a:pt x="2920" y="2446"/>
                  </a:lnTo>
                  <a:lnTo>
                    <a:pt x="2924" y="2444"/>
                  </a:lnTo>
                  <a:lnTo>
                    <a:pt x="2931" y="2442"/>
                  </a:lnTo>
                  <a:lnTo>
                    <a:pt x="2936" y="2439"/>
                  </a:lnTo>
                  <a:lnTo>
                    <a:pt x="2941" y="2435"/>
                  </a:lnTo>
                  <a:lnTo>
                    <a:pt x="2945" y="2431"/>
                  </a:lnTo>
                  <a:lnTo>
                    <a:pt x="2949" y="2426"/>
                  </a:lnTo>
                  <a:lnTo>
                    <a:pt x="2957" y="2415"/>
                  </a:lnTo>
                  <a:lnTo>
                    <a:pt x="2963" y="2406"/>
                  </a:lnTo>
                  <a:lnTo>
                    <a:pt x="2966" y="2402"/>
                  </a:lnTo>
                  <a:lnTo>
                    <a:pt x="2970" y="2399"/>
                  </a:lnTo>
                  <a:lnTo>
                    <a:pt x="2974" y="2396"/>
                  </a:lnTo>
                  <a:lnTo>
                    <a:pt x="2978" y="2394"/>
                  </a:lnTo>
                  <a:lnTo>
                    <a:pt x="2984" y="2394"/>
                  </a:lnTo>
                  <a:lnTo>
                    <a:pt x="2990" y="2395"/>
                  </a:lnTo>
                  <a:lnTo>
                    <a:pt x="2996" y="2399"/>
                  </a:lnTo>
                  <a:lnTo>
                    <a:pt x="3005" y="2403"/>
                  </a:lnTo>
                  <a:lnTo>
                    <a:pt x="3011" y="2407"/>
                  </a:lnTo>
                  <a:lnTo>
                    <a:pt x="3015" y="2411"/>
                  </a:lnTo>
                  <a:lnTo>
                    <a:pt x="3019" y="2416"/>
                  </a:lnTo>
                  <a:lnTo>
                    <a:pt x="3022" y="2420"/>
                  </a:lnTo>
                  <a:lnTo>
                    <a:pt x="3024" y="2426"/>
                  </a:lnTo>
                  <a:lnTo>
                    <a:pt x="3025" y="2430"/>
                  </a:lnTo>
                  <a:lnTo>
                    <a:pt x="3026" y="2435"/>
                  </a:lnTo>
                  <a:lnTo>
                    <a:pt x="3026" y="2439"/>
                  </a:lnTo>
                  <a:lnTo>
                    <a:pt x="3027" y="2450"/>
                  </a:lnTo>
                  <a:lnTo>
                    <a:pt x="3027" y="2460"/>
                  </a:lnTo>
                  <a:lnTo>
                    <a:pt x="3029" y="2465"/>
                  </a:lnTo>
                  <a:lnTo>
                    <a:pt x="3030" y="2471"/>
                  </a:lnTo>
                  <a:lnTo>
                    <a:pt x="3032" y="2476"/>
                  </a:lnTo>
                  <a:lnTo>
                    <a:pt x="3034" y="2481"/>
                  </a:lnTo>
                  <a:lnTo>
                    <a:pt x="3048" y="2483"/>
                  </a:lnTo>
                  <a:lnTo>
                    <a:pt x="3061" y="2485"/>
                  </a:lnTo>
                  <a:lnTo>
                    <a:pt x="3066" y="2488"/>
                  </a:lnTo>
                  <a:lnTo>
                    <a:pt x="3069" y="2491"/>
                  </a:lnTo>
                  <a:lnTo>
                    <a:pt x="3070" y="2495"/>
                  </a:lnTo>
                  <a:lnTo>
                    <a:pt x="3070" y="2497"/>
                  </a:lnTo>
                  <a:lnTo>
                    <a:pt x="3070" y="2501"/>
                  </a:lnTo>
                  <a:lnTo>
                    <a:pt x="3070" y="2504"/>
                  </a:lnTo>
                  <a:lnTo>
                    <a:pt x="3065" y="2516"/>
                  </a:lnTo>
                  <a:lnTo>
                    <a:pt x="3057" y="2530"/>
                  </a:lnTo>
                  <a:lnTo>
                    <a:pt x="3053" y="2536"/>
                  </a:lnTo>
                  <a:lnTo>
                    <a:pt x="3050" y="2543"/>
                  </a:lnTo>
                  <a:lnTo>
                    <a:pt x="3049" y="2545"/>
                  </a:lnTo>
                  <a:lnTo>
                    <a:pt x="3049" y="2548"/>
                  </a:lnTo>
                  <a:lnTo>
                    <a:pt x="3050" y="2550"/>
                  </a:lnTo>
                  <a:lnTo>
                    <a:pt x="3051" y="2553"/>
                  </a:lnTo>
                  <a:lnTo>
                    <a:pt x="3057" y="2559"/>
                  </a:lnTo>
                  <a:lnTo>
                    <a:pt x="3062" y="2564"/>
                  </a:lnTo>
                  <a:lnTo>
                    <a:pt x="3067" y="2569"/>
                  </a:lnTo>
                  <a:lnTo>
                    <a:pt x="3072" y="2572"/>
                  </a:lnTo>
                  <a:lnTo>
                    <a:pt x="3082" y="2576"/>
                  </a:lnTo>
                  <a:lnTo>
                    <a:pt x="3090" y="2578"/>
                  </a:lnTo>
                  <a:lnTo>
                    <a:pt x="3093" y="2580"/>
                  </a:lnTo>
                  <a:lnTo>
                    <a:pt x="3096" y="2582"/>
                  </a:lnTo>
                  <a:lnTo>
                    <a:pt x="3098" y="2585"/>
                  </a:lnTo>
                  <a:lnTo>
                    <a:pt x="3102" y="2589"/>
                  </a:lnTo>
                  <a:lnTo>
                    <a:pt x="3103" y="2594"/>
                  </a:lnTo>
                  <a:lnTo>
                    <a:pt x="3105" y="2601"/>
                  </a:lnTo>
                  <a:lnTo>
                    <a:pt x="3105" y="2609"/>
                  </a:lnTo>
                  <a:lnTo>
                    <a:pt x="3106" y="2620"/>
                  </a:lnTo>
                  <a:lnTo>
                    <a:pt x="3092" y="2629"/>
                  </a:lnTo>
                  <a:lnTo>
                    <a:pt x="3082" y="2639"/>
                  </a:lnTo>
                  <a:lnTo>
                    <a:pt x="3076" y="2644"/>
                  </a:lnTo>
                  <a:lnTo>
                    <a:pt x="3073" y="2649"/>
                  </a:lnTo>
                  <a:lnTo>
                    <a:pt x="3070" y="2653"/>
                  </a:lnTo>
                  <a:lnTo>
                    <a:pt x="3068" y="2658"/>
                  </a:lnTo>
                  <a:lnTo>
                    <a:pt x="3067" y="2663"/>
                  </a:lnTo>
                  <a:lnTo>
                    <a:pt x="3067" y="2668"/>
                  </a:lnTo>
                  <a:lnTo>
                    <a:pt x="3068" y="2672"/>
                  </a:lnTo>
                  <a:lnTo>
                    <a:pt x="3070" y="2677"/>
                  </a:lnTo>
                  <a:lnTo>
                    <a:pt x="3073" y="2681"/>
                  </a:lnTo>
                  <a:lnTo>
                    <a:pt x="3079" y="2685"/>
                  </a:lnTo>
                  <a:lnTo>
                    <a:pt x="3084" y="2691"/>
                  </a:lnTo>
                  <a:lnTo>
                    <a:pt x="3091" y="2695"/>
                  </a:lnTo>
                  <a:lnTo>
                    <a:pt x="3097" y="2697"/>
                  </a:lnTo>
                  <a:lnTo>
                    <a:pt x="3104" y="2699"/>
                  </a:lnTo>
                  <a:lnTo>
                    <a:pt x="3111" y="2700"/>
                  </a:lnTo>
                  <a:lnTo>
                    <a:pt x="3117" y="2700"/>
                  </a:lnTo>
                  <a:lnTo>
                    <a:pt x="3132" y="2699"/>
                  </a:lnTo>
                  <a:lnTo>
                    <a:pt x="3146" y="2698"/>
                  </a:lnTo>
                  <a:lnTo>
                    <a:pt x="3159" y="2698"/>
                  </a:lnTo>
                  <a:lnTo>
                    <a:pt x="3171" y="2699"/>
                  </a:lnTo>
                  <a:lnTo>
                    <a:pt x="3177" y="2701"/>
                  </a:lnTo>
                  <a:lnTo>
                    <a:pt x="3181" y="2703"/>
                  </a:lnTo>
                  <a:lnTo>
                    <a:pt x="3184" y="2707"/>
                  </a:lnTo>
                  <a:lnTo>
                    <a:pt x="3187" y="2713"/>
                  </a:lnTo>
                  <a:lnTo>
                    <a:pt x="3190" y="2719"/>
                  </a:lnTo>
                  <a:lnTo>
                    <a:pt x="3193" y="2724"/>
                  </a:lnTo>
                  <a:lnTo>
                    <a:pt x="3197" y="2727"/>
                  </a:lnTo>
                  <a:lnTo>
                    <a:pt x="3202" y="2729"/>
                  </a:lnTo>
                  <a:lnTo>
                    <a:pt x="3206" y="2729"/>
                  </a:lnTo>
                  <a:lnTo>
                    <a:pt x="3210" y="2729"/>
                  </a:lnTo>
                  <a:lnTo>
                    <a:pt x="3215" y="2727"/>
                  </a:lnTo>
                  <a:lnTo>
                    <a:pt x="3220" y="2726"/>
                  </a:lnTo>
                  <a:lnTo>
                    <a:pt x="3239" y="2714"/>
                  </a:lnTo>
                  <a:lnTo>
                    <a:pt x="3258" y="2702"/>
                  </a:lnTo>
                  <a:lnTo>
                    <a:pt x="3264" y="2700"/>
                  </a:lnTo>
                  <a:lnTo>
                    <a:pt x="3269" y="2696"/>
                  </a:lnTo>
                  <a:lnTo>
                    <a:pt x="3273" y="2693"/>
                  </a:lnTo>
                  <a:lnTo>
                    <a:pt x="3274" y="2690"/>
                  </a:lnTo>
                  <a:lnTo>
                    <a:pt x="3274" y="2687"/>
                  </a:lnTo>
                  <a:lnTo>
                    <a:pt x="3273" y="2682"/>
                  </a:lnTo>
                  <a:lnTo>
                    <a:pt x="3269" y="2679"/>
                  </a:lnTo>
                  <a:lnTo>
                    <a:pt x="3266" y="2676"/>
                  </a:lnTo>
                  <a:lnTo>
                    <a:pt x="3250" y="2663"/>
                  </a:lnTo>
                  <a:lnTo>
                    <a:pt x="3234" y="2651"/>
                  </a:lnTo>
                  <a:lnTo>
                    <a:pt x="3223" y="2642"/>
                  </a:lnTo>
                  <a:lnTo>
                    <a:pt x="3216" y="2633"/>
                  </a:lnTo>
                  <a:lnTo>
                    <a:pt x="3211" y="2626"/>
                  </a:lnTo>
                  <a:lnTo>
                    <a:pt x="3208" y="2620"/>
                  </a:lnTo>
                  <a:lnTo>
                    <a:pt x="3207" y="2615"/>
                  </a:lnTo>
                  <a:lnTo>
                    <a:pt x="3207" y="2609"/>
                  </a:lnTo>
                  <a:lnTo>
                    <a:pt x="3209" y="2605"/>
                  </a:lnTo>
                  <a:lnTo>
                    <a:pt x="3211" y="2602"/>
                  </a:lnTo>
                  <a:lnTo>
                    <a:pt x="3233" y="2586"/>
                  </a:lnTo>
                  <a:lnTo>
                    <a:pt x="3262" y="2564"/>
                  </a:lnTo>
                  <a:lnTo>
                    <a:pt x="3266" y="2560"/>
                  </a:lnTo>
                  <a:lnTo>
                    <a:pt x="3270" y="2556"/>
                  </a:lnTo>
                  <a:lnTo>
                    <a:pt x="3273" y="2551"/>
                  </a:lnTo>
                  <a:lnTo>
                    <a:pt x="3274" y="2548"/>
                  </a:lnTo>
                  <a:lnTo>
                    <a:pt x="3274" y="2544"/>
                  </a:lnTo>
                  <a:lnTo>
                    <a:pt x="3274" y="2539"/>
                  </a:lnTo>
                  <a:lnTo>
                    <a:pt x="3271" y="2536"/>
                  </a:lnTo>
                  <a:lnTo>
                    <a:pt x="3269" y="2533"/>
                  </a:lnTo>
                  <a:lnTo>
                    <a:pt x="3263" y="2527"/>
                  </a:lnTo>
                  <a:lnTo>
                    <a:pt x="3255" y="2521"/>
                  </a:lnTo>
                  <a:lnTo>
                    <a:pt x="3243" y="2515"/>
                  </a:lnTo>
                  <a:lnTo>
                    <a:pt x="3231" y="2511"/>
                  </a:lnTo>
                  <a:lnTo>
                    <a:pt x="3205" y="2504"/>
                  </a:lnTo>
                  <a:lnTo>
                    <a:pt x="3179" y="2497"/>
                  </a:lnTo>
                  <a:lnTo>
                    <a:pt x="3156" y="2491"/>
                  </a:lnTo>
                  <a:lnTo>
                    <a:pt x="3142" y="2487"/>
                  </a:lnTo>
                  <a:lnTo>
                    <a:pt x="3138" y="2484"/>
                  </a:lnTo>
                  <a:lnTo>
                    <a:pt x="3137" y="2481"/>
                  </a:lnTo>
                  <a:lnTo>
                    <a:pt x="3136" y="2477"/>
                  </a:lnTo>
                  <a:lnTo>
                    <a:pt x="3137" y="2472"/>
                  </a:lnTo>
                  <a:lnTo>
                    <a:pt x="3141" y="2460"/>
                  </a:lnTo>
                  <a:lnTo>
                    <a:pt x="3148" y="2448"/>
                  </a:lnTo>
                  <a:lnTo>
                    <a:pt x="3156" y="2435"/>
                  </a:lnTo>
                  <a:lnTo>
                    <a:pt x="3161" y="2424"/>
                  </a:lnTo>
                  <a:lnTo>
                    <a:pt x="3163" y="2418"/>
                  </a:lnTo>
                  <a:lnTo>
                    <a:pt x="3164" y="2413"/>
                  </a:lnTo>
                  <a:lnTo>
                    <a:pt x="3164" y="2409"/>
                  </a:lnTo>
                  <a:lnTo>
                    <a:pt x="3162" y="2406"/>
                  </a:lnTo>
                  <a:lnTo>
                    <a:pt x="3158" y="2403"/>
                  </a:lnTo>
                  <a:lnTo>
                    <a:pt x="3153" y="2401"/>
                  </a:lnTo>
                  <a:lnTo>
                    <a:pt x="3146" y="2400"/>
                  </a:lnTo>
                  <a:lnTo>
                    <a:pt x="3139" y="2399"/>
                  </a:lnTo>
                  <a:lnTo>
                    <a:pt x="3122" y="2399"/>
                  </a:lnTo>
                  <a:lnTo>
                    <a:pt x="3105" y="2399"/>
                  </a:lnTo>
                  <a:lnTo>
                    <a:pt x="3095" y="2399"/>
                  </a:lnTo>
                  <a:lnTo>
                    <a:pt x="3087" y="2399"/>
                  </a:lnTo>
                  <a:lnTo>
                    <a:pt x="3080" y="2398"/>
                  </a:lnTo>
                  <a:lnTo>
                    <a:pt x="3072" y="2395"/>
                  </a:lnTo>
                  <a:lnTo>
                    <a:pt x="3066" y="2393"/>
                  </a:lnTo>
                  <a:lnTo>
                    <a:pt x="3062" y="2389"/>
                  </a:lnTo>
                  <a:lnTo>
                    <a:pt x="3060" y="2387"/>
                  </a:lnTo>
                  <a:lnTo>
                    <a:pt x="3059" y="2385"/>
                  </a:lnTo>
                  <a:lnTo>
                    <a:pt x="3058" y="2382"/>
                  </a:lnTo>
                  <a:lnTo>
                    <a:pt x="3057" y="2379"/>
                  </a:lnTo>
                  <a:lnTo>
                    <a:pt x="3057" y="2368"/>
                  </a:lnTo>
                  <a:lnTo>
                    <a:pt x="3058" y="2359"/>
                  </a:lnTo>
                  <a:lnTo>
                    <a:pt x="3060" y="2351"/>
                  </a:lnTo>
                  <a:lnTo>
                    <a:pt x="3064" y="2343"/>
                  </a:lnTo>
                  <a:lnTo>
                    <a:pt x="3068" y="2336"/>
                  </a:lnTo>
                  <a:lnTo>
                    <a:pt x="3072" y="2329"/>
                  </a:lnTo>
                  <a:lnTo>
                    <a:pt x="3079" y="2323"/>
                  </a:lnTo>
                  <a:lnTo>
                    <a:pt x="3085" y="2317"/>
                  </a:lnTo>
                  <a:lnTo>
                    <a:pt x="3097" y="2306"/>
                  </a:lnTo>
                  <a:lnTo>
                    <a:pt x="3111" y="2295"/>
                  </a:lnTo>
                  <a:lnTo>
                    <a:pt x="3118" y="2289"/>
                  </a:lnTo>
                  <a:lnTo>
                    <a:pt x="3124" y="2283"/>
                  </a:lnTo>
                  <a:lnTo>
                    <a:pt x="3130" y="2277"/>
                  </a:lnTo>
                  <a:lnTo>
                    <a:pt x="3135" y="2269"/>
                  </a:lnTo>
                  <a:lnTo>
                    <a:pt x="3141" y="2259"/>
                  </a:lnTo>
                  <a:lnTo>
                    <a:pt x="3151" y="2246"/>
                  </a:lnTo>
                  <a:lnTo>
                    <a:pt x="3163" y="2231"/>
                  </a:lnTo>
                  <a:lnTo>
                    <a:pt x="3177" y="2215"/>
                  </a:lnTo>
                  <a:lnTo>
                    <a:pt x="3188" y="2199"/>
                  </a:lnTo>
                  <a:lnTo>
                    <a:pt x="3196" y="2185"/>
                  </a:lnTo>
                  <a:lnTo>
                    <a:pt x="3200" y="2178"/>
                  </a:lnTo>
                  <a:lnTo>
                    <a:pt x="3202" y="2173"/>
                  </a:lnTo>
                  <a:lnTo>
                    <a:pt x="3201" y="2168"/>
                  </a:lnTo>
                  <a:lnTo>
                    <a:pt x="3200" y="2165"/>
                  </a:lnTo>
                  <a:lnTo>
                    <a:pt x="3196" y="2162"/>
                  </a:lnTo>
                  <a:lnTo>
                    <a:pt x="3193" y="2160"/>
                  </a:lnTo>
                  <a:lnTo>
                    <a:pt x="3190" y="2159"/>
                  </a:lnTo>
                  <a:lnTo>
                    <a:pt x="3187" y="2158"/>
                  </a:lnTo>
                  <a:lnTo>
                    <a:pt x="3180" y="2158"/>
                  </a:lnTo>
                  <a:lnTo>
                    <a:pt x="3171" y="2159"/>
                  </a:lnTo>
                  <a:lnTo>
                    <a:pt x="3163" y="2161"/>
                  </a:lnTo>
                  <a:lnTo>
                    <a:pt x="3154" y="2164"/>
                  </a:lnTo>
                  <a:lnTo>
                    <a:pt x="3144" y="2168"/>
                  </a:lnTo>
                  <a:lnTo>
                    <a:pt x="3135" y="2173"/>
                  </a:lnTo>
                  <a:lnTo>
                    <a:pt x="3115" y="2183"/>
                  </a:lnTo>
                  <a:lnTo>
                    <a:pt x="3096" y="2191"/>
                  </a:lnTo>
                  <a:lnTo>
                    <a:pt x="3087" y="2194"/>
                  </a:lnTo>
                  <a:lnTo>
                    <a:pt x="3079" y="2196"/>
                  </a:lnTo>
                  <a:lnTo>
                    <a:pt x="3070" y="2196"/>
                  </a:lnTo>
                  <a:lnTo>
                    <a:pt x="3063" y="2195"/>
                  </a:lnTo>
                  <a:lnTo>
                    <a:pt x="3062" y="2188"/>
                  </a:lnTo>
                  <a:lnTo>
                    <a:pt x="3062" y="2182"/>
                  </a:lnTo>
                  <a:lnTo>
                    <a:pt x="3062" y="2176"/>
                  </a:lnTo>
                  <a:lnTo>
                    <a:pt x="3064" y="2171"/>
                  </a:lnTo>
                  <a:lnTo>
                    <a:pt x="3067" y="2166"/>
                  </a:lnTo>
                  <a:lnTo>
                    <a:pt x="3070" y="2162"/>
                  </a:lnTo>
                  <a:lnTo>
                    <a:pt x="3073" y="2158"/>
                  </a:lnTo>
                  <a:lnTo>
                    <a:pt x="3079" y="2154"/>
                  </a:lnTo>
                  <a:lnTo>
                    <a:pt x="3088" y="2148"/>
                  </a:lnTo>
                  <a:lnTo>
                    <a:pt x="3099" y="2144"/>
                  </a:lnTo>
                  <a:lnTo>
                    <a:pt x="3112" y="2142"/>
                  </a:lnTo>
                  <a:lnTo>
                    <a:pt x="3123" y="2141"/>
                  </a:lnTo>
                  <a:lnTo>
                    <a:pt x="3133" y="2140"/>
                  </a:lnTo>
                  <a:lnTo>
                    <a:pt x="3140" y="2139"/>
                  </a:lnTo>
                  <a:lnTo>
                    <a:pt x="3145" y="2136"/>
                  </a:lnTo>
                  <a:lnTo>
                    <a:pt x="3148" y="2132"/>
                  </a:lnTo>
                  <a:lnTo>
                    <a:pt x="3149" y="2126"/>
                  </a:lnTo>
                  <a:lnTo>
                    <a:pt x="3149" y="2121"/>
                  </a:lnTo>
                  <a:lnTo>
                    <a:pt x="3148" y="2115"/>
                  </a:lnTo>
                  <a:lnTo>
                    <a:pt x="3147" y="2108"/>
                  </a:lnTo>
                  <a:lnTo>
                    <a:pt x="3134" y="2080"/>
                  </a:lnTo>
                  <a:lnTo>
                    <a:pt x="3121" y="2057"/>
                  </a:lnTo>
                  <a:lnTo>
                    <a:pt x="3120" y="2053"/>
                  </a:lnTo>
                  <a:lnTo>
                    <a:pt x="3120" y="2050"/>
                  </a:lnTo>
                  <a:lnTo>
                    <a:pt x="3122" y="2048"/>
                  </a:lnTo>
                  <a:lnTo>
                    <a:pt x="3124" y="2046"/>
                  </a:lnTo>
                  <a:lnTo>
                    <a:pt x="3127" y="2045"/>
                  </a:lnTo>
                  <a:lnTo>
                    <a:pt x="3129" y="2045"/>
                  </a:lnTo>
                  <a:lnTo>
                    <a:pt x="3131" y="2045"/>
                  </a:lnTo>
                  <a:lnTo>
                    <a:pt x="3133" y="2046"/>
                  </a:lnTo>
                  <a:lnTo>
                    <a:pt x="3143" y="2047"/>
                  </a:lnTo>
                  <a:lnTo>
                    <a:pt x="3155" y="2049"/>
                  </a:lnTo>
                  <a:lnTo>
                    <a:pt x="3166" y="2052"/>
                  </a:lnTo>
                  <a:lnTo>
                    <a:pt x="3179" y="2056"/>
                  </a:lnTo>
                  <a:lnTo>
                    <a:pt x="3202" y="2065"/>
                  </a:lnTo>
                  <a:lnTo>
                    <a:pt x="3225" y="2071"/>
                  </a:lnTo>
                  <a:lnTo>
                    <a:pt x="3236" y="2073"/>
                  </a:lnTo>
                  <a:lnTo>
                    <a:pt x="3249" y="2074"/>
                  </a:lnTo>
                  <a:lnTo>
                    <a:pt x="3261" y="2074"/>
                  </a:lnTo>
                  <a:lnTo>
                    <a:pt x="3275" y="2074"/>
                  </a:lnTo>
                  <a:lnTo>
                    <a:pt x="3288" y="2074"/>
                  </a:lnTo>
                  <a:lnTo>
                    <a:pt x="3301" y="2074"/>
                  </a:lnTo>
                  <a:lnTo>
                    <a:pt x="3314" y="2074"/>
                  </a:lnTo>
                  <a:lnTo>
                    <a:pt x="3327" y="2075"/>
                  </a:lnTo>
                  <a:lnTo>
                    <a:pt x="3339" y="2078"/>
                  </a:lnTo>
                  <a:lnTo>
                    <a:pt x="3350" y="2081"/>
                  </a:lnTo>
                  <a:lnTo>
                    <a:pt x="3358" y="2087"/>
                  </a:lnTo>
                  <a:lnTo>
                    <a:pt x="3366" y="2091"/>
                  </a:lnTo>
                  <a:lnTo>
                    <a:pt x="3375" y="2096"/>
                  </a:lnTo>
                  <a:lnTo>
                    <a:pt x="3382" y="2101"/>
                  </a:lnTo>
                  <a:lnTo>
                    <a:pt x="3391" y="2106"/>
                  </a:lnTo>
                  <a:lnTo>
                    <a:pt x="3402" y="2112"/>
                  </a:lnTo>
                  <a:lnTo>
                    <a:pt x="3410" y="2114"/>
                  </a:lnTo>
                  <a:lnTo>
                    <a:pt x="3418" y="2116"/>
                  </a:lnTo>
                  <a:lnTo>
                    <a:pt x="3425" y="2116"/>
                  </a:lnTo>
                  <a:lnTo>
                    <a:pt x="3431" y="2115"/>
                  </a:lnTo>
                  <a:lnTo>
                    <a:pt x="3436" y="2113"/>
                  </a:lnTo>
                  <a:lnTo>
                    <a:pt x="3441" y="2110"/>
                  </a:lnTo>
                  <a:lnTo>
                    <a:pt x="3446" y="2106"/>
                  </a:lnTo>
                  <a:lnTo>
                    <a:pt x="3449" y="2101"/>
                  </a:lnTo>
                  <a:lnTo>
                    <a:pt x="3451" y="2096"/>
                  </a:lnTo>
                  <a:lnTo>
                    <a:pt x="3453" y="2091"/>
                  </a:lnTo>
                  <a:lnTo>
                    <a:pt x="3455" y="2085"/>
                  </a:lnTo>
                  <a:lnTo>
                    <a:pt x="3455" y="2078"/>
                  </a:lnTo>
                  <a:lnTo>
                    <a:pt x="3456" y="2071"/>
                  </a:lnTo>
                  <a:lnTo>
                    <a:pt x="3455" y="2065"/>
                  </a:lnTo>
                  <a:lnTo>
                    <a:pt x="3454" y="2057"/>
                  </a:lnTo>
                  <a:lnTo>
                    <a:pt x="3453" y="2050"/>
                  </a:lnTo>
                  <a:lnTo>
                    <a:pt x="3450" y="2042"/>
                  </a:lnTo>
                  <a:lnTo>
                    <a:pt x="3447" y="2033"/>
                  </a:lnTo>
                  <a:lnTo>
                    <a:pt x="3442" y="2025"/>
                  </a:lnTo>
                  <a:lnTo>
                    <a:pt x="3438" y="2018"/>
                  </a:lnTo>
                  <a:lnTo>
                    <a:pt x="3428" y="2004"/>
                  </a:lnTo>
                  <a:lnTo>
                    <a:pt x="3417" y="1990"/>
                  </a:lnTo>
                  <a:lnTo>
                    <a:pt x="3408" y="1976"/>
                  </a:lnTo>
                  <a:lnTo>
                    <a:pt x="3400" y="1960"/>
                  </a:lnTo>
                  <a:lnTo>
                    <a:pt x="3397" y="1952"/>
                  </a:lnTo>
                  <a:lnTo>
                    <a:pt x="3394" y="1943"/>
                  </a:lnTo>
                  <a:lnTo>
                    <a:pt x="3393" y="1933"/>
                  </a:lnTo>
                  <a:lnTo>
                    <a:pt x="3393" y="1923"/>
                  </a:lnTo>
                  <a:lnTo>
                    <a:pt x="3394" y="1913"/>
                  </a:lnTo>
                  <a:lnTo>
                    <a:pt x="3398" y="1904"/>
                  </a:lnTo>
                  <a:lnTo>
                    <a:pt x="3402" y="1896"/>
                  </a:lnTo>
                  <a:lnTo>
                    <a:pt x="3408" y="1886"/>
                  </a:lnTo>
                  <a:lnTo>
                    <a:pt x="3420" y="1869"/>
                  </a:lnTo>
                  <a:lnTo>
                    <a:pt x="3430" y="1852"/>
                  </a:lnTo>
                  <a:lnTo>
                    <a:pt x="3434" y="1844"/>
                  </a:lnTo>
                  <a:lnTo>
                    <a:pt x="3437" y="1834"/>
                  </a:lnTo>
                  <a:lnTo>
                    <a:pt x="3437" y="1830"/>
                  </a:lnTo>
                  <a:lnTo>
                    <a:pt x="3438" y="1826"/>
                  </a:lnTo>
                  <a:lnTo>
                    <a:pt x="3437" y="1822"/>
                  </a:lnTo>
                  <a:lnTo>
                    <a:pt x="3436" y="1817"/>
                  </a:lnTo>
                  <a:lnTo>
                    <a:pt x="3435" y="1813"/>
                  </a:lnTo>
                  <a:lnTo>
                    <a:pt x="3433" y="1808"/>
                  </a:lnTo>
                  <a:lnTo>
                    <a:pt x="3430" y="1804"/>
                  </a:lnTo>
                  <a:lnTo>
                    <a:pt x="3426" y="1800"/>
                  </a:lnTo>
                  <a:lnTo>
                    <a:pt x="3422" y="1795"/>
                  </a:lnTo>
                  <a:lnTo>
                    <a:pt x="3416" y="1790"/>
                  </a:lnTo>
                  <a:lnTo>
                    <a:pt x="3410" y="1785"/>
                  </a:lnTo>
                  <a:lnTo>
                    <a:pt x="3403" y="1780"/>
                  </a:lnTo>
                  <a:lnTo>
                    <a:pt x="3397" y="1777"/>
                  </a:lnTo>
                  <a:lnTo>
                    <a:pt x="3389" y="1775"/>
                  </a:lnTo>
                  <a:lnTo>
                    <a:pt x="3384" y="1774"/>
                  </a:lnTo>
                  <a:lnTo>
                    <a:pt x="3378" y="1774"/>
                  </a:lnTo>
                  <a:lnTo>
                    <a:pt x="3366" y="1776"/>
                  </a:lnTo>
                  <a:lnTo>
                    <a:pt x="3356" y="1780"/>
                  </a:lnTo>
                  <a:lnTo>
                    <a:pt x="3347" y="1784"/>
                  </a:lnTo>
                  <a:lnTo>
                    <a:pt x="3336" y="1788"/>
                  </a:lnTo>
                  <a:lnTo>
                    <a:pt x="3331" y="1789"/>
                  </a:lnTo>
                  <a:lnTo>
                    <a:pt x="3326" y="1790"/>
                  </a:lnTo>
                  <a:lnTo>
                    <a:pt x="3320" y="1790"/>
                  </a:lnTo>
                  <a:lnTo>
                    <a:pt x="3315" y="1789"/>
                  </a:lnTo>
                  <a:lnTo>
                    <a:pt x="3312" y="1770"/>
                  </a:lnTo>
                  <a:lnTo>
                    <a:pt x="3310" y="1751"/>
                  </a:lnTo>
                  <a:lnTo>
                    <a:pt x="3308" y="1741"/>
                  </a:lnTo>
                  <a:lnTo>
                    <a:pt x="3304" y="1734"/>
                  </a:lnTo>
                  <a:lnTo>
                    <a:pt x="3301" y="1730"/>
                  </a:lnTo>
                  <a:lnTo>
                    <a:pt x="3298" y="1727"/>
                  </a:lnTo>
                  <a:lnTo>
                    <a:pt x="3293" y="1724"/>
                  </a:lnTo>
                  <a:lnTo>
                    <a:pt x="3288" y="1722"/>
                  </a:lnTo>
                  <a:lnTo>
                    <a:pt x="3275" y="1715"/>
                  </a:lnTo>
                  <a:lnTo>
                    <a:pt x="3265" y="1708"/>
                  </a:lnTo>
                  <a:lnTo>
                    <a:pt x="3258" y="1701"/>
                  </a:lnTo>
                  <a:lnTo>
                    <a:pt x="3252" y="1692"/>
                  </a:lnTo>
                  <a:lnTo>
                    <a:pt x="3242" y="1674"/>
                  </a:lnTo>
                  <a:lnTo>
                    <a:pt x="3229" y="1652"/>
                  </a:lnTo>
                  <a:lnTo>
                    <a:pt x="3225" y="1647"/>
                  </a:lnTo>
                  <a:lnTo>
                    <a:pt x="3220" y="1643"/>
                  </a:lnTo>
                  <a:lnTo>
                    <a:pt x="3216" y="1641"/>
                  </a:lnTo>
                  <a:lnTo>
                    <a:pt x="3213" y="1640"/>
                  </a:lnTo>
                  <a:lnTo>
                    <a:pt x="3209" y="1639"/>
                  </a:lnTo>
                  <a:lnTo>
                    <a:pt x="3205" y="1639"/>
                  </a:lnTo>
                  <a:lnTo>
                    <a:pt x="3202" y="1640"/>
                  </a:lnTo>
                  <a:lnTo>
                    <a:pt x="3197" y="1642"/>
                  </a:lnTo>
                  <a:lnTo>
                    <a:pt x="3190" y="1648"/>
                  </a:lnTo>
                  <a:lnTo>
                    <a:pt x="3183" y="1656"/>
                  </a:lnTo>
                  <a:lnTo>
                    <a:pt x="3177" y="1666"/>
                  </a:lnTo>
                  <a:lnTo>
                    <a:pt x="3170" y="1678"/>
                  </a:lnTo>
                  <a:lnTo>
                    <a:pt x="3164" y="1690"/>
                  </a:lnTo>
                  <a:lnTo>
                    <a:pt x="3159" y="1704"/>
                  </a:lnTo>
                  <a:lnTo>
                    <a:pt x="3154" y="1717"/>
                  </a:lnTo>
                  <a:lnTo>
                    <a:pt x="3151" y="1730"/>
                  </a:lnTo>
                  <a:lnTo>
                    <a:pt x="3146" y="1742"/>
                  </a:lnTo>
                  <a:lnTo>
                    <a:pt x="3144" y="1754"/>
                  </a:lnTo>
                  <a:lnTo>
                    <a:pt x="3143" y="1763"/>
                  </a:lnTo>
                  <a:lnTo>
                    <a:pt x="3142" y="1771"/>
                  </a:lnTo>
                  <a:lnTo>
                    <a:pt x="3143" y="1778"/>
                  </a:lnTo>
                  <a:lnTo>
                    <a:pt x="3144" y="1785"/>
                  </a:lnTo>
                  <a:lnTo>
                    <a:pt x="3146" y="1791"/>
                  </a:lnTo>
                  <a:lnTo>
                    <a:pt x="3148" y="1798"/>
                  </a:lnTo>
                  <a:lnTo>
                    <a:pt x="3152" y="1803"/>
                  </a:lnTo>
                  <a:lnTo>
                    <a:pt x="3156" y="1807"/>
                  </a:lnTo>
                  <a:lnTo>
                    <a:pt x="3160" y="1812"/>
                  </a:lnTo>
                  <a:lnTo>
                    <a:pt x="3164" y="1816"/>
                  </a:lnTo>
                  <a:lnTo>
                    <a:pt x="3186" y="1831"/>
                  </a:lnTo>
                  <a:lnTo>
                    <a:pt x="3208" y="1847"/>
                  </a:lnTo>
                  <a:lnTo>
                    <a:pt x="3211" y="1854"/>
                  </a:lnTo>
                  <a:lnTo>
                    <a:pt x="3215" y="1870"/>
                  </a:lnTo>
                  <a:lnTo>
                    <a:pt x="3219" y="1891"/>
                  </a:lnTo>
                  <a:lnTo>
                    <a:pt x="3223" y="1915"/>
                  </a:lnTo>
                  <a:lnTo>
                    <a:pt x="3227" y="1939"/>
                  </a:lnTo>
                  <a:lnTo>
                    <a:pt x="3229" y="1960"/>
                  </a:lnTo>
                  <a:lnTo>
                    <a:pt x="3230" y="1978"/>
                  </a:lnTo>
                  <a:lnTo>
                    <a:pt x="3229" y="1988"/>
                  </a:lnTo>
                  <a:lnTo>
                    <a:pt x="3226" y="1998"/>
                  </a:lnTo>
                  <a:lnTo>
                    <a:pt x="3221" y="2005"/>
                  </a:lnTo>
                  <a:lnTo>
                    <a:pt x="3217" y="2013"/>
                  </a:lnTo>
                  <a:lnTo>
                    <a:pt x="3213" y="2018"/>
                  </a:lnTo>
                  <a:lnTo>
                    <a:pt x="3209" y="2021"/>
                  </a:lnTo>
                  <a:lnTo>
                    <a:pt x="3205" y="2024"/>
                  </a:lnTo>
                  <a:lnTo>
                    <a:pt x="3200" y="2025"/>
                  </a:lnTo>
                  <a:lnTo>
                    <a:pt x="3195" y="2025"/>
                  </a:lnTo>
                  <a:lnTo>
                    <a:pt x="3191" y="2025"/>
                  </a:lnTo>
                  <a:lnTo>
                    <a:pt x="3187" y="2023"/>
                  </a:lnTo>
                  <a:lnTo>
                    <a:pt x="3183" y="2021"/>
                  </a:lnTo>
                  <a:lnTo>
                    <a:pt x="3179" y="2017"/>
                  </a:lnTo>
                  <a:lnTo>
                    <a:pt x="3170" y="2008"/>
                  </a:lnTo>
                  <a:lnTo>
                    <a:pt x="3163" y="1997"/>
                  </a:lnTo>
                  <a:lnTo>
                    <a:pt x="3155" y="1984"/>
                  </a:lnTo>
                  <a:lnTo>
                    <a:pt x="3148" y="1971"/>
                  </a:lnTo>
                  <a:lnTo>
                    <a:pt x="3141" y="1956"/>
                  </a:lnTo>
                  <a:lnTo>
                    <a:pt x="3136" y="1943"/>
                  </a:lnTo>
                  <a:lnTo>
                    <a:pt x="3127" y="1917"/>
                  </a:lnTo>
                  <a:lnTo>
                    <a:pt x="3121" y="1899"/>
                  </a:lnTo>
                  <a:lnTo>
                    <a:pt x="3118" y="1887"/>
                  </a:lnTo>
                  <a:lnTo>
                    <a:pt x="3115" y="1876"/>
                  </a:lnTo>
                  <a:lnTo>
                    <a:pt x="3111" y="1864"/>
                  </a:lnTo>
                  <a:lnTo>
                    <a:pt x="3106" y="1854"/>
                  </a:lnTo>
                  <a:lnTo>
                    <a:pt x="3100" y="1843"/>
                  </a:lnTo>
                  <a:lnTo>
                    <a:pt x="3094" y="1832"/>
                  </a:lnTo>
                  <a:lnTo>
                    <a:pt x="3088" y="1823"/>
                  </a:lnTo>
                  <a:lnTo>
                    <a:pt x="3081" y="1813"/>
                  </a:lnTo>
                  <a:lnTo>
                    <a:pt x="3072" y="1805"/>
                  </a:lnTo>
                  <a:lnTo>
                    <a:pt x="3064" y="1798"/>
                  </a:lnTo>
                  <a:lnTo>
                    <a:pt x="3055" y="1791"/>
                  </a:lnTo>
                  <a:lnTo>
                    <a:pt x="3044" y="1786"/>
                  </a:lnTo>
                  <a:lnTo>
                    <a:pt x="3034" y="1782"/>
                  </a:lnTo>
                  <a:lnTo>
                    <a:pt x="3022" y="1780"/>
                  </a:lnTo>
                  <a:lnTo>
                    <a:pt x="3011" y="1779"/>
                  </a:lnTo>
                  <a:lnTo>
                    <a:pt x="2997" y="1779"/>
                  </a:lnTo>
                  <a:lnTo>
                    <a:pt x="2990" y="1780"/>
                  </a:lnTo>
                  <a:lnTo>
                    <a:pt x="2982" y="1780"/>
                  </a:lnTo>
                  <a:lnTo>
                    <a:pt x="2973" y="1779"/>
                  </a:lnTo>
                  <a:lnTo>
                    <a:pt x="2966" y="1778"/>
                  </a:lnTo>
                  <a:lnTo>
                    <a:pt x="2959" y="1776"/>
                  </a:lnTo>
                  <a:lnTo>
                    <a:pt x="2952" y="1772"/>
                  </a:lnTo>
                  <a:lnTo>
                    <a:pt x="2946" y="1766"/>
                  </a:lnTo>
                  <a:lnTo>
                    <a:pt x="2940" y="1760"/>
                  </a:lnTo>
                  <a:lnTo>
                    <a:pt x="2935" y="1752"/>
                  </a:lnTo>
                  <a:lnTo>
                    <a:pt x="2932" y="1742"/>
                  </a:lnTo>
                  <a:lnTo>
                    <a:pt x="2931" y="1734"/>
                  </a:lnTo>
                  <a:lnTo>
                    <a:pt x="2929" y="1726"/>
                  </a:lnTo>
                  <a:lnTo>
                    <a:pt x="2932" y="1710"/>
                  </a:lnTo>
                  <a:lnTo>
                    <a:pt x="2934" y="1695"/>
                  </a:lnTo>
                  <a:lnTo>
                    <a:pt x="2934" y="1689"/>
                  </a:lnTo>
                  <a:lnTo>
                    <a:pt x="2933" y="1683"/>
                  </a:lnTo>
                  <a:lnTo>
                    <a:pt x="2931" y="1678"/>
                  </a:lnTo>
                  <a:lnTo>
                    <a:pt x="2927" y="1672"/>
                  </a:lnTo>
                  <a:lnTo>
                    <a:pt x="2921" y="1667"/>
                  </a:lnTo>
                  <a:lnTo>
                    <a:pt x="2914" y="1663"/>
                  </a:lnTo>
                  <a:lnTo>
                    <a:pt x="2902" y="1660"/>
                  </a:lnTo>
                  <a:lnTo>
                    <a:pt x="2888" y="1657"/>
                  </a:lnTo>
                  <a:lnTo>
                    <a:pt x="2884" y="1659"/>
                  </a:lnTo>
                  <a:lnTo>
                    <a:pt x="2879" y="1660"/>
                  </a:lnTo>
                  <a:lnTo>
                    <a:pt x="2873" y="1661"/>
                  </a:lnTo>
                  <a:lnTo>
                    <a:pt x="2867" y="1661"/>
                  </a:lnTo>
                  <a:lnTo>
                    <a:pt x="2861" y="1662"/>
                  </a:lnTo>
                  <a:lnTo>
                    <a:pt x="2854" y="1663"/>
                  </a:lnTo>
                  <a:lnTo>
                    <a:pt x="2849" y="1664"/>
                  </a:lnTo>
                  <a:lnTo>
                    <a:pt x="2844" y="1666"/>
                  </a:lnTo>
                  <a:lnTo>
                    <a:pt x="2784" y="1698"/>
                  </a:lnTo>
                  <a:lnTo>
                    <a:pt x="2774" y="1703"/>
                  </a:lnTo>
                  <a:lnTo>
                    <a:pt x="2765" y="1706"/>
                  </a:lnTo>
                  <a:lnTo>
                    <a:pt x="2756" y="1708"/>
                  </a:lnTo>
                  <a:lnTo>
                    <a:pt x="2749" y="1709"/>
                  </a:lnTo>
                  <a:lnTo>
                    <a:pt x="2743" y="1709"/>
                  </a:lnTo>
                  <a:lnTo>
                    <a:pt x="2736" y="1708"/>
                  </a:lnTo>
                  <a:lnTo>
                    <a:pt x="2729" y="1706"/>
                  </a:lnTo>
                  <a:lnTo>
                    <a:pt x="2723" y="1704"/>
                  </a:lnTo>
                  <a:lnTo>
                    <a:pt x="2699" y="1688"/>
                  </a:lnTo>
                  <a:lnTo>
                    <a:pt x="2670" y="1670"/>
                  </a:lnTo>
                  <a:lnTo>
                    <a:pt x="2664" y="1667"/>
                  </a:lnTo>
                  <a:lnTo>
                    <a:pt x="2656" y="1665"/>
                  </a:lnTo>
                  <a:lnTo>
                    <a:pt x="2650" y="1665"/>
                  </a:lnTo>
                  <a:lnTo>
                    <a:pt x="2643" y="1665"/>
                  </a:lnTo>
                  <a:lnTo>
                    <a:pt x="2636" y="1666"/>
                  </a:lnTo>
                  <a:lnTo>
                    <a:pt x="2630" y="1668"/>
                  </a:lnTo>
                  <a:lnTo>
                    <a:pt x="2624" y="1671"/>
                  </a:lnTo>
                  <a:lnTo>
                    <a:pt x="2618" y="1676"/>
                  </a:lnTo>
                  <a:lnTo>
                    <a:pt x="2611" y="1680"/>
                  </a:lnTo>
                  <a:lnTo>
                    <a:pt x="2605" y="1685"/>
                  </a:lnTo>
                  <a:lnTo>
                    <a:pt x="2600" y="1691"/>
                  </a:lnTo>
                  <a:lnTo>
                    <a:pt x="2594" y="1698"/>
                  </a:lnTo>
                  <a:lnTo>
                    <a:pt x="2583" y="1712"/>
                  </a:lnTo>
                  <a:lnTo>
                    <a:pt x="2574" y="1728"/>
                  </a:lnTo>
                  <a:lnTo>
                    <a:pt x="2565" y="1744"/>
                  </a:lnTo>
                  <a:lnTo>
                    <a:pt x="2556" y="1762"/>
                  </a:lnTo>
                  <a:lnTo>
                    <a:pt x="2549" y="1780"/>
                  </a:lnTo>
                  <a:lnTo>
                    <a:pt x="2543" y="1797"/>
                  </a:lnTo>
                  <a:lnTo>
                    <a:pt x="2537" y="1813"/>
                  </a:lnTo>
                  <a:lnTo>
                    <a:pt x="2533" y="1829"/>
                  </a:lnTo>
                  <a:lnTo>
                    <a:pt x="2530" y="1843"/>
                  </a:lnTo>
                  <a:lnTo>
                    <a:pt x="2528" y="1854"/>
                  </a:lnTo>
                  <a:lnTo>
                    <a:pt x="2527" y="1871"/>
                  </a:lnTo>
                  <a:lnTo>
                    <a:pt x="2526" y="1889"/>
                  </a:lnTo>
                  <a:lnTo>
                    <a:pt x="2525" y="1908"/>
                  </a:lnTo>
                  <a:lnTo>
                    <a:pt x="2521" y="1925"/>
                  </a:lnTo>
                  <a:lnTo>
                    <a:pt x="2519" y="1933"/>
                  </a:lnTo>
                  <a:lnTo>
                    <a:pt x="2514" y="1940"/>
                  </a:lnTo>
                  <a:lnTo>
                    <a:pt x="2510" y="1945"/>
                  </a:lnTo>
                  <a:lnTo>
                    <a:pt x="2505" y="1950"/>
                  </a:lnTo>
                  <a:lnTo>
                    <a:pt x="2498" y="1953"/>
                  </a:lnTo>
                  <a:lnTo>
                    <a:pt x="2489" y="1954"/>
                  </a:lnTo>
                  <a:lnTo>
                    <a:pt x="2479" y="1954"/>
                  </a:lnTo>
                  <a:lnTo>
                    <a:pt x="2468" y="1951"/>
                  </a:lnTo>
                  <a:lnTo>
                    <a:pt x="2458" y="1948"/>
                  </a:lnTo>
                  <a:lnTo>
                    <a:pt x="2449" y="1943"/>
                  </a:lnTo>
                  <a:lnTo>
                    <a:pt x="2440" y="1936"/>
                  </a:lnTo>
                  <a:lnTo>
                    <a:pt x="2432" y="1929"/>
                  </a:lnTo>
                  <a:lnTo>
                    <a:pt x="2416" y="1913"/>
                  </a:lnTo>
                  <a:lnTo>
                    <a:pt x="2401" y="1897"/>
                  </a:lnTo>
                  <a:lnTo>
                    <a:pt x="2393" y="1889"/>
                  </a:lnTo>
                  <a:lnTo>
                    <a:pt x="2384" y="1882"/>
                  </a:lnTo>
                  <a:lnTo>
                    <a:pt x="2375" y="1876"/>
                  </a:lnTo>
                  <a:lnTo>
                    <a:pt x="2365" y="1871"/>
                  </a:lnTo>
                  <a:lnTo>
                    <a:pt x="2355" y="1868"/>
                  </a:lnTo>
                  <a:lnTo>
                    <a:pt x="2344" y="1867"/>
                  </a:lnTo>
                  <a:lnTo>
                    <a:pt x="2338" y="1867"/>
                  </a:lnTo>
                  <a:lnTo>
                    <a:pt x="2332" y="1867"/>
                  </a:lnTo>
                  <a:lnTo>
                    <a:pt x="2325" y="1868"/>
                  </a:lnTo>
                  <a:lnTo>
                    <a:pt x="2318" y="1870"/>
                  </a:lnTo>
                  <a:lnTo>
                    <a:pt x="2297" y="1875"/>
                  </a:lnTo>
                  <a:lnTo>
                    <a:pt x="2279" y="1878"/>
                  </a:lnTo>
                  <a:lnTo>
                    <a:pt x="2264" y="1879"/>
                  </a:lnTo>
                  <a:lnTo>
                    <a:pt x="2252" y="1879"/>
                  </a:lnTo>
                  <a:lnTo>
                    <a:pt x="2226" y="1874"/>
                  </a:lnTo>
                  <a:lnTo>
                    <a:pt x="2188" y="1868"/>
                  </a:lnTo>
                  <a:lnTo>
                    <a:pt x="2160" y="1863"/>
                  </a:lnTo>
                  <a:lnTo>
                    <a:pt x="2138" y="1858"/>
                  </a:lnTo>
                  <a:lnTo>
                    <a:pt x="2130" y="1855"/>
                  </a:lnTo>
                  <a:lnTo>
                    <a:pt x="2122" y="1853"/>
                  </a:lnTo>
                  <a:lnTo>
                    <a:pt x="2116" y="1849"/>
                  </a:lnTo>
                  <a:lnTo>
                    <a:pt x="2112" y="1846"/>
                  </a:lnTo>
                  <a:lnTo>
                    <a:pt x="2108" y="1843"/>
                  </a:lnTo>
                  <a:lnTo>
                    <a:pt x="2106" y="1838"/>
                  </a:lnTo>
                  <a:lnTo>
                    <a:pt x="2104" y="1834"/>
                  </a:lnTo>
                  <a:lnTo>
                    <a:pt x="2103" y="1830"/>
                  </a:lnTo>
                  <a:lnTo>
                    <a:pt x="2103" y="1826"/>
                  </a:lnTo>
                  <a:lnTo>
                    <a:pt x="2104" y="1822"/>
                  </a:lnTo>
                  <a:lnTo>
                    <a:pt x="2105" y="1816"/>
                  </a:lnTo>
                  <a:lnTo>
                    <a:pt x="2107" y="1811"/>
                  </a:lnTo>
                  <a:lnTo>
                    <a:pt x="2117" y="1790"/>
                  </a:lnTo>
                  <a:lnTo>
                    <a:pt x="2129" y="1765"/>
                  </a:lnTo>
                  <a:lnTo>
                    <a:pt x="2134" y="1752"/>
                  </a:lnTo>
                  <a:lnTo>
                    <a:pt x="2137" y="1737"/>
                  </a:lnTo>
                  <a:lnTo>
                    <a:pt x="2138" y="1730"/>
                  </a:lnTo>
                  <a:lnTo>
                    <a:pt x="2138" y="1723"/>
                  </a:lnTo>
                  <a:lnTo>
                    <a:pt x="2137" y="1714"/>
                  </a:lnTo>
                  <a:lnTo>
                    <a:pt x="2135" y="1707"/>
                  </a:lnTo>
                  <a:lnTo>
                    <a:pt x="2111" y="1707"/>
                  </a:lnTo>
                  <a:lnTo>
                    <a:pt x="2081" y="1705"/>
                  </a:lnTo>
                  <a:lnTo>
                    <a:pt x="2073" y="1704"/>
                  </a:lnTo>
                  <a:lnTo>
                    <a:pt x="2066" y="1702"/>
                  </a:lnTo>
                  <a:lnTo>
                    <a:pt x="2060" y="1700"/>
                  </a:lnTo>
                  <a:lnTo>
                    <a:pt x="2054" y="1696"/>
                  </a:lnTo>
                  <a:lnTo>
                    <a:pt x="2049" y="1693"/>
                  </a:lnTo>
                  <a:lnTo>
                    <a:pt x="2044" y="1689"/>
                  </a:lnTo>
                  <a:lnTo>
                    <a:pt x="2041" y="1684"/>
                  </a:lnTo>
                  <a:lnTo>
                    <a:pt x="2039" y="1679"/>
                  </a:lnTo>
                  <a:lnTo>
                    <a:pt x="2037" y="1670"/>
                  </a:lnTo>
                  <a:lnTo>
                    <a:pt x="2034" y="1664"/>
                  </a:lnTo>
                  <a:lnTo>
                    <a:pt x="2031" y="1660"/>
                  </a:lnTo>
                  <a:lnTo>
                    <a:pt x="2028" y="1658"/>
                  </a:lnTo>
                  <a:lnTo>
                    <a:pt x="2024" y="1658"/>
                  </a:lnTo>
                  <a:lnTo>
                    <a:pt x="2021" y="1658"/>
                  </a:lnTo>
                  <a:lnTo>
                    <a:pt x="2017" y="1659"/>
                  </a:lnTo>
                  <a:lnTo>
                    <a:pt x="2014" y="1661"/>
                  </a:lnTo>
                  <a:lnTo>
                    <a:pt x="2010" y="1662"/>
                  </a:lnTo>
                  <a:lnTo>
                    <a:pt x="2007" y="1662"/>
                  </a:lnTo>
                  <a:lnTo>
                    <a:pt x="2003" y="1662"/>
                  </a:lnTo>
                  <a:lnTo>
                    <a:pt x="1999" y="1660"/>
                  </a:lnTo>
                  <a:lnTo>
                    <a:pt x="1995" y="1657"/>
                  </a:lnTo>
                  <a:lnTo>
                    <a:pt x="1992" y="1652"/>
                  </a:lnTo>
                  <a:lnTo>
                    <a:pt x="1989" y="1643"/>
                  </a:lnTo>
                  <a:lnTo>
                    <a:pt x="1987" y="1633"/>
                  </a:lnTo>
                  <a:lnTo>
                    <a:pt x="1985" y="1616"/>
                  </a:lnTo>
                  <a:lnTo>
                    <a:pt x="1982" y="1602"/>
                  </a:lnTo>
                  <a:lnTo>
                    <a:pt x="1981" y="1594"/>
                  </a:lnTo>
                  <a:lnTo>
                    <a:pt x="1981" y="1587"/>
                  </a:lnTo>
                  <a:lnTo>
                    <a:pt x="1983" y="1579"/>
                  </a:lnTo>
                  <a:lnTo>
                    <a:pt x="1987" y="1570"/>
                  </a:lnTo>
                  <a:lnTo>
                    <a:pt x="1993" y="1562"/>
                  </a:lnTo>
                  <a:lnTo>
                    <a:pt x="1999" y="1555"/>
                  </a:lnTo>
                  <a:lnTo>
                    <a:pt x="2007" y="1547"/>
                  </a:lnTo>
                  <a:lnTo>
                    <a:pt x="2014" y="1540"/>
                  </a:lnTo>
                  <a:lnTo>
                    <a:pt x="2021" y="1534"/>
                  </a:lnTo>
                  <a:lnTo>
                    <a:pt x="2028" y="1525"/>
                  </a:lnTo>
                  <a:lnTo>
                    <a:pt x="2035" y="1518"/>
                  </a:lnTo>
                  <a:lnTo>
                    <a:pt x="2040" y="1510"/>
                  </a:lnTo>
                  <a:lnTo>
                    <a:pt x="2043" y="1506"/>
                  </a:lnTo>
                  <a:lnTo>
                    <a:pt x="2046" y="1501"/>
                  </a:lnTo>
                  <a:lnTo>
                    <a:pt x="2049" y="1498"/>
                  </a:lnTo>
                  <a:lnTo>
                    <a:pt x="2054" y="1496"/>
                  </a:lnTo>
                  <a:lnTo>
                    <a:pt x="2061" y="1493"/>
                  </a:lnTo>
                  <a:lnTo>
                    <a:pt x="2069" y="1491"/>
                  </a:lnTo>
                  <a:lnTo>
                    <a:pt x="2078" y="1491"/>
                  </a:lnTo>
                  <a:lnTo>
                    <a:pt x="2087" y="1492"/>
                  </a:lnTo>
                  <a:lnTo>
                    <a:pt x="2095" y="1493"/>
                  </a:lnTo>
                  <a:lnTo>
                    <a:pt x="2105" y="1495"/>
                  </a:lnTo>
                  <a:lnTo>
                    <a:pt x="2113" y="1496"/>
                  </a:lnTo>
                  <a:lnTo>
                    <a:pt x="2120" y="1497"/>
                  </a:lnTo>
                  <a:lnTo>
                    <a:pt x="2128" y="1497"/>
                  </a:lnTo>
                  <a:lnTo>
                    <a:pt x="2134" y="1496"/>
                  </a:lnTo>
                  <a:lnTo>
                    <a:pt x="2137" y="1495"/>
                  </a:lnTo>
                  <a:lnTo>
                    <a:pt x="2139" y="1494"/>
                  </a:lnTo>
                  <a:lnTo>
                    <a:pt x="2141" y="1492"/>
                  </a:lnTo>
                  <a:lnTo>
                    <a:pt x="2143" y="1489"/>
                  </a:lnTo>
                  <a:lnTo>
                    <a:pt x="2144" y="1487"/>
                  </a:lnTo>
                  <a:lnTo>
                    <a:pt x="2145" y="1483"/>
                  </a:lnTo>
                  <a:lnTo>
                    <a:pt x="2146" y="1478"/>
                  </a:lnTo>
                  <a:lnTo>
                    <a:pt x="2146" y="1473"/>
                  </a:lnTo>
                  <a:lnTo>
                    <a:pt x="2145" y="1465"/>
                  </a:lnTo>
                  <a:lnTo>
                    <a:pt x="2142" y="1455"/>
                  </a:lnTo>
                  <a:lnTo>
                    <a:pt x="2139" y="1446"/>
                  </a:lnTo>
                  <a:lnTo>
                    <a:pt x="2136" y="1438"/>
                  </a:lnTo>
                  <a:lnTo>
                    <a:pt x="2133" y="1429"/>
                  </a:lnTo>
                  <a:lnTo>
                    <a:pt x="2132" y="1421"/>
                  </a:lnTo>
                  <a:lnTo>
                    <a:pt x="2132" y="1418"/>
                  </a:lnTo>
                  <a:lnTo>
                    <a:pt x="2133" y="1415"/>
                  </a:lnTo>
                  <a:lnTo>
                    <a:pt x="2134" y="1412"/>
                  </a:lnTo>
                  <a:lnTo>
                    <a:pt x="2137" y="1409"/>
                  </a:lnTo>
                  <a:lnTo>
                    <a:pt x="2158" y="1393"/>
                  </a:lnTo>
                  <a:lnTo>
                    <a:pt x="2185" y="1371"/>
                  </a:lnTo>
                  <a:lnTo>
                    <a:pt x="2192" y="1365"/>
                  </a:lnTo>
                  <a:lnTo>
                    <a:pt x="2198" y="1358"/>
                  </a:lnTo>
                  <a:lnTo>
                    <a:pt x="2203" y="1352"/>
                  </a:lnTo>
                  <a:lnTo>
                    <a:pt x="2206" y="1347"/>
                  </a:lnTo>
                  <a:lnTo>
                    <a:pt x="2209" y="1341"/>
                  </a:lnTo>
                  <a:lnTo>
                    <a:pt x="2210" y="1336"/>
                  </a:lnTo>
                  <a:lnTo>
                    <a:pt x="2209" y="1330"/>
                  </a:lnTo>
                  <a:lnTo>
                    <a:pt x="2207" y="1325"/>
                  </a:lnTo>
                  <a:lnTo>
                    <a:pt x="2201" y="1319"/>
                  </a:lnTo>
                  <a:lnTo>
                    <a:pt x="2194" y="1313"/>
                  </a:lnTo>
                  <a:lnTo>
                    <a:pt x="2187" y="1307"/>
                  </a:lnTo>
                  <a:lnTo>
                    <a:pt x="2178" y="1302"/>
                  </a:lnTo>
                  <a:lnTo>
                    <a:pt x="2168" y="1298"/>
                  </a:lnTo>
                  <a:lnTo>
                    <a:pt x="2159" y="1294"/>
                  </a:lnTo>
                  <a:lnTo>
                    <a:pt x="2149" y="1291"/>
                  </a:lnTo>
                  <a:lnTo>
                    <a:pt x="2137" y="1288"/>
                  </a:lnTo>
                  <a:lnTo>
                    <a:pt x="2127" y="1284"/>
                  </a:lnTo>
                  <a:lnTo>
                    <a:pt x="2115" y="1283"/>
                  </a:lnTo>
                  <a:lnTo>
                    <a:pt x="2105" y="1281"/>
                  </a:lnTo>
                  <a:lnTo>
                    <a:pt x="2094" y="1281"/>
                  </a:lnTo>
                  <a:lnTo>
                    <a:pt x="2084" y="1281"/>
                  </a:lnTo>
                  <a:lnTo>
                    <a:pt x="2075" y="1282"/>
                  </a:lnTo>
                  <a:lnTo>
                    <a:pt x="2066" y="1283"/>
                  </a:lnTo>
                  <a:lnTo>
                    <a:pt x="2058" y="1286"/>
                  </a:lnTo>
                  <a:lnTo>
                    <a:pt x="2047" y="1292"/>
                  </a:lnTo>
                  <a:lnTo>
                    <a:pt x="2037" y="1299"/>
                  </a:lnTo>
                  <a:lnTo>
                    <a:pt x="2025" y="1308"/>
                  </a:lnTo>
                  <a:lnTo>
                    <a:pt x="2015" y="1319"/>
                  </a:lnTo>
                  <a:lnTo>
                    <a:pt x="2005" y="1328"/>
                  </a:lnTo>
                  <a:lnTo>
                    <a:pt x="1994" y="1336"/>
                  </a:lnTo>
                  <a:lnTo>
                    <a:pt x="1989" y="1339"/>
                  </a:lnTo>
                  <a:lnTo>
                    <a:pt x="1985" y="1341"/>
                  </a:lnTo>
                  <a:lnTo>
                    <a:pt x="1980" y="1343"/>
                  </a:lnTo>
                  <a:lnTo>
                    <a:pt x="1975" y="1343"/>
                  </a:lnTo>
                  <a:lnTo>
                    <a:pt x="1969" y="1319"/>
                  </a:lnTo>
                  <a:lnTo>
                    <a:pt x="1961" y="1296"/>
                  </a:lnTo>
                  <a:lnTo>
                    <a:pt x="1951" y="1274"/>
                  </a:lnTo>
                  <a:lnTo>
                    <a:pt x="1941" y="1252"/>
                  </a:lnTo>
                  <a:lnTo>
                    <a:pt x="1929" y="1231"/>
                  </a:lnTo>
                  <a:lnTo>
                    <a:pt x="1915" y="1211"/>
                  </a:lnTo>
                  <a:lnTo>
                    <a:pt x="1899" y="1192"/>
                  </a:lnTo>
                  <a:lnTo>
                    <a:pt x="1881" y="1172"/>
                  </a:lnTo>
                  <a:lnTo>
                    <a:pt x="1877" y="1170"/>
                  </a:lnTo>
                  <a:lnTo>
                    <a:pt x="1874" y="1168"/>
                  </a:lnTo>
                  <a:lnTo>
                    <a:pt x="1870" y="1165"/>
                  </a:lnTo>
                  <a:lnTo>
                    <a:pt x="1865" y="1164"/>
                  </a:lnTo>
                  <a:lnTo>
                    <a:pt x="1856" y="1163"/>
                  </a:lnTo>
                  <a:lnTo>
                    <a:pt x="1844" y="1163"/>
                  </a:lnTo>
                  <a:lnTo>
                    <a:pt x="1834" y="1164"/>
                  </a:lnTo>
                  <a:lnTo>
                    <a:pt x="1822" y="1164"/>
                  </a:lnTo>
                  <a:lnTo>
                    <a:pt x="1812" y="1164"/>
                  </a:lnTo>
                  <a:lnTo>
                    <a:pt x="1801" y="1162"/>
                  </a:lnTo>
                  <a:lnTo>
                    <a:pt x="1795" y="1160"/>
                  </a:lnTo>
                  <a:lnTo>
                    <a:pt x="1789" y="1157"/>
                  </a:lnTo>
                  <a:lnTo>
                    <a:pt x="1784" y="1153"/>
                  </a:lnTo>
                  <a:lnTo>
                    <a:pt x="1779" y="1148"/>
                  </a:lnTo>
                  <a:lnTo>
                    <a:pt x="1776" y="1143"/>
                  </a:lnTo>
                  <a:lnTo>
                    <a:pt x="1774" y="1136"/>
                  </a:lnTo>
                  <a:lnTo>
                    <a:pt x="1772" y="1129"/>
                  </a:lnTo>
                  <a:lnTo>
                    <a:pt x="1770" y="1123"/>
                  </a:lnTo>
                  <a:lnTo>
                    <a:pt x="1768" y="1108"/>
                  </a:lnTo>
                  <a:lnTo>
                    <a:pt x="1768" y="1093"/>
                  </a:lnTo>
                  <a:lnTo>
                    <a:pt x="1770" y="1080"/>
                  </a:lnTo>
                  <a:lnTo>
                    <a:pt x="1771" y="1067"/>
                  </a:lnTo>
                  <a:lnTo>
                    <a:pt x="1767" y="1058"/>
                  </a:lnTo>
                  <a:lnTo>
                    <a:pt x="1762" y="1048"/>
                  </a:lnTo>
                  <a:lnTo>
                    <a:pt x="1754" y="1037"/>
                  </a:lnTo>
                  <a:lnTo>
                    <a:pt x="1747" y="1028"/>
                  </a:lnTo>
                  <a:lnTo>
                    <a:pt x="1740" y="1017"/>
                  </a:lnTo>
                  <a:lnTo>
                    <a:pt x="1734" y="1008"/>
                  </a:lnTo>
                  <a:lnTo>
                    <a:pt x="1731" y="1003"/>
                  </a:lnTo>
                  <a:lnTo>
                    <a:pt x="1729" y="997"/>
                  </a:lnTo>
                  <a:lnTo>
                    <a:pt x="1728" y="992"/>
                  </a:lnTo>
                  <a:lnTo>
                    <a:pt x="1727" y="987"/>
                  </a:lnTo>
                  <a:lnTo>
                    <a:pt x="1728" y="977"/>
                  </a:lnTo>
                  <a:lnTo>
                    <a:pt x="1730" y="966"/>
                  </a:lnTo>
                  <a:lnTo>
                    <a:pt x="1734" y="956"/>
                  </a:lnTo>
                  <a:lnTo>
                    <a:pt x="1738" y="946"/>
                  </a:lnTo>
                  <a:lnTo>
                    <a:pt x="1742" y="936"/>
                  </a:lnTo>
                  <a:lnTo>
                    <a:pt x="1745" y="926"/>
                  </a:lnTo>
                  <a:lnTo>
                    <a:pt x="1748" y="914"/>
                  </a:lnTo>
                  <a:lnTo>
                    <a:pt x="1749" y="904"/>
                  </a:lnTo>
                  <a:lnTo>
                    <a:pt x="1750" y="891"/>
                  </a:lnTo>
                  <a:lnTo>
                    <a:pt x="1752" y="880"/>
                  </a:lnTo>
                  <a:lnTo>
                    <a:pt x="1756" y="868"/>
                  </a:lnTo>
                  <a:lnTo>
                    <a:pt x="1761" y="858"/>
                  </a:lnTo>
                  <a:lnTo>
                    <a:pt x="1771" y="837"/>
                  </a:lnTo>
                  <a:lnTo>
                    <a:pt x="1784" y="816"/>
                  </a:lnTo>
                  <a:lnTo>
                    <a:pt x="1796" y="796"/>
                  </a:lnTo>
                  <a:lnTo>
                    <a:pt x="1807" y="775"/>
                  </a:lnTo>
                  <a:lnTo>
                    <a:pt x="1811" y="765"/>
                  </a:lnTo>
                  <a:lnTo>
                    <a:pt x="1815" y="753"/>
                  </a:lnTo>
                  <a:lnTo>
                    <a:pt x="1817" y="742"/>
                  </a:lnTo>
                  <a:lnTo>
                    <a:pt x="1818" y="729"/>
                  </a:lnTo>
                  <a:lnTo>
                    <a:pt x="1817" y="715"/>
                  </a:lnTo>
                  <a:lnTo>
                    <a:pt x="1815" y="700"/>
                  </a:lnTo>
                  <a:lnTo>
                    <a:pt x="1812" y="686"/>
                  </a:lnTo>
                  <a:lnTo>
                    <a:pt x="1808" y="671"/>
                  </a:lnTo>
                  <a:lnTo>
                    <a:pt x="1802" y="657"/>
                  </a:lnTo>
                  <a:lnTo>
                    <a:pt x="1799" y="644"/>
                  </a:lnTo>
                  <a:lnTo>
                    <a:pt x="1796" y="630"/>
                  </a:lnTo>
                  <a:lnTo>
                    <a:pt x="1795" y="617"/>
                  </a:lnTo>
                  <a:lnTo>
                    <a:pt x="1834" y="602"/>
                  </a:lnTo>
                  <a:lnTo>
                    <a:pt x="1869" y="591"/>
                  </a:lnTo>
                  <a:lnTo>
                    <a:pt x="1877" y="588"/>
                  </a:lnTo>
                  <a:lnTo>
                    <a:pt x="1886" y="583"/>
                  </a:lnTo>
                  <a:lnTo>
                    <a:pt x="1893" y="578"/>
                  </a:lnTo>
                  <a:lnTo>
                    <a:pt x="1900" y="572"/>
                  </a:lnTo>
                  <a:lnTo>
                    <a:pt x="1908" y="565"/>
                  </a:lnTo>
                  <a:lnTo>
                    <a:pt x="1914" y="556"/>
                  </a:lnTo>
                  <a:lnTo>
                    <a:pt x="1920" y="546"/>
                  </a:lnTo>
                  <a:lnTo>
                    <a:pt x="1926" y="534"/>
                  </a:lnTo>
                  <a:lnTo>
                    <a:pt x="1930" y="526"/>
                  </a:lnTo>
                  <a:lnTo>
                    <a:pt x="1930" y="519"/>
                  </a:lnTo>
                  <a:lnTo>
                    <a:pt x="1930" y="512"/>
                  </a:lnTo>
                  <a:lnTo>
                    <a:pt x="1927" y="507"/>
                  </a:lnTo>
                  <a:lnTo>
                    <a:pt x="1924" y="502"/>
                  </a:lnTo>
                  <a:lnTo>
                    <a:pt x="1922" y="496"/>
                  </a:lnTo>
                  <a:lnTo>
                    <a:pt x="1920" y="489"/>
                  </a:lnTo>
                  <a:lnTo>
                    <a:pt x="1919" y="482"/>
                  </a:lnTo>
                  <a:lnTo>
                    <a:pt x="1919" y="472"/>
                  </a:lnTo>
                  <a:lnTo>
                    <a:pt x="1921" y="464"/>
                  </a:lnTo>
                  <a:lnTo>
                    <a:pt x="1924" y="458"/>
                  </a:lnTo>
                  <a:lnTo>
                    <a:pt x="1929" y="453"/>
                  </a:lnTo>
                  <a:lnTo>
                    <a:pt x="1933" y="448"/>
                  </a:lnTo>
                  <a:lnTo>
                    <a:pt x="1938" y="442"/>
                  </a:lnTo>
                  <a:lnTo>
                    <a:pt x="1943" y="436"/>
                  </a:lnTo>
                  <a:lnTo>
                    <a:pt x="1947" y="429"/>
                  </a:lnTo>
                  <a:lnTo>
                    <a:pt x="1951" y="418"/>
                  </a:lnTo>
                  <a:lnTo>
                    <a:pt x="1957" y="404"/>
                  </a:lnTo>
                  <a:lnTo>
                    <a:pt x="1961" y="388"/>
                  </a:lnTo>
                  <a:lnTo>
                    <a:pt x="1965" y="369"/>
                  </a:lnTo>
                  <a:lnTo>
                    <a:pt x="1969" y="350"/>
                  </a:lnTo>
                  <a:lnTo>
                    <a:pt x="1972" y="329"/>
                  </a:lnTo>
                  <a:lnTo>
                    <a:pt x="1975" y="308"/>
                  </a:lnTo>
                  <a:lnTo>
                    <a:pt x="1976" y="286"/>
                  </a:lnTo>
                  <a:lnTo>
                    <a:pt x="1978" y="265"/>
                  </a:lnTo>
                  <a:lnTo>
                    <a:pt x="1978" y="245"/>
                  </a:lnTo>
                  <a:lnTo>
                    <a:pt x="1975" y="227"/>
                  </a:lnTo>
                  <a:lnTo>
                    <a:pt x="1971" y="210"/>
                  </a:lnTo>
                  <a:lnTo>
                    <a:pt x="1969" y="203"/>
                  </a:lnTo>
                  <a:lnTo>
                    <a:pt x="1966" y="195"/>
                  </a:lnTo>
                  <a:lnTo>
                    <a:pt x="1963" y="190"/>
                  </a:lnTo>
                  <a:lnTo>
                    <a:pt x="1959" y="185"/>
                  </a:lnTo>
                  <a:lnTo>
                    <a:pt x="1955" y="180"/>
                  </a:lnTo>
                  <a:lnTo>
                    <a:pt x="1949" y="176"/>
                  </a:lnTo>
                  <a:lnTo>
                    <a:pt x="1943" y="174"/>
                  </a:lnTo>
                  <a:lnTo>
                    <a:pt x="1937" y="173"/>
                  </a:lnTo>
                  <a:lnTo>
                    <a:pt x="1820" y="159"/>
                  </a:lnTo>
                  <a:lnTo>
                    <a:pt x="1804" y="156"/>
                  </a:lnTo>
                  <a:lnTo>
                    <a:pt x="1788" y="150"/>
                  </a:lnTo>
                  <a:lnTo>
                    <a:pt x="1771" y="144"/>
                  </a:lnTo>
                  <a:lnTo>
                    <a:pt x="1754" y="137"/>
                  </a:lnTo>
                  <a:lnTo>
                    <a:pt x="1738" y="131"/>
                  </a:lnTo>
                  <a:lnTo>
                    <a:pt x="1721" y="125"/>
                  </a:lnTo>
                  <a:lnTo>
                    <a:pt x="1714" y="123"/>
                  </a:lnTo>
                  <a:lnTo>
                    <a:pt x="1705" y="121"/>
                  </a:lnTo>
                  <a:lnTo>
                    <a:pt x="1698" y="120"/>
                  </a:lnTo>
                  <a:lnTo>
                    <a:pt x="1691" y="120"/>
                  </a:lnTo>
                  <a:lnTo>
                    <a:pt x="1691" y="120"/>
                  </a:lnTo>
                  <a:lnTo>
                    <a:pt x="1686" y="118"/>
                  </a:lnTo>
                  <a:lnTo>
                    <a:pt x="1681" y="116"/>
                  </a:lnTo>
                  <a:lnTo>
                    <a:pt x="1678" y="114"/>
                  </a:lnTo>
                  <a:lnTo>
                    <a:pt x="1675" y="112"/>
                  </a:lnTo>
                  <a:lnTo>
                    <a:pt x="1673" y="109"/>
                  </a:lnTo>
                  <a:lnTo>
                    <a:pt x="1672" y="106"/>
                  </a:lnTo>
                  <a:lnTo>
                    <a:pt x="1671" y="102"/>
                  </a:lnTo>
                  <a:lnTo>
                    <a:pt x="1670" y="99"/>
                  </a:lnTo>
                  <a:lnTo>
                    <a:pt x="1671" y="93"/>
                  </a:lnTo>
                  <a:lnTo>
                    <a:pt x="1672" y="86"/>
                  </a:lnTo>
                  <a:lnTo>
                    <a:pt x="1675" y="77"/>
                  </a:lnTo>
                  <a:lnTo>
                    <a:pt x="1679" y="69"/>
                  </a:lnTo>
                  <a:lnTo>
                    <a:pt x="1687" y="52"/>
                  </a:lnTo>
                  <a:lnTo>
                    <a:pt x="1693" y="35"/>
                  </a:lnTo>
                  <a:lnTo>
                    <a:pt x="1694" y="26"/>
                  </a:lnTo>
                  <a:lnTo>
                    <a:pt x="1694" y="18"/>
                  </a:lnTo>
                  <a:lnTo>
                    <a:pt x="1694" y="14"/>
                  </a:lnTo>
                  <a:lnTo>
                    <a:pt x="1692" y="10"/>
                  </a:lnTo>
                  <a:lnTo>
                    <a:pt x="1691" y="5"/>
                  </a:lnTo>
                  <a:lnTo>
                    <a:pt x="1689" y="2"/>
                  </a:lnTo>
                  <a:lnTo>
                    <a:pt x="1687" y="1"/>
                  </a:lnTo>
                  <a:lnTo>
                    <a:pt x="1686" y="0"/>
                  </a:lnTo>
                  <a:lnTo>
                    <a:pt x="1684" y="0"/>
                  </a:lnTo>
                  <a:lnTo>
                    <a:pt x="1680" y="1"/>
                  </a:lnTo>
                  <a:lnTo>
                    <a:pt x="1674" y="3"/>
                  </a:lnTo>
                  <a:lnTo>
                    <a:pt x="1667" y="6"/>
                  </a:lnTo>
                  <a:lnTo>
                    <a:pt x="1648" y="16"/>
                  </a:lnTo>
                  <a:lnTo>
                    <a:pt x="1627" y="29"/>
                  </a:lnTo>
                  <a:lnTo>
                    <a:pt x="1606" y="44"/>
                  </a:lnTo>
                  <a:lnTo>
                    <a:pt x="1588" y="58"/>
                  </a:lnTo>
                  <a:lnTo>
                    <a:pt x="1572" y="69"/>
                  </a:lnTo>
                  <a:lnTo>
                    <a:pt x="1564" y="76"/>
                  </a:lnTo>
                  <a:lnTo>
                    <a:pt x="1560" y="80"/>
                  </a:lnTo>
                  <a:lnTo>
                    <a:pt x="1558" y="84"/>
                  </a:lnTo>
                  <a:lnTo>
                    <a:pt x="1556" y="88"/>
                  </a:lnTo>
                  <a:lnTo>
                    <a:pt x="1555" y="91"/>
                  </a:lnTo>
                  <a:lnTo>
                    <a:pt x="1555" y="95"/>
                  </a:lnTo>
                  <a:lnTo>
                    <a:pt x="1555" y="98"/>
                  </a:lnTo>
                  <a:lnTo>
                    <a:pt x="1556" y="102"/>
                  </a:lnTo>
                  <a:lnTo>
                    <a:pt x="1558" y="106"/>
                  </a:lnTo>
                  <a:lnTo>
                    <a:pt x="1563" y="113"/>
                  </a:lnTo>
                  <a:lnTo>
                    <a:pt x="1569" y="120"/>
                  </a:lnTo>
                  <a:lnTo>
                    <a:pt x="1577" y="126"/>
                  </a:lnTo>
                  <a:lnTo>
                    <a:pt x="1585" y="134"/>
                  </a:lnTo>
                  <a:lnTo>
                    <a:pt x="1605" y="145"/>
                  </a:lnTo>
                  <a:lnTo>
                    <a:pt x="1625" y="156"/>
                  </a:lnTo>
                  <a:lnTo>
                    <a:pt x="1642" y="164"/>
                  </a:lnTo>
                  <a:lnTo>
                    <a:pt x="1654" y="170"/>
                  </a:lnTo>
                  <a:lnTo>
                    <a:pt x="1654" y="183"/>
                  </a:lnTo>
                  <a:lnTo>
                    <a:pt x="1654" y="196"/>
                  </a:lnTo>
                  <a:lnTo>
                    <a:pt x="1651" y="210"/>
                  </a:lnTo>
                  <a:lnTo>
                    <a:pt x="1647" y="222"/>
                  </a:lnTo>
                  <a:lnTo>
                    <a:pt x="1644" y="229"/>
                  </a:lnTo>
                  <a:lnTo>
                    <a:pt x="1641" y="234"/>
                  </a:lnTo>
                  <a:lnTo>
                    <a:pt x="1637" y="239"/>
                  </a:lnTo>
                  <a:lnTo>
                    <a:pt x="1631" y="243"/>
                  </a:lnTo>
                  <a:lnTo>
                    <a:pt x="1626" y="247"/>
                  </a:lnTo>
                  <a:lnTo>
                    <a:pt x="1620" y="251"/>
                  </a:lnTo>
                  <a:lnTo>
                    <a:pt x="1614" y="254"/>
                  </a:lnTo>
                  <a:lnTo>
                    <a:pt x="1606" y="255"/>
                  </a:lnTo>
                  <a:lnTo>
                    <a:pt x="1602" y="255"/>
                  </a:lnTo>
                  <a:lnTo>
                    <a:pt x="1596" y="254"/>
                  </a:lnTo>
                  <a:lnTo>
                    <a:pt x="1590" y="253"/>
                  </a:lnTo>
                  <a:lnTo>
                    <a:pt x="1582" y="251"/>
                  </a:lnTo>
                  <a:lnTo>
                    <a:pt x="1568" y="246"/>
                  </a:lnTo>
                  <a:lnTo>
                    <a:pt x="1553" y="241"/>
                  </a:lnTo>
                  <a:lnTo>
                    <a:pt x="1546" y="239"/>
                  </a:lnTo>
                  <a:lnTo>
                    <a:pt x="1540" y="238"/>
                  </a:lnTo>
                  <a:lnTo>
                    <a:pt x="1533" y="237"/>
                  </a:lnTo>
                  <a:lnTo>
                    <a:pt x="1528" y="237"/>
                  </a:lnTo>
                  <a:lnTo>
                    <a:pt x="1523" y="238"/>
                  </a:lnTo>
                  <a:lnTo>
                    <a:pt x="1520" y="239"/>
                  </a:lnTo>
                  <a:lnTo>
                    <a:pt x="1518" y="243"/>
                  </a:lnTo>
                  <a:lnTo>
                    <a:pt x="1517" y="247"/>
                  </a:lnTo>
                  <a:lnTo>
                    <a:pt x="1526" y="258"/>
                  </a:lnTo>
                  <a:lnTo>
                    <a:pt x="1540" y="277"/>
                  </a:lnTo>
                  <a:lnTo>
                    <a:pt x="1553" y="296"/>
                  </a:lnTo>
                  <a:lnTo>
                    <a:pt x="1562" y="310"/>
                  </a:lnTo>
                  <a:lnTo>
                    <a:pt x="1565" y="317"/>
                  </a:lnTo>
                  <a:lnTo>
                    <a:pt x="1566" y="325"/>
                  </a:lnTo>
                  <a:lnTo>
                    <a:pt x="1566" y="331"/>
                  </a:lnTo>
                  <a:lnTo>
                    <a:pt x="1566" y="336"/>
                  </a:lnTo>
                  <a:lnTo>
                    <a:pt x="1565" y="342"/>
                  </a:lnTo>
                  <a:lnTo>
                    <a:pt x="1565" y="348"/>
                  </a:lnTo>
                  <a:lnTo>
                    <a:pt x="1564" y="354"/>
                  </a:lnTo>
                  <a:lnTo>
                    <a:pt x="1565" y="361"/>
                  </a:lnTo>
                  <a:lnTo>
                    <a:pt x="1567" y="365"/>
                  </a:lnTo>
                  <a:lnTo>
                    <a:pt x="1569" y="369"/>
                  </a:lnTo>
                  <a:lnTo>
                    <a:pt x="1573" y="374"/>
                  </a:lnTo>
                  <a:lnTo>
                    <a:pt x="1577" y="379"/>
                  </a:lnTo>
                  <a:lnTo>
                    <a:pt x="1589" y="387"/>
                  </a:lnTo>
                  <a:lnTo>
                    <a:pt x="1602" y="397"/>
                  </a:lnTo>
                  <a:lnTo>
                    <a:pt x="1617" y="405"/>
                  </a:lnTo>
                  <a:lnTo>
                    <a:pt x="1630" y="413"/>
                  </a:lnTo>
                  <a:lnTo>
                    <a:pt x="1642" y="422"/>
                  </a:lnTo>
                  <a:lnTo>
                    <a:pt x="1650" y="429"/>
                  </a:lnTo>
                  <a:lnTo>
                    <a:pt x="1655" y="436"/>
                  </a:lnTo>
                  <a:lnTo>
                    <a:pt x="1660" y="444"/>
                  </a:lnTo>
                  <a:lnTo>
                    <a:pt x="1664" y="453"/>
                  </a:lnTo>
                  <a:lnTo>
                    <a:pt x="1667" y="461"/>
                  </a:lnTo>
                  <a:lnTo>
                    <a:pt x="1670" y="470"/>
                  </a:lnTo>
                  <a:lnTo>
                    <a:pt x="1673" y="477"/>
                  </a:lnTo>
                  <a:lnTo>
                    <a:pt x="1678" y="484"/>
                  </a:lnTo>
                  <a:lnTo>
                    <a:pt x="1684" y="489"/>
                  </a:lnTo>
                  <a:lnTo>
                    <a:pt x="1687" y="493"/>
                  </a:lnTo>
                  <a:lnTo>
                    <a:pt x="1689" y="495"/>
                  </a:lnTo>
                  <a:lnTo>
                    <a:pt x="1690" y="498"/>
                  </a:lnTo>
                  <a:lnTo>
                    <a:pt x="1691" y="500"/>
                  </a:lnTo>
                  <a:lnTo>
                    <a:pt x="1691" y="502"/>
                  </a:lnTo>
                  <a:lnTo>
                    <a:pt x="1690" y="504"/>
                  </a:lnTo>
                  <a:lnTo>
                    <a:pt x="1689" y="506"/>
                  </a:lnTo>
                  <a:lnTo>
                    <a:pt x="1687" y="508"/>
                  </a:lnTo>
                  <a:lnTo>
                    <a:pt x="1682" y="511"/>
                  </a:lnTo>
                  <a:lnTo>
                    <a:pt x="1675" y="514"/>
                  </a:lnTo>
                  <a:lnTo>
                    <a:pt x="1668" y="517"/>
                  </a:lnTo>
                  <a:lnTo>
                    <a:pt x="1658" y="520"/>
                  </a:lnTo>
                  <a:lnTo>
                    <a:pt x="1640" y="523"/>
                  </a:lnTo>
                  <a:lnTo>
                    <a:pt x="1621" y="526"/>
                  </a:lnTo>
                  <a:lnTo>
                    <a:pt x="1605" y="528"/>
                  </a:lnTo>
                  <a:lnTo>
                    <a:pt x="1595" y="530"/>
                  </a:lnTo>
                  <a:lnTo>
                    <a:pt x="1587" y="534"/>
                  </a:lnTo>
                  <a:lnTo>
                    <a:pt x="1578" y="537"/>
                  </a:lnTo>
                  <a:lnTo>
                    <a:pt x="1570" y="543"/>
                  </a:lnTo>
                  <a:lnTo>
                    <a:pt x="1563" y="548"/>
                  </a:lnTo>
                  <a:lnTo>
                    <a:pt x="1555" y="554"/>
                  </a:lnTo>
                  <a:lnTo>
                    <a:pt x="1548" y="560"/>
                  </a:lnTo>
                  <a:lnTo>
                    <a:pt x="1542" y="568"/>
                  </a:lnTo>
                  <a:lnTo>
                    <a:pt x="1535" y="575"/>
                  </a:lnTo>
                  <a:lnTo>
                    <a:pt x="1523" y="591"/>
                  </a:lnTo>
                  <a:lnTo>
                    <a:pt x="1513" y="606"/>
                  </a:lnTo>
                  <a:lnTo>
                    <a:pt x="1503" y="623"/>
                  </a:lnTo>
                  <a:lnTo>
                    <a:pt x="1495" y="639"/>
                  </a:lnTo>
                  <a:lnTo>
                    <a:pt x="1494" y="643"/>
                  </a:lnTo>
                  <a:lnTo>
                    <a:pt x="1493" y="648"/>
                  </a:lnTo>
                  <a:lnTo>
                    <a:pt x="1491" y="652"/>
                  </a:lnTo>
                  <a:lnTo>
                    <a:pt x="1489" y="655"/>
                  </a:lnTo>
                  <a:lnTo>
                    <a:pt x="1483" y="663"/>
                  </a:lnTo>
                  <a:lnTo>
                    <a:pt x="1476" y="669"/>
                  </a:lnTo>
                  <a:lnTo>
                    <a:pt x="1470" y="675"/>
                  </a:lnTo>
                  <a:lnTo>
                    <a:pt x="1464" y="680"/>
                  </a:lnTo>
                  <a:lnTo>
                    <a:pt x="1458" y="688"/>
                  </a:lnTo>
                  <a:lnTo>
                    <a:pt x="1454" y="696"/>
                  </a:lnTo>
                  <a:lnTo>
                    <a:pt x="1451" y="704"/>
                  </a:lnTo>
                  <a:lnTo>
                    <a:pt x="1449" y="712"/>
                  </a:lnTo>
                  <a:lnTo>
                    <a:pt x="1448" y="719"/>
                  </a:lnTo>
                  <a:lnTo>
                    <a:pt x="1448" y="725"/>
                  </a:lnTo>
                  <a:lnTo>
                    <a:pt x="1448" y="737"/>
                  </a:lnTo>
                  <a:lnTo>
                    <a:pt x="1448" y="746"/>
                  </a:lnTo>
                  <a:lnTo>
                    <a:pt x="1447" y="750"/>
                  </a:lnTo>
                  <a:lnTo>
                    <a:pt x="1446" y="755"/>
                  </a:lnTo>
                  <a:lnTo>
                    <a:pt x="1444" y="760"/>
                  </a:lnTo>
                  <a:lnTo>
                    <a:pt x="1442" y="765"/>
                  </a:lnTo>
                  <a:lnTo>
                    <a:pt x="1437" y="770"/>
                  </a:lnTo>
                  <a:lnTo>
                    <a:pt x="1431" y="775"/>
                  </a:lnTo>
                  <a:lnTo>
                    <a:pt x="1424" y="781"/>
                  </a:lnTo>
                  <a:lnTo>
                    <a:pt x="1416" y="787"/>
                  </a:lnTo>
                  <a:lnTo>
                    <a:pt x="1410" y="792"/>
                  </a:lnTo>
                  <a:lnTo>
                    <a:pt x="1407" y="797"/>
                  </a:lnTo>
                  <a:lnTo>
                    <a:pt x="1405" y="803"/>
                  </a:lnTo>
                  <a:lnTo>
                    <a:pt x="1403" y="810"/>
                  </a:lnTo>
                  <a:lnTo>
                    <a:pt x="1402" y="816"/>
                  </a:lnTo>
                  <a:lnTo>
                    <a:pt x="1400" y="822"/>
                  </a:lnTo>
                  <a:lnTo>
                    <a:pt x="1397" y="827"/>
                  </a:lnTo>
                  <a:lnTo>
                    <a:pt x="1393" y="833"/>
                  </a:lnTo>
                  <a:lnTo>
                    <a:pt x="1383" y="842"/>
                  </a:lnTo>
                  <a:lnTo>
                    <a:pt x="1375" y="852"/>
                  </a:lnTo>
                  <a:lnTo>
                    <a:pt x="1365" y="863"/>
                  </a:lnTo>
                  <a:lnTo>
                    <a:pt x="1358" y="873"/>
                  </a:lnTo>
                  <a:lnTo>
                    <a:pt x="1360" y="880"/>
                  </a:lnTo>
                  <a:lnTo>
                    <a:pt x="1363" y="886"/>
                  </a:lnTo>
                  <a:lnTo>
                    <a:pt x="1369" y="891"/>
                  </a:lnTo>
                  <a:lnTo>
                    <a:pt x="1373" y="896"/>
                  </a:lnTo>
                  <a:lnTo>
                    <a:pt x="1373" y="920"/>
                  </a:lnTo>
                  <a:lnTo>
                    <a:pt x="1372" y="938"/>
                  </a:lnTo>
                  <a:lnTo>
                    <a:pt x="1370" y="946"/>
                  </a:lnTo>
                  <a:lnTo>
                    <a:pt x="1365" y="955"/>
                  </a:lnTo>
                  <a:lnTo>
                    <a:pt x="1360" y="965"/>
                  </a:lnTo>
                  <a:lnTo>
                    <a:pt x="1353" y="978"/>
                  </a:lnTo>
                  <a:lnTo>
                    <a:pt x="1345" y="989"/>
                  </a:lnTo>
                  <a:lnTo>
                    <a:pt x="1336" y="1000"/>
                  </a:lnTo>
                  <a:lnTo>
                    <a:pt x="1327" y="1010"/>
                  </a:lnTo>
                  <a:lnTo>
                    <a:pt x="1318" y="1019"/>
                  </a:lnTo>
                  <a:lnTo>
                    <a:pt x="1298" y="1037"/>
                  </a:lnTo>
                  <a:lnTo>
                    <a:pt x="1277" y="1055"/>
                  </a:lnTo>
                  <a:lnTo>
                    <a:pt x="1257" y="1072"/>
                  </a:lnTo>
                  <a:lnTo>
                    <a:pt x="1237" y="1089"/>
                  </a:lnTo>
                  <a:lnTo>
                    <a:pt x="1228" y="1099"/>
                  </a:lnTo>
                  <a:lnTo>
                    <a:pt x="1220" y="1108"/>
                  </a:lnTo>
                  <a:lnTo>
                    <a:pt x="1211" y="1117"/>
                  </a:lnTo>
                  <a:lnTo>
                    <a:pt x="1203" y="1128"/>
                  </a:lnTo>
                  <a:lnTo>
                    <a:pt x="1203" y="1128"/>
                  </a:lnTo>
                  <a:lnTo>
                    <a:pt x="1199" y="1136"/>
                  </a:lnTo>
                  <a:lnTo>
                    <a:pt x="1195" y="1145"/>
                  </a:lnTo>
                  <a:lnTo>
                    <a:pt x="1191" y="1153"/>
                  </a:lnTo>
                  <a:lnTo>
                    <a:pt x="1188" y="1162"/>
                  </a:lnTo>
                  <a:lnTo>
                    <a:pt x="1185" y="1171"/>
                  </a:lnTo>
                  <a:lnTo>
                    <a:pt x="1181" y="1180"/>
                  </a:lnTo>
                  <a:lnTo>
                    <a:pt x="1176" y="1187"/>
                  </a:lnTo>
                  <a:lnTo>
                    <a:pt x="1171" y="1195"/>
                  </a:lnTo>
                  <a:lnTo>
                    <a:pt x="1165" y="1198"/>
                  </a:lnTo>
                  <a:lnTo>
                    <a:pt x="1161" y="1201"/>
                  </a:lnTo>
                  <a:lnTo>
                    <a:pt x="1157" y="1204"/>
                  </a:lnTo>
                  <a:lnTo>
                    <a:pt x="1152" y="1206"/>
                  </a:lnTo>
                  <a:lnTo>
                    <a:pt x="1143" y="1208"/>
                  </a:lnTo>
                  <a:lnTo>
                    <a:pt x="1134" y="1210"/>
                  </a:lnTo>
                  <a:lnTo>
                    <a:pt x="1125" y="1211"/>
                  </a:lnTo>
                  <a:lnTo>
                    <a:pt x="1114" y="1213"/>
                  </a:lnTo>
                  <a:lnTo>
                    <a:pt x="1104" y="1216"/>
                  </a:lnTo>
                  <a:lnTo>
                    <a:pt x="1093" y="1220"/>
                  </a:lnTo>
                  <a:lnTo>
                    <a:pt x="1089" y="1225"/>
                  </a:lnTo>
                  <a:lnTo>
                    <a:pt x="1085" y="1227"/>
                  </a:lnTo>
                  <a:lnTo>
                    <a:pt x="1000" y="1339"/>
                  </a:lnTo>
                  <a:lnTo>
                    <a:pt x="992" y="1348"/>
                  </a:lnTo>
                  <a:lnTo>
                    <a:pt x="984" y="1356"/>
                  </a:lnTo>
                  <a:lnTo>
                    <a:pt x="977" y="1363"/>
                  </a:lnTo>
                  <a:lnTo>
                    <a:pt x="969" y="1368"/>
                  </a:lnTo>
                  <a:lnTo>
                    <a:pt x="962" y="1373"/>
                  </a:lnTo>
                  <a:lnTo>
                    <a:pt x="954" y="1376"/>
                  </a:lnTo>
                  <a:lnTo>
                    <a:pt x="946" y="1379"/>
                  </a:lnTo>
                  <a:lnTo>
                    <a:pt x="938" y="1381"/>
                  </a:lnTo>
                  <a:lnTo>
                    <a:pt x="921" y="1385"/>
                  </a:lnTo>
                  <a:lnTo>
                    <a:pt x="903" y="1385"/>
                  </a:lnTo>
                  <a:lnTo>
                    <a:pt x="881" y="1385"/>
                  </a:lnTo>
                  <a:lnTo>
                    <a:pt x="858" y="1385"/>
                  </a:lnTo>
                  <a:lnTo>
                    <a:pt x="834" y="1385"/>
                  </a:lnTo>
                  <a:lnTo>
                    <a:pt x="817" y="1386"/>
                  </a:lnTo>
                  <a:lnTo>
                    <a:pt x="805" y="1387"/>
                  </a:lnTo>
                  <a:lnTo>
                    <a:pt x="794" y="1390"/>
                  </a:lnTo>
                  <a:lnTo>
                    <a:pt x="786" y="1395"/>
                  </a:lnTo>
                  <a:lnTo>
                    <a:pt x="775" y="1402"/>
                  </a:lnTo>
                  <a:lnTo>
                    <a:pt x="763" y="1413"/>
                  </a:lnTo>
                  <a:lnTo>
                    <a:pt x="746" y="1425"/>
                  </a:lnTo>
                  <a:lnTo>
                    <a:pt x="722" y="1443"/>
                  </a:lnTo>
                  <a:lnTo>
                    <a:pt x="697" y="1460"/>
                  </a:lnTo>
                  <a:lnTo>
                    <a:pt x="684" y="1467"/>
                  </a:lnTo>
                  <a:lnTo>
                    <a:pt x="670" y="1473"/>
                  </a:lnTo>
                  <a:lnTo>
                    <a:pt x="656" y="1478"/>
                  </a:lnTo>
                  <a:lnTo>
                    <a:pt x="643" y="1483"/>
                  </a:lnTo>
                  <a:lnTo>
                    <a:pt x="637" y="1484"/>
                  </a:lnTo>
                  <a:lnTo>
                    <a:pt x="630" y="1484"/>
                  </a:lnTo>
                  <a:lnTo>
                    <a:pt x="624" y="1484"/>
                  </a:lnTo>
                  <a:lnTo>
                    <a:pt x="619" y="1483"/>
                  </a:lnTo>
                  <a:lnTo>
                    <a:pt x="609" y="1478"/>
                  </a:lnTo>
                  <a:lnTo>
                    <a:pt x="599" y="1473"/>
                  </a:lnTo>
                  <a:lnTo>
                    <a:pt x="590" y="1467"/>
                  </a:lnTo>
                  <a:lnTo>
                    <a:pt x="580" y="1459"/>
                  </a:lnTo>
                  <a:lnTo>
                    <a:pt x="572" y="1450"/>
                  </a:lnTo>
                  <a:lnTo>
                    <a:pt x="564" y="1441"/>
                  </a:lnTo>
                  <a:lnTo>
                    <a:pt x="555" y="1431"/>
                  </a:lnTo>
                  <a:lnTo>
                    <a:pt x="547" y="1422"/>
                  </a:lnTo>
                  <a:lnTo>
                    <a:pt x="538" y="1413"/>
                  </a:lnTo>
                  <a:lnTo>
                    <a:pt x="527" y="1404"/>
                  </a:lnTo>
                  <a:lnTo>
                    <a:pt x="517" y="1397"/>
                  </a:lnTo>
                  <a:lnTo>
                    <a:pt x="505" y="1391"/>
                  </a:lnTo>
                  <a:lnTo>
                    <a:pt x="499" y="1389"/>
                  </a:lnTo>
                  <a:lnTo>
                    <a:pt x="492" y="1387"/>
                  </a:lnTo>
                  <a:lnTo>
                    <a:pt x="486" y="1385"/>
                  </a:lnTo>
                  <a:lnTo>
                    <a:pt x="478" y="1384"/>
                  </a:lnTo>
                  <a:lnTo>
                    <a:pt x="458" y="1381"/>
                  </a:lnTo>
                  <a:lnTo>
                    <a:pt x="442" y="1376"/>
                  </a:lnTo>
                  <a:lnTo>
                    <a:pt x="425" y="1371"/>
                  </a:lnTo>
                  <a:lnTo>
                    <a:pt x="409" y="1367"/>
                  </a:lnTo>
                  <a:lnTo>
                    <a:pt x="402" y="1364"/>
                  </a:lnTo>
                  <a:lnTo>
                    <a:pt x="394" y="1363"/>
                  </a:lnTo>
                  <a:lnTo>
                    <a:pt x="385" y="1361"/>
                  </a:lnTo>
                  <a:lnTo>
                    <a:pt x="377" y="1361"/>
                  </a:lnTo>
                  <a:lnTo>
                    <a:pt x="369" y="1361"/>
                  </a:lnTo>
                  <a:lnTo>
                    <a:pt x="358" y="1362"/>
                  </a:lnTo>
                  <a:lnTo>
                    <a:pt x="349" y="1363"/>
                  </a:lnTo>
                  <a:lnTo>
                    <a:pt x="337" y="1366"/>
                  </a:lnTo>
                  <a:lnTo>
                    <a:pt x="332" y="1368"/>
                  </a:lnTo>
                  <a:lnTo>
                    <a:pt x="327" y="1371"/>
                  </a:lnTo>
                  <a:lnTo>
                    <a:pt x="322" y="1374"/>
                  </a:lnTo>
                  <a:lnTo>
                    <a:pt x="318" y="1377"/>
                  </a:lnTo>
                  <a:lnTo>
                    <a:pt x="310" y="1386"/>
                  </a:lnTo>
                  <a:lnTo>
                    <a:pt x="304" y="1395"/>
                  </a:lnTo>
                  <a:lnTo>
                    <a:pt x="299" y="1406"/>
                  </a:lnTo>
                  <a:lnTo>
                    <a:pt x="295" y="1419"/>
                  </a:lnTo>
                  <a:lnTo>
                    <a:pt x="293" y="1431"/>
                  </a:lnTo>
                  <a:lnTo>
                    <a:pt x="292" y="1445"/>
                  </a:lnTo>
                  <a:lnTo>
                    <a:pt x="291" y="1459"/>
                  </a:lnTo>
                  <a:lnTo>
                    <a:pt x="292" y="1472"/>
                  </a:lnTo>
                  <a:lnTo>
                    <a:pt x="293" y="1487"/>
                  </a:lnTo>
                  <a:lnTo>
                    <a:pt x="295" y="1500"/>
                  </a:lnTo>
                  <a:lnTo>
                    <a:pt x="298" y="1513"/>
                  </a:lnTo>
                  <a:lnTo>
                    <a:pt x="301" y="1524"/>
                  </a:lnTo>
                  <a:lnTo>
                    <a:pt x="304" y="1536"/>
                  </a:lnTo>
                  <a:lnTo>
                    <a:pt x="308" y="1545"/>
                  </a:lnTo>
                  <a:lnTo>
                    <a:pt x="311" y="1553"/>
                  </a:lnTo>
                  <a:lnTo>
                    <a:pt x="312" y="1559"/>
                  </a:lnTo>
                  <a:lnTo>
                    <a:pt x="313" y="1566"/>
                  </a:lnTo>
                  <a:lnTo>
                    <a:pt x="312" y="1572"/>
                  </a:lnTo>
                  <a:lnTo>
                    <a:pt x="311" y="1580"/>
                  </a:lnTo>
                  <a:lnTo>
                    <a:pt x="309" y="1586"/>
                  </a:lnTo>
                  <a:lnTo>
                    <a:pt x="306" y="1592"/>
                  </a:lnTo>
                  <a:lnTo>
                    <a:pt x="303" y="1598"/>
                  </a:lnTo>
                  <a:lnTo>
                    <a:pt x="295" y="1611"/>
                  </a:lnTo>
                  <a:lnTo>
                    <a:pt x="285" y="1622"/>
                  </a:lnTo>
                  <a:lnTo>
                    <a:pt x="275" y="1632"/>
                  </a:lnTo>
                  <a:lnTo>
                    <a:pt x="264" y="1641"/>
                  </a:lnTo>
                  <a:lnTo>
                    <a:pt x="256" y="1648"/>
                  </a:lnTo>
                  <a:lnTo>
                    <a:pt x="249" y="1656"/>
                  </a:lnTo>
                  <a:lnTo>
                    <a:pt x="243" y="1663"/>
                  </a:lnTo>
                  <a:lnTo>
                    <a:pt x="238" y="1669"/>
                  </a:lnTo>
                  <a:lnTo>
                    <a:pt x="234" y="1675"/>
                  </a:lnTo>
                  <a:lnTo>
                    <a:pt x="232" y="1681"/>
                  </a:lnTo>
                  <a:lnTo>
                    <a:pt x="230" y="1686"/>
                  </a:lnTo>
                  <a:lnTo>
                    <a:pt x="229" y="1691"/>
                  </a:lnTo>
                  <a:lnTo>
                    <a:pt x="227" y="1703"/>
                  </a:lnTo>
                  <a:lnTo>
                    <a:pt x="226" y="1715"/>
                  </a:lnTo>
                  <a:lnTo>
                    <a:pt x="223" y="1730"/>
                  </a:lnTo>
                  <a:lnTo>
                    <a:pt x="217" y="1748"/>
                  </a:lnTo>
                  <a:lnTo>
                    <a:pt x="218" y="1766"/>
                  </a:lnTo>
                  <a:lnTo>
                    <a:pt x="217" y="1783"/>
                  </a:lnTo>
                  <a:lnTo>
                    <a:pt x="213" y="1797"/>
                  </a:lnTo>
                  <a:lnTo>
                    <a:pt x="209" y="1808"/>
                  </a:lnTo>
                  <a:lnTo>
                    <a:pt x="204" y="1819"/>
                  </a:lnTo>
                  <a:lnTo>
                    <a:pt x="197" y="1827"/>
                  </a:lnTo>
                  <a:lnTo>
                    <a:pt x="188" y="1834"/>
                  </a:lnTo>
                  <a:lnTo>
                    <a:pt x="179" y="1840"/>
                  </a:lnTo>
                  <a:lnTo>
                    <a:pt x="159" y="1853"/>
                  </a:lnTo>
                  <a:lnTo>
                    <a:pt x="137" y="1864"/>
                  </a:lnTo>
                  <a:lnTo>
                    <a:pt x="126" y="1871"/>
                  </a:lnTo>
                  <a:lnTo>
                    <a:pt x="114" y="1878"/>
                  </a:lnTo>
                  <a:lnTo>
                    <a:pt x="103" y="1886"/>
                  </a:lnTo>
                  <a:lnTo>
                    <a:pt x="91" y="1897"/>
                  </a:lnTo>
                  <a:lnTo>
                    <a:pt x="89" y="1900"/>
                  </a:lnTo>
                  <a:lnTo>
                    <a:pt x="88" y="1904"/>
                  </a:lnTo>
                  <a:lnTo>
                    <a:pt x="87" y="1908"/>
                  </a:lnTo>
                  <a:lnTo>
                    <a:pt x="87" y="1913"/>
                  </a:lnTo>
                  <a:lnTo>
                    <a:pt x="89" y="1925"/>
                  </a:lnTo>
                  <a:lnTo>
                    <a:pt x="93" y="1937"/>
                  </a:lnTo>
                  <a:lnTo>
                    <a:pt x="99" y="1950"/>
                  </a:lnTo>
                  <a:lnTo>
                    <a:pt x="103" y="1961"/>
                  </a:lnTo>
                  <a:lnTo>
                    <a:pt x="106" y="1972"/>
                  </a:lnTo>
                  <a:lnTo>
                    <a:pt x="107" y="1980"/>
                  </a:lnTo>
                  <a:lnTo>
                    <a:pt x="107" y="1990"/>
                  </a:lnTo>
                  <a:lnTo>
                    <a:pt x="105" y="1998"/>
                  </a:lnTo>
                  <a:lnTo>
                    <a:pt x="103" y="2005"/>
                  </a:lnTo>
                  <a:lnTo>
                    <a:pt x="100" y="2012"/>
                  </a:lnTo>
                  <a:lnTo>
                    <a:pt x="97" y="2017"/>
                  </a:lnTo>
                  <a:lnTo>
                    <a:pt x="92" y="2022"/>
                  </a:lnTo>
                  <a:lnTo>
                    <a:pt x="88" y="2026"/>
                  </a:lnTo>
                  <a:lnTo>
                    <a:pt x="84" y="2030"/>
                  </a:lnTo>
                  <a:lnTo>
                    <a:pt x="75" y="2039"/>
                  </a:lnTo>
                  <a:lnTo>
                    <a:pt x="65" y="2046"/>
                  </a:lnTo>
                  <a:lnTo>
                    <a:pt x="61" y="2050"/>
                  </a:lnTo>
                  <a:lnTo>
                    <a:pt x="58" y="2055"/>
                  </a:lnTo>
                  <a:lnTo>
                    <a:pt x="55" y="2061"/>
                  </a:lnTo>
                  <a:lnTo>
                    <a:pt x="53" y="2067"/>
                  </a:lnTo>
                  <a:lnTo>
                    <a:pt x="43" y="2072"/>
                  </a:lnTo>
                  <a:lnTo>
                    <a:pt x="34" y="2078"/>
                  </a:lnTo>
                  <a:lnTo>
                    <a:pt x="27" y="2086"/>
                  </a:lnTo>
                  <a:lnTo>
                    <a:pt x="22" y="2094"/>
                  </a:lnTo>
                  <a:lnTo>
                    <a:pt x="16" y="2103"/>
                  </a:lnTo>
                  <a:lnTo>
                    <a:pt x="12" y="2113"/>
                  </a:lnTo>
                  <a:lnTo>
                    <a:pt x="10" y="2122"/>
                  </a:lnTo>
                  <a:lnTo>
                    <a:pt x="9" y="2132"/>
                  </a:lnTo>
                  <a:lnTo>
                    <a:pt x="9" y="2142"/>
                  </a:lnTo>
                  <a:lnTo>
                    <a:pt x="10" y="2151"/>
                  </a:lnTo>
                  <a:lnTo>
                    <a:pt x="12" y="2161"/>
                  </a:lnTo>
                  <a:lnTo>
                    <a:pt x="16" y="2170"/>
                  </a:lnTo>
                  <a:lnTo>
                    <a:pt x="20" y="2180"/>
                  </a:lnTo>
                  <a:lnTo>
                    <a:pt x="27" y="2187"/>
                  </a:lnTo>
                  <a:lnTo>
                    <a:pt x="34" y="2194"/>
                  </a:lnTo>
                  <a:lnTo>
                    <a:pt x="42" y="2200"/>
                  </a:lnTo>
                  <a:lnTo>
                    <a:pt x="51" y="2207"/>
                  </a:lnTo>
                  <a:lnTo>
                    <a:pt x="58" y="2213"/>
                  </a:lnTo>
                  <a:lnTo>
                    <a:pt x="63" y="2221"/>
                  </a:lnTo>
                  <a:lnTo>
                    <a:pt x="67" y="2230"/>
                  </a:lnTo>
                  <a:lnTo>
                    <a:pt x="71" y="2239"/>
                  </a:lnTo>
                  <a:lnTo>
                    <a:pt x="72" y="2248"/>
                  </a:lnTo>
                  <a:lnTo>
                    <a:pt x="73" y="2259"/>
                  </a:lnTo>
                  <a:lnTo>
                    <a:pt x="72" y="2269"/>
                  </a:lnTo>
                  <a:lnTo>
                    <a:pt x="69" y="2291"/>
                  </a:lnTo>
                  <a:lnTo>
                    <a:pt x="67" y="2317"/>
                  </a:lnTo>
                  <a:lnTo>
                    <a:pt x="67" y="2330"/>
                  </a:lnTo>
                  <a:lnTo>
                    <a:pt x="65" y="2342"/>
                  </a:lnTo>
                  <a:lnTo>
                    <a:pt x="64" y="2353"/>
                  </a:lnTo>
                  <a:lnTo>
                    <a:pt x="61" y="2363"/>
                  </a:lnTo>
                  <a:lnTo>
                    <a:pt x="60" y="2369"/>
                  </a:lnTo>
                  <a:lnTo>
                    <a:pt x="58" y="2376"/>
                  </a:lnTo>
                  <a:lnTo>
                    <a:pt x="55" y="2383"/>
                  </a:lnTo>
                  <a:lnTo>
                    <a:pt x="52" y="2389"/>
                  </a:lnTo>
                  <a:lnTo>
                    <a:pt x="49" y="2395"/>
                  </a:lnTo>
                  <a:lnTo>
                    <a:pt x="47" y="2402"/>
                  </a:lnTo>
                  <a:lnTo>
                    <a:pt x="44" y="2408"/>
                  </a:lnTo>
                  <a:lnTo>
                    <a:pt x="43" y="2414"/>
                  </a:lnTo>
                  <a:lnTo>
                    <a:pt x="43" y="2424"/>
                  </a:lnTo>
                  <a:lnTo>
                    <a:pt x="43" y="2430"/>
                  </a:lnTo>
                  <a:lnTo>
                    <a:pt x="46" y="2435"/>
                  </a:lnTo>
                  <a:lnTo>
                    <a:pt x="48" y="2439"/>
                  </a:lnTo>
                  <a:lnTo>
                    <a:pt x="54" y="2447"/>
                  </a:lnTo>
                  <a:lnTo>
                    <a:pt x="63" y="2457"/>
                  </a:lnTo>
                  <a:lnTo>
                    <a:pt x="71" y="2459"/>
                  </a:lnTo>
                  <a:lnTo>
                    <a:pt x="79" y="2461"/>
                  </a:lnTo>
                  <a:lnTo>
                    <a:pt x="86" y="2464"/>
                  </a:lnTo>
                  <a:lnTo>
                    <a:pt x="95" y="2468"/>
                  </a:lnTo>
                  <a:lnTo>
                    <a:pt x="101" y="2473"/>
                  </a:lnTo>
                  <a:lnTo>
                    <a:pt x="107" y="2479"/>
                  </a:lnTo>
                  <a:lnTo>
                    <a:pt x="112" y="2485"/>
                  </a:lnTo>
                  <a:lnTo>
                    <a:pt x="115" y="2492"/>
                  </a:lnTo>
                  <a:lnTo>
                    <a:pt x="117" y="2501"/>
                  </a:lnTo>
                  <a:lnTo>
                    <a:pt x="117" y="2507"/>
                  </a:lnTo>
                  <a:lnTo>
                    <a:pt x="115" y="2513"/>
                  </a:lnTo>
                  <a:lnTo>
                    <a:pt x="113" y="2519"/>
                  </a:lnTo>
                  <a:lnTo>
                    <a:pt x="105" y="2529"/>
                  </a:lnTo>
                  <a:lnTo>
                    <a:pt x="95" y="2538"/>
                  </a:lnTo>
                  <a:lnTo>
                    <a:pt x="76" y="2554"/>
                  </a:lnTo>
                  <a:lnTo>
                    <a:pt x="57" y="2569"/>
                  </a:lnTo>
                  <a:lnTo>
                    <a:pt x="37" y="2583"/>
                  </a:lnTo>
                  <a:lnTo>
                    <a:pt x="18" y="2599"/>
                  </a:lnTo>
                  <a:lnTo>
                    <a:pt x="14" y="2603"/>
                  </a:lnTo>
                  <a:lnTo>
                    <a:pt x="11" y="2607"/>
                  </a:lnTo>
                  <a:lnTo>
                    <a:pt x="9" y="2612"/>
                  </a:lnTo>
                  <a:lnTo>
                    <a:pt x="7" y="2618"/>
                  </a:lnTo>
                  <a:lnTo>
                    <a:pt x="4" y="2629"/>
                  </a:lnTo>
                  <a:lnTo>
                    <a:pt x="2" y="2641"/>
                  </a:lnTo>
                  <a:lnTo>
                    <a:pt x="1" y="2666"/>
                  </a:lnTo>
                  <a:lnTo>
                    <a:pt x="0" y="2689"/>
                  </a:lnTo>
                  <a:lnTo>
                    <a:pt x="0" y="2689"/>
                  </a:lnTo>
                  <a:lnTo>
                    <a:pt x="17" y="2692"/>
                  </a:lnTo>
                  <a:lnTo>
                    <a:pt x="35" y="2695"/>
                  </a:lnTo>
                  <a:lnTo>
                    <a:pt x="52" y="2699"/>
                  </a:lnTo>
                  <a:lnTo>
                    <a:pt x="69" y="2703"/>
                  </a:lnTo>
                  <a:lnTo>
                    <a:pt x="86" y="2709"/>
                  </a:lnTo>
                  <a:lnTo>
                    <a:pt x="102" y="2716"/>
                  </a:lnTo>
                  <a:lnTo>
                    <a:pt x="117" y="2725"/>
                  </a:lnTo>
                  <a:lnTo>
                    <a:pt x="133" y="2735"/>
                  </a:lnTo>
                  <a:lnTo>
                    <a:pt x="139" y="2741"/>
                  </a:lnTo>
                  <a:lnTo>
                    <a:pt x="146" y="2747"/>
                  </a:lnTo>
                  <a:lnTo>
                    <a:pt x="150" y="2752"/>
                  </a:lnTo>
                  <a:lnTo>
                    <a:pt x="154" y="2759"/>
                  </a:lnTo>
                  <a:lnTo>
                    <a:pt x="157" y="2765"/>
                  </a:lnTo>
                  <a:lnTo>
                    <a:pt x="159" y="2771"/>
                  </a:lnTo>
                  <a:lnTo>
                    <a:pt x="160" y="2777"/>
                  </a:lnTo>
                  <a:lnTo>
                    <a:pt x="161" y="2784"/>
                  </a:lnTo>
                  <a:lnTo>
                    <a:pt x="162" y="2811"/>
                  </a:lnTo>
                  <a:lnTo>
                    <a:pt x="165" y="2841"/>
                  </a:lnTo>
                  <a:lnTo>
                    <a:pt x="174" y="2848"/>
                  </a:lnTo>
                  <a:lnTo>
                    <a:pt x="182" y="2856"/>
                  </a:lnTo>
                  <a:lnTo>
                    <a:pt x="189" y="2861"/>
                  </a:lnTo>
                  <a:lnTo>
                    <a:pt x="198" y="2865"/>
                  </a:lnTo>
                  <a:lnTo>
                    <a:pt x="206" y="2867"/>
                  </a:lnTo>
                  <a:lnTo>
                    <a:pt x="214" y="2870"/>
                  </a:lnTo>
                  <a:lnTo>
                    <a:pt x="226" y="2871"/>
                  </a:lnTo>
                  <a:lnTo>
                    <a:pt x="237" y="2873"/>
                  </a:lnTo>
                  <a:lnTo>
                    <a:pt x="247" y="2874"/>
                  </a:lnTo>
                  <a:lnTo>
                    <a:pt x="254" y="2877"/>
                  </a:lnTo>
                  <a:lnTo>
                    <a:pt x="260" y="2883"/>
                  </a:lnTo>
                  <a:lnTo>
                    <a:pt x="266" y="2888"/>
                  </a:lnTo>
                  <a:lnTo>
                    <a:pt x="274" y="2900"/>
                  </a:lnTo>
                  <a:lnTo>
                    <a:pt x="282" y="2914"/>
                  </a:lnTo>
                  <a:lnTo>
                    <a:pt x="279" y="2953"/>
                  </a:lnTo>
                  <a:lnTo>
                    <a:pt x="276" y="2992"/>
                  </a:lnTo>
                  <a:lnTo>
                    <a:pt x="276" y="3002"/>
                  </a:lnTo>
                  <a:lnTo>
                    <a:pt x="276" y="3011"/>
                  </a:lnTo>
                  <a:lnTo>
                    <a:pt x="276" y="3020"/>
                  </a:lnTo>
                  <a:lnTo>
                    <a:pt x="278" y="3030"/>
                  </a:lnTo>
                  <a:lnTo>
                    <a:pt x="280" y="3038"/>
                  </a:lnTo>
                  <a:lnTo>
                    <a:pt x="283" y="3046"/>
                  </a:lnTo>
                  <a:lnTo>
                    <a:pt x="287" y="3055"/>
                  </a:lnTo>
                  <a:lnTo>
                    <a:pt x="293" y="3063"/>
                  </a:lnTo>
                  <a:lnTo>
                    <a:pt x="298" y="3068"/>
                  </a:lnTo>
                  <a:lnTo>
                    <a:pt x="302" y="3073"/>
                  </a:lnTo>
                  <a:lnTo>
                    <a:pt x="308" y="3077"/>
                  </a:lnTo>
                  <a:lnTo>
                    <a:pt x="315" y="3080"/>
                  </a:lnTo>
                  <a:lnTo>
                    <a:pt x="327" y="3085"/>
                  </a:lnTo>
                  <a:lnTo>
                    <a:pt x="342" y="3088"/>
                  </a:lnTo>
                  <a:lnTo>
                    <a:pt x="371" y="3092"/>
                  </a:lnTo>
                  <a:lnTo>
                    <a:pt x="398" y="3098"/>
                  </a:lnTo>
                  <a:lnTo>
                    <a:pt x="408" y="3102"/>
                  </a:lnTo>
                  <a:lnTo>
                    <a:pt x="419" y="3109"/>
                  </a:lnTo>
                  <a:lnTo>
                    <a:pt x="429" y="3117"/>
                  </a:lnTo>
                  <a:lnTo>
                    <a:pt x="440" y="3127"/>
                  </a:lnTo>
                  <a:lnTo>
                    <a:pt x="450" y="3138"/>
                  </a:lnTo>
                  <a:lnTo>
                    <a:pt x="459" y="3150"/>
                  </a:lnTo>
                  <a:lnTo>
                    <a:pt x="469" y="3163"/>
                  </a:lnTo>
                  <a:lnTo>
                    <a:pt x="478" y="3177"/>
                  </a:lnTo>
                  <a:lnTo>
                    <a:pt x="496" y="3205"/>
                  </a:lnTo>
                  <a:lnTo>
                    <a:pt x="513" y="3232"/>
                  </a:lnTo>
                  <a:lnTo>
                    <a:pt x="528" y="3257"/>
                  </a:lnTo>
                  <a:lnTo>
                    <a:pt x="543" y="3277"/>
                  </a:lnTo>
                  <a:lnTo>
                    <a:pt x="543" y="3305"/>
                  </a:lnTo>
                  <a:lnTo>
                    <a:pt x="544" y="3334"/>
                  </a:lnTo>
                  <a:lnTo>
                    <a:pt x="545" y="3342"/>
                  </a:lnTo>
                  <a:lnTo>
                    <a:pt x="547" y="3349"/>
                  </a:lnTo>
                  <a:lnTo>
                    <a:pt x="549" y="3355"/>
                  </a:lnTo>
                  <a:lnTo>
                    <a:pt x="551" y="3362"/>
                  </a:lnTo>
                  <a:lnTo>
                    <a:pt x="555" y="3368"/>
                  </a:lnTo>
                  <a:lnTo>
                    <a:pt x="560" y="3373"/>
                  </a:lnTo>
                  <a:lnTo>
                    <a:pt x="565" y="3378"/>
                  </a:lnTo>
                  <a:lnTo>
                    <a:pt x="571" y="3382"/>
                  </a:lnTo>
                  <a:lnTo>
                    <a:pt x="576" y="3385"/>
                  </a:lnTo>
                  <a:lnTo>
                    <a:pt x="582" y="3388"/>
                  </a:lnTo>
                  <a:lnTo>
                    <a:pt x="589" y="3390"/>
                  </a:lnTo>
                  <a:lnTo>
                    <a:pt x="595" y="3391"/>
                  </a:lnTo>
                  <a:lnTo>
                    <a:pt x="609" y="3393"/>
                  </a:lnTo>
                  <a:lnTo>
                    <a:pt x="622" y="3393"/>
                  </a:lnTo>
                  <a:lnTo>
                    <a:pt x="650" y="3392"/>
                  </a:lnTo>
                  <a:lnTo>
                    <a:pt x="677" y="3390"/>
                  </a:lnTo>
                  <a:lnTo>
                    <a:pt x="684" y="3396"/>
                  </a:lnTo>
                  <a:lnTo>
                    <a:pt x="688" y="3403"/>
                  </a:lnTo>
                  <a:lnTo>
                    <a:pt x="691" y="3411"/>
                  </a:lnTo>
                  <a:lnTo>
                    <a:pt x="694" y="3419"/>
                  </a:lnTo>
                  <a:lnTo>
                    <a:pt x="696" y="3437"/>
                  </a:lnTo>
                  <a:lnTo>
                    <a:pt x="697" y="3454"/>
                  </a:lnTo>
                  <a:lnTo>
                    <a:pt x="700" y="3461"/>
                  </a:lnTo>
                  <a:lnTo>
                    <a:pt x="703" y="3466"/>
                  </a:lnTo>
                  <a:lnTo>
                    <a:pt x="724" y="3472"/>
                  </a:lnTo>
                  <a:lnTo>
                    <a:pt x="724" y="3472"/>
                  </a:lnTo>
                  <a:lnTo>
                    <a:pt x="733" y="3462"/>
                  </a:lnTo>
                  <a:lnTo>
                    <a:pt x="742" y="3452"/>
                  </a:lnTo>
                  <a:lnTo>
                    <a:pt x="751" y="3445"/>
                  </a:lnTo>
                  <a:lnTo>
                    <a:pt x="762" y="3439"/>
                  </a:lnTo>
                  <a:lnTo>
                    <a:pt x="772" y="3433"/>
                  </a:lnTo>
                  <a:lnTo>
                    <a:pt x="784" y="3430"/>
                  </a:lnTo>
                  <a:lnTo>
                    <a:pt x="795" y="3428"/>
                  </a:lnTo>
                  <a:lnTo>
                    <a:pt x="809" y="3427"/>
                  </a:lnTo>
                  <a:lnTo>
                    <a:pt x="837" y="3427"/>
                  </a:lnTo>
                  <a:lnTo>
                    <a:pt x="864" y="3427"/>
                  </a:lnTo>
                  <a:lnTo>
                    <a:pt x="876" y="3428"/>
                  </a:lnTo>
                  <a:lnTo>
                    <a:pt x="890" y="3429"/>
                  </a:lnTo>
                  <a:lnTo>
                    <a:pt x="904" y="3431"/>
                  </a:lnTo>
                  <a:lnTo>
                    <a:pt x="918" y="3433"/>
                  </a:lnTo>
                  <a:lnTo>
                    <a:pt x="930" y="3436"/>
                  </a:lnTo>
                  <a:lnTo>
                    <a:pt x="940" y="3436"/>
                  </a:lnTo>
                  <a:lnTo>
                    <a:pt x="949" y="3433"/>
                  </a:lnTo>
                  <a:lnTo>
                    <a:pt x="959" y="3431"/>
                  </a:lnTo>
                  <a:lnTo>
                    <a:pt x="977" y="3423"/>
                  </a:lnTo>
                  <a:lnTo>
                    <a:pt x="996" y="3415"/>
                  </a:lnTo>
                  <a:lnTo>
                    <a:pt x="1009" y="3412"/>
                  </a:lnTo>
                  <a:lnTo>
                    <a:pt x="1021" y="3411"/>
                  </a:lnTo>
                  <a:lnTo>
                    <a:pt x="1035" y="3408"/>
                  </a:lnTo>
                  <a:lnTo>
                    <a:pt x="1047" y="3407"/>
                  </a:lnTo>
                  <a:lnTo>
                    <a:pt x="1060" y="3405"/>
                  </a:lnTo>
                  <a:lnTo>
                    <a:pt x="1071" y="3402"/>
                  </a:lnTo>
                  <a:lnTo>
                    <a:pt x="1077" y="3399"/>
                  </a:lnTo>
                  <a:lnTo>
                    <a:pt x="1082" y="3396"/>
                  </a:lnTo>
                  <a:lnTo>
                    <a:pt x="1087" y="3393"/>
                  </a:lnTo>
                  <a:lnTo>
                    <a:pt x="1091" y="3388"/>
                  </a:lnTo>
                  <a:lnTo>
                    <a:pt x="1098" y="3378"/>
                  </a:lnTo>
                  <a:lnTo>
                    <a:pt x="1105" y="3366"/>
                  </a:lnTo>
                  <a:lnTo>
                    <a:pt x="1113" y="3351"/>
                  </a:lnTo>
                  <a:lnTo>
                    <a:pt x="1120" y="3335"/>
                  </a:lnTo>
                  <a:lnTo>
                    <a:pt x="1127" y="3320"/>
                  </a:lnTo>
                  <a:lnTo>
                    <a:pt x="1132" y="3305"/>
                  </a:lnTo>
                  <a:lnTo>
                    <a:pt x="1135" y="3291"/>
                  </a:lnTo>
                  <a:lnTo>
                    <a:pt x="1136" y="3279"/>
                  </a:lnTo>
                  <a:lnTo>
                    <a:pt x="1141" y="3277"/>
                  </a:lnTo>
                  <a:lnTo>
                    <a:pt x="1147" y="3276"/>
                  </a:lnTo>
                  <a:lnTo>
                    <a:pt x="1154" y="3276"/>
                  </a:lnTo>
                  <a:lnTo>
                    <a:pt x="1161" y="3276"/>
                  </a:lnTo>
                  <a:lnTo>
                    <a:pt x="1168" y="3276"/>
                  </a:lnTo>
                  <a:lnTo>
                    <a:pt x="1177" y="3275"/>
                  </a:lnTo>
                  <a:lnTo>
                    <a:pt x="1184" y="3274"/>
                  </a:lnTo>
                  <a:lnTo>
                    <a:pt x="1190" y="3271"/>
                  </a:lnTo>
                  <a:lnTo>
                    <a:pt x="1197" y="3267"/>
                  </a:lnTo>
                  <a:lnTo>
                    <a:pt x="1204" y="3261"/>
                  </a:lnTo>
                  <a:lnTo>
                    <a:pt x="1210" y="3256"/>
                  </a:lnTo>
                  <a:lnTo>
                    <a:pt x="1216" y="3250"/>
                  </a:lnTo>
                  <a:lnTo>
                    <a:pt x="1222" y="3244"/>
                  </a:lnTo>
                  <a:lnTo>
                    <a:pt x="1227" y="3236"/>
                  </a:lnTo>
                  <a:lnTo>
                    <a:pt x="1231" y="3229"/>
                  </a:lnTo>
                  <a:lnTo>
                    <a:pt x="1234" y="3222"/>
                  </a:lnTo>
                  <a:lnTo>
                    <a:pt x="1241" y="3216"/>
                  </a:lnTo>
                  <a:lnTo>
                    <a:pt x="1249" y="3210"/>
                  </a:lnTo>
                  <a:lnTo>
                    <a:pt x="1256" y="3203"/>
                  </a:lnTo>
                  <a:lnTo>
                    <a:pt x="1262" y="3195"/>
                  </a:lnTo>
                  <a:lnTo>
                    <a:pt x="1274" y="3177"/>
                  </a:lnTo>
                  <a:lnTo>
                    <a:pt x="1283" y="3161"/>
                  </a:lnTo>
                  <a:lnTo>
                    <a:pt x="1285" y="3157"/>
                  </a:lnTo>
                  <a:lnTo>
                    <a:pt x="1287" y="3153"/>
                  </a:lnTo>
                  <a:lnTo>
                    <a:pt x="1287" y="3150"/>
                  </a:lnTo>
                  <a:lnTo>
                    <a:pt x="1287" y="3146"/>
                  </a:lnTo>
                  <a:lnTo>
                    <a:pt x="1286" y="3138"/>
                  </a:lnTo>
                  <a:lnTo>
                    <a:pt x="1283" y="3131"/>
                  </a:lnTo>
                  <a:lnTo>
                    <a:pt x="1279" y="3124"/>
                  </a:lnTo>
                  <a:lnTo>
                    <a:pt x="1276" y="3117"/>
                  </a:lnTo>
                  <a:lnTo>
                    <a:pt x="1273" y="3110"/>
                  </a:lnTo>
                  <a:lnTo>
                    <a:pt x="1272" y="3104"/>
                  </a:lnTo>
                  <a:lnTo>
                    <a:pt x="1277" y="3100"/>
                  </a:lnTo>
                  <a:lnTo>
                    <a:pt x="1282" y="3095"/>
                  </a:lnTo>
                  <a:lnTo>
                    <a:pt x="1288" y="3092"/>
                  </a:lnTo>
                  <a:lnTo>
                    <a:pt x="1295" y="3090"/>
                  </a:lnTo>
                  <a:lnTo>
                    <a:pt x="1309" y="3086"/>
                  </a:lnTo>
                  <a:lnTo>
                    <a:pt x="1324" y="3082"/>
                  </a:lnTo>
                  <a:lnTo>
                    <a:pt x="1339" y="3079"/>
                  </a:lnTo>
                  <a:lnTo>
                    <a:pt x="1354" y="3075"/>
                  </a:lnTo>
                  <a:lnTo>
                    <a:pt x="1361" y="3071"/>
                  </a:lnTo>
                  <a:lnTo>
                    <a:pt x="1369" y="3068"/>
                  </a:lnTo>
                  <a:lnTo>
                    <a:pt x="1375" y="3065"/>
                  </a:lnTo>
                  <a:lnTo>
                    <a:pt x="1381" y="3061"/>
                  </a:lnTo>
                  <a:lnTo>
                    <a:pt x="1384" y="3059"/>
                  </a:lnTo>
                  <a:lnTo>
                    <a:pt x="1389" y="3059"/>
                  </a:lnTo>
                  <a:lnTo>
                    <a:pt x="1395" y="3060"/>
                  </a:lnTo>
                  <a:lnTo>
                    <a:pt x="1400" y="3062"/>
                  </a:lnTo>
                  <a:lnTo>
                    <a:pt x="1406" y="3065"/>
                  </a:lnTo>
                  <a:lnTo>
                    <a:pt x="1412" y="3068"/>
                  </a:lnTo>
                  <a:lnTo>
                    <a:pt x="1419" y="3074"/>
                  </a:lnTo>
                  <a:lnTo>
                    <a:pt x="1424" y="3079"/>
                  </a:lnTo>
                  <a:lnTo>
                    <a:pt x="1436" y="3090"/>
                  </a:lnTo>
                  <a:lnTo>
                    <a:pt x="1447" y="3102"/>
                  </a:lnTo>
                  <a:lnTo>
                    <a:pt x="1454" y="3113"/>
                  </a:lnTo>
                  <a:lnTo>
                    <a:pt x="1458" y="3123"/>
                  </a:lnTo>
                  <a:lnTo>
                    <a:pt x="1461" y="3138"/>
                  </a:lnTo>
                  <a:lnTo>
                    <a:pt x="1466" y="3158"/>
                  </a:lnTo>
                  <a:lnTo>
                    <a:pt x="1469" y="3169"/>
                  </a:lnTo>
                  <a:lnTo>
                    <a:pt x="1473" y="3176"/>
                  </a:lnTo>
                  <a:lnTo>
                    <a:pt x="1475" y="3179"/>
                  </a:lnTo>
                  <a:lnTo>
                    <a:pt x="1477" y="3182"/>
                  </a:lnTo>
                  <a:lnTo>
                    <a:pt x="1480" y="3183"/>
                  </a:lnTo>
                  <a:lnTo>
                    <a:pt x="1483" y="3184"/>
                  </a:lnTo>
                  <a:lnTo>
                    <a:pt x="1487" y="3183"/>
                  </a:lnTo>
                  <a:lnTo>
                    <a:pt x="1493" y="3183"/>
                  </a:lnTo>
                  <a:lnTo>
                    <a:pt x="1498" y="3181"/>
                  </a:lnTo>
                  <a:lnTo>
                    <a:pt x="1503" y="3179"/>
                  </a:lnTo>
                  <a:lnTo>
                    <a:pt x="1508" y="3176"/>
                  </a:lnTo>
                  <a:lnTo>
                    <a:pt x="1513" y="3173"/>
                  </a:lnTo>
                  <a:lnTo>
                    <a:pt x="1516" y="3169"/>
                  </a:lnTo>
                  <a:lnTo>
                    <a:pt x="1517" y="3164"/>
                  </a:lnTo>
                  <a:lnTo>
                    <a:pt x="1520" y="3162"/>
                  </a:lnTo>
                  <a:lnTo>
                    <a:pt x="1523" y="3159"/>
                  </a:lnTo>
                  <a:lnTo>
                    <a:pt x="1525" y="3156"/>
                  </a:lnTo>
                  <a:lnTo>
                    <a:pt x="1527" y="3153"/>
                  </a:lnTo>
                  <a:lnTo>
                    <a:pt x="1529" y="3145"/>
                  </a:lnTo>
                  <a:lnTo>
                    <a:pt x="1531" y="3135"/>
                  </a:lnTo>
                  <a:lnTo>
                    <a:pt x="1531" y="3126"/>
                  </a:lnTo>
                  <a:lnTo>
                    <a:pt x="1531" y="3115"/>
                  </a:lnTo>
                  <a:lnTo>
                    <a:pt x="1530" y="3104"/>
                  </a:lnTo>
                  <a:lnTo>
                    <a:pt x="1528" y="3093"/>
                  </a:lnTo>
                  <a:lnTo>
                    <a:pt x="1525" y="3070"/>
                  </a:lnTo>
                  <a:lnTo>
                    <a:pt x="1523" y="3050"/>
                  </a:lnTo>
                  <a:lnTo>
                    <a:pt x="1523" y="3039"/>
                  </a:lnTo>
                  <a:lnTo>
                    <a:pt x="1523" y="3031"/>
                  </a:lnTo>
                  <a:lnTo>
                    <a:pt x="1525" y="3023"/>
                  </a:lnTo>
                  <a:lnTo>
                    <a:pt x="1528" y="3017"/>
                  </a:lnTo>
                  <a:lnTo>
                    <a:pt x="1534" y="3006"/>
                  </a:lnTo>
                  <a:lnTo>
                    <a:pt x="1542" y="2989"/>
                  </a:lnTo>
                  <a:lnTo>
                    <a:pt x="1551" y="2971"/>
                  </a:lnTo>
                  <a:lnTo>
                    <a:pt x="1560" y="2954"/>
                  </a:lnTo>
                  <a:lnTo>
                    <a:pt x="1566" y="2946"/>
                  </a:lnTo>
                  <a:lnTo>
                    <a:pt x="1571" y="2939"/>
                  </a:lnTo>
                  <a:lnTo>
                    <a:pt x="1576" y="2935"/>
                  </a:lnTo>
                  <a:lnTo>
                    <a:pt x="1580" y="2932"/>
                  </a:lnTo>
                  <a:lnTo>
                    <a:pt x="1582" y="2931"/>
                  </a:lnTo>
                  <a:lnTo>
                    <a:pt x="1585" y="2931"/>
                  </a:lnTo>
                  <a:lnTo>
                    <a:pt x="1588" y="2931"/>
                  </a:lnTo>
                  <a:lnTo>
                    <a:pt x="1590" y="2932"/>
                  </a:lnTo>
                  <a:lnTo>
                    <a:pt x="1594" y="2937"/>
                  </a:lnTo>
                  <a:lnTo>
                    <a:pt x="1597" y="2944"/>
                  </a:lnTo>
                  <a:lnTo>
                    <a:pt x="1603" y="2965"/>
                  </a:lnTo>
                  <a:lnTo>
                    <a:pt x="1608" y="2986"/>
                  </a:lnTo>
                  <a:lnTo>
                    <a:pt x="1611" y="2991"/>
                  </a:lnTo>
                  <a:lnTo>
                    <a:pt x="1613" y="2995"/>
                  </a:lnTo>
                  <a:lnTo>
                    <a:pt x="1615" y="2999"/>
                  </a:lnTo>
                  <a:lnTo>
                    <a:pt x="1619" y="3003"/>
                  </a:lnTo>
                  <a:lnTo>
                    <a:pt x="1622" y="3006"/>
                  </a:lnTo>
                  <a:lnTo>
                    <a:pt x="1626" y="3008"/>
                  </a:lnTo>
                  <a:lnTo>
                    <a:pt x="1631" y="3009"/>
                  </a:lnTo>
                  <a:lnTo>
                    <a:pt x="1638" y="3009"/>
                  </a:lnTo>
                  <a:lnTo>
                    <a:pt x="1645" y="3009"/>
                  </a:lnTo>
                  <a:lnTo>
                    <a:pt x="1653" y="3008"/>
                  </a:lnTo>
                  <a:lnTo>
                    <a:pt x="1662" y="3006"/>
                  </a:lnTo>
                  <a:lnTo>
                    <a:pt x="1670" y="3003"/>
                  </a:lnTo>
                  <a:lnTo>
                    <a:pt x="1678" y="2999"/>
                  </a:lnTo>
                  <a:lnTo>
                    <a:pt x="1686" y="2995"/>
                  </a:lnTo>
                  <a:lnTo>
                    <a:pt x="1692" y="2990"/>
                  </a:lnTo>
                  <a:lnTo>
                    <a:pt x="1698" y="2985"/>
                  </a:lnTo>
                  <a:lnTo>
                    <a:pt x="1705" y="2978"/>
                  </a:lnTo>
                  <a:lnTo>
                    <a:pt x="1711" y="2970"/>
                  </a:lnTo>
                  <a:lnTo>
                    <a:pt x="1716" y="2962"/>
                  </a:lnTo>
                  <a:lnTo>
                    <a:pt x="1721" y="2955"/>
                  </a:lnTo>
                  <a:lnTo>
                    <a:pt x="1724" y="2946"/>
                  </a:lnTo>
                  <a:lnTo>
                    <a:pt x="1727" y="2938"/>
                  </a:lnTo>
                  <a:lnTo>
                    <a:pt x="1729" y="2930"/>
                  </a:lnTo>
                  <a:lnTo>
                    <a:pt x="1730" y="2921"/>
                  </a:lnTo>
                  <a:lnTo>
                    <a:pt x="1731" y="2913"/>
                  </a:lnTo>
                  <a:lnTo>
                    <a:pt x="1731" y="2905"/>
                  </a:lnTo>
                  <a:lnTo>
                    <a:pt x="1730" y="2895"/>
                  </a:lnTo>
                  <a:lnTo>
                    <a:pt x="1728" y="2887"/>
                  </a:lnTo>
                  <a:lnTo>
                    <a:pt x="1726" y="2877"/>
                  </a:lnTo>
                  <a:lnTo>
                    <a:pt x="1723" y="2869"/>
                  </a:lnTo>
                  <a:lnTo>
                    <a:pt x="1719" y="2860"/>
                  </a:lnTo>
                  <a:lnTo>
                    <a:pt x="1715" y="2851"/>
                  </a:lnTo>
                  <a:lnTo>
                    <a:pt x="1713" y="2844"/>
                  </a:lnTo>
                  <a:lnTo>
                    <a:pt x="1709" y="2836"/>
                  </a:lnTo>
                  <a:lnTo>
                    <a:pt x="1703" y="2826"/>
                  </a:lnTo>
                  <a:lnTo>
                    <a:pt x="1696" y="2817"/>
                  </a:lnTo>
                  <a:lnTo>
                    <a:pt x="1680" y="2797"/>
                  </a:lnTo>
                  <a:lnTo>
                    <a:pt x="1664" y="2777"/>
                  </a:lnTo>
                  <a:lnTo>
                    <a:pt x="1647" y="2757"/>
                  </a:lnTo>
                  <a:lnTo>
                    <a:pt x="1632" y="2739"/>
                  </a:lnTo>
                  <a:lnTo>
                    <a:pt x="1626" y="2730"/>
                  </a:lnTo>
                  <a:lnTo>
                    <a:pt x="1622" y="2722"/>
                  </a:lnTo>
                  <a:lnTo>
                    <a:pt x="1619" y="2716"/>
                  </a:lnTo>
                  <a:lnTo>
                    <a:pt x="1618" y="2709"/>
                  </a:lnTo>
                  <a:lnTo>
                    <a:pt x="1690" y="2691"/>
                  </a:lnTo>
                  <a:lnTo>
                    <a:pt x="1698" y="2688"/>
                  </a:lnTo>
                  <a:lnTo>
                    <a:pt x="1706" y="2684"/>
                  </a:lnTo>
                  <a:lnTo>
                    <a:pt x="1715" y="2680"/>
                  </a:lnTo>
                  <a:lnTo>
                    <a:pt x="1722" y="2675"/>
                  </a:lnTo>
                  <a:lnTo>
                    <a:pt x="1729" y="2671"/>
                  </a:lnTo>
                  <a:lnTo>
                    <a:pt x="1738" y="2667"/>
                  </a:lnTo>
                  <a:lnTo>
                    <a:pt x="1745" y="2664"/>
                  </a:lnTo>
                  <a:lnTo>
                    <a:pt x="1753" y="2660"/>
                  </a:lnTo>
                  <a:lnTo>
                    <a:pt x="1765" y="2657"/>
                  </a:lnTo>
                  <a:lnTo>
                    <a:pt x="1775" y="2656"/>
                  </a:lnTo>
                  <a:lnTo>
                    <a:pt x="1786" y="2655"/>
                  </a:lnTo>
                  <a:lnTo>
                    <a:pt x="1794" y="2655"/>
                  </a:lnTo>
                  <a:lnTo>
                    <a:pt x="1810" y="2655"/>
                  </a:lnTo>
                  <a:lnTo>
                    <a:pt x="1821" y="2655"/>
                  </a:lnTo>
                  <a:lnTo>
                    <a:pt x="1824" y="2653"/>
                  </a:lnTo>
                  <a:lnTo>
                    <a:pt x="1827" y="2651"/>
                  </a:lnTo>
                  <a:lnTo>
                    <a:pt x="1829" y="2647"/>
                  </a:lnTo>
                  <a:lnTo>
                    <a:pt x="1829" y="2642"/>
                  </a:lnTo>
                  <a:lnTo>
                    <a:pt x="1828" y="2633"/>
                  </a:lnTo>
                  <a:lnTo>
                    <a:pt x="1826" y="2624"/>
                  </a:lnTo>
                  <a:lnTo>
                    <a:pt x="1823" y="2611"/>
                  </a:lnTo>
                  <a:lnTo>
                    <a:pt x="1818" y="2597"/>
                  </a:lnTo>
                  <a:lnTo>
                    <a:pt x="1818" y="2595"/>
                  </a:lnTo>
                  <a:lnTo>
                    <a:pt x="1819" y="2592"/>
                  </a:lnTo>
                  <a:lnTo>
                    <a:pt x="1821" y="2588"/>
                  </a:lnTo>
                  <a:lnTo>
                    <a:pt x="1824" y="2585"/>
                  </a:lnTo>
                  <a:lnTo>
                    <a:pt x="1834" y="2578"/>
                  </a:lnTo>
                  <a:lnTo>
                    <a:pt x="1843" y="2570"/>
                  </a:lnTo>
                  <a:lnTo>
                    <a:pt x="1864" y="2553"/>
                  </a:lnTo>
                  <a:lnTo>
                    <a:pt x="1878" y="2544"/>
                  </a:lnTo>
                  <a:lnTo>
                    <a:pt x="1885" y="2537"/>
                  </a:lnTo>
                  <a:lnTo>
                    <a:pt x="1889" y="2532"/>
                  </a:lnTo>
                  <a:lnTo>
                    <a:pt x="1893" y="2526"/>
                  </a:lnTo>
                  <a:lnTo>
                    <a:pt x="1895" y="2520"/>
                  </a:lnTo>
                  <a:lnTo>
                    <a:pt x="1895" y="2513"/>
                  </a:lnTo>
                  <a:lnTo>
                    <a:pt x="1895" y="2507"/>
                  </a:lnTo>
                  <a:lnTo>
                    <a:pt x="1894" y="2501"/>
                  </a:lnTo>
                  <a:lnTo>
                    <a:pt x="1892" y="2495"/>
                  </a:lnTo>
                  <a:lnTo>
                    <a:pt x="1889" y="2487"/>
                  </a:lnTo>
                  <a:lnTo>
                    <a:pt x="1886" y="2481"/>
                  </a:lnTo>
                  <a:lnTo>
                    <a:pt x="1882" y="2476"/>
                  </a:lnTo>
                  <a:lnTo>
                    <a:pt x="1876" y="2470"/>
                  </a:lnTo>
                  <a:lnTo>
                    <a:pt x="1871" y="2464"/>
                  </a:lnTo>
                  <a:lnTo>
                    <a:pt x="1865" y="2459"/>
                  </a:lnTo>
                  <a:lnTo>
                    <a:pt x="1860" y="2455"/>
                  </a:lnTo>
                  <a:lnTo>
                    <a:pt x="1853" y="2451"/>
                  </a:lnTo>
                  <a:lnTo>
                    <a:pt x="1855" y="2447"/>
                  </a:lnTo>
                  <a:lnTo>
                    <a:pt x="1857" y="2443"/>
                  </a:lnTo>
                  <a:lnTo>
                    <a:pt x="1861" y="2439"/>
                  </a:lnTo>
                  <a:lnTo>
                    <a:pt x="1867" y="2436"/>
                  </a:lnTo>
                  <a:lnTo>
                    <a:pt x="1881" y="2431"/>
                  </a:lnTo>
                  <a:lnTo>
                    <a:pt x="1897" y="2427"/>
                  </a:lnTo>
                  <a:lnTo>
                    <a:pt x="1932" y="2420"/>
                  </a:lnTo>
                  <a:lnTo>
                    <a:pt x="1957" y="2416"/>
                  </a:lnTo>
                  <a:lnTo>
                    <a:pt x="1960" y="2402"/>
                  </a:lnTo>
                  <a:lnTo>
                    <a:pt x="1965" y="2386"/>
                  </a:lnTo>
                  <a:lnTo>
                    <a:pt x="1971" y="2371"/>
                  </a:lnTo>
                  <a:lnTo>
                    <a:pt x="1979" y="2357"/>
                  </a:lnTo>
                  <a:lnTo>
                    <a:pt x="1983" y="2351"/>
                  </a:lnTo>
                  <a:lnTo>
                    <a:pt x="1988" y="2344"/>
                  </a:lnTo>
                  <a:lnTo>
                    <a:pt x="1993" y="2339"/>
                  </a:lnTo>
                  <a:lnTo>
                    <a:pt x="1998" y="2335"/>
                  </a:lnTo>
                  <a:lnTo>
                    <a:pt x="2005" y="2332"/>
                  </a:lnTo>
                  <a:lnTo>
                    <a:pt x="2011" y="2330"/>
                  </a:lnTo>
                  <a:lnTo>
                    <a:pt x="2018" y="2328"/>
                  </a:lnTo>
                  <a:lnTo>
                    <a:pt x="2027" y="2328"/>
                  </a:lnTo>
                  <a:lnTo>
                    <a:pt x="2039" y="2328"/>
                  </a:lnTo>
                  <a:lnTo>
                    <a:pt x="2048" y="2327"/>
                  </a:lnTo>
                  <a:lnTo>
                    <a:pt x="2056" y="2325"/>
                  </a:lnTo>
                  <a:lnTo>
                    <a:pt x="2062" y="2321"/>
                  </a:lnTo>
                  <a:lnTo>
                    <a:pt x="2066" y="2317"/>
                  </a:lnTo>
                  <a:lnTo>
                    <a:pt x="2069" y="2312"/>
                  </a:lnTo>
                  <a:lnTo>
                    <a:pt x="2071" y="2307"/>
                  </a:lnTo>
                  <a:lnTo>
                    <a:pt x="2072" y="2301"/>
                  </a:lnTo>
                  <a:lnTo>
                    <a:pt x="2076" y="2288"/>
                  </a:lnTo>
                  <a:lnTo>
                    <a:pt x="2080" y="2274"/>
                  </a:lnTo>
                  <a:lnTo>
                    <a:pt x="2083" y="2268"/>
                  </a:lnTo>
                  <a:lnTo>
                    <a:pt x="2087" y="2262"/>
                  </a:lnTo>
                  <a:lnTo>
                    <a:pt x="2093" y="2256"/>
                  </a:lnTo>
                  <a:lnTo>
                    <a:pt x="2102" y="2250"/>
                  </a:lnTo>
                  <a:lnTo>
                    <a:pt x="2145" y="2230"/>
                  </a:lnTo>
                  <a:lnTo>
                    <a:pt x="2145" y="2230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2" name="Freeform 149">
              <a:extLst>
                <a:ext uri="{FF2B5EF4-FFF2-40B4-BE49-F238E27FC236}">
                  <a16:creationId xmlns:a16="http://schemas.microsoft.com/office/drawing/2014/main" id="{4D32EEC9-29CF-4E8A-87A9-27ACC30AB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065" y="5716039"/>
              <a:ext cx="477814" cy="524568"/>
            </a:xfrm>
            <a:custGeom>
              <a:avLst/>
              <a:gdLst>
                <a:gd name="T0" fmla="*/ 1884 w 1901"/>
                <a:gd name="T1" fmla="*/ 1772 h 2160"/>
                <a:gd name="T2" fmla="*/ 1762 w 1901"/>
                <a:gd name="T3" fmla="*/ 1568 h 2160"/>
                <a:gd name="T4" fmla="*/ 1639 w 1901"/>
                <a:gd name="T5" fmla="*/ 1416 h 2160"/>
                <a:gd name="T6" fmla="*/ 1549 w 1901"/>
                <a:gd name="T7" fmla="*/ 1393 h 2160"/>
                <a:gd name="T8" fmla="*/ 1503 w 1901"/>
                <a:gd name="T9" fmla="*/ 1293 h 2160"/>
                <a:gd name="T10" fmla="*/ 1480 w 1901"/>
                <a:gd name="T11" fmla="*/ 1205 h 2160"/>
                <a:gd name="T12" fmla="*/ 1311 w 1901"/>
                <a:gd name="T13" fmla="*/ 1115 h 2160"/>
                <a:gd name="T14" fmla="*/ 1279 w 1901"/>
                <a:gd name="T15" fmla="*/ 986 h 2160"/>
                <a:gd name="T16" fmla="*/ 1366 w 1901"/>
                <a:gd name="T17" fmla="*/ 921 h 2160"/>
                <a:gd name="T18" fmla="*/ 1400 w 1901"/>
                <a:gd name="T19" fmla="*/ 806 h 2160"/>
                <a:gd name="T20" fmla="*/ 1444 w 1901"/>
                <a:gd name="T21" fmla="*/ 715 h 2160"/>
                <a:gd name="T22" fmla="*/ 1522 w 1901"/>
                <a:gd name="T23" fmla="*/ 634 h 2160"/>
                <a:gd name="T24" fmla="*/ 1483 w 1901"/>
                <a:gd name="T25" fmla="*/ 596 h 2160"/>
                <a:gd name="T26" fmla="*/ 1406 w 1901"/>
                <a:gd name="T27" fmla="*/ 643 h 2160"/>
                <a:gd name="T28" fmla="*/ 1372 w 1901"/>
                <a:gd name="T29" fmla="*/ 616 h 2160"/>
                <a:gd name="T30" fmla="*/ 1369 w 1901"/>
                <a:gd name="T31" fmla="*/ 473 h 2160"/>
                <a:gd name="T32" fmla="*/ 1414 w 1901"/>
                <a:gd name="T33" fmla="*/ 358 h 2160"/>
                <a:gd name="T34" fmla="*/ 1370 w 1901"/>
                <a:gd name="T35" fmla="*/ 275 h 2160"/>
                <a:gd name="T36" fmla="*/ 1337 w 1901"/>
                <a:gd name="T37" fmla="*/ 195 h 2160"/>
                <a:gd name="T38" fmla="*/ 1408 w 1901"/>
                <a:gd name="T39" fmla="*/ 115 h 2160"/>
                <a:gd name="T40" fmla="*/ 1381 w 1901"/>
                <a:gd name="T41" fmla="*/ 54 h 2160"/>
                <a:gd name="T42" fmla="*/ 1195 w 1901"/>
                <a:gd name="T43" fmla="*/ 25 h 2160"/>
                <a:gd name="T44" fmla="*/ 1205 w 1901"/>
                <a:gd name="T45" fmla="*/ 131 h 2160"/>
                <a:gd name="T46" fmla="*/ 1158 w 1901"/>
                <a:gd name="T47" fmla="*/ 214 h 2160"/>
                <a:gd name="T48" fmla="*/ 1208 w 1901"/>
                <a:gd name="T49" fmla="*/ 342 h 2160"/>
                <a:gd name="T50" fmla="*/ 1176 w 1901"/>
                <a:gd name="T51" fmla="*/ 400 h 2160"/>
                <a:gd name="T52" fmla="*/ 1065 w 1901"/>
                <a:gd name="T53" fmla="*/ 373 h 2160"/>
                <a:gd name="T54" fmla="*/ 990 w 1901"/>
                <a:gd name="T55" fmla="*/ 334 h 2160"/>
                <a:gd name="T56" fmla="*/ 911 w 1901"/>
                <a:gd name="T57" fmla="*/ 415 h 2160"/>
                <a:gd name="T58" fmla="*/ 816 w 1901"/>
                <a:gd name="T59" fmla="*/ 356 h 2160"/>
                <a:gd name="T60" fmla="*/ 687 w 1901"/>
                <a:gd name="T61" fmla="*/ 356 h 2160"/>
                <a:gd name="T62" fmla="*/ 682 w 1901"/>
                <a:gd name="T63" fmla="*/ 510 h 2160"/>
                <a:gd name="T64" fmla="*/ 699 w 1901"/>
                <a:gd name="T65" fmla="*/ 626 h 2160"/>
                <a:gd name="T66" fmla="*/ 629 w 1901"/>
                <a:gd name="T67" fmla="*/ 722 h 2160"/>
                <a:gd name="T68" fmla="*/ 533 w 1901"/>
                <a:gd name="T69" fmla="*/ 729 h 2160"/>
                <a:gd name="T70" fmla="*/ 457 w 1901"/>
                <a:gd name="T71" fmla="*/ 771 h 2160"/>
                <a:gd name="T72" fmla="*/ 368 w 1901"/>
                <a:gd name="T73" fmla="*/ 781 h 2160"/>
                <a:gd name="T74" fmla="*/ 268 w 1901"/>
                <a:gd name="T75" fmla="*/ 859 h 2160"/>
                <a:gd name="T76" fmla="*/ 231 w 1901"/>
                <a:gd name="T77" fmla="*/ 822 h 2160"/>
                <a:gd name="T78" fmla="*/ 198 w 1901"/>
                <a:gd name="T79" fmla="*/ 706 h 2160"/>
                <a:gd name="T80" fmla="*/ 139 w 1901"/>
                <a:gd name="T81" fmla="*/ 771 h 2160"/>
                <a:gd name="T82" fmla="*/ 123 w 1901"/>
                <a:gd name="T83" fmla="*/ 865 h 2160"/>
                <a:gd name="T84" fmla="*/ 21 w 1901"/>
                <a:gd name="T85" fmla="*/ 894 h 2160"/>
                <a:gd name="T86" fmla="*/ 1 w 1901"/>
                <a:gd name="T87" fmla="*/ 991 h 2160"/>
                <a:gd name="T88" fmla="*/ 84 w 1901"/>
                <a:gd name="T89" fmla="*/ 1061 h 2160"/>
                <a:gd name="T90" fmla="*/ 115 w 1901"/>
                <a:gd name="T91" fmla="*/ 1196 h 2160"/>
                <a:gd name="T92" fmla="*/ 178 w 1901"/>
                <a:gd name="T93" fmla="*/ 1285 h 2160"/>
                <a:gd name="T94" fmla="*/ 271 w 1901"/>
                <a:gd name="T95" fmla="*/ 1280 h 2160"/>
                <a:gd name="T96" fmla="*/ 414 w 1901"/>
                <a:gd name="T97" fmla="*/ 1506 h 2160"/>
                <a:gd name="T98" fmla="*/ 527 w 1901"/>
                <a:gd name="T99" fmla="*/ 1604 h 2160"/>
                <a:gd name="T100" fmla="*/ 636 w 1901"/>
                <a:gd name="T101" fmla="*/ 1654 h 2160"/>
                <a:gd name="T102" fmla="*/ 700 w 1901"/>
                <a:gd name="T103" fmla="*/ 1723 h 2160"/>
                <a:gd name="T104" fmla="*/ 782 w 1901"/>
                <a:gd name="T105" fmla="*/ 1745 h 2160"/>
                <a:gd name="T106" fmla="*/ 956 w 1901"/>
                <a:gd name="T107" fmla="*/ 1779 h 2160"/>
                <a:gd name="T108" fmla="*/ 997 w 1901"/>
                <a:gd name="T109" fmla="*/ 1826 h 2160"/>
                <a:gd name="T110" fmla="*/ 1043 w 1901"/>
                <a:gd name="T111" fmla="*/ 2011 h 2160"/>
                <a:gd name="T112" fmla="*/ 1136 w 1901"/>
                <a:gd name="T113" fmla="*/ 2104 h 2160"/>
                <a:gd name="T114" fmla="*/ 1307 w 1901"/>
                <a:gd name="T115" fmla="*/ 2137 h 2160"/>
                <a:gd name="T116" fmla="*/ 1501 w 1901"/>
                <a:gd name="T117" fmla="*/ 2151 h 2160"/>
                <a:gd name="T118" fmla="*/ 1729 w 1901"/>
                <a:gd name="T119" fmla="*/ 2047 h 2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1" h="2160">
                  <a:moveTo>
                    <a:pt x="1758" y="2040"/>
                  </a:moveTo>
                  <a:lnTo>
                    <a:pt x="1877" y="1931"/>
                  </a:lnTo>
                  <a:lnTo>
                    <a:pt x="1890" y="1920"/>
                  </a:lnTo>
                  <a:lnTo>
                    <a:pt x="1899" y="1910"/>
                  </a:lnTo>
                  <a:lnTo>
                    <a:pt x="1901" y="1888"/>
                  </a:lnTo>
                  <a:lnTo>
                    <a:pt x="1901" y="1868"/>
                  </a:lnTo>
                  <a:lnTo>
                    <a:pt x="1900" y="1849"/>
                  </a:lnTo>
                  <a:lnTo>
                    <a:pt x="1897" y="1830"/>
                  </a:lnTo>
                  <a:lnTo>
                    <a:pt x="1894" y="1811"/>
                  </a:lnTo>
                  <a:lnTo>
                    <a:pt x="1890" y="1792"/>
                  </a:lnTo>
                  <a:lnTo>
                    <a:pt x="1884" y="1772"/>
                  </a:lnTo>
                  <a:lnTo>
                    <a:pt x="1879" y="1751"/>
                  </a:lnTo>
                  <a:lnTo>
                    <a:pt x="1875" y="1735"/>
                  </a:lnTo>
                  <a:lnTo>
                    <a:pt x="1870" y="1718"/>
                  </a:lnTo>
                  <a:lnTo>
                    <a:pt x="1865" y="1703"/>
                  </a:lnTo>
                  <a:lnTo>
                    <a:pt x="1859" y="1689"/>
                  </a:lnTo>
                  <a:lnTo>
                    <a:pt x="1853" y="1674"/>
                  </a:lnTo>
                  <a:lnTo>
                    <a:pt x="1845" y="1661"/>
                  </a:lnTo>
                  <a:lnTo>
                    <a:pt x="1836" y="1647"/>
                  </a:lnTo>
                  <a:lnTo>
                    <a:pt x="1826" y="1633"/>
                  </a:lnTo>
                  <a:lnTo>
                    <a:pt x="1795" y="1599"/>
                  </a:lnTo>
                  <a:lnTo>
                    <a:pt x="1762" y="1568"/>
                  </a:lnTo>
                  <a:lnTo>
                    <a:pt x="1748" y="1551"/>
                  </a:lnTo>
                  <a:lnTo>
                    <a:pt x="1732" y="1534"/>
                  </a:lnTo>
                  <a:lnTo>
                    <a:pt x="1718" y="1517"/>
                  </a:lnTo>
                  <a:lnTo>
                    <a:pt x="1703" y="1498"/>
                  </a:lnTo>
                  <a:lnTo>
                    <a:pt x="1689" y="1475"/>
                  </a:lnTo>
                  <a:lnTo>
                    <a:pt x="1678" y="1456"/>
                  </a:lnTo>
                  <a:lnTo>
                    <a:pt x="1669" y="1441"/>
                  </a:lnTo>
                  <a:lnTo>
                    <a:pt x="1659" y="1429"/>
                  </a:lnTo>
                  <a:lnTo>
                    <a:pt x="1653" y="1424"/>
                  </a:lnTo>
                  <a:lnTo>
                    <a:pt x="1647" y="1420"/>
                  </a:lnTo>
                  <a:lnTo>
                    <a:pt x="1639" y="1416"/>
                  </a:lnTo>
                  <a:lnTo>
                    <a:pt x="1632" y="1413"/>
                  </a:lnTo>
                  <a:lnTo>
                    <a:pt x="1622" y="1411"/>
                  </a:lnTo>
                  <a:lnTo>
                    <a:pt x="1611" y="1410"/>
                  </a:lnTo>
                  <a:lnTo>
                    <a:pt x="1598" y="1409"/>
                  </a:lnTo>
                  <a:lnTo>
                    <a:pt x="1583" y="1409"/>
                  </a:lnTo>
                  <a:lnTo>
                    <a:pt x="1574" y="1410"/>
                  </a:lnTo>
                  <a:lnTo>
                    <a:pt x="1566" y="1409"/>
                  </a:lnTo>
                  <a:lnTo>
                    <a:pt x="1560" y="1407"/>
                  </a:lnTo>
                  <a:lnTo>
                    <a:pt x="1555" y="1404"/>
                  </a:lnTo>
                  <a:lnTo>
                    <a:pt x="1551" y="1399"/>
                  </a:lnTo>
                  <a:lnTo>
                    <a:pt x="1549" y="1393"/>
                  </a:lnTo>
                  <a:lnTo>
                    <a:pt x="1547" y="1387"/>
                  </a:lnTo>
                  <a:lnTo>
                    <a:pt x="1546" y="1380"/>
                  </a:lnTo>
                  <a:lnTo>
                    <a:pt x="1544" y="1348"/>
                  </a:lnTo>
                  <a:lnTo>
                    <a:pt x="1544" y="1319"/>
                  </a:lnTo>
                  <a:lnTo>
                    <a:pt x="1542" y="1314"/>
                  </a:lnTo>
                  <a:lnTo>
                    <a:pt x="1540" y="1310"/>
                  </a:lnTo>
                  <a:lnTo>
                    <a:pt x="1537" y="1307"/>
                  </a:lnTo>
                  <a:lnTo>
                    <a:pt x="1533" y="1304"/>
                  </a:lnTo>
                  <a:lnTo>
                    <a:pt x="1524" y="1300"/>
                  </a:lnTo>
                  <a:lnTo>
                    <a:pt x="1513" y="1296"/>
                  </a:lnTo>
                  <a:lnTo>
                    <a:pt x="1503" y="1293"/>
                  </a:lnTo>
                  <a:lnTo>
                    <a:pt x="1494" y="1289"/>
                  </a:lnTo>
                  <a:lnTo>
                    <a:pt x="1490" y="1287"/>
                  </a:lnTo>
                  <a:lnTo>
                    <a:pt x="1488" y="1284"/>
                  </a:lnTo>
                  <a:lnTo>
                    <a:pt x="1486" y="1280"/>
                  </a:lnTo>
                  <a:lnTo>
                    <a:pt x="1485" y="1276"/>
                  </a:lnTo>
                  <a:lnTo>
                    <a:pt x="1486" y="1251"/>
                  </a:lnTo>
                  <a:lnTo>
                    <a:pt x="1485" y="1231"/>
                  </a:lnTo>
                  <a:lnTo>
                    <a:pt x="1485" y="1223"/>
                  </a:lnTo>
                  <a:lnTo>
                    <a:pt x="1484" y="1216"/>
                  </a:lnTo>
                  <a:lnTo>
                    <a:pt x="1482" y="1210"/>
                  </a:lnTo>
                  <a:lnTo>
                    <a:pt x="1480" y="1205"/>
                  </a:lnTo>
                  <a:lnTo>
                    <a:pt x="1477" y="1200"/>
                  </a:lnTo>
                  <a:lnTo>
                    <a:pt x="1473" y="1196"/>
                  </a:lnTo>
                  <a:lnTo>
                    <a:pt x="1466" y="1192"/>
                  </a:lnTo>
                  <a:lnTo>
                    <a:pt x="1460" y="1188"/>
                  </a:lnTo>
                  <a:lnTo>
                    <a:pt x="1441" y="1180"/>
                  </a:lnTo>
                  <a:lnTo>
                    <a:pt x="1416" y="1171"/>
                  </a:lnTo>
                  <a:lnTo>
                    <a:pt x="1392" y="1162"/>
                  </a:lnTo>
                  <a:lnTo>
                    <a:pt x="1370" y="1152"/>
                  </a:lnTo>
                  <a:lnTo>
                    <a:pt x="1349" y="1141"/>
                  </a:lnTo>
                  <a:lnTo>
                    <a:pt x="1330" y="1128"/>
                  </a:lnTo>
                  <a:lnTo>
                    <a:pt x="1311" y="1115"/>
                  </a:lnTo>
                  <a:lnTo>
                    <a:pt x="1291" y="1101"/>
                  </a:lnTo>
                  <a:lnTo>
                    <a:pt x="1272" y="1087"/>
                  </a:lnTo>
                  <a:lnTo>
                    <a:pt x="1253" y="1073"/>
                  </a:lnTo>
                  <a:lnTo>
                    <a:pt x="1253" y="1058"/>
                  </a:lnTo>
                  <a:lnTo>
                    <a:pt x="1255" y="1042"/>
                  </a:lnTo>
                  <a:lnTo>
                    <a:pt x="1258" y="1026"/>
                  </a:lnTo>
                  <a:lnTo>
                    <a:pt x="1262" y="1012"/>
                  </a:lnTo>
                  <a:lnTo>
                    <a:pt x="1265" y="1004"/>
                  </a:lnTo>
                  <a:lnTo>
                    <a:pt x="1269" y="998"/>
                  </a:lnTo>
                  <a:lnTo>
                    <a:pt x="1273" y="991"/>
                  </a:lnTo>
                  <a:lnTo>
                    <a:pt x="1279" y="986"/>
                  </a:lnTo>
                  <a:lnTo>
                    <a:pt x="1284" y="979"/>
                  </a:lnTo>
                  <a:lnTo>
                    <a:pt x="1290" y="975"/>
                  </a:lnTo>
                  <a:lnTo>
                    <a:pt x="1297" y="970"/>
                  </a:lnTo>
                  <a:lnTo>
                    <a:pt x="1306" y="967"/>
                  </a:lnTo>
                  <a:lnTo>
                    <a:pt x="1317" y="962"/>
                  </a:lnTo>
                  <a:lnTo>
                    <a:pt x="1329" y="955"/>
                  </a:lnTo>
                  <a:lnTo>
                    <a:pt x="1338" y="949"/>
                  </a:lnTo>
                  <a:lnTo>
                    <a:pt x="1346" y="943"/>
                  </a:lnTo>
                  <a:lnTo>
                    <a:pt x="1354" y="935"/>
                  </a:lnTo>
                  <a:lnTo>
                    <a:pt x="1361" y="928"/>
                  </a:lnTo>
                  <a:lnTo>
                    <a:pt x="1366" y="921"/>
                  </a:lnTo>
                  <a:lnTo>
                    <a:pt x="1371" y="913"/>
                  </a:lnTo>
                  <a:lnTo>
                    <a:pt x="1376" y="903"/>
                  </a:lnTo>
                  <a:lnTo>
                    <a:pt x="1379" y="894"/>
                  </a:lnTo>
                  <a:lnTo>
                    <a:pt x="1382" y="884"/>
                  </a:lnTo>
                  <a:lnTo>
                    <a:pt x="1384" y="874"/>
                  </a:lnTo>
                  <a:lnTo>
                    <a:pt x="1388" y="852"/>
                  </a:lnTo>
                  <a:lnTo>
                    <a:pt x="1390" y="829"/>
                  </a:lnTo>
                  <a:lnTo>
                    <a:pt x="1391" y="823"/>
                  </a:lnTo>
                  <a:lnTo>
                    <a:pt x="1394" y="817"/>
                  </a:lnTo>
                  <a:lnTo>
                    <a:pt x="1396" y="811"/>
                  </a:lnTo>
                  <a:lnTo>
                    <a:pt x="1400" y="806"/>
                  </a:lnTo>
                  <a:lnTo>
                    <a:pt x="1408" y="797"/>
                  </a:lnTo>
                  <a:lnTo>
                    <a:pt x="1416" y="787"/>
                  </a:lnTo>
                  <a:lnTo>
                    <a:pt x="1425" y="778"/>
                  </a:lnTo>
                  <a:lnTo>
                    <a:pt x="1433" y="767"/>
                  </a:lnTo>
                  <a:lnTo>
                    <a:pt x="1436" y="762"/>
                  </a:lnTo>
                  <a:lnTo>
                    <a:pt x="1439" y="757"/>
                  </a:lnTo>
                  <a:lnTo>
                    <a:pt x="1442" y="751"/>
                  </a:lnTo>
                  <a:lnTo>
                    <a:pt x="1444" y="745"/>
                  </a:lnTo>
                  <a:lnTo>
                    <a:pt x="1445" y="733"/>
                  </a:lnTo>
                  <a:lnTo>
                    <a:pt x="1444" y="722"/>
                  </a:lnTo>
                  <a:lnTo>
                    <a:pt x="1444" y="715"/>
                  </a:lnTo>
                  <a:lnTo>
                    <a:pt x="1444" y="709"/>
                  </a:lnTo>
                  <a:lnTo>
                    <a:pt x="1445" y="704"/>
                  </a:lnTo>
                  <a:lnTo>
                    <a:pt x="1446" y="699"/>
                  </a:lnTo>
                  <a:lnTo>
                    <a:pt x="1450" y="693"/>
                  </a:lnTo>
                  <a:lnTo>
                    <a:pt x="1452" y="688"/>
                  </a:lnTo>
                  <a:lnTo>
                    <a:pt x="1456" y="684"/>
                  </a:lnTo>
                  <a:lnTo>
                    <a:pt x="1460" y="679"/>
                  </a:lnTo>
                  <a:lnTo>
                    <a:pt x="1469" y="670"/>
                  </a:lnTo>
                  <a:lnTo>
                    <a:pt x="1480" y="662"/>
                  </a:lnTo>
                  <a:lnTo>
                    <a:pt x="1502" y="646"/>
                  </a:lnTo>
                  <a:lnTo>
                    <a:pt x="1522" y="634"/>
                  </a:lnTo>
                  <a:lnTo>
                    <a:pt x="1531" y="626"/>
                  </a:lnTo>
                  <a:lnTo>
                    <a:pt x="1531" y="626"/>
                  </a:lnTo>
                  <a:lnTo>
                    <a:pt x="1528" y="619"/>
                  </a:lnTo>
                  <a:lnTo>
                    <a:pt x="1525" y="613"/>
                  </a:lnTo>
                  <a:lnTo>
                    <a:pt x="1519" y="609"/>
                  </a:lnTo>
                  <a:lnTo>
                    <a:pt x="1514" y="605"/>
                  </a:lnTo>
                  <a:lnTo>
                    <a:pt x="1509" y="602"/>
                  </a:lnTo>
                  <a:lnTo>
                    <a:pt x="1503" y="598"/>
                  </a:lnTo>
                  <a:lnTo>
                    <a:pt x="1497" y="597"/>
                  </a:lnTo>
                  <a:lnTo>
                    <a:pt x="1490" y="596"/>
                  </a:lnTo>
                  <a:lnTo>
                    <a:pt x="1483" y="596"/>
                  </a:lnTo>
                  <a:lnTo>
                    <a:pt x="1477" y="597"/>
                  </a:lnTo>
                  <a:lnTo>
                    <a:pt x="1470" y="598"/>
                  </a:lnTo>
                  <a:lnTo>
                    <a:pt x="1465" y="602"/>
                  </a:lnTo>
                  <a:lnTo>
                    <a:pt x="1459" y="605"/>
                  </a:lnTo>
                  <a:lnTo>
                    <a:pt x="1454" y="609"/>
                  </a:lnTo>
                  <a:lnTo>
                    <a:pt x="1450" y="615"/>
                  </a:lnTo>
                  <a:lnTo>
                    <a:pt x="1446" y="621"/>
                  </a:lnTo>
                  <a:lnTo>
                    <a:pt x="1433" y="631"/>
                  </a:lnTo>
                  <a:lnTo>
                    <a:pt x="1418" y="639"/>
                  </a:lnTo>
                  <a:lnTo>
                    <a:pt x="1411" y="642"/>
                  </a:lnTo>
                  <a:lnTo>
                    <a:pt x="1406" y="643"/>
                  </a:lnTo>
                  <a:lnTo>
                    <a:pt x="1400" y="644"/>
                  </a:lnTo>
                  <a:lnTo>
                    <a:pt x="1395" y="644"/>
                  </a:lnTo>
                  <a:lnTo>
                    <a:pt x="1391" y="643"/>
                  </a:lnTo>
                  <a:lnTo>
                    <a:pt x="1387" y="642"/>
                  </a:lnTo>
                  <a:lnTo>
                    <a:pt x="1384" y="641"/>
                  </a:lnTo>
                  <a:lnTo>
                    <a:pt x="1381" y="638"/>
                  </a:lnTo>
                  <a:lnTo>
                    <a:pt x="1379" y="636"/>
                  </a:lnTo>
                  <a:lnTo>
                    <a:pt x="1377" y="633"/>
                  </a:lnTo>
                  <a:lnTo>
                    <a:pt x="1376" y="629"/>
                  </a:lnTo>
                  <a:lnTo>
                    <a:pt x="1375" y="626"/>
                  </a:lnTo>
                  <a:lnTo>
                    <a:pt x="1372" y="616"/>
                  </a:lnTo>
                  <a:lnTo>
                    <a:pt x="1372" y="606"/>
                  </a:lnTo>
                  <a:lnTo>
                    <a:pt x="1375" y="585"/>
                  </a:lnTo>
                  <a:lnTo>
                    <a:pt x="1379" y="563"/>
                  </a:lnTo>
                  <a:lnTo>
                    <a:pt x="1383" y="543"/>
                  </a:lnTo>
                  <a:lnTo>
                    <a:pt x="1384" y="528"/>
                  </a:lnTo>
                  <a:lnTo>
                    <a:pt x="1384" y="520"/>
                  </a:lnTo>
                  <a:lnTo>
                    <a:pt x="1384" y="513"/>
                  </a:lnTo>
                  <a:lnTo>
                    <a:pt x="1382" y="506"/>
                  </a:lnTo>
                  <a:lnTo>
                    <a:pt x="1380" y="499"/>
                  </a:lnTo>
                  <a:lnTo>
                    <a:pt x="1375" y="486"/>
                  </a:lnTo>
                  <a:lnTo>
                    <a:pt x="1369" y="473"/>
                  </a:lnTo>
                  <a:lnTo>
                    <a:pt x="1363" y="460"/>
                  </a:lnTo>
                  <a:lnTo>
                    <a:pt x="1358" y="447"/>
                  </a:lnTo>
                  <a:lnTo>
                    <a:pt x="1357" y="440"/>
                  </a:lnTo>
                  <a:lnTo>
                    <a:pt x="1356" y="433"/>
                  </a:lnTo>
                  <a:lnTo>
                    <a:pt x="1355" y="425"/>
                  </a:lnTo>
                  <a:lnTo>
                    <a:pt x="1355" y="417"/>
                  </a:lnTo>
                  <a:lnTo>
                    <a:pt x="1364" y="407"/>
                  </a:lnTo>
                  <a:lnTo>
                    <a:pt x="1373" y="396"/>
                  </a:lnTo>
                  <a:lnTo>
                    <a:pt x="1383" y="386"/>
                  </a:lnTo>
                  <a:lnTo>
                    <a:pt x="1393" y="376"/>
                  </a:lnTo>
                  <a:lnTo>
                    <a:pt x="1414" y="358"/>
                  </a:lnTo>
                  <a:lnTo>
                    <a:pt x="1435" y="338"/>
                  </a:lnTo>
                  <a:lnTo>
                    <a:pt x="1435" y="335"/>
                  </a:lnTo>
                  <a:lnTo>
                    <a:pt x="1434" y="330"/>
                  </a:lnTo>
                  <a:lnTo>
                    <a:pt x="1432" y="326"/>
                  </a:lnTo>
                  <a:lnTo>
                    <a:pt x="1430" y="323"/>
                  </a:lnTo>
                  <a:lnTo>
                    <a:pt x="1425" y="316"/>
                  </a:lnTo>
                  <a:lnTo>
                    <a:pt x="1417" y="310"/>
                  </a:lnTo>
                  <a:lnTo>
                    <a:pt x="1401" y="298"/>
                  </a:lnTo>
                  <a:lnTo>
                    <a:pt x="1387" y="289"/>
                  </a:lnTo>
                  <a:lnTo>
                    <a:pt x="1379" y="281"/>
                  </a:lnTo>
                  <a:lnTo>
                    <a:pt x="1370" y="275"/>
                  </a:lnTo>
                  <a:lnTo>
                    <a:pt x="1363" y="267"/>
                  </a:lnTo>
                  <a:lnTo>
                    <a:pt x="1356" y="259"/>
                  </a:lnTo>
                  <a:lnTo>
                    <a:pt x="1349" y="251"/>
                  </a:lnTo>
                  <a:lnTo>
                    <a:pt x="1343" y="242"/>
                  </a:lnTo>
                  <a:lnTo>
                    <a:pt x="1339" y="232"/>
                  </a:lnTo>
                  <a:lnTo>
                    <a:pt x="1335" y="222"/>
                  </a:lnTo>
                  <a:lnTo>
                    <a:pt x="1334" y="218"/>
                  </a:lnTo>
                  <a:lnTo>
                    <a:pt x="1333" y="212"/>
                  </a:lnTo>
                  <a:lnTo>
                    <a:pt x="1333" y="208"/>
                  </a:lnTo>
                  <a:lnTo>
                    <a:pt x="1334" y="203"/>
                  </a:lnTo>
                  <a:lnTo>
                    <a:pt x="1337" y="195"/>
                  </a:lnTo>
                  <a:lnTo>
                    <a:pt x="1342" y="187"/>
                  </a:lnTo>
                  <a:lnTo>
                    <a:pt x="1348" y="179"/>
                  </a:lnTo>
                  <a:lnTo>
                    <a:pt x="1357" y="172"/>
                  </a:lnTo>
                  <a:lnTo>
                    <a:pt x="1365" y="164"/>
                  </a:lnTo>
                  <a:lnTo>
                    <a:pt x="1373" y="157"/>
                  </a:lnTo>
                  <a:lnTo>
                    <a:pt x="1382" y="150"/>
                  </a:lnTo>
                  <a:lnTo>
                    <a:pt x="1390" y="142"/>
                  </a:lnTo>
                  <a:lnTo>
                    <a:pt x="1397" y="133"/>
                  </a:lnTo>
                  <a:lnTo>
                    <a:pt x="1403" y="125"/>
                  </a:lnTo>
                  <a:lnTo>
                    <a:pt x="1406" y="120"/>
                  </a:lnTo>
                  <a:lnTo>
                    <a:pt x="1408" y="115"/>
                  </a:lnTo>
                  <a:lnTo>
                    <a:pt x="1409" y="110"/>
                  </a:lnTo>
                  <a:lnTo>
                    <a:pt x="1410" y="105"/>
                  </a:lnTo>
                  <a:lnTo>
                    <a:pt x="1410" y="100"/>
                  </a:lnTo>
                  <a:lnTo>
                    <a:pt x="1409" y="94"/>
                  </a:lnTo>
                  <a:lnTo>
                    <a:pt x="1408" y="87"/>
                  </a:lnTo>
                  <a:lnTo>
                    <a:pt x="1406" y="81"/>
                  </a:lnTo>
                  <a:lnTo>
                    <a:pt x="1404" y="76"/>
                  </a:lnTo>
                  <a:lnTo>
                    <a:pt x="1400" y="71"/>
                  </a:lnTo>
                  <a:lnTo>
                    <a:pt x="1396" y="66"/>
                  </a:lnTo>
                  <a:lnTo>
                    <a:pt x="1391" y="61"/>
                  </a:lnTo>
                  <a:lnTo>
                    <a:pt x="1381" y="54"/>
                  </a:lnTo>
                  <a:lnTo>
                    <a:pt x="1369" y="47"/>
                  </a:lnTo>
                  <a:lnTo>
                    <a:pt x="1344" y="35"/>
                  </a:lnTo>
                  <a:lnTo>
                    <a:pt x="1322" y="25"/>
                  </a:lnTo>
                  <a:lnTo>
                    <a:pt x="1310" y="17"/>
                  </a:lnTo>
                  <a:lnTo>
                    <a:pt x="1297" y="11"/>
                  </a:lnTo>
                  <a:lnTo>
                    <a:pt x="1285" y="5"/>
                  </a:lnTo>
                  <a:lnTo>
                    <a:pt x="1271" y="0"/>
                  </a:lnTo>
                  <a:lnTo>
                    <a:pt x="1206" y="10"/>
                  </a:lnTo>
                  <a:lnTo>
                    <a:pt x="1201" y="14"/>
                  </a:lnTo>
                  <a:lnTo>
                    <a:pt x="1198" y="19"/>
                  </a:lnTo>
                  <a:lnTo>
                    <a:pt x="1195" y="25"/>
                  </a:lnTo>
                  <a:lnTo>
                    <a:pt x="1194" y="31"/>
                  </a:lnTo>
                  <a:lnTo>
                    <a:pt x="1193" y="37"/>
                  </a:lnTo>
                  <a:lnTo>
                    <a:pt x="1193" y="43"/>
                  </a:lnTo>
                  <a:lnTo>
                    <a:pt x="1193" y="51"/>
                  </a:lnTo>
                  <a:lnTo>
                    <a:pt x="1194" y="57"/>
                  </a:lnTo>
                  <a:lnTo>
                    <a:pt x="1199" y="84"/>
                  </a:lnTo>
                  <a:lnTo>
                    <a:pt x="1206" y="107"/>
                  </a:lnTo>
                  <a:lnTo>
                    <a:pt x="1207" y="114"/>
                  </a:lnTo>
                  <a:lnTo>
                    <a:pt x="1207" y="120"/>
                  </a:lnTo>
                  <a:lnTo>
                    <a:pt x="1206" y="126"/>
                  </a:lnTo>
                  <a:lnTo>
                    <a:pt x="1205" y="131"/>
                  </a:lnTo>
                  <a:lnTo>
                    <a:pt x="1201" y="142"/>
                  </a:lnTo>
                  <a:lnTo>
                    <a:pt x="1197" y="151"/>
                  </a:lnTo>
                  <a:lnTo>
                    <a:pt x="1192" y="159"/>
                  </a:lnTo>
                  <a:lnTo>
                    <a:pt x="1186" y="169"/>
                  </a:lnTo>
                  <a:lnTo>
                    <a:pt x="1182" y="178"/>
                  </a:lnTo>
                  <a:lnTo>
                    <a:pt x="1177" y="190"/>
                  </a:lnTo>
                  <a:lnTo>
                    <a:pt x="1171" y="194"/>
                  </a:lnTo>
                  <a:lnTo>
                    <a:pt x="1166" y="199"/>
                  </a:lnTo>
                  <a:lnTo>
                    <a:pt x="1163" y="203"/>
                  </a:lnTo>
                  <a:lnTo>
                    <a:pt x="1160" y="208"/>
                  </a:lnTo>
                  <a:lnTo>
                    <a:pt x="1158" y="214"/>
                  </a:lnTo>
                  <a:lnTo>
                    <a:pt x="1156" y="219"/>
                  </a:lnTo>
                  <a:lnTo>
                    <a:pt x="1156" y="224"/>
                  </a:lnTo>
                  <a:lnTo>
                    <a:pt x="1156" y="228"/>
                  </a:lnTo>
                  <a:lnTo>
                    <a:pt x="1158" y="240"/>
                  </a:lnTo>
                  <a:lnTo>
                    <a:pt x="1161" y="250"/>
                  </a:lnTo>
                  <a:lnTo>
                    <a:pt x="1167" y="260"/>
                  </a:lnTo>
                  <a:lnTo>
                    <a:pt x="1173" y="272"/>
                  </a:lnTo>
                  <a:lnTo>
                    <a:pt x="1187" y="295"/>
                  </a:lnTo>
                  <a:lnTo>
                    <a:pt x="1200" y="318"/>
                  </a:lnTo>
                  <a:lnTo>
                    <a:pt x="1205" y="329"/>
                  </a:lnTo>
                  <a:lnTo>
                    <a:pt x="1208" y="342"/>
                  </a:lnTo>
                  <a:lnTo>
                    <a:pt x="1208" y="348"/>
                  </a:lnTo>
                  <a:lnTo>
                    <a:pt x="1208" y="353"/>
                  </a:lnTo>
                  <a:lnTo>
                    <a:pt x="1207" y="360"/>
                  </a:lnTo>
                  <a:lnTo>
                    <a:pt x="1206" y="366"/>
                  </a:lnTo>
                  <a:lnTo>
                    <a:pt x="1202" y="373"/>
                  </a:lnTo>
                  <a:lnTo>
                    <a:pt x="1199" y="379"/>
                  </a:lnTo>
                  <a:lnTo>
                    <a:pt x="1195" y="386"/>
                  </a:lnTo>
                  <a:lnTo>
                    <a:pt x="1191" y="390"/>
                  </a:lnTo>
                  <a:lnTo>
                    <a:pt x="1187" y="394"/>
                  </a:lnTo>
                  <a:lnTo>
                    <a:pt x="1182" y="398"/>
                  </a:lnTo>
                  <a:lnTo>
                    <a:pt x="1176" y="400"/>
                  </a:lnTo>
                  <a:lnTo>
                    <a:pt x="1170" y="402"/>
                  </a:lnTo>
                  <a:lnTo>
                    <a:pt x="1165" y="404"/>
                  </a:lnTo>
                  <a:lnTo>
                    <a:pt x="1159" y="405"/>
                  </a:lnTo>
                  <a:lnTo>
                    <a:pt x="1151" y="405"/>
                  </a:lnTo>
                  <a:lnTo>
                    <a:pt x="1145" y="405"/>
                  </a:lnTo>
                  <a:lnTo>
                    <a:pt x="1132" y="403"/>
                  </a:lnTo>
                  <a:lnTo>
                    <a:pt x="1117" y="400"/>
                  </a:lnTo>
                  <a:lnTo>
                    <a:pt x="1103" y="395"/>
                  </a:lnTo>
                  <a:lnTo>
                    <a:pt x="1090" y="389"/>
                  </a:lnTo>
                  <a:lnTo>
                    <a:pt x="1077" y="381"/>
                  </a:lnTo>
                  <a:lnTo>
                    <a:pt x="1065" y="373"/>
                  </a:lnTo>
                  <a:lnTo>
                    <a:pt x="1053" y="365"/>
                  </a:lnTo>
                  <a:lnTo>
                    <a:pt x="1044" y="355"/>
                  </a:lnTo>
                  <a:lnTo>
                    <a:pt x="1037" y="345"/>
                  </a:lnTo>
                  <a:lnTo>
                    <a:pt x="1030" y="336"/>
                  </a:lnTo>
                  <a:lnTo>
                    <a:pt x="1023" y="334"/>
                  </a:lnTo>
                  <a:lnTo>
                    <a:pt x="1017" y="331"/>
                  </a:lnTo>
                  <a:lnTo>
                    <a:pt x="1011" y="330"/>
                  </a:lnTo>
                  <a:lnTo>
                    <a:pt x="1004" y="330"/>
                  </a:lnTo>
                  <a:lnTo>
                    <a:pt x="999" y="330"/>
                  </a:lnTo>
                  <a:lnTo>
                    <a:pt x="994" y="331"/>
                  </a:lnTo>
                  <a:lnTo>
                    <a:pt x="990" y="334"/>
                  </a:lnTo>
                  <a:lnTo>
                    <a:pt x="986" y="336"/>
                  </a:lnTo>
                  <a:lnTo>
                    <a:pt x="977" y="341"/>
                  </a:lnTo>
                  <a:lnTo>
                    <a:pt x="970" y="348"/>
                  </a:lnTo>
                  <a:lnTo>
                    <a:pt x="964" y="355"/>
                  </a:lnTo>
                  <a:lnTo>
                    <a:pt x="957" y="365"/>
                  </a:lnTo>
                  <a:lnTo>
                    <a:pt x="946" y="383"/>
                  </a:lnTo>
                  <a:lnTo>
                    <a:pt x="933" y="399"/>
                  </a:lnTo>
                  <a:lnTo>
                    <a:pt x="927" y="407"/>
                  </a:lnTo>
                  <a:lnTo>
                    <a:pt x="919" y="412"/>
                  </a:lnTo>
                  <a:lnTo>
                    <a:pt x="915" y="414"/>
                  </a:lnTo>
                  <a:lnTo>
                    <a:pt x="911" y="415"/>
                  </a:lnTo>
                  <a:lnTo>
                    <a:pt x="905" y="416"/>
                  </a:lnTo>
                  <a:lnTo>
                    <a:pt x="900" y="416"/>
                  </a:lnTo>
                  <a:lnTo>
                    <a:pt x="889" y="414"/>
                  </a:lnTo>
                  <a:lnTo>
                    <a:pt x="879" y="412"/>
                  </a:lnTo>
                  <a:lnTo>
                    <a:pt x="871" y="408"/>
                  </a:lnTo>
                  <a:lnTo>
                    <a:pt x="863" y="402"/>
                  </a:lnTo>
                  <a:lnTo>
                    <a:pt x="849" y="391"/>
                  </a:lnTo>
                  <a:lnTo>
                    <a:pt x="835" y="376"/>
                  </a:lnTo>
                  <a:lnTo>
                    <a:pt x="829" y="370"/>
                  </a:lnTo>
                  <a:lnTo>
                    <a:pt x="823" y="363"/>
                  </a:lnTo>
                  <a:lnTo>
                    <a:pt x="816" y="356"/>
                  </a:lnTo>
                  <a:lnTo>
                    <a:pt x="808" y="351"/>
                  </a:lnTo>
                  <a:lnTo>
                    <a:pt x="800" y="346"/>
                  </a:lnTo>
                  <a:lnTo>
                    <a:pt x="791" y="343"/>
                  </a:lnTo>
                  <a:lnTo>
                    <a:pt x="780" y="340"/>
                  </a:lnTo>
                  <a:lnTo>
                    <a:pt x="768" y="340"/>
                  </a:lnTo>
                  <a:lnTo>
                    <a:pt x="753" y="340"/>
                  </a:lnTo>
                  <a:lnTo>
                    <a:pt x="740" y="342"/>
                  </a:lnTo>
                  <a:lnTo>
                    <a:pt x="726" y="345"/>
                  </a:lnTo>
                  <a:lnTo>
                    <a:pt x="713" y="349"/>
                  </a:lnTo>
                  <a:lnTo>
                    <a:pt x="701" y="352"/>
                  </a:lnTo>
                  <a:lnTo>
                    <a:pt x="687" y="356"/>
                  </a:lnTo>
                  <a:lnTo>
                    <a:pt x="675" y="359"/>
                  </a:lnTo>
                  <a:lnTo>
                    <a:pt x="661" y="361"/>
                  </a:lnTo>
                  <a:lnTo>
                    <a:pt x="661" y="361"/>
                  </a:lnTo>
                  <a:lnTo>
                    <a:pt x="659" y="456"/>
                  </a:lnTo>
                  <a:lnTo>
                    <a:pt x="659" y="463"/>
                  </a:lnTo>
                  <a:lnTo>
                    <a:pt x="659" y="470"/>
                  </a:lnTo>
                  <a:lnTo>
                    <a:pt x="660" y="476"/>
                  </a:lnTo>
                  <a:lnTo>
                    <a:pt x="662" y="483"/>
                  </a:lnTo>
                  <a:lnTo>
                    <a:pt x="668" y="493"/>
                  </a:lnTo>
                  <a:lnTo>
                    <a:pt x="675" y="501"/>
                  </a:lnTo>
                  <a:lnTo>
                    <a:pt x="682" y="510"/>
                  </a:lnTo>
                  <a:lnTo>
                    <a:pt x="690" y="519"/>
                  </a:lnTo>
                  <a:lnTo>
                    <a:pt x="693" y="524"/>
                  </a:lnTo>
                  <a:lnTo>
                    <a:pt x="696" y="530"/>
                  </a:lnTo>
                  <a:lnTo>
                    <a:pt x="699" y="536"/>
                  </a:lnTo>
                  <a:lnTo>
                    <a:pt x="701" y="542"/>
                  </a:lnTo>
                  <a:lnTo>
                    <a:pt x="702" y="551"/>
                  </a:lnTo>
                  <a:lnTo>
                    <a:pt x="703" y="561"/>
                  </a:lnTo>
                  <a:lnTo>
                    <a:pt x="704" y="572"/>
                  </a:lnTo>
                  <a:lnTo>
                    <a:pt x="704" y="584"/>
                  </a:lnTo>
                  <a:lnTo>
                    <a:pt x="702" y="607"/>
                  </a:lnTo>
                  <a:lnTo>
                    <a:pt x="699" y="626"/>
                  </a:lnTo>
                  <a:lnTo>
                    <a:pt x="697" y="636"/>
                  </a:lnTo>
                  <a:lnTo>
                    <a:pt x="693" y="646"/>
                  </a:lnTo>
                  <a:lnTo>
                    <a:pt x="688" y="657"/>
                  </a:lnTo>
                  <a:lnTo>
                    <a:pt x="682" y="666"/>
                  </a:lnTo>
                  <a:lnTo>
                    <a:pt x="677" y="676"/>
                  </a:lnTo>
                  <a:lnTo>
                    <a:pt x="670" y="684"/>
                  </a:lnTo>
                  <a:lnTo>
                    <a:pt x="662" y="692"/>
                  </a:lnTo>
                  <a:lnTo>
                    <a:pt x="655" y="701"/>
                  </a:lnTo>
                  <a:lnTo>
                    <a:pt x="647" y="708"/>
                  </a:lnTo>
                  <a:lnTo>
                    <a:pt x="638" y="715"/>
                  </a:lnTo>
                  <a:lnTo>
                    <a:pt x="629" y="722"/>
                  </a:lnTo>
                  <a:lnTo>
                    <a:pt x="620" y="728"/>
                  </a:lnTo>
                  <a:lnTo>
                    <a:pt x="610" y="733"/>
                  </a:lnTo>
                  <a:lnTo>
                    <a:pt x="601" y="738"/>
                  </a:lnTo>
                  <a:lnTo>
                    <a:pt x="590" y="742"/>
                  </a:lnTo>
                  <a:lnTo>
                    <a:pt x="580" y="746"/>
                  </a:lnTo>
                  <a:lnTo>
                    <a:pt x="574" y="747"/>
                  </a:lnTo>
                  <a:lnTo>
                    <a:pt x="569" y="747"/>
                  </a:lnTo>
                  <a:lnTo>
                    <a:pt x="562" y="746"/>
                  </a:lnTo>
                  <a:lnTo>
                    <a:pt x="556" y="742"/>
                  </a:lnTo>
                  <a:lnTo>
                    <a:pt x="545" y="736"/>
                  </a:lnTo>
                  <a:lnTo>
                    <a:pt x="533" y="729"/>
                  </a:lnTo>
                  <a:lnTo>
                    <a:pt x="527" y="726"/>
                  </a:lnTo>
                  <a:lnTo>
                    <a:pt x="522" y="723"/>
                  </a:lnTo>
                  <a:lnTo>
                    <a:pt x="516" y="721"/>
                  </a:lnTo>
                  <a:lnTo>
                    <a:pt x="511" y="720"/>
                  </a:lnTo>
                  <a:lnTo>
                    <a:pt x="506" y="720"/>
                  </a:lnTo>
                  <a:lnTo>
                    <a:pt x="501" y="721"/>
                  </a:lnTo>
                  <a:lnTo>
                    <a:pt x="496" y="725"/>
                  </a:lnTo>
                  <a:lnTo>
                    <a:pt x="490" y="730"/>
                  </a:lnTo>
                  <a:lnTo>
                    <a:pt x="476" y="749"/>
                  </a:lnTo>
                  <a:lnTo>
                    <a:pt x="463" y="764"/>
                  </a:lnTo>
                  <a:lnTo>
                    <a:pt x="457" y="771"/>
                  </a:lnTo>
                  <a:lnTo>
                    <a:pt x="451" y="777"/>
                  </a:lnTo>
                  <a:lnTo>
                    <a:pt x="443" y="781"/>
                  </a:lnTo>
                  <a:lnTo>
                    <a:pt x="437" y="785"/>
                  </a:lnTo>
                  <a:lnTo>
                    <a:pt x="431" y="788"/>
                  </a:lnTo>
                  <a:lnTo>
                    <a:pt x="424" y="790"/>
                  </a:lnTo>
                  <a:lnTo>
                    <a:pt x="416" y="791"/>
                  </a:lnTo>
                  <a:lnTo>
                    <a:pt x="408" y="791"/>
                  </a:lnTo>
                  <a:lnTo>
                    <a:pt x="400" y="790"/>
                  </a:lnTo>
                  <a:lnTo>
                    <a:pt x="389" y="788"/>
                  </a:lnTo>
                  <a:lnTo>
                    <a:pt x="380" y="785"/>
                  </a:lnTo>
                  <a:lnTo>
                    <a:pt x="368" y="781"/>
                  </a:lnTo>
                  <a:lnTo>
                    <a:pt x="364" y="780"/>
                  </a:lnTo>
                  <a:lnTo>
                    <a:pt x="359" y="780"/>
                  </a:lnTo>
                  <a:lnTo>
                    <a:pt x="355" y="781"/>
                  </a:lnTo>
                  <a:lnTo>
                    <a:pt x="350" y="782"/>
                  </a:lnTo>
                  <a:lnTo>
                    <a:pt x="340" y="788"/>
                  </a:lnTo>
                  <a:lnTo>
                    <a:pt x="331" y="796"/>
                  </a:lnTo>
                  <a:lnTo>
                    <a:pt x="311" y="817"/>
                  </a:lnTo>
                  <a:lnTo>
                    <a:pt x="291" y="838"/>
                  </a:lnTo>
                  <a:lnTo>
                    <a:pt x="282" y="849"/>
                  </a:lnTo>
                  <a:lnTo>
                    <a:pt x="272" y="856"/>
                  </a:lnTo>
                  <a:lnTo>
                    <a:pt x="268" y="859"/>
                  </a:lnTo>
                  <a:lnTo>
                    <a:pt x="264" y="861"/>
                  </a:lnTo>
                  <a:lnTo>
                    <a:pt x="260" y="862"/>
                  </a:lnTo>
                  <a:lnTo>
                    <a:pt x="256" y="863"/>
                  </a:lnTo>
                  <a:lnTo>
                    <a:pt x="252" y="862"/>
                  </a:lnTo>
                  <a:lnTo>
                    <a:pt x="248" y="860"/>
                  </a:lnTo>
                  <a:lnTo>
                    <a:pt x="245" y="858"/>
                  </a:lnTo>
                  <a:lnTo>
                    <a:pt x="242" y="854"/>
                  </a:lnTo>
                  <a:lnTo>
                    <a:pt x="239" y="848"/>
                  </a:lnTo>
                  <a:lnTo>
                    <a:pt x="236" y="841"/>
                  </a:lnTo>
                  <a:lnTo>
                    <a:pt x="234" y="832"/>
                  </a:lnTo>
                  <a:lnTo>
                    <a:pt x="231" y="822"/>
                  </a:lnTo>
                  <a:lnTo>
                    <a:pt x="230" y="811"/>
                  </a:lnTo>
                  <a:lnTo>
                    <a:pt x="230" y="800"/>
                  </a:lnTo>
                  <a:lnTo>
                    <a:pt x="231" y="788"/>
                  </a:lnTo>
                  <a:lnTo>
                    <a:pt x="233" y="777"/>
                  </a:lnTo>
                  <a:lnTo>
                    <a:pt x="234" y="764"/>
                  </a:lnTo>
                  <a:lnTo>
                    <a:pt x="235" y="752"/>
                  </a:lnTo>
                  <a:lnTo>
                    <a:pt x="236" y="740"/>
                  </a:lnTo>
                  <a:lnTo>
                    <a:pt x="235" y="728"/>
                  </a:lnTo>
                  <a:lnTo>
                    <a:pt x="221" y="720"/>
                  </a:lnTo>
                  <a:lnTo>
                    <a:pt x="210" y="712"/>
                  </a:lnTo>
                  <a:lnTo>
                    <a:pt x="198" y="706"/>
                  </a:lnTo>
                  <a:lnTo>
                    <a:pt x="188" y="703"/>
                  </a:lnTo>
                  <a:lnTo>
                    <a:pt x="183" y="702"/>
                  </a:lnTo>
                  <a:lnTo>
                    <a:pt x="178" y="702"/>
                  </a:lnTo>
                  <a:lnTo>
                    <a:pt x="172" y="704"/>
                  </a:lnTo>
                  <a:lnTo>
                    <a:pt x="167" y="706"/>
                  </a:lnTo>
                  <a:lnTo>
                    <a:pt x="161" y="710"/>
                  </a:lnTo>
                  <a:lnTo>
                    <a:pt x="156" y="715"/>
                  </a:lnTo>
                  <a:lnTo>
                    <a:pt x="149" y="722"/>
                  </a:lnTo>
                  <a:lnTo>
                    <a:pt x="142" y="730"/>
                  </a:lnTo>
                  <a:lnTo>
                    <a:pt x="139" y="771"/>
                  </a:lnTo>
                  <a:lnTo>
                    <a:pt x="139" y="771"/>
                  </a:lnTo>
                  <a:lnTo>
                    <a:pt x="143" y="777"/>
                  </a:lnTo>
                  <a:lnTo>
                    <a:pt x="146" y="783"/>
                  </a:lnTo>
                  <a:lnTo>
                    <a:pt x="148" y="791"/>
                  </a:lnTo>
                  <a:lnTo>
                    <a:pt x="148" y="801"/>
                  </a:lnTo>
                  <a:lnTo>
                    <a:pt x="148" y="809"/>
                  </a:lnTo>
                  <a:lnTo>
                    <a:pt x="146" y="820"/>
                  </a:lnTo>
                  <a:lnTo>
                    <a:pt x="143" y="829"/>
                  </a:lnTo>
                  <a:lnTo>
                    <a:pt x="139" y="838"/>
                  </a:lnTo>
                  <a:lnTo>
                    <a:pt x="135" y="848"/>
                  </a:lnTo>
                  <a:lnTo>
                    <a:pt x="130" y="856"/>
                  </a:lnTo>
                  <a:lnTo>
                    <a:pt x="123" y="865"/>
                  </a:lnTo>
                  <a:lnTo>
                    <a:pt x="116" y="871"/>
                  </a:lnTo>
                  <a:lnTo>
                    <a:pt x="109" y="877"/>
                  </a:lnTo>
                  <a:lnTo>
                    <a:pt x="101" y="881"/>
                  </a:lnTo>
                  <a:lnTo>
                    <a:pt x="94" y="884"/>
                  </a:lnTo>
                  <a:lnTo>
                    <a:pt x="86" y="886"/>
                  </a:lnTo>
                  <a:lnTo>
                    <a:pt x="69" y="886"/>
                  </a:lnTo>
                  <a:lnTo>
                    <a:pt x="55" y="886"/>
                  </a:lnTo>
                  <a:lnTo>
                    <a:pt x="42" y="887"/>
                  </a:lnTo>
                  <a:lnTo>
                    <a:pt x="31" y="890"/>
                  </a:lnTo>
                  <a:lnTo>
                    <a:pt x="25" y="892"/>
                  </a:lnTo>
                  <a:lnTo>
                    <a:pt x="21" y="894"/>
                  </a:lnTo>
                  <a:lnTo>
                    <a:pt x="17" y="898"/>
                  </a:lnTo>
                  <a:lnTo>
                    <a:pt x="14" y="902"/>
                  </a:lnTo>
                  <a:lnTo>
                    <a:pt x="11" y="907"/>
                  </a:lnTo>
                  <a:lnTo>
                    <a:pt x="8" y="915"/>
                  </a:lnTo>
                  <a:lnTo>
                    <a:pt x="6" y="923"/>
                  </a:lnTo>
                  <a:lnTo>
                    <a:pt x="3" y="932"/>
                  </a:lnTo>
                  <a:lnTo>
                    <a:pt x="1" y="943"/>
                  </a:lnTo>
                  <a:lnTo>
                    <a:pt x="0" y="955"/>
                  </a:lnTo>
                  <a:lnTo>
                    <a:pt x="0" y="967"/>
                  </a:lnTo>
                  <a:lnTo>
                    <a:pt x="0" y="979"/>
                  </a:lnTo>
                  <a:lnTo>
                    <a:pt x="1" y="991"/>
                  </a:lnTo>
                  <a:lnTo>
                    <a:pt x="6" y="1002"/>
                  </a:lnTo>
                  <a:lnTo>
                    <a:pt x="8" y="1007"/>
                  </a:lnTo>
                  <a:lnTo>
                    <a:pt x="11" y="1013"/>
                  </a:lnTo>
                  <a:lnTo>
                    <a:pt x="14" y="1018"/>
                  </a:lnTo>
                  <a:lnTo>
                    <a:pt x="18" y="1022"/>
                  </a:lnTo>
                  <a:lnTo>
                    <a:pt x="25" y="1029"/>
                  </a:lnTo>
                  <a:lnTo>
                    <a:pt x="34" y="1035"/>
                  </a:lnTo>
                  <a:lnTo>
                    <a:pt x="42" y="1040"/>
                  </a:lnTo>
                  <a:lnTo>
                    <a:pt x="49" y="1043"/>
                  </a:lnTo>
                  <a:lnTo>
                    <a:pt x="66" y="1051"/>
                  </a:lnTo>
                  <a:lnTo>
                    <a:pt x="84" y="1061"/>
                  </a:lnTo>
                  <a:lnTo>
                    <a:pt x="87" y="1064"/>
                  </a:lnTo>
                  <a:lnTo>
                    <a:pt x="90" y="1068"/>
                  </a:lnTo>
                  <a:lnTo>
                    <a:pt x="93" y="1074"/>
                  </a:lnTo>
                  <a:lnTo>
                    <a:pt x="95" y="1080"/>
                  </a:lnTo>
                  <a:lnTo>
                    <a:pt x="99" y="1097"/>
                  </a:lnTo>
                  <a:lnTo>
                    <a:pt x="102" y="1114"/>
                  </a:lnTo>
                  <a:lnTo>
                    <a:pt x="106" y="1150"/>
                  </a:lnTo>
                  <a:lnTo>
                    <a:pt x="109" y="1176"/>
                  </a:lnTo>
                  <a:lnTo>
                    <a:pt x="110" y="1184"/>
                  </a:lnTo>
                  <a:lnTo>
                    <a:pt x="113" y="1190"/>
                  </a:lnTo>
                  <a:lnTo>
                    <a:pt x="115" y="1196"/>
                  </a:lnTo>
                  <a:lnTo>
                    <a:pt x="119" y="1203"/>
                  </a:lnTo>
                  <a:lnTo>
                    <a:pt x="126" y="1215"/>
                  </a:lnTo>
                  <a:lnTo>
                    <a:pt x="136" y="1228"/>
                  </a:lnTo>
                  <a:lnTo>
                    <a:pt x="144" y="1239"/>
                  </a:lnTo>
                  <a:lnTo>
                    <a:pt x="151" y="1251"/>
                  </a:lnTo>
                  <a:lnTo>
                    <a:pt x="155" y="1257"/>
                  </a:lnTo>
                  <a:lnTo>
                    <a:pt x="157" y="1262"/>
                  </a:lnTo>
                  <a:lnTo>
                    <a:pt x="159" y="1268"/>
                  </a:lnTo>
                  <a:lnTo>
                    <a:pt x="160" y="1273"/>
                  </a:lnTo>
                  <a:lnTo>
                    <a:pt x="170" y="1281"/>
                  </a:lnTo>
                  <a:lnTo>
                    <a:pt x="178" y="1285"/>
                  </a:lnTo>
                  <a:lnTo>
                    <a:pt x="181" y="1286"/>
                  </a:lnTo>
                  <a:lnTo>
                    <a:pt x="184" y="1286"/>
                  </a:lnTo>
                  <a:lnTo>
                    <a:pt x="187" y="1285"/>
                  </a:lnTo>
                  <a:lnTo>
                    <a:pt x="189" y="1285"/>
                  </a:lnTo>
                  <a:lnTo>
                    <a:pt x="203" y="1279"/>
                  </a:lnTo>
                  <a:lnTo>
                    <a:pt x="222" y="1271"/>
                  </a:lnTo>
                  <a:lnTo>
                    <a:pt x="236" y="1269"/>
                  </a:lnTo>
                  <a:lnTo>
                    <a:pt x="246" y="1268"/>
                  </a:lnTo>
                  <a:lnTo>
                    <a:pt x="254" y="1269"/>
                  </a:lnTo>
                  <a:lnTo>
                    <a:pt x="260" y="1272"/>
                  </a:lnTo>
                  <a:lnTo>
                    <a:pt x="271" y="1280"/>
                  </a:lnTo>
                  <a:lnTo>
                    <a:pt x="288" y="1292"/>
                  </a:lnTo>
                  <a:lnTo>
                    <a:pt x="299" y="1303"/>
                  </a:lnTo>
                  <a:lnTo>
                    <a:pt x="308" y="1315"/>
                  </a:lnTo>
                  <a:lnTo>
                    <a:pt x="317" y="1327"/>
                  </a:lnTo>
                  <a:lnTo>
                    <a:pt x="327" y="1340"/>
                  </a:lnTo>
                  <a:lnTo>
                    <a:pt x="342" y="1366"/>
                  </a:lnTo>
                  <a:lnTo>
                    <a:pt x="358" y="1394"/>
                  </a:lnTo>
                  <a:lnTo>
                    <a:pt x="371" y="1423"/>
                  </a:lnTo>
                  <a:lnTo>
                    <a:pt x="386" y="1451"/>
                  </a:lnTo>
                  <a:lnTo>
                    <a:pt x="400" y="1479"/>
                  </a:lnTo>
                  <a:lnTo>
                    <a:pt x="414" y="1506"/>
                  </a:lnTo>
                  <a:lnTo>
                    <a:pt x="429" y="1532"/>
                  </a:lnTo>
                  <a:lnTo>
                    <a:pt x="441" y="1553"/>
                  </a:lnTo>
                  <a:lnTo>
                    <a:pt x="448" y="1561"/>
                  </a:lnTo>
                  <a:lnTo>
                    <a:pt x="455" y="1569"/>
                  </a:lnTo>
                  <a:lnTo>
                    <a:pt x="461" y="1575"/>
                  </a:lnTo>
                  <a:lnTo>
                    <a:pt x="468" y="1581"/>
                  </a:lnTo>
                  <a:lnTo>
                    <a:pt x="476" y="1586"/>
                  </a:lnTo>
                  <a:lnTo>
                    <a:pt x="484" y="1591"/>
                  </a:lnTo>
                  <a:lnTo>
                    <a:pt x="493" y="1595"/>
                  </a:lnTo>
                  <a:lnTo>
                    <a:pt x="503" y="1598"/>
                  </a:lnTo>
                  <a:lnTo>
                    <a:pt x="527" y="1604"/>
                  </a:lnTo>
                  <a:lnTo>
                    <a:pt x="557" y="1610"/>
                  </a:lnTo>
                  <a:lnTo>
                    <a:pt x="576" y="1614"/>
                  </a:lnTo>
                  <a:lnTo>
                    <a:pt x="591" y="1619"/>
                  </a:lnTo>
                  <a:lnTo>
                    <a:pt x="599" y="1622"/>
                  </a:lnTo>
                  <a:lnTo>
                    <a:pt x="605" y="1625"/>
                  </a:lnTo>
                  <a:lnTo>
                    <a:pt x="611" y="1629"/>
                  </a:lnTo>
                  <a:lnTo>
                    <a:pt x="617" y="1633"/>
                  </a:lnTo>
                  <a:lnTo>
                    <a:pt x="622" y="1638"/>
                  </a:lnTo>
                  <a:lnTo>
                    <a:pt x="627" y="1643"/>
                  </a:lnTo>
                  <a:lnTo>
                    <a:pt x="632" y="1648"/>
                  </a:lnTo>
                  <a:lnTo>
                    <a:pt x="636" y="1654"/>
                  </a:lnTo>
                  <a:lnTo>
                    <a:pt x="645" y="1669"/>
                  </a:lnTo>
                  <a:lnTo>
                    <a:pt x="653" y="1686"/>
                  </a:lnTo>
                  <a:lnTo>
                    <a:pt x="660" y="1698"/>
                  </a:lnTo>
                  <a:lnTo>
                    <a:pt x="668" y="1709"/>
                  </a:lnTo>
                  <a:lnTo>
                    <a:pt x="672" y="1713"/>
                  </a:lnTo>
                  <a:lnTo>
                    <a:pt x="676" y="1716"/>
                  </a:lnTo>
                  <a:lnTo>
                    <a:pt x="680" y="1719"/>
                  </a:lnTo>
                  <a:lnTo>
                    <a:pt x="685" y="1721"/>
                  </a:lnTo>
                  <a:lnTo>
                    <a:pt x="690" y="1722"/>
                  </a:lnTo>
                  <a:lnTo>
                    <a:pt x="695" y="1723"/>
                  </a:lnTo>
                  <a:lnTo>
                    <a:pt x="700" y="1723"/>
                  </a:lnTo>
                  <a:lnTo>
                    <a:pt x="706" y="1723"/>
                  </a:lnTo>
                  <a:lnTo>
                    <a:pt x="719" y="1721"/>
                  </a:lnTo>
                  <a:lnTo>
                    <a:pt x="732" y="1717"/>
                  </a:lnTo>
                  <a:lnTo>
                    <a:pt x="740" y="1715"/>
                  </a:lnTo>
                  <a:lnTo>
                    <a:pt x="747" y="1715"/>
                  </a:lnTo>
                  <a:lnTo>
                    <a:pt x="753" y="1717"/>
                  </a:lnTo>
                  <a:lnTo>
                    <a:pt x="759" y="1721"/>
                  </a:lnTo>
                  <a:lnTo>
                    <a:pt x="765" y="1726"/>
                  </a:lnTo>
                  <a:lnTo>
                    <a:pt x="771" y="1731"/>
                  </a:lnTo>
                  <a:lnTo>
                    <a:pt x="776" y="1739"/>
                  </a:lnTo>
                  <a:lnTo>
                    <a:pt x="782" y="1745"/>
                  </a:lnTo>
                  <a:lnTo>
                    <a:pt x="794" y="1760"/>
                  </a:lnTo>
                  <a:lnTo>
                    <a:pt x="807" y="1773"/>
                  </a:lnTo>
                  <a:lnTo>
                    <a:pt x="815" y="1778"/>
                  </a:lnTo>
                  <a:lnTo>
                    <a:pt x="823" y="1783"/>
                  </a:lnTo>
                  <a:lnTo>
                    <a:pt x="831" y="1786"/>
                  </a:lnTo>
                  <a:lnTo>
                    <a:pt x="841" y="1787"/>
                  </a:lnTo>
                  <a:lnTo>
                    <a:pt x="874" y="1783"/>
                  </a:lnTo>
                  <a:lnTo>
                    <a:pt x="922" y="1778"/>
                  </a:lnTo>
                  <a:lnTo>
                    <a:pt x="935" y="1777"/>
                  </a:lnTo>
                  <a:lnTo>
                    <a:pt x="946" y="1778"/>
                  </a:lnTo>
                  <a:lnTo>
                    <a:pt x="956" y="1779"/>
                  </a:lnTo>
                  <a:lnTo>
                    <a:pt x="966" y="1782"/>
                  </a:lnTo>
                  <a:lnTo>
                    <a:pt x="974" y="1786"/>
                  </a:lnTo>
                  <a:lnTo>
                    <a:pt x="981" y="1791"/>
                  </a:lnTo>
                  <a:lnTo>
                    <a:pt x="984" y="1794"/>
                  </a:lnTo>
                  <a:lnTo>
                    <a:pt x="986" y="1797"/>
                  </a:lnTo>
                  <a:lnTo>
                    <a:pt x="988" y="1801"/>
                  </a:lnTo>
                  <a:lnTo>
                    <a:pt x="988" y="1806"/>
                  </a:lnTo>
                  <a:lnTo>
                    <a:pt x="990" y="1808"/>
                  </a:lnTo>
                  <a:lnTo>
                    <a:pt x="992" y="1813"/>
                  </a:lnTo>
                  <a:lnTo>
                    <a:pt x="994" y="1819"/>
                  </a:lnTo>
                  <a:lnTo>
                    <a:pt x="997" y="1826"/>
                  </a:lnTo>
                  <a:lnTo>
                    <a:pt x="1001" y="1845"/>
                  </a:lnTo>
                  <a:lnTo>
                    <a:pt x="1005" y="1866"/>
                  </a:lnTo>
                  <a:lnTo>
                    <a:pt x="1013" y="1908"/>
                  </a:lnTo>
                  <a:lnTo>
                    <a:pt x="1015" y="1933"/>
                  </a:lnTo>
                  <a:lnTo>
                    <a:pt x="1016" y="1942"/>
                  </a:lnTo>
                  <a:lnTo>
                    <a:pt x="1018" y="1953"/>
                  </a:lnTo>
                  <a:lnTo>
                    <a:pt x="1021" y="1963"/>
                  </a:lnTo>
                  <a:lnTo>
                    <a:pt x="1025" y="1976"/>
                  </a:lnTo>
                  <a:lnTo>
                    <a:pt x="1030" y="1987"/>
                  </a:lnTo>
                  <a:lnTo>
                    <a:pt x="1036" y="2000"/>
                  </a:lnTo>
                  <a:lnTo>
                    <a:pt x="1043" y="2011"/>
                  </a:lnTo>
                  <a:lnTo>
                    <a:pt x="1049" y="2024"/>
                  </a:lnTo>
                  <a:lnTo>
                    <a:pt x="1058" y="2035"/>
                  </a:lnTo>
                  <a:lnTo>
                    <a:pt x="1065" y="2047"/>
                  </a:lnTo>
                  <a:lnTo>
                    <a:pt x="1073" y="2057"/>
                  </a:lnTo>
                  <a:lnTo>
                    <a:pt x="1083" y="2067"/>
                  </a:lnTo>
                  <a:lnTo>
                    <a:pt x="1091" y="2076"/>
                  </a:lnTo>
                  <a:lnTo>
                    <a:pt x="1099" y="2084"/>
                  </a:lnTo>
                  <a:lnTo>
                    <a:pt x="1108" y="2090"/>
                  </a:lnTo>
                  <a:lnTo>
                    <a:pt x="1116" y="2096"/>
                  </a:lnTo>
                  <a:lnTo>
                    <a:pt x="1125" y="2101"/>
                  </a:lnTo>
                  <a:lnTo>
                    <a:pt x="1136" y="2104"/>
                  </a:lnTo>
                  <a:lnTo>
                    <a:pt x="1146" y="2108"/>
                  </a:lnTo>
                  <a:lnTo>
                    <a:pt x="1157" y="2110"/>
                  </a:lnTo>
                  <a:lnTo>
                    <a:pt x="1177" y="2114"/>
                  </a:lnTo>
                  <a:lnTo>
                    <a:pt x="1199" y="2116"/>
                  </a:lnTo>
                  <a:lnTo>
                    <a:pt x="1222" y="2119"/>
                  </a:lnTo>
                  <a:lnTo>
                    <a:pt x="1244" y="2122"/>
                  </a:lnTo>
                  <a:lnTo>
                    <a:pt x="1255" y="2123"/>
                  </a:lnTo>
                  <a:lnTo>
                    <a:pt x="1265" y="2125"/>
                  </a:lnTo>
                  <a:lnTo>
                    <a:pt x="1275" y="2128"/>
                  </a:lnTo>
                  <a:lnTo>
                    <a:pt x="1286" y="2131"/>
                  </a:lnTo>
                  <a:lnTo>
                    <a:pt x="1307" y="2137"/>
                  </a:lnTo>
                  <a:lnTo>
                    <a:pt x="1326" y="2144"/>
                  </a:lnTo>
                  <a:lnTo>
                    <a:pt x="1344" y="2149"/>
                  </a:lnTo>
                  <a:lnTo>
                    <a:pt x="1363" y="2153"/>
                  </a:lnTo>
                  <a:lnTo>
                    <a:pt x="1381" y="2156"/>
                  </a:lnTo>
                  <a:lnTo>
                    <a:pt x="1397" y="2159"/>
                  </a:lnTo>
                  <a:lnTo>
                    <a:pt x="1415" y="2160"/>
                  </a:lnTo>
                  <a:lnTo>
                    <a:pt x="1432" y="2160"/>
                  </a:lnTo>
                  <a:lnTo>
                    <a:pt x="1449" y="2160"/>
                  </a:lnTo>
                  <a:lnTo>
                    <a:pt x="1465" y="2158"/>
                  </a:lnTo>
                  <a:lnTo>
                    <a:pt x="1483" y="2155"/>
                  </a:lnTo>
                  <a:lnTo>
                    <a:pt x="1501" y="2151"/>
                  </a:lnTo>
                  <a:lnTo>
                    <a:pt x="1518" y="2146"/>
                  </a:lnTo>
                  <a:lnTo>
                    <a:pt x="1536" y="2139"/>
                  </a:lnTo>
                  <a:lnTo>
                    <a:pt x="1555" y="2131"/>
                  </a:lnTo>
                  <a:lnTo>
                    <a:pt x="1575" y="2123"/>
                  </a:lnTo>
                  <a:lnTo>
                    <a:pt x="1592" y="2113"/>
                  </a:lnTo>
                  <a:lnTo>
                    <a:pt x="1614" y="2101"/>
                  </a:lnTo>
                  <a:lnTo>
                    <a:pt x="1639" y="2087"/>
                  </a:lnTo>
                  <a:lnTo>
                    <a:pt x="1665" y="2074"/>
                  </a:lnTo>
                  <a:lnTo>
                    <a:pt x="1693" y="2061"/>
                  </a:lnTo>
                  <a:lnTo>
                    <a:pt x="1718" y="2051"/>
                  </a:lnTo>
                  <a:lnTo>
                    <a:pt x="1729" y="2047"/>
                  </a:lnTo>
                  <a:lnTo>
                    <a:pt x="1739" y="2043"/>
                  </a:lnTo>
                  <a:lnTo>
                    <a:pt x="1750" y="2041"/>
                  </a:lnTo>
                  <a:lnTo>
                    <a:pt x="1758" y="2040"/>
                  </a:lnTo>
                  <a:lnTo>
                    <a:pt x="1758" y="2040"/>
                  </a:lnTo>
                  <a:close/>
                </a:path>
              </a:pathLst>
            </a:custGeom>
            <a:solidFill>
              <a:schemeClr val="bg1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3" name="Freeform 150">
              <a:extLst>
                <a:ext uri="{FF2B5EF4-FFF2-40B4-BE49-F238E27FC236}">
                  <a16:creationId xmlns:a16="http://schemas.microsoft.com/office/drawing/2014/main" id="{81E63D18-414B-45DB-9453-32FA2D3E7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5065" y="5716039"/>
              <a:ext cx="477814" cy="524568"/>
            </a:xfrm>
            <a:custGeom>
              <a:avLst/>
              <a:gdLst>
                <a:gd name="T0" fmla="*/ 1884 w 1901"/>
                <a:gd name="T1" fmla="*/ 1772 h 2160"/>
                <a:gd name="T2" fmla="*/ 1762 w 1901"/>
                <a:gd name="T3" fmla="*/ 1568 h 2160"/>
                <a:gd name="T4" fmla="*/ 1639 w 1901"/>
                <a:gd name="T5" fmla="*/ 1416 h 2160"/>
                <a:gd name="T6" fmla="*/ 1549 w 1901"/>
                <a:gd name="T7" fmla="*/ 1393 h 2160"/>
                <a:gd name="T8" fmla="*/ 1503 w 1901"/>
                <a:gd name="T9" fmla="*/ 1293 h 2160"/>
                <a:gd name="T10" fmla="*/ 1480 w 1901"/>
                <a:gd name="T11" fmla="*/ 1205 h 2160"/>
                <a:gd name="T12" fmla="*/ 1311 w 1901"/>
                <a:gd name="T13" fmla="*/ 1115 h 2160"/>
                <a:gd name="T14" fmla="*/ 1279 w 1901"/>
                <a:gd name="T15" fmla="*/ 986 h 2160"/>
                <a:gd name="T16" fmla="*/ 1366 w 1901"/>
                <a:gd name="T17" fmla="*/ 921 h 2160"/>
                <a:gd name="T18" fmla="*/ 1400 w 1901"/>
                <a:gd name="T19" fmla="*/ 806 h 2160"/>
                <a:gd name="T20" fmla="*/ 1444 w 1901"/>
                <a:gd name="T21" fmla="*/ 715 h 2160"/>
                <a:gd name="T22" fmla="*/ 1522 w 1901"/>
                <a:gd name="T23" fmla="*/ 634 h 2160"/>
                <a:gd name="T24" fmla="*/ 1483 w 1901"/>
                <a:gd name="T25" fmla="*/ 596 h 2160"/>
                <a:gd name="T26" fmla="*/ 1406 w 1901"/>
                <a:gd name="T27" fmla="*/ 643 h 2160"/>
                <a:gd name="T28" fmla="*/ 1372 w 1901"/>
                <a:gd name="T29" fmla="*/ 616 h 2160"/>
                <a:gd name="T30" fmla="*/ 1369 w 1901"/>
                <a:gd name="T31" fmla="*/ 473 h 2160"/>
                <a:gd name="T32" fmla="*/ 1414 w 1901"/>
                <a:gd name="T33" fmla="*/ 358 h 2160"/>
                <a:gd name="T34" fmla="*/ 1370 w 1901"/>
                <a:gd name="T35" fmla="*/ 275 h 2160"/>
                <a:gd name="T36" fmla="*/ 1337 w 1901"/>
                <a:gd name="T37" fmla="*/ 195 h 2160"/>
                <a:gd name="T38" fmla="*/ 1408 w 1901"/>
                <a:gd name="T39" fmla="*/ 115 h 2160"/>
                <a:gd name="T40" fmla="*/ 1381 w 1901"/>
                <a:gd name="T41" fmla="*/ 54 h 2160"/>
                <a:gd name="T42" fmla="*/ 1195 w 1901"/>
                <a:gd name="T43" fmla="*/ 25 h 2160"/>
                <a:gd name="T44" fmla="*/ 1205 w 1901"/>
                <a:gd name="T45" fmla="*/ 131 h 2160"/>
                <a:gd name="T46" fmla="*/ 1158 w 1901"/>
                <a:gd name="T47" fmla="*/ 214 h 2160"/>
                <a:gd name="T48" fmla="*/ 1208 w 1901"/>
                <a:gd name="T49" fmla="*/ 342 h 2160"/>
                <a:gd name="T50" fmla="*/ 1176 w 1901"/>
                <a:gd name="T51" fmla="*/ 400 h 2160"/>
                <a:gd name="T52" fmla="*/ 1065 w 1901"/>
                <a:gd name="T53" fmla="*/ 373 h 2160"/>
                <a:gd name="T54" fmla="*/ 990 w 1901"/>
                <a:gd name="T55" fmla="*/ 334 h 2160"/>
                <a:gd name="T56" fmla="*/ 911 w 1901"/>
                <a:gd name="T57" fmla="*/ 415 h 2160"/>
                <a:gd name="T58" fmla="*/ 816 w 1901"/>
                <a:gd name="T59" fmla="*/ 356 h 2160"/>
                <a:gd name="T60" fmla="*/ 687 w 1901"/>
                <a:gd name="T61" fmla="*/ 356 h 2160"/>
                <a:gd name="T62" fmla="*/ 682 w 1901"/>
                <a:gd name="T63" fmla="*/ 510 h 2160"/>
                <a:gd name="T64" fmla="*/ 699 w 1901"/>
                <a:gd name="T65" fmla="*/ 626 h 2160"/>
                <a:gd name="T66" fmla="*/ 629 w 1901"/>
                <a:gd name="T67" fmla="*/ 722 h 2160"/>
                <a:gd name="T68" fmla="*/ 533 w 1901"/>
                <a:gd name="T69" fmla="*/ 729 h 2160"/>
                <a:gd name="T70" fmla="*/ 457 w 1901"/>
                <a:gd name="T71" fmla="*/ 771 h 2160"/>
                <a:gd name="T72" fmla="*/ 368 w 1901"/>
                <a:gd name="T73" fmla="*/ 781 h 2160"/>
                <a:gd name="T74" fmla="*/ 268 w 1901"/>
                <a:gd name="T75" fmla="*/ 859 h 2160"/>
                <a:gd name="T76" fmla="*/ 231 w 1901"/>
                <a:gd name="T77" fmla="*/ 822 h 2160"/>
                <a:gd name="T78" fmla="*/ 198 w 1901"/>
                <a:gd name="T79" fmla="*/ 706 h 2160"/>
                <a:gd name="T80" fmla="*/ 139 w 1901"/>
                <a:gd name="T81" fmla="*/ 771 h 2160"/>
                <a:gd name="T82" fmla="*/ 123 w 1901"/>
                <a:gd name="T83" fmla="*/ 865 h 2160"/>
                <a:gd name="T84" fmla="*/ 21 w 1901"/>
                <a:gd name="T85" fmla="*/ 894 h 2160"/>
                <a:gd name="T86" fmla="*/ 1 w 1901"/>
                <a:gd name="T87" fmla="*/ 991 h 2160"/>
                <a:gd name="T88" fmla="*/ 84 w 1901"/>
                <a:gd name="T89" fmla="*/ 1061 h 2160"/>
                <a:gd name="T90" fmla="*/ 115 w 1901"/>
                <a:gd name="T91" fmla="*/ 1196 h 2160"/>
                <a:gd name="T92" fmla="*/ 178 w 1901"/>
                <a:gd name="T93" fmla="*/ 1285 h 2160"/>
                <a:gd name="T94" fmla="*/ 271 w 1901"/>
                <a:gd name="T95" fmla="*/ 1280 h 2160"/>
                <a:gd name="T96" fmla="*/ 414 w 1901"/>
                <a:gd name="T97" fmla="*/ 1506 h 2160"/>
                <a:gd name="T98" fmla="*/ 527 w 1901"/>
                <a:gd name="T99" fmla="*/ 1604 h 2160"/>
                <a:gd name="T100" fmla="*/ 636 w 1901"/>
                <a:gd name="T101" fmla="*/ 1654 h 2160"/>
                <a:gd name="T102" fmla="*/ 700 w 1901"/>
                <a:gd name="T103" fmla="*/ 1723 h 2160"/>
                <a:gd name="T104" fmla="*/ 782 w 1901"/>
                <a:gd name="T105" fmla="*/ 1745 h 2160"/>
                <a:gd name="T106" fmla="*/ 956 w 1901"/>
                <a:gd name="T107" fmla="*/ 1779 h 2160"/>
                <a:gd name="T108" fmla="*/ 997 w 1901"/>
                <a:gd name="T109" fmla="*/ 1826 h 2160"/>
                <a:gd name="T110" fmla="*/ 1043 w 1901"/>
                <a:gd name="T111" fmla="*/ 2011 h 2160"/>
                <a:gd name="T112" fmla="*/ 1136 w 1901"/>
                <a:gd name="T113" fmla="*/ 2104 h 2160"/>
                <a:gd name="T114" fmla="*/ 1307 w 1901"/>
                <a:gd name="T115" fmla="*/ 2137 h 2160"/>
                <a:gd name="T116" fmla="*/ 1501 w 1901"/>
                <a:gd name="T117" fmla="*/ 2151 h 2160"/>
                <a:gd name="T118" fmla="*/ 1729 w 1901"/>
                <a:gd name="T119" fmla="*/ 2047 h 2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1" h="2160">
                  <a:moveTo>
                    <a:pt x="1758" y="2040"/>
                  </a:moveTo>
                  <a:lnTo>
                    <a:pt x="1877" y="1931"/>
                  </a:lnTo>
                  <a:lnTo>
                    <a:pt x="1890" y="1920"/>
                  </a:lnTo>
                  <a:lnTo>
                    <a:pt x="1899" y="1910"/>
                  </a:lnTo>
                  <a:lnTo>
                    <a:pt x="1901" y="1888"/>
                  </a:lnTo>
                  <a:lnTo>
                    <a:pt x="1901" y="1868"/>
                  </a:lnTo>
                  <a:lnTo>
                    <a:pt x="1900" y="1849"/>
                  </a:lnTo>
                  <a:lnTo>
                    <a:pt x="1897" y="1830"/>
                  </a:lnTo>
                  <a:lnTo>
                    <a:pt x="1894" y="1811"/>
                  </a:lnTo>
                  <a:lnTo>
                    <a:pt x="1890" y="1792"/>
                  </a:lnTo>
                  <a:lnTo>
                    <a:pt x="1884" y="1772"/>
                  </a:lnTo>
                  <a:lnTo>
                    <a:pt x="1879" y="1751"/>
                  </a:lnTo>
                  <a:lnTo>
                    <a:pt x="1875" y="1735"/>
                  </a:lnTo>
                  <a:lnTo>
                    <a:pt x="1870" y="1718"/>
                  </a:lnTo>
                  <a:lnTo>
                    <a:pt x="1865" y="1703"/>
                  </a:lnTo>
                  <a:lnTo>
                    <a:pt x="1859" y="1689"/>
                  </a:lnTo>
                  <a:lnTo>
                    <a:pt x="1853" y="1674"/>
                  </a:lnTo>
                  <a:lnTo>
                    <a:pt x="1845" y="1661"/>
                  </a:lnTo>
                  <a:lnTo>
                    <a:pt x="1836" y="1647"/>
                  </a:lnTo>
                  <a:lnTo>
                    <a:pt x="1826" y="1633"/>
                  </a:lnTo>
                  <a:lnTo>
                    <a:pt x="1795" y="1599"/>
                  </a:lnTo>
                  <a:lnTo>
                    <a:pt x="1762" y="1568"/>
                  </a:lnTo>
                  <a:lnTo>
                    <a:pt x="1748" y="1551"/>
                  </a:lnTo>
                  <a:lnTo>
                    <a:pt x="1732" y="1534"/>
                  </a:lnTo>
                  <a:lnTo>
                    <a:pt x="1718" y="1517"/>
                  </a:lnTo>
                  <a:lnTo>
                    <a:pt x="1703" y="1498"/>
                  </a:lnTo>
                  <a:lnTo>
                    <a:pt x="1689" y="1475"/>
                  </a:lnTo>
                  <a:lnTo>
                    <a:pt x="1678" y="1456"/>
                  </a:lnTo>
                  <a:lnTo>
                    <a:pt x="1669" y="1441"/>
                  </a:lnTo>
                  <a:lnTo>
                    <a:pt x="1659" y="1429"/>
                  </a:lnTo>
                  <a:lnTo>
                    <a:pt x="1653" y="1424"/>
                  </a:lnTo>
                  <a:lnTo>
                    <a:pt x="1647" y="1420"/>
                  </a:lnTo>
                  <a:lnTo>
                    <a:pt x="1639" y="1416"/>
                  </a:lnTo>
                  <a:lnTo>
                    <a:pt x="1632" y="1413"/>
                  </a:lnTo>
                  <a:lnTo>
                    <a:pt x="1622" y="1411"/>
                  </a:lnTo>
                  <a:lnTo>
                    <a:pt x="1611" y="1410"/>
                  </a:lnTo>
                  <a:lnTo>
                    <a:pt x="1598" y="1409"/>
                  </a:lnTo>
                  <a:lnTo>
                    <a:pt x="1583" y="1409"/>
                  </a:lnTo>
                  <a:lnTo>
                    <a:pt x="1574" y="1410"/>
                  </a:lnTo>
                  <a:lnTo>
                    <a:pt x="1566" y="1409"/>
                  </a:lnTo>
                  <a:lnTo>
                    <a:pt x="1560" y="1407"/>
                  </a:lnTo>
                  <a:lnTo>
                    <a:pt x="1555" y="1404"/>
                  </a:lnTo>
                  <a:lnTo>
                    <a:pt x="1551" y="1399"/>
                  </a:lnTo>
                  <a:lnTo>
                    <a:pt x="1549" y="1393"/>
                  </a:lnTo>
                  <a:lnTo>
                    <a:pt x="1547" y="1387"/>
                  </a:lnTo>
                  <a:lnTo>
                    <a:pt x="1546" y="1380"/>
                  </a:lnTo>
                  <a:lnTo>
                    <a:pt x="1544" y="1348"/>
                  </a:lnTo>
                  <a:lnTo>
                    <a:pt x="1544" y="1319"/>
                  </a:lnTo>
                  <a:lnTo>
                    <a:pt x="1542" y="1314"/>
                  </a:lnTo>
                  <a:lnTo>
                    <a:pt x="1540" y="1310"/>
                  </a:lnTo>
                  <a:lnTo>
                    <a:pt x="1537" y="1307"/>
                  </a:lnTo>
                  <a:lnTo>
                    <a:pt x="1533" y="1304"/>
                  </a:lnTo>
                  <a:lnTo>
                    <a:pt x="1524" y="1300"/>
                  </a:lnTo>
                  <a:lnTo>
                    <a:pt x="1513" y="1296"/>
                  </a:lnTo>
                  <a:lnTo>
                    <a:pt x="1503" y="1293"/>
                  </a:lnTo>
                  <a:lnTo>
                    <a:pt x="1494" y="1289"/>
                  </a:lnTo>
                  <a:lnTo>
                    <a:pt x="1490" y="1287"/>
                  </a:lnTo>
                  <a:lnTo>
                    <a:pt x="1488" y="1284"/>
                  </a:lnTo>
                  <a:lnTo>
                    <a:pt x="1486" y="1280"/>
                  </a:lnTo>
                  <a:lnTo>
                    <a:pt x="1485" y="1276"/>
                  </a:lnTo>
                  <a:lnTo>
                    <a:pt x="1486" y="1251"/>
                  </a:lnTo>
                  <a:lnTo>
                    <a:pt x="1485" y="1231"/>
                  </a:lnTo>
                  <a:lnTo>
                    <a:pt x="1485" y="1223"/>
                  </a:lnTo>
                  <a:lnTo>
                    <a:pt x="1484" y="1216"/>
                  </a:lnTo>
                  <a:lnTo>
                    <a:pt x="1482" y="1210"/>
                  </a:lnTo>
                  <a:lnTo>
                    <a:pt x="1480" y="1205"/>
                  </a:lnTo>
                  <a:lnTo>
                    <a:pt x="1477" y="1200"/>
                  </a:lnTo>
                  <a:lnTo>
                    <a:pt x="1473" y="1196"/>
                  </a:lnTo>
                  <a:lnTo>
                    <a:pt x="1466" y="1192"/>
                  </a:lnTo>
                  <a:lnTo>
                    <a:pt x="1460" y="1188"/>
                  </a:lnTo>
                  <a:lnTo>
                    <a:pt x="1441" y="1180"/>
                  </a:lnTo>
                  <a:lnTo>
                    <a:pt x="1416" y="1171"/>
                  </a:lnTo>
                  <a:lnTo>
                    <a:pt x="1392" y="1162"/>
                  </a:lnTo>
                  <a:lnTo>
                    <a:pt x="1370" y="1152"/>
                  </a:lnTo>
                  <a:lnTo>
                    <a:pt x="1349" y="1141"/>
                  </a:lnTo>
                  <a:lnTo>
                    <a:pt x="1330" y="1128"/>
                  </a:lnTo>
                  <a:lnTo>
                    <a:pt x="1311" y="1115"/>
                  </a:lnTo>
                  <a:lnTo>
                    <a:pt x="1291" y="1101"/>
                  </a:lnTo>
                  <a:lnTo>
                    <a:pt x="1272" y="1087"/>
                  </a:lnTo>
                  <a:lnTo>
                    <a:pt x="1253" y="1073"/>
                  </a:lnTo>
                  <a:lnTo>
                    <a:pt x="1253" y="1058"/>
                  </a:lnTo>
                  <a:lnTo>
                    <a:pt x="1255" y="1042"/>
                  </a:lnTo>
                  <a:lnTo>
                    <a:pt x="1258" y="1026"/>
                  </a:lnTo>
                  <a:lnTo>
                    <a:pt x="1262" y="1012"/>
                  </a:lnTo>
                  <a:lnTo>
                    <a:pt x="1265" y="1004"/>
                  </a:lnTo>
                  <a:lnTo>
                    <a:pt x="1269" y="998"/>
                  </a:lnTo>
                  <a:lnTo>
                    <a:pt x="1273" y="991"/>
                  </a:lnTo>
                  <a:lnTo>
                    <a:pt x="1279" y="986"/>
                  </a:lnTo>
                  <a:lnTo>
                    <a:pt x="1284" y="979"/>
                  </a:lnTo>
                  <a:lnTo>
                    <a:pt x="1290" y="975"/>
                  </a:lnTo>
                  <a:lnTo>
                    <a:pt x="1297" y="970"/>
                  </a:lnTo>
                  <a:lnTo>
                    <a:pt x="1306" y="967"/>
                  </a:lnTo>
                  <a:lnTo>
                    <a:pt x="1317" y="962"/>
                  </a:lnTo>
                  <a:lnTo>
                    <a:pt x="1329" y="955"/>
                  </a:lnTo>
                  <a:lnTo>
                    <a:pt x="1338" y="949"/>
                  </a:lnTo>
                  <a:lnTo>
                    <a:pt x="1346" y="943"/>
                  </a:lnTo>
                  <a:lnTo>
                    <a:pt x="1354" y="935"/>
                  </a:lnTo>
                  <a:lnTo>
                    <a:pt x="1361" y="928"/>
                  </a:lnTo>
                  <a:lnTo>
                    <a:pt x="1366" y="921"/>
                  </a:lnTo>
                  <a:lnTo>
                    <a:pt x="1371" y="913"/>
                  </a:lnTo>
                  <a:lnTo>
                    <a:pt x="1376" y="903"/>
                  </a:lnTo>
                  <a:lnTo>
                    <a:pt x="1379" y="894"/>
                  </a:lnTo>
                  <a:lnTo>
                    <a:pt x="1382" y="884"/>
                  </a:lnTo>
                  <a:lnTo>
                    <a:pt x="1384" y="874"/>
                  </a:lnTo>
                  <a:lnTo>
                    <a:pt x="1388" y="852"/>
                  </a:lnTo>
                  <a:lnTo>
                    <a:pt x="1390" y="829"/>
                  </a:lnTo>
                  <a:lnTo>
                    <a:pt x="1391" y="823"/>
                  </a:lnTo>
                  <a:lnTo>
                    <a:pt x="1394" y="817"/>
                  </a:lnTo>
                  <a:lnTo>
                    <a:pt x="1396" y="811"/>
                  </a:lnTo>
                  <a:lnTo>
                    <a:pt x="1400" y="806"/>
                  </a:lnTo>
                  <a:lnTo>
                    <a:pt x="1408" y="797"/>
                  </a:lnTo>
                  <a:lnTo>
                    <a:pt x="1416" y="787"/>
                  </a:lnTo>
                  <a:lnTo>
                    <a:pt x="1425" y="778"/>
                  </a:lnTo>
                  <a:lnTo>
                    <a:pt x="1433" y="767"/>
                  </a:lnTo>
                  <a:lnTo>
                    <a:pt x="1436" y="762"/>
                  </a:lnTo>
                  <a:lnTo>
                    <a:pt x="1439" y="757"/>
                  </a:lnTo>
                  <a:lnTo>
                    <a:pt x="1442" y="751"/>
                  </a:lnTo>
                  <a:lnTo>
                    <a:pt x="1444" y="745"/>
                  </a:lnTo>
                  <a:lnTo>
                    <a:pt x="1445" y="733"/>
                  </a:lnTo>
                  <a:lnTo>
                    <a:pt x="1444" y="722"/>
                  </a:lnTo>
                  <a:lnTo>
                    <a:pt x="1444" y="715"/>
                  </a:lnTo>
                  <a:lnTo>
                    <a:pt x="1444" y="709"/>
                  </a:lnTo>
                  <a:lnTo>
                    <a:pt x="1445" y="704"/>
                  </a:lnTo>
                  <a:lnTo>
                    <a:pt x="1446" y="699"/>
                  </a:lnTo>
                  <a:lnTo>
                    <a:pt x="1450" y="693"/>
                  </a:lnTo>
                  <a:lnTo>
                    <a:pt x="1452" y="688"/>
                  </a:lnTo>
                  <a:lnTo>
                    <a:pt x="1456" y="684"/>
                  </a:lnTo>
                  <a:lnTo>
                    <a:pt x="1460" y="679"/>
                  </a:lnTo>
                  <a:lnTo>
                    <a:pt x="1469" y="670"/>
                  </a:lnTo>
                  <a:lnTo>
                    <a:pt x="1480" y="662"/>
                  </a:lnTo>
                  <a:lnTo>
                    <a:pt x="1502" y="646"/>
                  </a:lnTo>
                  <a:lnTo>
                    <a:pt x="1522" y="634"/>
                  </a:lnTo>
                  <a:lnTo>
                    <a:pt x="1531" y="626"/>
                  </a:lnTo>
                  <a:lnTo>
                    <a:pt x="1531" y="626"/>
                  </a:lnTo>
                  <a:lnTo>
                    <a:pt x="1528" y="619"/>
                  </a:lnTo>
                  <a:lnTo>
                    <a:pt x="1525" y="613"/>
                  </a:lnTo>
                  <a:lnTo>
                    <a:pt x="1519" y="609"/>
                  </a:lnTo>
                  <a:lnTo>
                    <a:pt x="1514" y="605"/>
                  </a:lnTo>
                  <a:lnTo>
                    <a:pt x="1509" y="602"/>
                  </a:lnTo>
                  <a:lnTo>
                    <a:pt x="1503" y="598"/>
                  </a:lnTo>
                  <a:lnTo>
                    <a:pt x="1497" y="597"/>
                  </a:lnTo>
                  <a:lnTo>
                    <a:pt x="1490" y="596"/>
                  </a:lnTo>
                  <a:lnTo>
                    <a:pt x="1483" y="596"/>
                  </a:lnTo>
                  <a:lnTo>
                    <a:pt x="1477" y="597"/>
                  </a:lnTo>
                  <a:lnTo>
                    <a:pt x="1470" y="598"/>
                  </a:lnTo>
                  <a:lnTo>
                    <a:pt x="1465" y="602"/>
                  </a:lnTo>
                  <a:lnTo>
                    <a:pt x="1459" y="605"/>
                  </a:lnTo>
                  <a:lnTo>
                    <a:pt x="1454" y="609"/>
                  </a:lnTo>
                  <a:lnTo>
                    <a:pt x="1450" y="615"/>
                  </a:lnTo>
                  <a:lnTo>
                    <a:pt x="1446" y="621"/>
                  </a:lnTo>
                  <a:lnTo>
                    <a:pt x="1433" y="631"/>
                  </a:lnTo>
                  <a:lnTo>
                    <a:pt x="1418" y="639"/>
                  </a:lnTo>
                  <a:lnTo>
                    <a:pt x="1411" y="642"/>
                  </a:lnTo>
                  <a:lnTo>
                    <a:pt x="1406" y="643"/>
                  </a:lnTo>
                  <a:lnTo>
                    <a:pt x="1400" y="644"/>
                  </a:lnTo>
                  <a:lnTo>
                    <a:pt x="1395" y="644"/>
                  </a:lnTo>
                  <a:lnTo>
                    <a:pt x="1391" y="643"/>
                  </a:lnTo>
                  <a:lnTo>
                    <a:pt x="1387" y="642"/>
                  </a:lnTo>
                  <a:lnTo>
                    <a:pt x="1384" y="641"/>
                  </a:lnTo>
                  <a:lnTo>
                    <a:pt x="1381" y="638"/>
                  </a:lnTo>
                  <a:lnTo>
                    <a:pt x="1379" y="636"/>
                  </a:lnTo>
                  <a:lnTo>
                    <a:pt x="1377" y="633"/>
                  </a:lnTo>
                  <a:lnTo>
                    <a:pt x="1376" y="629"/>
                  </a:lnTo>
                  <a:lnTo>
                    <a:pt x="1375" y="626"/>
                  </a:lnTo>
                  <a:lnTo>
                    <a:pt x="1372" y="616"/>
                  </a:lnTo>
                  <a:lnTo>
                    <a:pt x="1372" y="606"/>
                  </a:lnTo>
                  <a:lnTo>
                    <a:pt x="1375" y="585"/>
                  </a:lnTo>
                  <a:lnTo>
                    <a:pt x="1379" y="563"/>
                  </a:lnTo>
                  <a:lnTo>
                    <a:pt x="1383" y="543"/>
                  </a:lnTo>
                  <a:lnTo>
                    <a:pt x="1384" y="528"/>
                  </a:lnTo>
                  <a:lnTo>
                    <a:pt x="1384" y="520"/>
                  </a:lnTo>
                  <a:lnTo>
                    <a:pt x="1384" y="513"/>
                  </a:lnTo>
                  <a:lnTo>
                    <a:pt x="1382" y="506"/>
                  </a:lnTo>
                  <a:lnTo>
                    <a:pt x="1380" y="499"/>
                  </a:lnTo>
                  <a:lnTo>
                    <a:pt x="1375" y="486"/>
                  </a:lnTo>
                  <a:lnTo>
                    <a:pt x="1369" y="473"/>
                  </a:lnTo>
                  <a:lnTo>
                    <a:pt x="1363" y="460"/>
                  </a:lnTo>
                  <a:lnTo>
                    <a:pt x="1358" y="447"/>
                  </a:lnTo>
                  <a:lnTo>
                    <a:pt x="1357" y="440"/>
                  </a:lnTo>
                  <a:lnTo>
                    <a:pt x="1356" y="433"/>
                  </a:lnTo>
                  <a:lnTo>
                    <a:pt x="1355" y="425"/>
                  </a:lnTo>
                  <a:lnTo>
                    <a:pt x="1355" y="417"/>
                  </a:lnTo>
                  <a:lnTo>
                    <a:pt x="1364" y="407"/>
                  </a:lnTo>
                  <a:lnTo>
                    <a:pt x="1373" y="396"/>
                  </a:lnTo>
                  <a:lnTo>
                    <a:pt x="1383" y="386"/>
                  </a:lnTo>
                  <a:lnTo>
                    <a:pt x="1393" y="376"/>
                  </a:lnTo>
                  <a:lnTo>
                    <a:pt x="1414" y="358"/>
                  </a:lnTo>
                  <a:lnTo>
                    <a:pt x="1435" y="338"/>
                  </a:lnTo>
                  <a:lnTo>
                    <a:pt x="1435" y="335"/>
                  </a:lnTo>
                  <a:lnTo>
                    <a:pt x="1434" y="330"/>
                  </a:lnTo>
                  <a:lnTo>
                    <a:pt x="1432" y="326"/>
                  </a:lnTo>
                  <a:lnTo>
                    <a:pt x="1430" y="323"/>
                  </a:lnTo>
                  <a:lnTo>
                    <a:pt x="1425" y="316"/>
                  </a:lnTo>
                  <a:lnTo>
                    <a:pt x="1417" y="310"/>
                  </a:lnTo>
                  <a:lnTo>
                    <a:pt x="1401" y="298"/>
                  </a:lnTo>
                  <a:lnTo>
                    <a:pt x="1387" y="289"/>
                  </a:lnTo>
                  <a:lnTo>
                    <a:pt x="1379" y="281"/>
                  </a:lnTo>
                  <a:lnTo>
                    <a:pt x="1370" y="275"/>
                  </a:lnTo>
                  <a:lnTo>
                    <a:pt x="1363" y="267"/>
                  </a:lnTo>
                  <a:lnTo>
                    <a:pt x="1356" y="259"/>
                  </a:lnTo>
                  <a:lnTo>
                    <a:pt x="1349" y="251"/>
                  </a:lnTo>
                  <a:lnTo>
                    <a:pt x="1343" y="242"/>
                  </a:lnTo>
                  <a:lnTo>
                    <a:pt x="1339" y="232"/>
                  </a:lnTo>
                  <a:lnTo>
                    <a:pt x="1335" y="222"/>
                  </a:lnTo>
                  <a:lnTo>
                    <a:pt x="1334" y="218"/>
                  </a:lnTo>
                  <a:lnTo>
                    <a:pt x="1333" y="212"/>
                  </a:lnTo>
                  <a:lnTo>
                    <a:pt x="1333" y="208"/>
                  </a:lnTo>
                  <a:lnTo>
                    <a:pt x="1334" y="203"/>
                  </a:lnTo>
                  <a:lnTo>
                    <a:pt x="1337" y="195"/>
                  </a:lnTo>
                  <a:lnTo>
                    <a:pt x="1342" y="187"/>
                  </a:lnTo>
                  <a:lnTo>
                    <a:pt x="1348" y="179"/>
                  </a:lnTo>
                  <a:lnTo>
                    <a:pt x="1357" y="172"/>
                  </a:lnTo>
                  <a:lnTo>
                    <a:pt x="1365" y="164"/>
                  </a:lnTo>
                  <a:lnTo>
                    <a:pt x="1373" y="157"/>
                  </a:lnTo>
                  <a:lnTo>
                    <a:pt x="1382" y="150"/>
                  </a:lnTo>
                  <a:lnTo>
                    <a:pt x="1390" y="142"/>
                  </a:lnTo>
                  <a:lnTo>
                    <a:pt x="1397" y="133"/>
                  </a:lnTo>
                  <a:lnTo>
                    <a:pt x="1403" y="125"/>
                  </a:lnTo>
                  <a:lnTo>
                    <a:pt x="1406" y="120"/>
                  </a:lnTo>
                  <a:lnTo>
                    <a:pt x="1408" y="115"/>
                  </a:lnTo>
                  <a:lnTo>
                    <a:pt x="1409" y="110"/>
                  </a:lnTo>
                  <a:lnTo>
                    <a:pt x="1410" y="105"/>
                  </a:lnTo>
                  <a:lnTo>
                    <a:pt x="1410" y="100"/>
                  </a:lnTo>
                  <a:lnTo>
                    <a:pt x="1409" y="94"/>
                  </a:lnTo>
                  <a:lnTo>
                    <a:pt x="1408" y="87"/>
                  </a:lnTo>
                  <a:lnTo>
                    <a:pt x="1406" y="81"/>
                  </a:lnTo>
                  <a:lnTo>
                    <a:pt x="1404" y="76"/>
                  </a:lnTo>
                  <a:lnTo>
                    <a:pt x="1400" y="71"/>
                  </a:lnTo>
                  <a:lnTo>
                    <a:pt x="1396" y="66"/>
                  </a:lnTo>
                  <a:lnTo>
                    <a:pt x="1391" y="61"/>
                  </a:lnTo>
                  <a:lnTo>
                    <a:pt x="1381" y="54"/>
                  </a:lnTo>
                  <a:lnTo>
                    <a:pt x="1369" y="47"/>
                  </a:lnTo>
                  <a:lnTo>
                    <a:pt x="1344" y="35"/>
                  </a:lnTo>
                  <a:lnTo>
                    <a:pt x="1322" y="25"/>
                  </a:lnTo>
                  <a:lnTo>
                    <a:pt x="1310" y="17"/>
                  </a:lnTo>
                  <a:lnTo>
                    <a:pt x="1297" y="11"/>
                  </a:lnTo>
                  <a:lnTo>
                    <a:pt x="1285" y="5"/>
                  </a:lnTo>
                  <a:lnTo>
                    <a:pt x="1271" y="0"/>
                  </a:lnTo>
                  <a:lnTo>
                    <a:pt x="1206" y="10"/>
                  </a:lnTo>
                  <a:lnTo>
                    <a:pt x="1201" y="14"/>
                  </a:lnTo>
                  <a:lnTo>
                    <a:pt x="1198" y="19"/>
                  </a:lnTo>
                  <a:lnTo>
                    <a:pt x="1195" y="25"/>
                  </a:lnTo>
                  <a:lnTo>
                    <a:pt x="1194" y="31"/>
                  </a:lnTo>
                  <a:lnTo>
                    <a:pt x="1193" y="37"/>
                  </a:lnTo>
                  <a:lnTo>
                    <a:pt x="1193" y="43"/>
                  </a:lnTo>
                  <a:lnTo>
                    <a:pt x="1193" y="51"/>
                  </a:lnTo>
                  <a:lnTo>
                    <a:pt x="1194" y="57"/>
                  </a:lnTo>
                  <a:lnTo>
                    <a:pt x="1199" y="84"/>
                  </a:lnTo>
                  <a:lnTo>
                    <a:pt x="1206" y="107"/>
                  </a:lnTo>
                  <a:lnTo>
                    <a:pt x="1207" y="114"/>
                  </a:lnTo>
                  <a:lnTo>
                    <a:pt x="1207" y="120"/>
                  </a:lnTo>
                  <a:lnTo>
                    <a:pt x="1206" y="126"/>
                  </a:lnTo>
                  <a:lnTo>
                    <a:pt x="1205" y="131"/>
                  </a:lnTo>
                  <a:lnTo>
                    <a:pt x="1201" y="142"/>
                  </a:lnTo>
                  <a:lnTo>
                    <a:pt x="1197" y="151"/>
                  </a:lnTo>
                  <a:lnTo>
                    <a:pt x="1192" y="159"/>
                  </a:lnTo>
                  <a:lnTo>
                    <a:pt x="1186" y="169"/>
                  </a:lnTo>
                  <a:lnTo>
                    <a:pt x="1182" y="178"/>
                  </a:lnTo>
                  <a:lnTo>
                    <a:pt x="1177" y="190"/>
                  </a:lnTo>
                  <a:lnTo>
                    <a:pt x="1171" y="194"/>
                  </a:lnTo>
                  <a:lnTo>
                    <a:pt x="1166" y="199"/>
                  </a:lnTo>
                  <a:lnTo>
                    <a:pt x="1163" y="203"/>
                  </a:lnTo>
                  <a:lnTo>
                    <a:pt x="1160" y="208"/>
                  </a:lnTo>
                  <a:lnTo>
                    <a:pt x="1158" y="214"/>
                  </a:lnTo>
                  <a:lnTo>
                    <a:pt x="1156" y="219"/>
                  </a:lnTo>
                  <a:lnTo>
                    <a:pt x="1156" y="224"/>
                  </a:lnTo>
                  <a:lnTo>
                    <a:pt x="1156" y="228"/>
                  </a:lnTo>
                  <a:lnTo>
                    <a:pt x="1158" y="240"/>
                  </a:lnTo>
                  <a:lnTo>
                    <a:pt x="1161" y="250"/>
                  </a:lnTo>
                  <a:lnTo>
                    <a:pt x="1167" y="260"/>
                  </a:lnTo>
                  <a:lnTo>
                    <a:pt x="1173" y="272"/>
                  </a:lnTo>
                  <a:lnTo>
                    <a:pt x="1187" y="295"/>
                  </a:lnTo>
                  <a:lnTo>
                    <a:pt x="1200" y="318"/>
                  </a:lnTo>
                  <a:lnTo>
                    <a:pt x="1205" y="329"/>
                  </a:lnTo>
                  <a:lnTo>
                    <a:pt x="1208" y="342"/>
                  </a:lnTo>
                  <a:lnTo>
                    <a:pt x="1208" y="348"/>
                  </a:lnTo>
                  <a:lnTo>
                    <a:pt x="1208" y="353"/>
                  </a:lnTo>
                  <a:lnTo>
                    <a:pt x="1207" y="360"/>
                  </a:lnTo>
                  <a:lnTo>
                    <a:pt x="1206" y="366"/>
                  </a:lnTo>
                  <a:lnTo>
                    <a:pt x="1202" y="373"/>
                  </a:lnTo>
                  <a:lnTo>
                    <a:pt x="1199" y="379"/>
                  </a:lnTo>
                  <a:lnTo>
                    <a:pt x="1195" y="386"/>
                  </a:lnTo>
                  <a:lnTo>
                    <a:pt x="1191" y="390"/>
                  </a:lnTo>
                  <a:lnTo>
                    <a:pt x="1187" y="394"/>
                  </a:lnTo>
                  <a:lnTo>
                    <a:pt x="1182" y="398"/>
                  </a:lnTo>
                  <a:lnTo>
                    <a:pt x="1176" y="400"/>
                  </a:lnTo>
                  <a:lnTo>
                    <a:pt x="1170" y="402"/>
                  </a:lnTo>
                  <a:lnTo>
                    <a:pt x="1165" y="404"/>
                  </a:lnTo>
                  <a:lnTo>
                    <a:pt x="1159" y="405"/>
                  </a:lnTo>
                  <a:lnTo>
                    <a:pt x="1151" y="405"/>
                  </a:lnTo>
                  <a:lnTo>
                    <a:pt x="1145" y="405"/>
                  </a:lnTo>
                  <a:lnTo>
                    <a:pt x="1132" y="403"/>
                  </a:lnTo>
                  <a:lnTo>
                    <a:pt x="1117" y="400"/>
                  </a:lnTo>
                  <a:lnTo>
                    <a:pt x="1103" y="395"/>
                  </a:lnTo>
                  <a:lnTo>
                    <a:pt x="1090" y="389"/>
                  </a:lnTo>
                  <a:lnTo>
                    <a:pt x="1077" y="381"/>
                  </a:lnTo>
                  <a:lnTo>
                    <a:pt x="1065" y="373"/>
                  </a:lnTo>
                  <a:lnTo>
                    <a:pt x="1053" y="365"/>
                  </a:lnTo>
                  <a:lnTo>
                    <a:pt x="1044" y="355"/>
                  </a:lnTo>
                  <a:lnTo>
                    <a:pt x="1037" y="345"/>
                  </a:lnTo>
                  <a:lnTo>
                    <a:pt x="1030" y="336"/>
                  </a:lnTo>
                  <a:lnTo>
                    <a:pt x="1023" y="334"/>
                  </a:lnTo>
                  <a:lnTo>
                    <a:pt x="1017" y="331"/>
                  </a:lnTo>
                  <a:lnTo>
                    <a:pt x="1011" y="330"/>
                  </a:lnTo>
                  <a:lnTo>
                    <a:pt x="1004" y="330"/>
                  </a:lnTo>
                  <a:lnTo>
                    <a:pt x="999" y="330"/>
                  </a:lnTo>
                  <a:lnTo>
                    <a:pt x="994" y="331"/>
                  </a:lnTo>
                  <a:lnTo>
                    <a:pt x="990" y="334"/>
                  </a:lnTo>
                  <a:lnTo>
                    <a:pt x="986" y="336"/>
                  </a:lnTo>
                  <a:lnTo>
                    <a:pt x="977" y="341"/>
                  </a:lnTo>
                  <a:lnTo>
                    <a:pt x="970" y="348"/>
                  </a:lnTo>
                  <a:lnTo>
                    <a:pt x="964" y="355"/>
                  </a:lnTo>
                  <a:lnTo>
                    <a:pt x="957" y="365"/>
                  </a:lnTo>
                  <a:lnTo>
                    <a:pt x="946" y="383"/>
                  </a:lnTo>
                  <a:lnTo>
                    <a:pt x="933" y="399"/>
                  </a:lnTo>
                  <a:lnTo>
                    <a:pt x="927" y="407"/>
                  </a:lnTo>
                  <a:lnTo>
                    <a:pt x="919" y="412"/>
                  </a:lnTo>
                  <a:lnTo>
                    <a:pt x="915" y="414"/>
                  </a:lnTo>
                  <a:lnTo>
                    <a:pt x="911" y="415"/>
                  </a:lnTo>
                  <a:lnTo>
                    <a:pt x="905" y="416"/>
                  </a:lnTo>
                  <a:lnTo>
                    <a:pt x="900" y="416"/>
                  </a:lnTo>
                  <a:lnTo>
                    <a:pt x="889" y="414"/>
                  </a:lnTo>
                  <a:lnTo>
                    <a:pt x="879" y="412"/>
                  </a:lnTo>
                  <a:lnTo>
                    <a:pt x="871" y="408"/>
                  </a:lnTo>
                  <a:lnTo>
                    <a:pt x="863" y="402"/>
                  </a:lnTo>
                  <a:lnTo>
                    <a:pt x="849" y="391"/>
                  </a:lnTo>
                  <a:lnTo>
                    <a:pt x="835" y="376"/>
                  </a:lnTo>
                  <a:lnTo>
                    <a:pt x="829" y="370"/>
                  </a:lnTo>
                  <a:lnTo>
                    <a:pt x="823" y="363"/>
                  </a:lnTo>
                  <a:lnTo>
                    <a:pt x="816" y="356"/>
                  </a:lnTo>
                  <a:lnTo>
                    <a:pt x="808" y="351"/>
                  </a:lnTo>
                  <a:lnTo>
                    <a:pt x="800" y="346"/>
                  </a:lnTo>
                  <a:lnTo>
                    <a:pt x="791" y="343"/>
                  </a:lnTo>
                  <a:lnTo>
                    <a:pt x="780" y="340"/>
                  </a:lnTo>
                  <a:lnTo>
                    <a:pt x="768" y="340"/>
                  </a:lnTo>
                  <a:lnTo>
                    <a:pt x="753" y="340"/>
                  </a:lnTo>
                  <a:lnTo>
                    <a:pt x="740" y="342"/>
                  </a:lnTo>
                  <a:lnTo>
                    <a:pt x="726" y="345"/>
                  </a:lnTo>
                  <a:lnTo>
                    <a:pt x="713" y="349"/>
                  </a:lnTo>
                  <a:lnTo>
                    <a:pt x="701" y="352"/>
                  </a:lnTo>
                  <a:lnTo>
                    <a:pt x="687" y="356"/>
                  </a:lnTo>
                  <a:lnTo>
                    <a:pt x="675" y="359"/>
                  </a:lnTo>
                  <a:lnTo>
                    <a:pt x="661" y="361"/>
                  </a:lnTo>
                  <a:lnTo>
                    <a:pt x="661" y="361"/>
                  </a:lnTo>
                  <a:lnTo>
                    <a:pt x="659" y="456"/>
                  </a:lnTo>
                  <a:lnTo>
                    <a:pt x="659" y="463"/>
                  </a:lnTo>
                  <a:lnTo>
                    <a:pt x="659" y="470"/>
                  </a:lnTo>
                  <a:lnTo>
                    <a:pt x="660" y="476"/>
                  </a:lnTo>
                  <a:lnTo>
                    <a:pt x="662" y="483"/>
                  </a:lnTo>
                  <a:lnTo>
                    <a:pt x="668" y="493"/>
                  </a:lnTo>
                  <a:lnTo>
                    <a:pt x="675" y="501"/>
                  </a:lnTo>
                  <a:lnTo>
                    <a:pt x="682" y="510"/>
                  </a:lnTo>
                  <a:lnTo>
                    <a:pt x="690" y="519"/>
                  </a:lnTo>
                  <a:lnTo>
                    <a:pt x="693" y="524"/>
                  </a:lnTo>
                  <a:lnTo>
                    <a:pt x="696" y="530"/>
                  </a:lnTo>
                  <a:lnTo>
                    <a:pt x="699" y="536"/>
                  </a:lnTo>
                  <a:lnTo>
                    <a:pt x="701" y="542"/>
                  </a:lnTo>
                  <a:lnTo>
                    <a:pt x="702" y="551"/>
                  </a:lnTo>
                  <a:lnTo>
                    <a:pt x="703" y="561"/>
                  </a:lnTo>
                  <a:lnTo>
                    <a:pt x="704" y="572"/>
                  </a:lnTo>
                  <a:lnTo>
                    <a:pt x="704" y="584"/>
                  </a:lnTo>
                  <a:lnTo>
                    <a:pt x="702" y="607"/>
                  </a:lnTo>
                  <a:lnTo>
                    <a:pt x="699" y="626"/>
                  </a:lnTo>
                  <a:lnTo>
                    <a:pt x="697" y="636"/>
                  </a:lnTo>
                  <a:lnTo>
                    <a:pt x="693" y="646"/>
                  </a:lnTo>
                  <a:lnTo>
                    <a:pt x="688" y="657"/>
                  </a:lnTo>
                  <a:lnTo>
                    <a:pt x="682" y="666"/>
                  </a:lnTo>
                  <a:lnTo>
                    <a:pt x="677" y="676"/>
                  </a:lnTo>
                  <a:lnTo>
                    <a:pt x="670" y="684"/>
                  </a:lnTo>
                  <a:lnTo>
                    <a:pt x="662" y="692"/>
                  </a:lnTo>
                  <a:lnTo>
                    <a:pt x="655" y="701"/>
                  </a:lnTo>
                  <a:lnTo>
                    <a:pt x="647" y="708"/>
                  </a:lnTo>
                  <a:lnTo>
                    <a:pt x="638" y="715"/>
                  </a:lnTo>
                  <a:lnTo>
                    <a:pt x="629" y="722"/>
                  </a:lnTo>
                  <a:lnTo>
                    <a:pt x="620" y="728"/>
                  </a:lnTo>
                  <a:lnTo>
                    <a:pt x="610" y="733"/>
                  </a:lnTo>
                  <a:lnTo>
                    <a:pt x="601" y="738"/>
                  </a:lnTo>
                  <a:lnTo>
                    <a:pt x="590" y="742"/>
                  </a:lnTo>
                  <a:lnTo>
                    <a:pt x="580" y="746"/>
                  </a:lnTo>
                  <a:lnTo>
                    <a:pt x="574" y="747"/>
                  </a:lnTo>
                  <a:lnTo>
                    <a:pt x="569" y="747"/>
                  </a:lnTo>
                  <a:lnTo>
                    <a:pt x="562" y="746"/>
                  </a:lnTo>
                  <a:lnTo>
                    <a:pt x="556" y="742"/>
                  </a:lnTo>
                  <a:lnTo>
                    <a:pt x="545" y="736"/>
                  </a:lnTo>
                  <a:lnTo>
                    <a:pt x="533" y="729"/>
                  </a:lnTo>
                  <a:lnTo>
                    <a:pt x="527" y="726"/>
                  </a:lnTo>
                  <a:lnTo>
                    <a:pt x="522" y="723"/>
                  </a:lnTo>
                  <a:lnTo>
                    <a:pt x="516" y="721"/>
                  </a:lnTo>
                  <a:lnTo>
                    <a:pt x="511" y="720"/>
                  </a:lnTo>
                  <a:lnTo>
                    <a:pt x="506" y="720"/>
                  </a:lnTo>
                  <a:lnTo>
                    <a:pt x="501" y="721"/>
                  </a:lnTo>
                  <a:lnTo>
                    <a:pt x="496" y="725"/>
                  </a:lnTo>
                  <a:lnTo>
                    <a:pt x="490" y="730"/>
                  </a:lnTo>
                  <a:lnTo>
                    <a:pt x="476" y="749"/>
                  </a:lnTo>
                  <a:lnTo>
                    <a:pt x="463" y="764"/>
                  </a:lnTo>
                  <a:lnTo>
                    <a:pt x="457" y="771"/>
                  </a:lnTo>
                  <a:lnTo>
                    <a:pt x="451" y="777"/>
                  </a:lnTo>
                  <a:lnTo>
                    <a:pt x="443" y="781"/>
                  </a:lnTo>
                  <a:lnTo>
                    <a:pt x="437" y="785"/>
                  </a:lnTo>
                  <a:lnTo>
                    <a:pt x="431" y="788"/>
                  </a:lnTo>
                  <a:lnTo>
                    <a:pt x="424" y="790"/>
                  </a:lnTo>
                  <a:lnTo>
                    <a:pt x="416" y="791"/>
                  </a:lnTo>
                  <a:lnTo>
                    <a:pt x="408" y="791"/>
                  </a:lnTo>
                  <a:lnTo>
                    <a:pt x="400" y="790"/>
                  </a:lnTo>
                  <a:lnTo>
                    <a:pt x="389" y="788"/>
                  </a:lnTo>
                  <a:lnTo>
                    <a:pt x="380" y="785"/>
                  </a:lnTo>
                  <a:lnTo>
                    <a:pt x="368" y="781"/>
                  </a:lnTo>
                  <a:lnTo>
                    <a:pt x="364" y="780"/>
                  </a:lnTo>
                  <a:lnTo>
                    <a:pt x="359" y="780"/>
                  </a:lnTo>
                  <a:lnTo>
                    <a:pt x="355" y="781"/>
                  </a:lnTo>
                  <a:lnTo>
                    <a:pt x="350" y="782"/>
                  </a:lnTo>
                  <a:lnTo>
                    <a:pt x="340" y="788"/>
                  </a:lnTo>
                  <a:lnTo>
                    <a:pt x="331" y="796"/>
                  </a:lnTo>
                  <a:lnTo>
                    <a:pt x="311" y="817"/>
                  </a:lnTo>
                  <a:lnTo>
                    <a:pt x="291" y="838"/>
                  </a:lnTo>
                  <a:lnTo>
                    <a:pt x="282" y="849"/>
                  </a:lnTo>
                  <a:lnTo>
                    <a:pt x="272" y="856"/>
                  </a:lnTo>
                  <a:lnTo>
                    <a:pt x="268" y="859"/>
                  </a:lnTo>
                  <a:lnTo>
                    <a:pt x="264" y="861"/>
                  </a:lnTo>
                  <a:lnTo>
                    <a:pt x="260" y="862"/>
                  </a:lnTo>
                  <a:lnTo>
                    <a:pt x="256" y="863"/>
                  </a:lnTo>
                  <a:lnTo>
                    <a:pt x="252" y="862"/>
                  </a:lnTo>
                  <a:lnTo>
                    <a:pt x="248" y="860"/>
                  </a:lnTo>
                  <a:lnTo>
                    <a:pt x="245" y="858"/>
                  </a:lnTo>
                  <a:lnTo>
                    <a:pt x="242" y="854"/>
                  </a:lnTo>
                  <a:lnTo>
                    <a:pt x="239" y="848"/>
                  </a:lnTo>
                  <a:lnTo>
                    <a:pt x="236" y="841"/>
                  </a:lnTo>
                  <a:lnTo>
                    <a:pt x="234" y="832"/>
                  </a:lnTo>
                  <a:lnTo>
                    <a:pt x="231" y="822"/>
                  </a:lnTo>
                  <a:lnTo>
                    <a:pt x="230" y="811"/>
                  </a:lnTo>
                  <a:lnTo>
                    <a:pt x="230" y="800"/>
                  </a:lnTo>
                  <a:lnTo>
                    <a:pt x="231" y="788"/>
                  </a:lnTo>
                  <a:lnTo>
                    <a:pt x="233" y="777"/>
                  </a:lnTo>
                  <a:lnTo>
                    <a:pt x="234" y="764"/>
                  </a:lnTo>
                  <a:lnTo>
                    <a:pt x="235" y="752"/>
                  </a:lnTo>
                  <a:lnTo>
                    <a:pt x="236" y="740"/>
                  </a:lnTo>
                  <a:lnTo>
                    <a:pt x="235" y="728"/>
                  </a:lnTo>
                  <a:lnTo>
                    <a:pt x="221" y="720"/>
                  </a:lnTo>
                  <a:lnTo>
                    <a:pt x="210" y="712"/>
                  </a:lnTo>
                  <a:lnTo>
                    <a:pt x="198" y="706"/>
                  </a:lnTo>
                  <a:lnTo>
                    <a:pt x="188" y="703"/>
                  </a:lnTo>
                  <a:lnTo>
                    <a:pt x="183" y="702"/>
                  </a:lnTo>
                  <a:lnTo>
                    <a:pt x="178" y="702"/>
                  </a:lnTo>
                  <a:lnTo>
                    <a:pt x="172" y="704"/>
                  </a:lnTo>
                  <a:lnTo>
                    <a:pt x="167" y="706"/>
                  </a:lnTo>
                  <a:lnTo>
                    <a:pt x="161" y="710"/>
                  </a:lnTo>
                  <a:lnTo>
                    <a:pt x="156" y="715"/>
                  </a:lnTo>
                  <a:lnTo>
                    <a:pt x="149" y="722"/>
                  </a:lnTo>
                  <a:lnTo>
                    <a:pt x="142" y="730"/>
                  </a:lnTo>
                  <a:lnTo>
                    <a:pt x="139" y="771"/>
                  </a:lnTo>
                  <a:lnTo>
                    <a:pt x="139" y="771"/>
                  </a:lnTo>
                  <a:lnTo>
                    <a:pt x="143" y="777"/>
                  </a:lnTo>
                  <a:lnTo>
                    <a:pt x="146" y="783"/>
                  </a:lnTo>
                  <a:lnTo>
                    <a:pt x="148" y="791"/>
                  </a:lnTo>
                  <a:lnTo>
                    <a:pt x="148" y="801"/>
                  </a:lnTo>
                  <a:lnTo>
                    <a:pt x="148" y="809"/>
                  </a:lnTo>
                  <a:lnTo>
                    <a:pt x="146" y="820"/>
                  </a:lnTo>
                  <a:lnTo>
                    <a:pt x="143" y="829"/>
                  </a:lnTo>
                  <a:lnTo>
                    <a:pt x="139" y="838"/>
                  </a:lnTo>
                  <a:lnTo>
                    <a:pt x="135" y="848"/>
                  </a:lnTo>
                  <a:lnTo>
                    <a:pt x="130" y="856"/>
                  </a:lnTo>
                  <a:lnTo>
                    <a:pt x="123" y="865"/>
                  </a:lnTo>
                  <a:lnTo>
                    <a:pt x="116" y="871"/>
                  </a:lnTo>
                  <a:lnTo>
                    <a:pt x="109" y="877"/>
                  </a:lnTo>
                  <a:lnTo>
                    <a:pt x="101" y="881"/>
                  </a:lnTo>
                  <a:lnTo>
                    <a:pt x="94" y="884"/>
                  </a:lnTo>
                  <a:lnTo>
                    <a:pt x="86" y="886"/>
                  </a:lnTo>
                  <a:lnTo>
                    <a:pt x="69" y="886"/>
                  </a:lnTo>
                  <a:lnTo>
                    <a:pt x="55" y="886"/>
                  </a:lnTo>
                  <a:lnTo>
                    <a:pt x="42" y="887"/>
                  </a:lnTo>
                  <a:lnTo>
                    <a:pt x="31" y="890"/>
                  </a:lnTo>
                  <a:lnTo>
                    <a:pt x="25" y="892"/>
                  </a:lnTo>
                  <a:lnTo>
                    <a:pt x="21" y="894"/>
                  </a:lnTo>
                  <a:lnTo>
                    <a:pt x="17" y="898"/>
                  </a:lnTo>
                  <a:lnTo>
                    <a:pt x="14" y="902"/>
                  </a:lnTo>
                  <a:lnTo>
                    <a:pt x="11" y="907"/>
                  </a:lnTo>
                  <a:lnTo>
                    <a:pt x="8" y="915"/>
                  </a:lnTo>
                  <a:lnTo>
                    <a:pt x="6" y="923"/>
                  </a:lnTo>
                  <a:lnTo>
                    <a:pt x="3" y="932"/>
                  </a:lnTo>
                  <a:lnTo>
                    <a:pt x="1" y="943"/>
                  </a:lnTo>
                  <a:lnTo>
                    <a:pt x="0" y="955"/>
                  </a:lnTo>
                  <a:lnTo>
                    <a:pt x="0" y="967"/>
                  </a:lnTo>
                  <a:lnTo>
                    <a:pt x="0" y="979"/>
                  </a:lnTo>
                  <a:lnTo>
                    <a:pt x="1" y="991"/>
                  </a:lnTo>
                  <a:lnTo>
                    <a:pt x="6" y="1002"/>
                  </a:lnTo>
                  <a:lnTo>
                    <a:pt x="8" y="1007"/>
                  </a:lnTo>
                  <a:lnTo>
                    <a:pt x="11" y="1013"/>
                  </a:lnTo>
                  <a:lnTo>
                    <a:pt x="14" y="1018"/>
                  </a:lnTo>
                  <a:lnTo>
                    <a:pt x="18" y="1022"/>
                  </a:lnTo>
                  <a:lnTo>
                    <a:pt x="25" y="1029"/>
                  </a:lnTo>
                  <a:lnTo>
                    <a:pt x="34" y="1035"/>
                  </a:lnTo>
                  <a:lnTo>
                    <a:pt x="42" y="1040"/>
                  </a:lnTo>
                  <a:lnTo>
                    <a:pt x="49" y="1043"/>
                  </a:lnTo>
                  <a:lnTo>
                    <a:pt x="66" y="1051"/>
                  </a:lnTo>
                  <a:lnTo>
                    <a:pt x="84" y="1061"/>
                  </a:lnTo>
                  <a:lnTo>
                    <a:pt x="87" y="1064"/>
                  </a:lnTo>
                  <a:lnTo>
                    <a:pt x="90" y="1068"/>
                  </a:lnTo>
                  <a:lnTo>
                    <a:pt x="93" y="1074"/>
                  </a:lnTo>
                  <a:lnTo>
                    <a:pt x="95" y="1080"/>
                  </a:lnTo>
                  <a:lnTo>
                    <a:pt x="99" y="1097"/>
                  </a:lnTo>
                  <a:lnTo>
                    <a:pt x="102" y="1114"/>
                  </a:lnTo>
                  <a:lnTo>
                    <a:pt x="106" y="1150"/>
                  </a:lnTo>
                  <a:lnTo>
                    <a:pt x="109" y="1176"/>
                  </a:lnTo>
                  <a:lnTo>
                    <a:pt x="110" y="1184"/>
                  </a:lnTo>
                  <a:lnTo>
                    <a:pt x="113" y="1190"/>
                  </a:lnTo>
                  <a:lnTo>
                    <a:pt x="115" y="1196"/>
                  </a:lnTo>
                  <a:lnTo>
                    <a:pt x="119" y="1203"/>
                  </a:lnTo>
                  <a:lnTo>
                    <a:pt x="126" y="1215"/>
                  </a:lnTo>
                  <a:lnTo>
                    <a:pt x="136" y="1228"/>
                  </a:lnTo>
                  <a:lnTo>
                    <a:pt x="144" y="1239"/>
                  </a:lnTo>
                  <a:lnTo>
                    <a:pt x="151" y="1251"/>
                  </a:lnTo>
                  <a:lnTo>
                    <a:pt x="155" y="1257"/>
                  </a:lnTo>
                  <a:lnTo>
                    <a:pt x="157" y="1262"/>
                  </a:lnTo>
                  <a:lnTo>
                    <a:pt x="159" y="1268"/>
                  </a:lnTo>
                  <a:lnTo>
                    <a:pt x="160" y="1273"/>
                  </a:lnTo>
                  <a:lnTo>
                    <a:pt x="170" y="1281"/>
                  </a:lnTo>
                  <a:lnTo>
                    <a:pt x="178" y="1285"/>
                  </a:lnTo>
                  <a:lnTo>
                    <a:pt x="181" y="1286"/>
                  </a:lnTo>
                  <a:lnTo>
                    <a:pt x="184" y="1286"/>
                  </a:lnTo>
                  <a:lnTo>
                    <a:pt x="187" y="1285"/>
                  </a:lnTo>
                  <a:lnTo>
                    <a:pt x="189" y="1285"/>
                  </a:lnTo>
                  <a:lnTo>
                    <a:pt x="203" y="1279"/>
                  </a:lnTo>
                  <a:lnTo>
                    <a:pt x="222" y="1271"/>
                  </a:lnTo>
                  <a:lnTo>
                    <a:pt x="236" y="1269"/>
                  </a:lnTo>
                  <a:lnTo>
                    <a:pt x="246" y="1268"/>
                  </a:lnTo>
                  <a:lnTo>
                    <a:pt x="254" y="1269"/>
                  </a:lnTo>
                  <a:lnTo>
                    <a:pt x="260" y="1272"/>
                  </a:lnTo>
                  <a:lnTo>
                    <a:pt x="271" y="1280"/>
                  </a:lnTo>
                  <a:lnTo>
                    <a:pt x="288" y="1292"/>
                  </a:lnTo>
                  <a:lnTo>
                    <a:pt x="299" y="1303"/>
                  </a:lnTo>
                  <a:lnTo>
                    <a:pt x="308" y="1315"/>
                  </a:lnTo>
                  <a:lnTo>
                    <a:pt x="317" y="1327"/>
                  </a:lnTo>
                  <a:lnTo>
                    <a:pt x="327" y="1340"/>
                  </a:lnTo>
                  <a:lnTo>
                    <a:pt x="342" y="1366"/>
                  </a:lnTo>
                  <a:lnTo>
                    <a:pt x="358" y="1394"/>
                  </a:lnTo>
                  <a:lnTo>
                    <a:pt x="371" y="1423"/>
                  </a:lnTo>
                  <a:lnTo>
                    <a:pt x="386" y="1451"/>
                  </a:lnTo>
                  <a:lnTo>
                    <a:pt x="400" y="1479"/>
                  </a:lnTo>
                  <a:lnTo>
                    <a:pt x="414" y="1506"/>
                  </a:lnTo>
                  <a:lnTo>
                    <a:pt x="429" y="1532"/>
                  </a:lnTo>
                  <a:lnTo>
                    <a:pt x="441" y="1553"/>
                  </a:lnTo>
                  <a:lnTo>
                    <a:pt x="448" y="1561"/>
                  </a:lnTo>
                  <a:lnTo>
                    <a:pt x="455" y="1569"/>
                  </a:lnTo>
                  <a:lnTo>
                    <a:pt x="461" y="1575"/>
                  </a:lnTo>
                  <a:lnTo>
                    <a:pt x="468" y="1581"/>
                  </a:lnTo>
                  <a:lnTo>
                    <a:pt x="476" y="1586"/>
                  </a:lnTo>
                  <a:lnTo>
                    <a:pt x="484" y="1591"/>
                  </a:lnTo>
                  <a:lnTo>
                    <a:pt x="493" y="1595"/>
                  </a:lnTo>
                  <a:lnTo>
                    <a:pt x="503" y="1598"/>
                  </a:lnTo>
                  <a:lnTo>
                    <a:pt x="527" y="1604"/>
                  </a:lnTo>
                  <a:lnTo>
                    <a:pt x="557" y="1610"/>
                  </a:lnTo>
                  <a:lnTo>
                    <a:pt x="576" y="1614"/>
                  </a:lnTo>
                  <a:lnTo>
                    <a:pt x="591" y="1619"/>
                  </a:lnTo>
                  <a:lnTo>
                    <a:pt x="599" y="1622"/>
                  </a:lnTo>
                  <a:lnTo>
                    <a:pt x="605" y="1625"/>
                  </a:lnTo>
                  <a:lnTo>
                    <a:pt x="611" y="1629"/>
                  </a:lnTo>
                  <a:lnTo>
                    <a:pt x="617" y="1633"/>
                  </a:lnTo>
                  <a:lnTo>
                    <a:pt x="622" y="1638"/>
                  </a:lnTo>
                  <a:lnTo>
                    <a:pt x="627" y="1643"/>
                  </a:lnTo>
                  <a:lnTo>
                    <a:pt x="632" y="1648"/>
                  </a:lnTo>
                  <a:lnTo>
                    <a:pt x="636" y="1654"/>
                  </a:lnTo>
                  <a:lnTo>
                    <a:pt x="645" y="1669"/>
                  </a:lnTo>
                  <a:lnTo>
                    <a:pt x="653" y="1686"/>
                  </a:lnTo>
                  <a:lnTo>
                    <a:pt x="660" y="1698"/>
                  </a:lnTo>
                  <a:lnTo>
                    <a:pt x="668" y="1709"/>
                  </a:lnTo>
                  <a:lnTo>
                    <a:pt x="672" y="1713"/>
                  </a:lnTo>
                  <a:lnTo>
                    <a:pt x="676" y="1716"/>
                  </a:lnTo>
                  <a:lnTo>
                    <a:pt x="680" y="1719"/>
                  </a:lnTo>
                  <a:lnTo>
                    <a:pt x="685" y="1721"/>
                  </a:lnTo>
                  <a:lnTo>
                    <a:pt x="690" y="1722"/>
                  </a:lnTo>
                  <a:lnTo>
                    <a:pt x="695" y="1723"/>
                  </a:lnTo>
                  <a:lnTo>
                    <a:pt x="700" y="1723"/>
                  </a:lnTo>
                  <a:lnTo>
                    <a:pt x="706" y="1723"/>
                  </a:lnTo>
                  <a:lnTo>
                    <a:pt x="719" y="1721"/>
                  </a:lnTo>
                  <a:lnTo>
                    <a:pt x="732" y="1717"/>
                  </a:lnTo>
                  <a:lnTo>
                    <a:pt x="740" y="1715"/>
                  </a:lnTo>
                  <a:lnTo>
                    <a:pt x="747" y="1715"/>
                  </a:lnTo>
                  <a:lnTo>
                    <a:pt x="753" y="1717"/>
                  </a:lnTo>
                  <a:lnTo>
                    <a:pt x="759" y="1721"/>
                  </a:lnTo>
                  <a:lnTo>
                    <a:pt x="765" y="1726"/>
                  </a:lnTo>
                  <a:lnTo>
                    <a:pt x="771" y="1731"/>
                  </a:lnTo>
                  <a:lnTo>
                    <a:pt x="776" y="1739"/>
                  </a:lnTo>
                  <a:lnTo>
                    <a:pt x="782" y="1745"/>
                  </a:lnTo>
                  <a:lnTo>
                    <a:pt x="794" y="1760"/>
                  </a:lnTo>
                  <a:lnTo>
                    <a:pt x="807" y="1773"/>
                  </a:lnTo>
                  <a:lnTo>
                    <a:pt x="815" y="1778"/>
                  </a:lnTo>
                  <a:lnTo>
                    <a:pt x="823" y="1783"/>
                  </a:lnTo>
                  <a:lnTo>
                    <a:pt x="831" y="1786"/>
                  </a:lnTo>
                  <a:lnTo>
                    <a:pt x="841" y="1787"/>
                  </a:lnTo>
                  <a:lnTo>
                    <a:pt x="874" y="1783"/>
                  </a:lnTo>
                  <a:lnTo>
                    <a:pt x="922" y="1778"/>
                  </a:lnTo>
                  <a:lnTo>
                    <a:pt x="935" y="1777"/>
                  </a:lnTo>
                  <a:lnTo>
                    <a:pt x="946" y="1778"/>
                  </a:lnTo>
                  <a:lnTo>
                    <a:pt x="956" y="1779"/>
                  </a:lnTo>
                  <a:lnTo>
                    <a:pt x="966" y="1782"/>
                  </a:lnTo>
                  <a:lnTo>
                    <a:pt x="974" y="1786"/>
                  </a:lnTo>
                  <a:lnTo>
                    <a:pt x="981" y="1791"/>
                  </a:lnTo>
                  <a:lnTo>
                    <a:pt x="984" y="1794"/>
                  </a:lnTo>
                  <a:lnTo>
                    <a:pt x="986" y="1797"/>
                  </a:lnTo>
                  <a:lnTo>
                    <a:pt x="988" y="1801"/>
                  </a:lnTo>
                  <a:lnTo>
                    <a:pt x="988" y="1806"/>
                  </a:lnTo>
                  <a:lnTo>
                    <a:pt x="990" y="1808"/>
                  </a:lnTo>
                  <a:lnTo>
                    <a:pt x="992" y="1813"/>
                  </a:lnTo>
                  <a:lnTo>
                    <a:pt x="994" y="1819"/>
                  </a:lnTo>
                  <a:lnTo>
                    <a:pt x="997" y="1826"/>
                  </a:lnTo>
                  <a:lnTo>
                    <a:pt x="1001" y="1845"/>
                  </a:lnTo>
                  <a:lnTo>
                    <a:pt x="1005" y="1866"/>
                  </a:lnTo>
                  <a:lnTo>
                    <a:pt x="1013" y="1908"/>
                  </a:lnTo>
                  <a:lnTo>
                    <a:pt x="1015" y="1933"/>
                  </a:lnTo>
                  <a:lnTo>
                    <a:pt x="1016" y="1942"/>
                  </a:lnTo>
                  <a:lnTo>
                    <a:pt x="1018" y="1953"/>
                  </a:lnTo>
                  <a:lnTo>
                    <a:pt x="1021" y="1963"/>
                  </a:lnTo>
                  <a:lnTo>
                    <a:pt x="1025" y="1976"/>
                  </a:lnTo>
                  <a:lnTo>
                    <a:pt x="1030" y="1987"/>
                  </a:lnTo>
                  <a:lnTo>
                    <a:pt x="1036" y="2000"/>
                  </a:lnTo>
                  <a:lnTo>
                    <a:pt x="1043" y="2011"/>
                  </a:lnTo>
                  <a:lnTo>
                    <a:pt x="1049" y="2024"/>
                  </a:lnTo>
                  <a:lnTo>
                    <a:pt x="1058" y="2035"/>
                  </a:lnTo>
                  <a:lnTo>
                    <a:pt x="1065" y="2047"/>
                  </a:lnTo>
                  <a:lnTo>
                    <a:pt x="1073" y="2057"/>
                  </a:lnTo>
                  <a:lnTo>
                    <a:pt x="1083" y="2067"/>
                  </a:lnTo>
                  <a:lnTo>
                    <a:pt x="1091" y="2076"/>
                  </a:lnTo>
                  <a:lnTo>
                    <a:pt x="1099" y="2084"/>
                  </a:lnTo>
                  <a:lnTo>
                    <a:pt x="1108" y="2090"/>
                  </a:lnTo>
                  <a:lnTo>
                    <a:pt x="1116" y="2096"/>
                  </a:lnTo>
                  <a:lnTo>
                    <a:pt x="1125" y="2101"/>
                  </a:lnTo>
                  <a:lnTo>
                    <a:pt x="1136" y="2104"/>
                  </a:lnTo>
                  <a:lnTo>
                    <a:pt x="1146" y="2108"/>
                  </a:lnTo>
                  <a:lnTo>
                    <a:pt x="1157" y="2110"/>
                  </a:lnTo>
                  <a:lnTo>
                    <a:pt x="1177" y="2114"/>
                  </a:lnTo>
                  <a:lnTo>
                    <a:pt x="1199" y="2116"/>
                  </a:lnTo>
                  <a:lnTo>
                    <a:pt x="1222" y="2119"/>
                  </a:lnTo>
                  <a:lnTo>
                    <a:pt x="1244" y="2122"/>
                  </a:lnTo>
                  <a:lnTo>
                    <a:pt x="1255" y="2123"/>
                  </a:lnTo>
                  <a:lnTo>
                    <a:pt x="1265" y="2125"/>
                  </a:lnTo>
                  <a:lnTo>
                    <a:pt x="1275" y="2128"/>
                  </a:lnTo>
                  <a:lnTo>
                    <a:pt x="1286" y="2131"/>
                  </a:lnTo>
                  <a:lnTo>
                    <a:pt x="1307" y="2137"/>
                  </a:lnTo>
                  <a:lnTo>
                    <a:pt x="1326" y="2144"/>
                  </a:lnTo>
                  <a:lnTo>
                    <a:pt x="1344" y="2149"/>
                  </a:lnTo>
                  <a:lnTo>
                    <a:pt x="1363" y="2153"/>
                  </a:lnTo>
                  <a:lnTo>
                    <a:pt x="1381" y="2156"/>
                  </a:lnTo>
                  <a:lnTo>
                    <a:pt x="1397" y="2159"/>
                  </a:lnTo>
                  <a:lnTo>
                    <a:pt x="1415" y="2160"/>
                  </a:lnTo>
                  <a:lnTo>
                    <a:pt x="1432" y="2160"/>
                  </a:lnTo>
                  <a:lnTo>
                    <a:pt x="1449" y="2160"/>
                  </a:lnTo>
                  <a:lnTo>
                    <a:pt x="1465" y="2158"/>
                  </a:lnTo>
                  <a:lnTo>
                    <a:pt x="1483" y="2155"/>
                  </a:lnTo>
                  <a:lnTo>
                    <a:pt x="1501" y="2151"/>
                  </a:lnTo>
                  <a:lnTo>
                    <a:pt x="1518" y="2146"/>
                  </a:lnTo>
                  <a:lnTo>
                    <a:pt x="1536" y="2139"/>
                  </a:lnTo>
                  <a:lnTo>
                    <a:pt x="1555" y="2131"/>
                  </a:lnTo>
                  <a:lnTo>
                    <a:pt x="1575" y="2123"/>
                  </a:lnTo>
                  <a:lnTo>
                    <a:pt x="1592" y="2113"/>
                  </a:lnTo>
                  <a:lnTo>
                    <a:pt x="1614" y="2101"/>
                  </a:lnTo>
                  <a:lnTo>
                    <a:pt x="1639" y="2087"/>
                  </a:lnTo>
                  <a:lnTo>
                    <a:pt x="1665" y="2074"/>
                  </a:lnTo>
                  <a:lnTo>
                    <a:pt x="1693" y="2061"/>
                  </a:lnTo>
                  <a:lnTo>
                    <a:pt x="1718" y="2051"/>
                  </a:lnTo>
                  <a:lnTo>
                    <a:pt x="1729" y="2047"/>
                  </a:lnTo>
                  <a:lnTo>
                    <a:pt x="1739" y="2043"/>
                  </a:lnTo>
                  <a:lnTo>
                    <a:pt x="1750" y="2041"/>
                  </a:lnTo>
                  <a:lnTo>
                    <a:pt x="1758" y="2040"/>
                  </a:lnTo>
                  <a:lnTo>
                    <a:pt x="1758" y="2040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4" name="Freeform 151">
              <a:extLst>
                <a:ext uri="{FF2B5EF4-FFF2-40B4-BE49-F238E27FC236}">
                  <a16:creationId xmlns:a16="http://schemas.microsoft.com/office/drawing/2014/main" id="{864C4B94-02F0-4AB6-9B03-2DC9745EB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8937" y="5509125"/>
              <a:ext cx="512482" cy="418197"/>
            </a:xfrm>
            <a:custGeom>
              <a:avLst/>
              <a:gdLst>
                <a:gd name="T0" fmla="*/ 1547 w 2041"/>
                <a:gd name="T1" fmla="*/ 1563 h 1723"/>
                <a:gd name="T2" fmla="*/ 1573 w 2041"/>
                <a:gd name="T3" fmla="*/ 1692 h 1723"/>
                <a:gd name="T4" fmla="*/ 1628 w 2041"/>
                <a:gd name="T5" fmla="*/ 1689 h 1723"/>
                <a:gd name="T6" fmla="*/ 1745 w 2041"/>
                <a:gd name="T7" fmla="*/ 1642 h 1723"/>
                <a:gd name="T8" fmla="*/ 1838 w 2041"/>
                <a:gd name="T9" fmla="*/ 1572 h 1723"/>
                <a:gd name="T10" fmla="*/ 1917 w 2041"/>
                <a:gd name="T11" fmla="*/ 1597 h 1723"/>
                <a:gd name="T12" fmla="*/ 2019 w 2041"/>
                <a:gd name="T13" fmla="*/ 1517 h 1723"/>
                <a:gd name="T14" fmla="*/ 2033 w 2041"/>
                <a:gd name="T15" fmla="*/ 1381 h 1723"/>
                <a:gd name="T16" fmla="*/ 1998 w 2041"/>
                <a:gd name="T17" fmla="*/ 1212 h 1723"/>
                <a:gd name="T18" fmla="*/ 1942 w 2041"/>
                <a:gd name="T19" fmla="*/ 1151 h 1723"/>
                <a:gd name="T20" fmla="*/ 2033 w 2041"/>
                <a:gd name="T21" fmla="*/ 1111 h 1723"/>
                <a:gd name="T22" fmla="*/ 1962 w 2041"/>
                <a:gd name="T23" fmla="*/ 974 h 1723"/>
                <a:gd name="T24" fmla="*/ 1964 w 2041"/>
                <a:gd name="T25" fmla="*/ 808 h 1723"/>
                <a:gd name="T26" fmla="*/ 1921 w 2041"/>
                <a:gd name="T27" fmla="*/ 746 h 1723"/>
                <a:gd name="T28" fmla="*/ 1804 w 2041"/>
                <a:gd name="T29" fmla="*/ 728 h 1723"/>
                <a:gd name="T30" fmla="*/ 1783 w 2041"/>
                <a:gd name="T31" fmla="*/ 636 h 1723"/>
                <a:gd name="T32" fmla="*/ 1752 w 2041"/>
                <a:gd name="T33" fmla="*/ 447 h 1723"/>
                <a:gd name="T34" fmla="*/ 1712 w 2041"/>
                <a:gd name="T35" fmla="*/ 352 h 1723"/>
                <a:gd name="T36" fmla="*/ 1685 w 2041"/>
                <a:gd name="T37" fmla="*/ 239 h 1723"/>
                <a:gd name="T38" fmla="*/ 1539 w 2041"/>
                <a:gd name="T39" fmla="*/ 166 h 1723"/>
                <a:gd name="T40" fmla="*/ 1457 w 2041"/>
                <a:gd name="T41" fmla="*/ 141 h 1723"/>
                <a:gd name="T42" fmla="*/ 1425 w 2041"/>
                <a:gd name="T43" fmla="*/ 22 h 1723"/>
                <a:gd name="T44" fmla="*/ 1264 w 2041"/>
                <a:gd name="T45" fmla="*/ 11 h 1723"/>
                <a:gd name="T46" fmla="*/ 1191 w 2041"/>
                <a:gd name="T47" fmla="*/ 130 h 1723"/>
                <a:gd name="T48" fmla="*/ 1061 w 2041"/>
                <a:gd name="T49" fmla="*/ 140 h 1723"/>
                <a:gd name="T50" fmla="*/ 1020 w 2041"/>
                <a:gd name="T51" fmla="*/ 53 h 1723"/>
                <a:gd name="T52" fmla="*/ 845 w 2041"/>
                <a:gd name="T53" fmla="*/ 127 h 1723"/>
                <a:gd name="T54" fmla="*/ 716 w 2041"/>
                <a:gd name="T55" fmla="*/ 230 h 1723"/>
                <a:gd name="T56" fmla="*/ 653 w 2041"/>
                <a:gd name="T57" fmla="*/ 186 h 1723"/>
                <a:gd name="T58" fmla="*/ 506 w 2041"/>
                <a:gd name="T59" fmla="*/ 158 h 1723"/>
                <a:gd name="T60" fmla="*/ 429 w 2041"/>
                <a:gd name="T61" fmla="*/ 88 h 1723"/>
                <a:gd name="T62" fmla="*/ 384 w 2041"/>
                <a:gd name="T63" fmla="*/ 178 h 1723"/>
                <a:gd name="T64" fmla="*/ 311 w 2041"/>
                <a:gd name="T65" fmla="*/ 155 h 1723"/>
                <a:gd name="T66" fmla="*/ 240 w 2041"/>
                <a:gd name="T67" fmla="*/ 196 h 1723"/>
                <a:gd name="T68" fmla="*/ 174 w 2041"/>
                <a:gd name="T69" fmla="*/ 257 h 1723"/>
                <a:gd name="T70" fmla="*/ 28 w 2041"/>
                <a:gd name="T71" fmla="*/ 416 h 1723"/>
                <a:gd name="T72" fmla="*/ 145 w 2041"/>
                <a:gd name="T73" fmla="*/ 848 h 1723"/>
                <a:gd name="T74" fmla="*/ 289 w 2041"/>
                <a:gd name="T75" fmla="*/ 985 h 1723"/>
                <a:gd name="T76" fmla="*/ 384 w 2041"/>
                <a:gd name="T77" fmla="*/ 946 h 1723"/>
                <a:gd name="T78" fmla="*/ 528 w 2041"/>
                <a:gd name="T79" fmla="*/ 935 h 1723"/>
                <a:gd name="T80" fmla="*/ 501 w 2041"/>
                <a:gd name="T81" fmla="*/ 995 h 1723"/>
                <a:gd name="T82" fmla="*/ 505 w 2041"/>
                <a:gd name="T83" fmla="*/ 1043 h 1723"/>
                <a:gd name="T84" fmla="*/ 523 w 2041"/>
                <a:gd name="T85" fmla="*/ 1097 h 1723"/>
                <a:gd name="T86" fmla="*/ 619 w 2041"/>
                <a:gd name="T87" fmla="*/ 1094 h 1723"/>
                <a:gd name="T88" fmla="*/ 586 w 2041"/>
                <a:gd name="T89" fmla="*/ 1163 h 1723"/>
                <a:gd name="T90" fmla="*/ 619 w 2041"/>
                <a:gd name="T91" fmla="*/ 1235 h 1723"/>
                <a:gd name="T92" fmla="*/ 680 w 2041"/>
                <a:gd name="T93" fmla="*/ 1221 h 1723"/>
                <a:gd name="T94" fmla="*/ 714 w 2041"/>
                <a:gd name="T95" fmla="*/ 1140 h 1723"/>
                <a:gd name="T96" fmla="*/ 800 w 2041"/>
                <a:gd name="T97" fmla="*/ 1197 h 1723"/>
                <a:gd name="T98" fmla="*/ 846 w 2041"/>
                <a:gd name="T99" fmla="*/ 1237 h 1723"/>
                <a:gd name="T100" fmla="*/ 821 w 2041"/>
                <a:gd name="T101" fmla="*/ 1319 h 1723"/>
                <a:gd name="T102" fmla="*/ 898 w 2041"/>
                <a:gd name="T103" fmla="*/ 1315 h 1723"/>
                <a:gd name="T104" fmla="*/ 963 w 2041"/>
                <a:gd name="T105" fmla="*/ 1340 h 1723"/>
                <a:gd name="T106" fmla="*/ 1004 w 2041"/>
                <a:gd name="T107" fmla="*/ 1439 h 1723"/>
                <a:gd name="T108" fmla="*/ 1105 w 2041"/>
                <a:gd name="T109" fmla="*/ 1360 h 1723"/>
                <a:gd name="T110" fmla="*/ 1242 w 2041"/>
                <a:gd name="T111" fmla="*/ 1414 h 1723"/>
                <a:gd name="T112" fmla="*/ 1153 w 2041"/>
                <a:gd name="T113" fmla="*/ 1454 h 1723"/>
                <a:gd name="T114" fmla="*/ 1128 w 2041"/>
                <a:gd name="T115" fmla="*/ 1525 h 1723"/>
                <a:gd name="T116" fmla="*/ 1279 w 2041"/>
                <a:gd name="T117" fmla="*/ 1647 h 1723"/>
                <a:gd name="T118" fmla="*/ 1335 w 2041"/>
                <a:gd name="T119" fmla="*/ 1721 h 1723"/>
                <a:gd name="T120" fmla="*/ 1388 w 2041"/>
                <a:gd name="T121" fmla="*/ 162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41" h="1723">
                  <a:moveTo>
                    <a:pt x="1476" y="1622"/>
                  </a:moveTo>
                  <a:lnTo>
                    <a:pt x="1479" y="1581"/>
                  </a:lnTo>
                  <a:lnTo>
                    <a:pt x="1486" y="1573"/>
                  </a:lnTo>
                  <a:lnTo>
                    <a:pt x="1493" y="1566"/>
                  </a:lnTo>
                  <a:lnTo>
                    <a:pt x="1498" y="1561"/>
                  </a:lnTo>
                  <a:lnTo>
                    <a:pt x="1504" y="1557"/>
                  </a:lnTo>
                  <a:lnTo>
                    <a:pt x="1509" y="1555"/>
                  </a:lnTo>
                  <a:lnTo>
                    <a:pt x="1515" y="1553"/>
                  </a:lnTo>
                  <a:lnTo>
                    <a:pt x="1520" y="1553"/>
                  </a:lnTo>
                  <a:lnTo>
                    <a:pt x="1525" y="1554"/>
                  </a:lnTo>
                  <a:lnTo>
                    <a:pt x="1535" y="1557"/>
                  </a:lnTo>
                  <a:lnTo>
                    <a:pt x="1547" y="1563"/>
                  </a:lnTo>
                  <a:lnTo>
                    <a:pt x="1558" y="1571"/>
                  </a:lnTo>
                  <a:lnTo>
                    <a:pt x="1572" y="1579"/>
                  </a:lnTo>
                  <a:lnTo>
                    <a:pt x="1573" y="1591"/>
                  </a:lnTo>
                  <a:lnTo>
                    <a:pt x="1572" y="1603"/>
                  </a:lnTo>
                  <a:lnTo>
                    <a:pt x="1571" y="1615"/>
                  </a:lnTo>
                  <a:lnTo>
                    <a:pt x="1570" y="1628"/>
                  </a:lnTo>
                  <a:lnTo>
                    <a:pt x="1568" y="1639"/>
                  </a:lnTo>
                  <a:lnTo>
                    <a:pt x="1567" y="1651"/>
                  </a:lnTo>
                  <a:lnTo>
                    <a:pt x="1567" y="1662"/>
                  </a:lnTo>
                  <a:lnTo>
                    <a:pt x="1568" y="1673"/>
                  </a:lnTo>
                  <a:lnTo>
                    <a:pt x="1571" y="1683"/>
                  </a:lnTo>
                  <a:lnTo>
                    <a:pt x="1573" y="1692"/>
                  </a:lnTo>
                  <a:lnTo>
                    <a:pt x="1576" y="1699"/>
                  </a:lnTo>
                  <a:lnTo>
                    <a:pt x="1579" y="1705"/>
                  </a:lnTo>
                  <a:lnTo>
                    <a:pt x="1582" y="1709"/>
                  </a:lnTo>
                  <a:lnTo>
                    <a:pt x="1585" y="1711"/>
                  </a:lnTo>
                  <a:lnTo>
                    <a:pt x="1589" y="1713"/>
                  </a:lnTo>
                  <a:lnTo>
                    <a:pt x="1593" y="1714"/>
                  </a:lnTo>
                  <a:lnTo>
                    <a:pt x="1597" y="1713"/>
                  </a:lnTo>
                  <a:lnTo>
                    <a:pt x="1601" y="1712"/>
                  </a:lnTo>
                  <a:lnTo>
                    <a:pt x="1605" y="1710"/>
                  </a:lnTo>
                  <a:lnTo>
                    <a:pt x="1609" y="1707"/>
                  </a:lnTo>
                  <a:lnTo>
                    <a:pt x="1619" y="1700"/>
                  </a:lnTo>
                  <a:lnTo>
                    <a:pt x="1628" y="1689"/>
                  </a:lnTo>
                  <a:lnTo>
                    <a:pt x="1648" y="1668"/>
                  </a:lnTo>
                  <a:lnTo>
                    <a:pt x="1668" y="1647"/>
                  </a:lnTo>
                  <a:lnTo>
                    <a:pt x="1677" y="1639"/>
                  </a:lnTo>
                  <a:lnTo>
                    <a:pt x="1687" y="1633"/>
                  </a:lnTo>
                  <a:lnTo>
                    <a:pt x="1692" y="1632"/>
                  </a:lnTo>
                  <a:lnTo>
                    <a:pt x="1696" y="1631"/>
                  </a:lnTo>
                  <a:lnTo>
                    <a:pt x="1701" y="1631"/>
                  </a:lnTo>
                  <a:lnTo>
                    <a:pt x="1705" y="1632"/>
                  </a:lnTo>
                  <a:lnTo>
                    <a:pt x="1717" y="1636"/>
                  </a:lnTo>
                  <a:lnTo>
                    <a:pt x="1726" y="1639"/>
                  </a:lnTo>
                  <a:lnTo>
                    <a:pt x="1737" y="1641"/>
                  </a:lnTo>
                  <a:lnTo>
                    <a:pt x="1745" y="1642"/>
                  </a:lnTo>
                  <a:lnTo>
                    <a:pt x="1753" y="1642"/>
                  </a:lnTo>
                  <a:lnTo>
                    <a:pt x="1761" y="1641"/>
                  </a:lnTo>
                  <a:lnTo>
                    <a:pt x="1768" y="1639"/>
                  </a:lnTo>
                  <a:lnTo>
                    <a:pt x="1774" y="1636"/>
                  </a:lnTo>
                  <a:lnTo>
                    <a:pt x="1780" y="1632"/>
                  </a:lnTo>
                  <a:lnTo>
                    <a:pt x="1788" y="1628"/>
                  </a:lnTo>
                  <a:lnTo>
                    <a:pt x="1794" y="1622"/>
                  </a:lnTo>
                  <a:lnTo>
                    <a:pt x="1800" y="1615"/>
                  </a:lnTo>
                  <a:lnTo>
                    <a:pt x="1813" y="1600"/>
                  </a:lnTo>
                  <a:lnTo>
                    <a:pt x="1827" y="1581"/>
                  </a:lnTo>
                  <a:lnTo>
                    <a:pt x="1833" y="1576"/>
                  </a:lnTo>
                  <a:lnTo>
                    <a:pt x="1838" y="1572"/>
                  </a:lnTo>
                  <a:lnTo>
                    <a:pt x="1843" y="1571"/>
                  </a:lnTo>
                  <a:lnTo>
                    <a:pt x="1848" y="1571"/>
                  </a:lnTo>
                  <a:lnTo>
                    <a:pt x="1853" y="1572"/>
                  </a:lnTo>
                  <a:lnTo>
                    <a:pt x="1859" y="1574"/>
                  </a:lnTo>
                  <a:lnTo>
                    <a:pt x="1864" y="1577"/>
                  </a:lnTo>
                  <a:lnTo>
                    <a:pt x="1870" y="1580"/>
                  </a:lnTo>
                  <a:lnTo>
                    <a:pt x="1882" y="1587"/>
                  </a:lnTo>
                  <a:lnTo>
                    <a:pt x="1893" y="1593"/>
                  </a:lnTo>
                  <a:lnTo>
                    <a:pt x="1899" y="1597"/>
                  </a:lnTo>
                  <a:lnTo>
                    <a:pt x="1906" y="1598"/>
                  </a:lnTo>
                  <a:lnTo>
                    <a:pt x="1911" y="1598"/>
                  </a:lnTo>
                  <a:lnTo>
                    <a:pt x="1917" y="1597"/>
                  </a:lnTo>
                  <a:lnTo>
                    <a:pt x="1927" y="1593"/>
                  </a:lnTo>
                  <a:lnTo>
                    <a:pt x="1938" y="1589"/>
                  </a:lnTo>
                  <a:lnTo>
                    <a:pt x="1947" y="1584"/>
                  </a:lnTo>
                  <a:lnTo>
                    <a:pt x="1957" y="1579"/>
                  </a:lnTo>
                  <a:lnTo>
                    <a:pt x="1966" y="1573"/>
                  </a:lnTo>
                  <a:lnTo>
                    <a:pt x="1975" y="1566"/>
                  </a:lnTo>
                  <a:lnTo>
                    <a:pt x="1984" y="1559"/>
                  </a:lnTo>
                  <a:lnTo>
                    <a:pt x="1992" y="1552"/>
                  </a:lnTo>
                  <a:lnTo>
                    <a:pt x="1999" y="1543"/>
                  </a:lnTo>
                  <a:lnTo>
                    <a:pt x="2007" y="1535"/>
                  </a:lnTo>
                  <a:lnTo>
                    <a:pt x="2014" y="1527"/>
                  </a:lnTo>
                  <a:lnTo>
                    <a:pt x="2019" y="1517"/>
                  </a:lnTo>
                  <a:lnTo>
                    <a:pt x="2025" y="1508"/>
                  </a:lnTo>
                  <a:lnTo>
                    <a:pt x="2030" y="1497"/>
                  </a:lnTo>
                  <a:lnTo>
                    <a:pt x="2034" y="1487"/>
                  </a:lnTo>
                  <a:lnTo>
                    <a:pt x="2036" y="1477"/>
                  </a:lnTo>
                  <a:lnTo>
                    <a:pt x="2039" y="1458"/>
                  </a:lnTo>
                  <a:lnTo>
                    <a:pt x="2041" y="1435"/>
                  </a:lnTo>
                  <a:lnTo>
                    <a:pt x="2041" y="1423"/>
                  </a:lnTo>
                  <a:lnTo>
                    <a:pt x="2040" y="1412"/>
                  </a:lnTo>
                  <a:lnTo>
                    <a:pt x="2039" y="1402"/>
                  </a:lnTo>
                  <a:lnTo>
                    <a:pt x="2038" y="1393"/>
                  </a:lnTo>
                  <a:lnTo>
                    <a:pt x="2036" y="1387"/>
                  </a:lnTo>
                  <a:lnTo>
                    <a:pt x="2033" y="1381"/>
                  </a:lnTo>
                  <a:lnTo>
                    <a:pt x="2030" y="1375"/>
                  </a:lnTo>
                  <a:lnTo>
                    <a:pt x="2027" y="1370"/>
                  </a:lnTo>
                  <a:lnTo>
                    <a:pt x="2019" y="1361"/>
                  </a:lnTo>
                  <a:lnTo>
                    <a:pt x="2012" y="1352"/>
                  </a:lnTo>
                  <a:lnTo>
                    <a:pt x="2005" y="1344"/>
                  </a:lnTo>
                  <a:lnTo>
                    <a:pt x="1999" y="1334"/>
                  </a:lnTo>
                  <a:lnTo>
                    <a:pt x="1997" y="1327"/>
                  </a:lnTo>
                  <a:lnTo>
                    <a:pt x="1996" y="1321"/>
                  </a:lnTo>
                  <a:lnTo>
                    <a:pt x="1996" y="1314"/>
                  </a:lnTo>
                  <a:lnTo>
                    <a:pt x="1996" y="1307"/>
                  </a:lnTo>
                  <a:lnTo>
                    <a:pt x="1998" y="1212"/>
                  </a:lnTo>
                  <a:lnTo>
                    <a:pt x="1998" y="1212"/>
                  </a:lnTo>
                  <a:lnTo>
                    <a:pt x="1979" y="1201"/>
                  </a:lnTo>
                  <a:lnTo>
                    <a:pt x="1956" y="1190"/>
                  </a:lnTo>
                  <a:lnTo>
                    <a:pt x="1950" y="1187"/>
                  </a:lnTo>
                  <a:lnTo>
                    <a:pt x="1945" y="1183"/>
                  </a:lnTo>
                  <a:lnTo>
                    <a:pt x="1941" y="1179"/>
                  </a:lnTo>
                  <a:lnTo>
                    <a:pt x="1938" y="1175"/>
                  </a:lnTo>
                  <a:lnTo>
                    <a:pt x="1935" y="1171"/>
                  </a:lnTo>
                  <a:lnTo>
                    <a:pt x="1933" y="1167"/>
                  </a:lnTo>
                  <a:lnTo>
                    <a:pt x="1932" y="1162"/>
                  </a:lnTo>
                  <a:lnTo>
                    <a:pt x="1932" y="1156"/>
                  </a:lnTo>
                  <a:lnTo>
                    <a:pt x="1937" y="1153"/>
                  </a:lnTo>
                  <a:lnTo>
                    <a:pt x="1942" y="1151"/>
                  </a:lnTo>
                  <a:lnTo>
                    <a:pt x="1947" y="1150"/>
                  </a:lnTo>
                  <a:lnTo>
                    <a:pt x="1954" y="1149"/>
                  </a:lnTo>
                  <a:lnTo>
                    <a:pt x="1967" y="1147"/>
                  </a:lnTo>
                  <a:lnTo>
                    <a:pt x="1981" y="1146"/>
                  </a:lnTo>
                  <a:lnTo>
                    <a:pt x="1993" y="1144"/>
                  </a:lnTo>
                  <a:lnTo>
                    <a:pt x="2006" y="1141"/>
                  </a:lnTo>
                  <a:lnTo>
                    <a:pt x="2011" y="1139"/>
                  </a:lnTo>
                  <a:lnTo>
                    <a:pt x="2015" y="1137"/>
                  </a:lnTo>
                  <a:lnTo>
                    <a:pt x="2019" y="1133"/>
                  </a:lnTo>
                  <a:lnTo>
                    <a:pt x="2022" y="1129"/>
                  </a:lnTo>
                  <a:lnTo>
                    <a:pt x="2029" y="1120"/>
                  </a:lnTo>
                  <a:lnTo>
                    <a:pt x="2033" y="1111"/>
                  </a:lnTo>
                  <a:lnTo>
                    <a:pt x="2035" y="1102"/>
                  </a:lnTo>
                  <a:lnTo>
                    <a:pt x="2037" y="1095"/>
                  </a:lnTo>
                  <a:lnTo>
                    <a:pt x="2037" y="1086"/>
                  </a:lnTo>
                  <a:lnTo>
                    <a:pt x="2036" y="1079"/>
                  </a:lnTo>
                  <a:lnTo>
                    <a:pt x="2034" y="1072"/>
                  </a:lnTo>
                  <a:lnTo>
                    <a:pt x="2031" y="1066"/>
                  </a:lnTo>
                  <a:lnTo>
                    <a:pt x="2022" y="1052"/>
                  </a:lnTo>
                  <a:lnTo>
                    <a:pt x="2012" y="1038"/>
                  </a:lnTo>
                  <a:lnTo>
                    <a:pt x="2001" y="1025"/>
                  </a:lnTo>
                  <a:lnTo>
                    <a:pt x="1990" y="1010"/>
                  </a:lnTo>
                  <a:lnTo>
                    <a:pt x="1975" y="992"/>
                  </a:lnTo>
                  <a:lnTo>
                    <a:pt x="1962" y="974"/>
                  </a:lnTo>
                  <a:lnTo>
                    <a:pt x="1956" y="964"/>
                  </a:lnTo>
                  <a:lnTo>
                    <a:pt x="1950" y="954"/>
                  </a:lnTo>
                  <a:lnTo>
                    <a:pt x="1947" y="944"/>
                  </a:lnTo>
                  <a:lnTo>
                    <a:pt x="1945" y="931"/>
                  </a:lnTo>
                  <a:lnTo>
                    <a:pt x="1943" y="912"/>
                  </a:lnTo>
                  <a:lnTo>
                    <a:pt x="1943" y="897"/>
                  </a:lnTo>
                  <a:lnTo>
                    <a:pt x="1943" y="889"/>
                  </a:lnTo>
                  <a:lnTo>
                    <a:pt x="1944" y="882"/>
                  </a:lnTo>
                  <a:lnTo>
                    <a:pt x="1945" y="873"/>
                  </a:lnTo>
                  <a:lnTo>
                    <a:pt x="1948" y="863"/>
                  </a:lnTo>
                  <a:lnTo>
                    <a:pt x="1956" y="837"/>
                  </a:lnTo>
                  <a:lnTo>
                    <a:pt x="1964" y="808"/>
                  </a:lnTo>
                  <a:lnTo>
                    <a:pt x="1965" y="801"/>
                  </a:lnTo>
                  <a:lnTo>
                    <a:pt x="1966" y="793"/>
                  </a:lnTo>
                  <a:lnTo>
                    <a:pt x="1966" y="787"/>
                  </a:lnTo>
                  <a:lnTo>
                    <a:pt x="1965" y="780"/>
                  </a:lnTo>
                  <a:lnTo>
                    <a:pt x="1963" y="773"/>
                  </a:lnTo>
                  <a:lnTo>
                    <a:pt x="1960" y="767"/>
                  </a:lnTo>
                  <a:lnTo>
                    <a:pt x="1957" y="762"/>
                  </a:lnTo>
                  <a:lnTo>
                    <a:pt x="1951" y="757"/>
                  </a:lnTo>
                  <a:lnTo>
                    <a:pt x="1944" y="752"/>
                  </a:lnTo>
                  <a:lnTo>
                    <a:pt x="1937" y="748"/>
                  </a:lnTo>
                  <a:lnTo>
                    <a:pt x="1930" y="747"/>
                  </a:lnTo>
                  <a:lnTo>
                    <a:pt x="1921" y="746"/>
                  </a:lnTo>
                  <a:lnTo>
                    <a:pt x="1905" y="747"/>
                  </a:lnTo>
                  <a:lnTo>
                    <a:pt x="1888" y="751"/>
                  </a:lnTo>
                  <a:lnTo>
                    <a:pt x="1870" y="755"/>
                  </a:lnTo>
                  <a:lnTo>
                    <a:pt x="1853" y="757"/>
                  </a:lnTo>
                  <a:lnTo>
                    <a:pt x="1844" y="758"/>
                  </a:lnTo>
                  <a:lnTo>
                    <a:pt x="1836" y="757"/>
                  </a:lnTo>
                  <a:lnTo>
                    <a:pt x="1827" y="756"/>
                  </a:lnTo>
                  <a:lnTo>
                    <a:pt x="1819" y="753"/>
                  </a:lnTo>
                  <a:lnTo>
                    <a:pt x="1815" y="746"/>
                  </a:lnTo>
                  <a:lnTo>
                    <a:pt x="1811" y="740"/>
                  </a:lnTo>
                  <a:lnTo>
                    <a:pt x="1808" y="734"/>
                  </a:lnTo>
                  <a:lnTo>
                    <a:pt x="1804" y="728"/>
                  </a:lnTo>
                  <a:lnTo>
                    <a:pt x="1802" y="720"/>
                  </a:lnTo>
                  <a:lnTo>
                    <a:pt x="1800" y="713"/>
                  </a:lnTo>
                  <a:lnTo>
                    <a:pt x="1799" y="706"/>
                  </a:lnTo>
                  <a:lnTo>
                    <a:pt x="1799" y="698"/>
                  </a:lnTo>
                  <a:lnTo>
                    <a:pt x="1801" y="674"/>
                  </a:lnTo>
                  <a:lnTo>
                    <a:pt x="1801" y="674"/>
                  </a:lnTo>
                  <a:lnTo>
                    <a:pt x="1799" y="671"/>
                  </a:lnTo>
                  <a:lnTo>
                    <a:pt x="1796" y="669"/>
                  </a:lnTo>
                  <a:lnTo>
                    <a:pt x="1794" y="662"/>
                  </a:lnTo>
                  <a:lnTo>
                    <a:pt x="1790" y="651"/>
                  </a:lnTo>
                  <a:lnTo>
                    <a:pt x="1786" y="642"/>
                  </a:lnTo>
                  <a:lnTo>
                    <a:pt x="1783" y="636"/>
                  </a:lnTo>
                  <a:lnTo>
                    <a:pt x="1783" y="625"/>
                  </a:lnTo>
                  <a:lnTo>
                    <a:pt x="1781" y="614"/>
                  </a:lnTo>
                  <a:lnTo>
                    <a:pt x="1780" y="603"/>
                  </a:lnTo>
                  <a:lnTo>
                    <a:pt x="1778" y="594"/>
                  </a:lnTo>
                  <a:lnTo>
                    <a:pt x="1774" y="574"/>
                  </a:lnTo>
                  <a:lnTo>
                    <a:pt x="1768" y="555"/>
                  </a:lnTo>
                  <a:lnTo>
                    <a:pt x="1763" y="537"/>
                  </a:lnTo>
                  <a:lnTo>
                    <a:pt x="1759" y="518"/>
                  </a:lnTo>
                  <a:lnTo>
                    <a:pt x="1754" y="497"/>
                  </a:lnTo>
                  <a:lnTo>
                    <a:pt x="1752" y="476"/>
                  </a:lnTo>
                  <a:lnTo>
                    <a:pt x="1752" y="460"/>
                  </a:lnTo>
                  <a:lnTo>
                    <a:pt x="1752" y="447"/>
                  </a:lnTo>
                  <a:lnTo>
                    <a:pt x="1751" y="433"/>
                  </a:lnTo>
                  <a:lnTo>
                    <a:pt x="1750" y="420"/>
                  </a:lnTo>
                  <a:lnTo>
                    <a:pt x="1747" y="408"/>
                  </a:lnTo>
                  <a:lnTo>
                    <a:pt x="1742" y="397"/>
                  </a:lnTo>
                  <a:lnTo>
                    <a:pt x="1739" y="391"/>
                  </a:lnTo>
                  <a:lnTo>
                    <a:pt x="1735" y="385"/>
                  </a:lnTo>
                  <a:lnTo>
                    <a:pt x="1729" y="379"/>
                  </a:lnTo>
                  <a:lnTo>
                    <a:pt x="1724" y="374"/>
                  </a:lnTo>
                  <a:lnTo>
                    <a:pt x="1720" y="369"/>
                  </a:lnTo>
                  <a:lnTo>
                    <a:pt x="1717" y="363"/>
                  </a:lnTo>
                  <a:lnTo>
                    <a:pt x="1714" y="358"/>
                  </a:lnTo>
                  <a:lnTo>
                    <a:pt x="1712" y="352"/>
                  </a:lnTo>
                  <a:lnTo>
                    <a:pt x="1710" y="339"/>
                  </a:lnTo>
                  <a:lnTo>
                    <a:pt x="1708" y="326"/>
                  </a:lnTo>
                  <a:lnTo>
                    <a:pt x="1708" y="313"/>
                  </a:lnTo>
                  <a:lnTo>
                    <a:pt x="1710" y="300"/>
                  </a:lnTo>
                  <a:lnTo>
                    <a:pt x="1708" y="286"/>
                  </a:lnTo>
                  <a:lnTo>
                    <a:pt x="1707" y="273"/>
                  </a:lnTo>
                  <a:lnTo>
                    <a:pt x="1706" y="269"/>
                  </a:lnTo>
                  <a:lnTo>
                    <a:pt x="1704" y="263"/>
                  </a:lnTo>
                  <a:lnTo>
                    <a:pt x="1702" y="259"/>
                  </a:lnTo>
                  <a:lnTo>
                    <a:pt x="1699" y="255"/>
                  </a:lnTo>
                  <a:lnTo>
                    <a:pt x="1693" y="247"/>
                  </a:lnTo>
                  <a:lnTo>
                    <a:pt x="1685" y="239"/>
                  </a:lnTo>
                  <a:lnTo>
                    <a:pt x="1668" y="228"/>
                  </a:lnTo>
                  <a:lnTo>
                    <a:pt x="1650" y="216"/>
                  </a:lnTo>
                  <a:lnTo>
                    <a:pt x="1638" y="210"/>
                  </a:lnTo>
                  <a:lnTo>
                    <a:pt x="1623" y="204"/>
                  </a:lnTo>
                  <a:lnTo>
                    <a:pt x="1607" y="198"/>
                  </a:lnTo>
                  <a:lnTo>
                    <a:pt x="1591" y="192"/>
                  </a:lnTo>
                  <a:lnTo>
                    <a:pt x="1575" y="186"/>
                  </a:lnTo>
                  <a:lnTo>
                    <a:pt x="1560" y="180"/>
                  </a:lnTo>
                  <a:lnTo>
                    <a:pt x="1554" y="177"/>
                  </a:lnTo>
                  <a:lnTo>
                    <a:pt x="1548" y="174"/>
                  </a:lnTo>
                  <a:lnTo>
                    <a:pt x="1543" y="169"/>
                  </a:lnTo>
                  <a:lnTo>
                    <a:pt x="1539" y="166"/>
                  </a:lnTo>
                  <a:lnTo>
                    <a:pt x="1533" y="161"/>
                  </a:lnTo>
                  <a:lnTo>
                    <a:pt x="1528" y="157"/>
                  </a:lnTo>
                  <a:lnTo>
                    <a:pt x="1523" y="153"/>
                  </a:lnTo>
                  <a:lnTo>
                    <a:pt x="1518" y="151"/>
                  </a:lnTo>
                  <a:lnTo>
                    <a:pt x="1512" y="149"/>
                  </a:lnTo>
                  <a:lnTo>
                    <a:pt x="1506" y="146"/>
                  </a:lnTo>
                  <a:lnTo>
                    <a:pt x="1500" y="145"/>
                  </a:lnTo>
                  <a:lnTo>
                    <a:pt x="1493" y="145"/>
                  </a:lnTo>
                  <a:lnTo>
                    <a:pt x="1476" y="145"/>
                  </a:lnTo>
                  <a:lnTo>
                    <a:pt x="1466" y="145"/>
                  </a:lnTo>
                  <a:lnTo>
                    <a:pt x="1461" y="144"/>
                  </a:lnTo>
                  <a:lnTo>
                    <a:pt x="1457" y="141"/>
                  </a:lnTo>
                  <a:lnTo>
                    <a:pt x="1452" y="136"/>
                  </a:lnTo>
                  <a:lnTo>
                    <a:pt x="1447" y="129"/>
                  </a:lnTo>
                  <a:lnTo>
                    <a:pt x="1447" y="111"/>
                  </a:lnTo>
                  <a:lnTo>
                    <a:pt x="1448" y="93"/>
                  </a:lnTo>
                  <a:lnTo>
                    <a:pt x="1448" y="77"/>
                  </a:lnTo>
                  <a:lnTo>
                    <a:pt x="1447" y="61"/>
                  </a:lnTo>
                  <a:lnTo>
                    <a:pt x="1446" y="53"/>
                  </a:lnTo>
                  <a:lnTo>
                    <a:pt x="1444" y="46"/>
                  </a:lnTo>
                  <a:lnTo>
                    <a:pt x="1441" y="39"/>
                  </a:lnTo>
                  <a:lnTo>
                    <a:pt x="1436" y="33"/>
                  </a:lnTo>
                  <a:lnTo>
                    <a:pt x="1431" y="28"/>
                  </a:lnTo>
                  <a:lnTo>
                    <a:pt x="1425" y="22"/>
                  </a:lnTo>
                  <a:lnTo>
                    <a:pt x="1417" y="18"/>
                  </a:lnTo>
                  <a:lnTo>
                    <a:pt x="1407" y="14"/>
                  </a:lnTo>
                  <a:lnTo>
                    <a:pt x="1392" y="9"/>
                  </a:lnTo>
                  <a:lnTo>
                    <a:pt x="1372" y="5"/>
                  </a:lnTo>
                  <a:lnTo>
                    <a:pt x="1350" y="1"/>
                  </a:lnTo>
                  <a:lnTo>
                    <a:pt x="1326" y="0"/>
                  </a:lnTo>
                  <a:lnTo>
                    <a:pt x="1314" y="0"/>
                  </a:lnTo>
                  <a:lnTo>
                    <a:pt x="1303" y="1"/>
                  </a:lnTo>
                  <a:lnTo>
                    <a:pt x="1292" y="3"/>
                  </a:lnTo>
                  <a:lnTo>
                    <a:pt x="1282" y="5"/>
                  </a:lnTo>
                  <a:lnTo>
                    <a:pt x="1273" y="8"/>
                  </a:lnTo>
                  <a:lnTo>
                    <a:pt x="1264" y="11"/>
                  </a:lnTo>
                  <a:lnTo>
                    <a:pt x="1257" y="16"/>
                  </a:lnTo>
                  <a:lnTo>
                    <a:pt x="1252" y="21"/>
                  </a:lnTo>
                  <a:lnTo>
                    <a:pt x="1246" y="32"/>
                  </a:lnTo>
                  <a:lnTo>
                    <a:pt x="1239" y="42"/>
                  </a:lnTo>
                  <a:lnTo>
                    <a:pt x="1235" y="54"/>
                  </a:lnTo>
                  <a:lnTo>
                    <a:pt x="1231" y="66"/>
                  </a:lnTo>
                  <a:lnTo>
                    <a:pt x="1224" y="90"/>
                  </a:lnTo>
                  <a:lnTo>
                    <a:pt x="1217" y="114"/>
                  </a:lnTo>
                  <a:lnTo>
                    <a:pt x="1212" y="118"/>
                  </a:lnTo>
                  <a:lnTo>
                    <a:pt x="1206" y="122"/>
                  </a:lnTo>
                  <a:lnTo>
                    <a:pt x="1199" y="126"/>
                  </a:lnTo>
                  <a:lnTo>
                    <a:pt x="1191" y="130"/>
                  </a:lnTo>
                  <a:lnTo>
                    <a:pt x="1177" y="135"/>
                  </a:lnTo>
                  <a:lnTo>
                    <a:pt x="1162" y="139"/>
                  </a:lnTo>
                  <a:lnTo>
                    <a:pt x="1153" y="140"/>
                  </a:lnTo>
                  <a:lnTo>
                    <a:pt x="1142" y="140"/>
                  </a:lnTo>
                  <a:lnTo>
                    <a:pt x="1131" y="141"/>
                  </a:lnTo>
                  <a:lnTo>
                    <a:pt x="1121" y="141"/>
                  </a:lnTo>
                  <a:lnTo>
                    <a:pt x="1101" y="143"/>
                  </a:lnTo>
                  <a:lnTo>
                    <a:pt x="1080" y="144"/>
                  </a:lnTo>
                  <a:lnTo>
                    <a:pt x="1075" y="144"/>
                  </a:lnTo>
                  <a:lnTo>
                    <a:pt x="1070" y="143"/>
                  </a:lnTo>
                  <a:lnTo>
                    <a:pt x="1065" y="142"/>
                  </a:lnTo>
                  <a:lnTo>
                    <a:pt x="1061" y="140"/>
                  </a:lnTo>
                  <a:lnTo>
                    <a:pt x="1057" y="138"/>
                  </a:lnTo>
                  <a:lnTo>
                    <a:pt x="1054" y="135"/>
                  </a:lnTo>
                  <a:lnTo>
                    <a:pt x="1050" y="131"/>
                  </a:lnTo>
                  <a:lnTo>
                    <a:pt x="1046" y="126"/>
                  </a:lnTo>
                  <a:lnTo>
                    <a:pt x="1041" y="115"/>
                  </a:lnTo>
                  <a:lnTo>
                    <a:pt x="1036" y="105"/>
                  </a:lnTo>
                  <a:lnTo>
                    <a:pt x="1031" y="95"/>
                  </a:lnTo>
                  <a:lnTo>
                    <a:pt x="1027" y="85"/>
                  </a:lnTo>
                  <a:lnTo>
                    <a:pt x="1023" y="73"/>
                  </a:lnTo>
                  <a:lnTo>
                    <a:pt x="1022" y="63"/>
                  </a:lnTo>
                  <a:lnTo>
                    <a:pt x="1021" y="58"/>
                  </a:lnTo>
                  <a:lnTo>
                    <a:pt x="1020" y="53"/>
                  </a:lnTo>
                  <a:lnTo>
                    <a:pt x="1018" y="47"/>
                  </a:lnTo>
                  <a:lnTo>
                    <a:pt x="1015" y="42"/>
                  </a:lnTo>
                  <a:lnTo>
                    <a:pt x="1015" y="42"/>
                  </a:lnTo>
                  <a:lnTo>
                    <a:pt x="993" y="55"/>
                  </a:lnTo>
                  <a:lnTo>
                    <a:pt x="970" y="65"/>
                  </a:lnTo>
                  <a:lnTo>
                    <a:pt x="947" y="76"/>
                  </a:lnTo>
                  <a:lnTo>
                    <a:pt x="923" y="85"/>
                  </a:lnTo>
                  <a:lnTo>
                    <a:pt x="900" y="95"/>
                  </a:lnTo>
                  <a:lnTo>
                    <a:pt x="878" y="107"/>
                  </a:lnTo>
                  <a:lnTo>
                    <a:pt x="867" y="113"/>
                  </a:lnTo>
                  <a:lnTo>
                    <a:pt x="856" y="119"/>
                  </a:lnTo>
                  <a:lnTo>
                    <a:pt x="845" y="127"/>
                  </a:lnTo>
                  <a:lnTo>
                    <a:pt x="836" y="135"/>
                  </a:lnTo>
                  <a:lnTo>
                    <a:pt x="822" y="146"/>
                  </a:lnTo>
                  <a:lnTo>
                    <a:pt x="808" y="159"/>
                  </a:lnTo>
                  <a:lnTo>
                    <a:pt x="792" y="170"/>
                  </a:lnTo>
                  <a:lnTo>
                    <a:pt x="777" y="181"/>
                  </a:lnTo>
                  <a:lnTo>
                    <a:pt x="768" y="187"/>
                  </a:lnTo>
                  <a:lnTo>
                    <a:pt x="760" y="194"/>
                  </a:lnTo>
                  <a:lnTo>
                    <a:pt x="751" y="202"/>
                  </a:lnTo>
                  <a:lnTo>
                    <a:pt x="743" y="210"/>
                  </a:lnTo>
                  <a:lnTo>
                    <a:pt x="735" y="217"/>
                  </a:lnTo>
                  <a:lnTo>
                    <a:pt x="726" y="225"/>
                  </a:lnTo>
                  <a:lnTo>
                    <a:pt x="716" y="230"/>
                  </a:lnTo>
                  <a:lnTo>
                    <a:pt x="705" y="234"/>
                  </a:lnTo>
                  <a:lnTo>
                    <a:pt x="701" y="235"/>
                  </a:lnTo>
                  <a:lnTo>
                    <a:pt x="697" y="235"/>
                  </a:lnTo>
                  <a:lnTo>
                    <a:pt x="693" y="235"/>
                  </a:lnTo>
                  <a:lnTo>
                    <a:pt x="689" y="233"/>
                  </a:lnTo>
                  <a:lnTo>
                    <a:pt x="680" y="230"/>
                  </a:lnTo>
                  <a:lnTo>
                    <a:pt x="673" y="224"/>
                  </a:lnTo>
                  <a:lnTo>
                    <a:pt x="667" y="217"/>
                  </a:lnTo>
                  <a:lnTo>
                    <a:pt x="662" y="209"/>
                  </a:lnTo>
                  <a:lnTo>
                    <a:pt x="659" y="201"/>
                  </a:lnTo>
                  <a:lnTo>
                    <a:pt x="658" y="192"/>
                  </a:lnTo>
                  <a:lnTo>
                    <a:pt x="653" y="186"/>
                  </a:lnTo>
                  <a:lnTo>
                    <a:pt x="651" y="179"/>
                  </a:lnTo>
                  <a:lnTo>
                    <a:pt x="645" y="176"/>
                  </a:lnTo>
                  <a:lnTo>
                    <a:pt x="639" y="174"/>
                  </a:lnTo>
                  <a:lnTo>
                    <a:pt x="631" y="172"/>
                  </a:lnTo>
                  <a:lnTo>
                    <a:pt x="625" y="170"/>
                  </a:lnTo>
                  <a:lnTo>
                    <a:pt x="611" y="168"/>
                  </a:lnTo>
                  <a:lnTo>
                    <a:pt x="595" y="167"/>
                  </a:lnTo>
                  <a:lnTo>
                    <a:pt x="564" y="167"/>
                  </a:lnTo>
                  <a:lnTo>
                    <a:pt x="534" y="168"/>
                  </a:lnTo>
                  <a:lnTo>
                    <a:pt x="524" y="165"/>
                  </a:lnTo>
                  <a:lnTo>
                    <a:pt x="515" y="162"/>
                  </a:lnTo>
                  <a:lnTo>
                    <a:pt x="506" y="158"/>
                  </a:lnTo>
                  <a:lnTo>
                    <a:pt x="497" y="153"/>
                  </a:lnTo>
                  <a:lnTo>
                    <a:pt x="490" y="146"/>
                  </a:lnTo>
                  <a:lnTo>
                    <a:pt x="481" y="139"/>
                  </a:lnTo>
                  <a:lnTo>
                    <a:pt x="475" y="132"/>
                  </a:lnTo>
                  <a:lnTo>
                    <a:pt x="468" y="125"/>
                  </a:lnTo>
                  <a:lnTo>
                    <a:pt x="460" y="115"/>
                  </a:lnTo>
                  <a:lnTo>
                    <a:pt x="449" y="103"/>
                  </a:lnTo>
                  <a:lnTo>
                    <a:pt x="443" y="96"/>
                  </a:lnTo>
                  <a:lnTo>
                    <a:pt x="438" y="91"/>
                  </a:lnTo>
                  <a:lnTo>
                    <a:pt x="434" y="90"/>
                  </a:lnTo>
                  <a:lnTo>
                    <a:pt x="431" y="89"/>
                  </a:lnTo>
                  <a:lnTo>
                    <a:pt x="429" y="88"/>
                  </a:lnTo>
                  <a:lnTo>
                    <a:pt x="426" y="89"/>
                  </a:lnTo>
                  <a:lnTo>
                    <a:pt x="420" y="91"/>
                  </a:lnTo>
                  <a:lnTo>
                    <a:pt x="416" y="95"/>
                  </a:lnTo>
                  <a:lnTo>
                    <a:pt x="411" y="102"/>
                  </a:lnTo>
                  <a:lnTo>
                    <a:pt x="408" y="108"/>
                  </a:lnTo>
                  <a:lnTo>
                    <a:pt x="404" y="124"/>
                  </a:lnTo>
                  <a:lnTo>
                    <a:pt x="400" y="141"/>
                  </a:lnTo>
                  <a:lnTo>
                    <a:pt x="399" y="150"/>
                  </a:lnTo>
                  <a:lnTo>
                    <a:pt x="396" y="158"/>
                  </a:lnTo>
                  <a:lnTo>
                    <a:pt x="393" y="165"/>
                  </a:lnTo>
                  <a:lnTo>
                    <a:pt x="390" y="172"/>
                  </a:lnTo>
                  <a:lnTo>
                    <a:pt x="384" y="178"/>
                  </a:lnTo>
                  <a:lnTo>
                    <a:pt x="378" y="181"/>
                  </a:lnTo>
                  <a:lnTo>
                    <a:pt x="374" y="183"/>
                  </a:lnTo>
                  <a:lnTo>
                    <a:pt x="370" y="184"/>
                  </a:lnTo>
                  <a:lnTo>
                    <a:pt x="366" y="184"/>
                  </a:lnTo>
                  <a:lnTo>
                    <a:pt x="360" y="184"/>
                  </a:lnTo>
                  <a:lnTo>
                    <a:pt x="355" y="183"/>
                  </a:lnTo>
                  <a:lnTo>
                    <a:pt x="349" y="180"/>
                  </a:lnTo>
                  <a:lnTo>
                    <a:pt x="341" y="176"/>
                  </a:lnTo>
                  <a:lnTo>
                    <a:pt x="332" y="170"/>
                  </a:lnTo>
                  <a:lnTo>
                    <a:pt x="324" y="165"/>
                  </a:lnTo>
                  <a:lnTo>
                    <a:pt x="317" y="160"/>
                  </a:lnTo>
                  <a:lnTo>
                    <a:pt x="311" y="155"/>
                  </a:lnTo>
                  <a:lnTo>
                    <a:pt x="308" y="151"/>
                  </a:lnTo>
                  <a:lnTo>
                    <a:pt x="298" y="149"/>
                  </a:lnTo>
                  <a:lnTo>
                    <a:pt x="289" y="148"/>
                  </a:lnTo>
                  <a:lnTo>
                    <a:pt x="281" y="149"/>
                  </a:lnTo>
                  <a:lnTo>
                    <a:pt x="274" y="151"/>
                  </a:lnTo>
                  <a:lnTo>
                    <a:pt x="268" y="154"/>
                  </a:lnTo>
                  <a:lnTo>
                    <a:pt x="261" y="159"/>
                  </a:lnTo>
                  <a:lnTo>
                    <a:pt x="255" y="165"/>
                  </a:lnTo>
                  <a:lnTo>
                    <a:pt x="249" y="174"/>
                  </a:lnTo>
                  <a:lnTo>
                    <a:pt x="246" y="180"/>
                  </a:lnTo>
                  <a:lnTo>
                    <a:pt x="243" y="187"/>
                  </a:lnTo>
                  <a:lnTo>
                    <a:pt x="240" y="196"/>
                  </a:lnTo>
                  <a:lnTo>
                    <a:pt x="239" y="203"/>
                  </a:lnTo>
                  <a:lnTo>
                    <a:pt x="237" y="210"/>
                  </a:lnTo>
                  <a:lnTo>
                    <a:pt x="235" y="216"/>
                  </a:lnTo>
                  <a:lnTo>
                    <a:pt x="233" y="223"/>
                  </a:lnTo>
                  <a:lnTo>
                    <a:pt x="230" y="227"/>
                  </a:lnTo>
                  <a:lnTo>
                    <a:pt x="224" y="232"/>
                  </a:lnTo>
                  <a:lnTo>
                    <a:pt x="216" y="237"/>
                  </a:lnTo>
                  <a:lnTo>
                    <a:pt x="208" y="242"/>
                  </a:lnTo>
                  <a:lnTo>
                    <a:pt x="200" y="247"/>
                  </a:lnTo>
                  <a:lnTo>
                    <a:pt x="191" y="251"/>
                  </a:lnTo>
                  <a:lnTo>
                    <a:pt x="183" y="254"/>
                  </a:lnTo>
                  <a:lnTo>
                    <a:pt x="174" y="257"/>
                  </a:lnTo>
                  <a:lnTo>
                    <a:pt x="164" y="259"/>
                  </a:lnTo>
                  <a:lnTo>
                    <a:pt x="146" y="262"/>
                  </a:lnTo>
                  <a:lnTo>
                    <a:pt x="127" y="264"/>
                  </a:lnTo>
                  <a:lnTo>
                    <a:pt x="108" y="263"/>
                  </a:lnTo>
                  <a:lnTo>
                    <a:pt x="91" y="261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7" y="294"/>
                  </a:lnTo>
                  <a:lnTo>
                    <a:pt x="13" y="326"/>
                  </a:lnTo>
                  <a:lnTo>
                    <a:pt x="18" y="355"/>
                  </a:lnTo>
                  <a:lnTo>
                    <a:pt x="21" y="377"/>
                  </a:lnTo>
                  <a:lnTo>
                    <a:pt x="28" y="416"/>
                  </a:lnTo>
                  <a:lnTo>
                    <a:pt x="33" y="452"/>
                  </a:lnTo>
                  <a:lnTo>
                    <a:pt x="40" y="488"/>
                  </a:lnTo>
                  <a:lnTo>
                    <a:pt x="47" y="522"/>
                  </a:lnTo>
                  <a:lnTo>
                    <a:pt x="54" y="555"/>
                  </a:lnTo>
                  <a:lnTo>
                    <a:pt x="62" y="589"/>
                  </a:lnTo>
                  <a:lnTo>
                    <a:pt x="70" y="621"/>
                  </a:lnTo>
                  <a:lnTo>
                    <a:pt x="79" y="653"/>
                  </a:lnTo>
                  <a:lnTo>
                    <a:pt x="88" y="686"/>
                  </a:lnTo>
                  <a:lnTo>
                    <a:pt x="99" y="717"/>
                  </a:lnTo>
                  <a:lnTo>
                    <a:pt x="109" y="749"/>
                  </a:lnTo>
                  <a:lnTo>
                    <a:pt x="119" y="782"/>
                  </a:lnTo>
                  <a:lnTo>
                    <a:pt x="145" y="848"/>
                  </a:lnTo>
                  <a:lnTo>
                    <a:pt x="172" y="916"/>
                  </a:lnTo>
                  <a:lnTo>
                    <a:pt x="172" y="925"/>
                  </a:lnTo>
                  <a:lnTo>
                    <a:pt x="173" y="934"/>
                  </a:lnTo>
                  <a:lnTo>
                    <a:pt x="174" y="945"/>
                  </a:lnTo>
                  <a:lnTo>
                    <a:pt x="176" y="954"/>
                  </a:lnTo>
                  <a:lnTo>
                    <a:pt x="180" y="974"/>
                  </a:lnTo>
                  <a:lnTo>
                    <a:pt x="184" y="994"/>
                  </a:lnTo>
                  <a:lnTo>
                    <a:pt x="184" y="994"/>
                  </a:lnTo>
                  <a:lnTo>
                    <a:pt x="270" y="990"/>
                  </a:lnTo>
                  <a:lnTo>
                    <a:pt x="276" y="989"/>
                  </a:lnTo>
                  <a:lnTo>
                    <a:pt x="282" y="987"/>
                  </a:lnTo>
                  <a:lnTo>
                    <a:pt x="289" y="985"/>
                  </a:lnTo>
                  <a:lnTo>
                    <a:pt x="296" y="981"/>
                  </a:lnTo>
                  <a:lnTo>
                    <a:pt x="302" y="978"/>
                  </a:lnTo>
                  <a:lnTo>
                    <a:pt x="307" y="974"/>
                  </a:lnTo>
                  <a:lnTo>
                    <a:pt x="312" y="969"/>
                  </a:lnTo>
                  <a:lnTo>
                    <a:pt x="317" y="964"/>
                  </a:lnTo>
                  <a:lnTo>
                    <a:pt x="321" y="960"/>
                  </a:lnTo>
                  <a:lnTo>
                    <a:pt x="326" y="956"/>
                  </a:lnTo>
                  <a:lnTo>
                    <a:pt x="331" y="953"/>
                  </a:lnTo>
                  <a:lnTo>
                    <a:pt x="336" y="951"/>
                  </a:lnTo>
                  <a:lnTo>
                    <a:pt x="348" y="948"/>
                  </a:lnTo>
                  <a:lnTo>
                    <a:pt x="359" y="946"/>
                  </a:lnTo>
                  <a:lnTo>
                    <a:pt x="384" y="946"/>
                  </a:lnTo>
                  <a:lnTo>
                    <a:pt x="408" y="947"/>
                  </a:lnTo>
                  <a:lnTo>
                    <a:pt x="428" y="946"/>
                  </a:lnTo>
                  <a:lnTo>
                    <a:pt x="448" y="944"/>
                  </a:lnTo>
                  <a:lnTo>
                    <a:pt x="466" y="939"/>
                  </a:lnTo>
                  <a:lnTo>
                    <a:pt x="485" y="935"/>
                  </a:lnTo>
                  <a:lnTo>
                    <a:pt x="496" y="931"/>
                  </a:lnTo>
                  <a:lnTo>
                    <a:pt x="506" y="927"/>
                  </a:lnTo>
                  <a:lnTo>
                    <a:pt x="510" y="926"/>
                  </a:lnTo>
                  <a:lnTo>
                    <a:pt x="515" y="926"/>
                  </a:lnTo>
                  <a:lnTo>
                    <a:pt x="520" y="927"/>
                  </a:lnTo>
                  <a:lnTo>
                    <a:pt x="524" y="930"/>
                  </a:lnTo>
                  <a:lnTo>
                    <a:pt x="528" y="935"/>
                  </a:lnTo>
                  <a:lnTo>
                    <a:pt x="532" y="940"/>
                  </a:lnTo>
                  <a:lnTo>
                    <a:pt x="536" y="945"/>
                  </a:lnTo>
                  <a:lnTo>
                    <a:pt x="538" y="949"/>
                  </a:lnTo>
                  <a:lnTo>
                    <a:pt x="539" y="953"/>
                  </a:lnTo>
                  <a:lnTo>
                    <a:pt x="540" y="957"/>
                  </a:lnTo>
                  <a:lnTo>
                    <a:pt x="540" y="960"/>
                  </a:lnTo>
                  <a:lnTo>
                    <a:pt x="539" y="963"/>
                  </a:lnTo>
                  <a:lnTo>
                    <a:pt x="536" y="970"/>
                  </a:lnTo>
                  <a:lnTo>
                    <a:pt x="530" y="975"/>
                  </a:lnTo>
                  <a:lnTo>
                    <a:pt x="524" y="980"/>
                  </a:lnTo>
                  <a:lnTo>
                    <a:pt x="517" y="985"/>
                  </a:lnTo>
                  <a:lnTo>
                    <a:pt x="501" y="995"/>
                  </a:lnTo>
                  <a:lnTo>
                    <a:pt x="487" y="1004"/>
                  </a:lnTo>
                  <a:lnTo>
                    <a:pt x="480" y="1010"/>
                  </a:lnTo>
                  <a:lnTo>
                    <a:pt x="476" y="1017"/>
                  </a:lnTo>
                  <a:lnTo>
                    <a:pt x="474" y="1020"/>
                  </a:lnTo>
                  <a:lnTo>
                    <a:pt x="473" y="1023"/>
                  </a:lnTo>
                  <a:lnTo>
                    <a:pt x="473" y="1027"/>
                  </a:lnTo>
                  <a:lnTo>
                    <a:pt x="473" y="1031"/>
                  </a:lnTo>
                  <a:lnTo>
                    <a:pt x="479" y="1034"/>
                  </a:lnTo>
                  <a:lnTo>
                    <a:pt x="485" y="1036"/>
                  </a:lnTo>
                  <a:lnTo>
                    <a:pt x="492" y="1038"/>
                  </a:lnTo>
                  <a:lnTo>
                    <a:pt x="498" y="1041"/>
                  </a:lnTo>
                  <a:lnTo>
                    <a:pt x="505" y="1043"/>
                  </a:lnTo>
                  <a:lnTo>
                    <a:pt x="510" y="1045"/>
                  </a:lnTo>
                  <a:lnTo>
                    <a:pt x="517" y="1048"/>
                  </a:lnTo>
                  <a:lnTo>
                    <a:pt x="521" y="1052"/>
                  </a:lnTo>
                  <a:lnTo>
                    <a:pt x="523" y="1054"/>
                  </a:lnTo>
                  <a:lnTo>
                    <a:pt x="523" y="1058"/>
                  </a:lnTo>
                  <a:lnTo>
                    <a:pt x="524" y="1062"/>
                  </a:lnTo>
                  <a:lnTo>
                    <a:pt x="523" y="1067"/>
                  </a:lnTo>
                  <a:lnTo>
                    <a:pt x="522" y="1076"/>
                  </a:lnTo>
                  <a:lnTo>
                    <a:pt x="521" y="1086"/>
                  </a:lnTo>
                  <a:lnTo>
                    <a:pt x="521" y="1091"/>
                  </a:lnTo>
                  <a:lnTo>
                    <a:pt x="522" y="1094"/>
                  </a:lnTo>
                  <a:lnTo>
                    <a:pt x="523" y="1097"/>
                  </a:lnTo>
                  <a:lnTo>
                    <a:pt x="525" y="1099"/>
                  </a:lnTo>
                  <a:lnTo>
                    <a:pt x="529" y="1100"/>
                  </a:lnTo>
                  <a:lnTo>
                    <a:pt x="533" y="1100"/>
                  </a:lnTo>
                  <a:lnTo>
                    <a:pt x="540" y="1099"/>
                  </a:lnTo>
                  <a:lnTo>
                    <a:pt x="548" y="1096"/>
                  </a:lnTo>
                  <a:lnTo>
                    <a:pt x="561" y="1092"/>
                  </a:lnTo>
                  <a:lnTo>
                    <a:pt x="572" y="1089"/>
                  </a:lnTo>
                  <a:lnTo>
                    <a:pt x="581" y="1087"/>
                  </a:lnTo>
                  <a:lnTo>
                    <a:pt x="591" y="1086"/>
                  </a:lnTo>
                  <a:lnTo>
                    <a:pt x="600" y="1087"/>
                  </a:lnTo>
                  <a:lnTo>
                    <a:pt x="608" y="1091"/>
                  </a:lnTo>
                  <a:lnTo>
                    <a:pt x="619" y="1094"/>
                  </a:lnTo>
                  <a:lnTo>
                    <a:pt x="630" y="1099"/>
                  </a:lnTo>
                  <a:lnTo>
                    <a:pt x="630" y="1103"/>
                  </a:lnTo>
                  <a:lnTo>
                    <a:pt x="630" y="1107"/>
                  </a:lnTo>
                  <a:lnTo>
                    <a:pt x="630" y="1109"/>
                  </a:lnTo>
                  <a:lnTo>
                    <a:pt x="628" y="1113"/>
                  </a:lnTo>
                  <a:lnTo>
                    <a:pt x="626" y="1117"/>
                  </a:lnTo>
                  <a:lnTo>
                    <a:pt x="623" y="1124"/>
                  </a:lnTo>
                  <a:lnTo>
                    <a:pt x="616" y="1129"/>
                  </a:lnTo>
                  <a:lnTo>
                    <a:pt x="606" y="1138"/>
                  </a:lnTo>
                  <a:lnTo>
                    <a:pt x="597" y="1147"/>
                  </a:lnTo>
                  <a:lnTo>
                    <a:pt x="589" y="1157"/>
                  </a:lnTo>
                  <a:lnTo>
                    <a:pt x="586" y="1163"/>
                  </a:lnTo>
                  <a:lnTo>
                    <a:pt x="582" y="1168"/>
                  </a:lnTo>
                  <a:lnTo>
                    <a:pt x="580" y="1174"/>
                  </a:lnTo>
                  <a:lnTo>
                    <a:pt x="579" y="1179"/>
                  </a:lnTo>
                  <a:lnTo>
                    <a:pt x="579" y="1185"/>
                  </a:lnTo>
                  <a:lnTo>
                    <a:pt x="580" y="1190"/>
                  </a:lnTo>
                  <a:lnTo>
                    <a:pt x="583" y="1194"/>
                  </a:lnTo>
                  <a:lnTo>
                    <a:pt x="587" y="1198"/>
                  </a:lnTo>
                  <a:lnTo>
                    <a:pt x="596" y="1209"/>
                  </a:lnTo>
                  <a:lnTo>
                    <a:pt x="604" y="1220"/>
                  </a:lnTo>
                  <a:lnTo>
                    <a:pt x="608" y="1225"/>
                  </a:lnTo>
                  <a:lnTo>
                    <a:pt x="614" y="1230"/>
                  </a:lnTo>
                  <a:lnTo>
                    <a:pt x="619" y="1235"/>
                  </a:lnTo>
                  <a:lnTo>
                    <a:pt x="624" y="1237"/>
                  </a:lnTo>
                  <a:lnTo>
                    <a:pt x="629" y="1238"/>
                  </a:lnTo>
                  <a:lnTo>
                    <a:pt x="637" y="1239"/>
                  </a:lnTo>
                  <a:lnTo>
                    <a:pt x="645" y="1239"/>
                  </a:lnTo>
                  <a:lnTo>
                    <a:pt x="654" y="1238"/>
                  </a:lnTo>
                  <a:lnTo>
                    <a:pt x="663" y="1236"/>
                  </a:lnTo>
                  <a:lnTo>
                    <a:pt x="670" y="1232"/>
                  </a:lnTo>
                  <a:lnTo>
                    <a:pt x="673" y="1230"/>
                  </a:lnTo>
                  <a:lnTo>
                    <a:pt x="675" y="1228"/>
                  </a:lnTo>
                  <a:lnTo>
                    <a:pt x="677" y="1226"/>
                  </a:lnTo>
                  <a:lnTo>
                    <a:pt x="678" y="1224"/>
                  </a:lnTo>
                  <a:lnTo>
                    <a:pt x="680" y="1221"/>
                  </a:lnTo>
                  <a:lnTo>
                    <a:pt x="684" y="1218"/>
                  </a:lnTo>
                  <a:lnTo>
                    <a:pt x="685" y="1213"/>
                  </a:lnTo>
                  <a:lnTo>
                    <a:pt x="686" y="1207"/>
                  </a:lnTo>
                  <a:lnTo>
                    <a:pt x="688" y="1195"/>
                  </a:lnTo>
                  <a:lnTo>
                    <a:pt x="690" y="1181"/>
                  </a:lnTo>
                  <a:lnTo>
                    <a:pt x="692" y="1168"/>
                  </a:lnTo>
                  <a:lnTo>
                    <a:pt x="695" y="1155"/>
                  </a:lnTo>
                  <a:lnTo>
                    <a:pt x="698" y="1150"/>
                  </a:lnTo>
                  <a:lnTo>
                    <a:pt x="701" y="1146"/>
                  </a:lnTo>
                  <a:lnTo>
                    <a:pt x="705" y="1142"/>
                  </a:lnTo>
                  <a:lnTo>
                    <a:pt x="711" y="1140"/>
                  </a:lnTo>
                  <a:lnTo>
                    <a:pt x="714" y="1140"/>
                  </a:lnTo>
                  <a:lnTo>
                    <a:pt x="718" y="1141"/>
                  </a:lnTo>
                  <a:lnTo>
                    <a:pt x="721" y="1143"/>
                  </a:lnTo>
                  <a:lnTo>
                    <a:pt x="726" y="1146"/>
                  </a:lnTo>
                  <a:lnTo>
                    <a:pt x="735" y="1154"/>
                  </a:lnTo>
                  <a:lnTo>
                    <a:pt x="744" y="1165"/>
                  </a:lnTo>
                  <a:lnTo>
                    <a:pt x="754" y="1175"/>
                  </a:lnTo>
                  <a:lnTo>
                    <a:pt x="763" y="1185"/>
                  </a:lnTo>
                  <a:lnTo>
                    <a:pt x="768" y="1189"/>
                  </a:lnTo>
                  <a:lnTo>
                    <a:pt x="771" y="1192"/>
                  </a:lnTo>
                  <a:lnTo>
                    <a:pt x="775" y="1194"/>
                  </a:lnTo>
                  <a:lnTo>
                    <a:pt x="778" y="1195"/>
                  </a:lnTo>
                  <a:lnTo>
                    <a:pt x="800" y="1197"/>
                  </a:lnTo>
                  <a:lnTo>
                    <a:pt x="834" y="1201"/>
                  </a:lnTo>
                  <a:lnTo>
                    <a:pt x="849" y="1204"/>
                  </a:lnTo>
                  <a:lnTo>
                    <a:pt x="863" y="1207"/>
                  </a:lnTo>
                  <a:lnTo>
                    <a:pt x="868" y="1210"/>
                  </a:lnTo>
                  <a:lnTo>
                    <a:pt x="871" y="1212"/>
                  </a:lnTo>
                  <a:lnTo>
                    <a:pt x="872" y="1214"/>
                  </a:lnTo>
                  <a:lnTo>
                    <a:pt x="872" y="1217"/>
                  </a:lnTo>
                  <a:lnTo>
                    <a:pt x="869" y="1221"/>
                  </a:lnTo>
                  <a:lnTo>
                    <a:pt x="866" y="1225"/>
                  </a:lnTo>
                  <a:lnTo>
                    <a:pt x="862" y="1228"/>
                  </a:lnTo>
                  <a:lnTo>
                    <a:pt x="857" y="1231"/>
                  </a:lnTo>
                  <a:lnTo>
                    <a:pt x="846" y="1237"/>
                  </a:lnTo>
                  <a:lnTo>
                    <a:pt x="836" y="1241"/>
                  </a:lnTo>
                  <a:lnTo>
                    <a:pt x="831" y="1244"/>
                  </a:lnTo>
                  <a:lnTo>
                    <a:pt x="826" y="1247"/>
                  </a:lnTo>
                  <a:lnTo>
                    <a:pt x="821" y="1250"/>
                  </a:lnTo>
                  <a:lnTo>
                    <a:pt x="818" y="1254"/>
                  </a:lnTo>
                  <a:lnTo>
                    <a:pt x="815" y="1259"/>
                  </a:lnTo>
                  <a:lnTo>
                    <a:pt x="813" y="1264"/>
                  </a:lnTo>
                  <a:lnTo>
                    <a:pt x="812" y="1270"/>
                  </a:lnTo>
                  <a:lnTo>
                    <a:pt x="812" y="1277"/>
                  </a:lnTo>
                  <a:lnTo>
                    <a:pt x="815" y="1297"/>
                  </a:lnTo>
                  <a:lnTo>
                    <a:pt x="819" y="1313"/>
                  </a:lnTo>
                  <a:lnTo>
                    <a:pt x="821" y="1319"/>
                  </a:lnTo>
                  <a:lnTo>
                    <a:pt x="823" y="1324"/>
                  </a:lnTo>
                  <a:lnTo>
                    <a:pt x="825" y="1328"/>
                  </a:lnTo>
                  <a:lnTo>
                    <a:pt x="828" y="1332"/>
                  </a:lnTo>
                  <a:lnTo>
                    <a:pt x="832" y="1334"/>
                  </a:lnTo>
                  <a:lnTo>
                    <a:pt x="835" y="1336"/>
                  </a:lnTo>
                  <a:lnTo>
                    <a:pt x="838" y="1337"/>
                  </a:lnTo>
                  <a:lnTo>
                    <a:pt x="841" y="1338"/>
                  </a:lnTo>
                  <a:lnTo>
                    <a:pt x="847" y="1337"/>
                  </a:lnTo>
                  <a:lnTo>
                    <a:pt x="856" y="1335"/>
                  </a:lnTo>
                  <a:lnTo>
                    <a:pt x="871" y="1327"/>
                  </a:lnTo>
                  <a:lnTo>
                    <a:pt x="889" y="1318"/>
                  </a:lnTo>
                  <a:lnTo>
                    <a:pt x="898" y="1315"/>
                  </a:lnTo>
                  <a:lnTo>
                    <a:pt x="908" y="1313"/>
                  </a:lnTo>
                  <a:lnTo>
                    <a:pt x="912" y="1313"/>
                  </a:lnTo>
                  <a:lnTo>
                    <a:pt x="917" y="1313"/>
                  </a:lnTo>
                  <a:lnTo>
                    <a:pt x="922" y="1314"/>
                  </a:lnTo>
                  <a:lnTo>
                    <a:pt x="927" y="1315"/>
                  </a:lnTo>
                  <a:lnTo>
                    <a:pt x="937" y="1318"/>
                  </a:lnTo>
                  <a:lnTo>
                    <a:pt x="944" y="1322"/>
                  </a:lnTo>
                  <a:lnTo>
                    <a:pt x="950" y="1325"/>
                  </a:lnTo>
                  <a:lnTo>
                    <a:pt x="956" y="1328"/>
                  </a:lnTo>
                  <a:lnTo>
                    <a:pt x="959" y="1333"/>
                  </a:lnTo>
                  <a:lnTo>
                    <a:pt x="961" y="1336"/>
                  </a:lnTo>
                  <a:lnTo>
                    <a:pt x="963" y="1340"/>
                  </a:lnTo>
                  <a:lnTo>
                    <a:pt x="963" y="1344"/>
                  </a:lnTo>
                  <a:lnTo>
                    <a:pt x="961" y="1364"/>
                  </a:lnTo>
                  <a:lnTo>
                    <a:pt x="958" y="1390"/>
                  </a:lnTo>
                  <a:lnTo>
                    <a:pt x="959" y="1394"/>
                  </a:lnTo>
                  <a:lnTo>
                    <a:pt x="960" y="1398"/>
                  </a:lnTo>
                  <a:lnTo>
                    <a:pt x="962" y="1403"/>
                  </a:lnTo>
                  <a:lnTo>
                    <a:pt x="965" y="1407"/>
                  </a:lnTo>
                  <a:lnTo>
                    <a:pt x="971" y="1416"/>
                  </a:lnTo>
                  <a:lnTo>
                    <a:pt x="980" y="1424"/>
                  </a:lnTo>
                  <a:lnTo>
                    <a:pt x="989" y="1432"/>
                  </a:lnTo>
                  <a:lnTo>
                    <a:pt x="998" y="1437"/>
                  </a:lnTo>
                  <a:lnTo>
                    <a:pt x="1004" y="1439"/>
                  </a:lnTo>
                  <a:lnTo>
                    <a:pt x="1008" y="1440"/>
                  </a:lnTo>
                  <a:lnTo>
                    <a:pt x="1012" y="1440"/>
                  </a:lnTo>
                  <a:lnTo>
                    <a:pt x="1016" y="1440"/>
                  </a:lnTo>
                  <a:lnTo>
                    <a:pt x="1023" y="1437"/>
                  </a:lnTo>
                  <a:lnTo>
                    <a:pt x="1030" y="1433"/>
                  </a:lnTo>
                  <a:lnTo>
                    <a:pt x="1038" y="1427"/>
                  </a:lnTo>
                  <a:lnTo>
                    <a:pt x="1045" y="1419"/>
                  </a:lnTo>
                  <a:lnTo>
                    <a:pt x="1062" y="1403"/>
                  </a:lnTo>
                  <a:lnTo>
                    <a:pt x="1080" y="1384"/>
                  </a:lnTo>
                  <a:lnTo>
                    <a:pt x="1088" y="1375"/>
                  </a:lnTo>
                  <a:lnTo>
                    <a:pt x="1096" y="1367"/>
                  </a:lnTo>
                  <a:lnTo>
                    <a:pt x="1105" y="1360"/>
                  </a:lnTo>
                  <a:lnTo>
                    <a:pt x="1112" y="1354"/>
                  </a:lnTo>
                  <a:lnTo>
                    <a:pt x="1119" y="1349"/>
                  </a:lnTo>
                  <a:lnTo>
                    <a:pt x="1127" y="1347"/>
                  </a:lnTo>
                  <a:lnTo>
                    <a:pt x="1130" y="1346"/>
                  </a:lnTo>
                  <a:lnTo>
                    <a:pt x="1133" y="1346"/>
                  </a:lnTo>
                  <a:lnTo>
                    <a:pt x="1136" y="1347"/>
                  </a:lnTo>
                  <a:lnTo>
                    <a:pt x="1139" y="1348"/>
                  </a:lnTo>
                  <a:lnTo>
                    <a:pt x="1165" y="1364"/>
                  </a:lnTo>
                  <a:lnTo>
                    <a:pt x="1204" y="1385"/>
                  </a:lnTo>
                  <a:lnTo>
                    <a:pt x="1222" y="1396"/>
                  </a:lnTo>
                  <a:lnTo>
                    <a:pt x="1237" y="1408"/>
                  </a:lnTo>
                  <a:lnTo>
                    <a:pt x="1242" y="1414"/>
                  </a:lnTo>
                  <a:lnTo>
                    <a:pt x="1248" y="1419"/>
                  </a:lnTo>
                  <a:lnTo>
                    <a:pt x="1251" y="1423"/>
                  </a:lnTo>
                  <a:lnTo>
                    <a:pt x="1252" y="1429"/>
                  </a:lnTo>
                  <a:lnTo>
                    <a:pt x="1243" y="1432"/>
                  </a:lnTo>
                  <a:lnTo>
                    <a:pt x="1235" y="1435"/>
                  </a:lnTo>
                  <a:lnTo>
                    <a:pt x="1226" y="1437"/>
                  </a:lnTo>
                  <a:lnTo>
                    <a:pt x="1216" y="1439"/>
                  </a:lnTo>
                  <a:lnTo>
                    <a:pt x="1198" y="1442"/>
                  </a:lnTo>
                  <a:lnTo>
                    <a:pt x="1179" y="1445"/>
                  </a:lnTo>
                  <a:lnTo>
                    <a:pt x="1170" y="1447"/>
                  </a:lnTo>
                  <a:lnTo>
                    <a:pt x="1161" y="1451"/>
                  </a:lnTo>
                  <a:lnTo>
                    <a:pt x="1153" y="1454"/>
                  </a:lnTo>
                  <a:lnTo>
                    <a:pt x="1145" y="1458"/>
                  </a:lnTo>
                  <a:lnTo>
                    <a:pt x="1138" y="1463"/>
                  </a:lnTo>
                  <a:lnTo>
                    <a:pt x="1132" y="1469"/>
                  </a:lnTo>
                  <a:lnTo>
                    <a:pt x="1126" y="1478"/>
                  </a:lnTo>
                  <a:lnTo>
                    <a:pt x="1121" y="1486"/>
                  </a:lnTo>
                  <a:lnTo>
                    <a:pt x="1119" y="1492"/>
                  </a:lnTo>
                  <a:lnTo>
                    <a:pt x="1118" y="1497"/>
                  </a:lnTo>
                  <a:lnTo>
                    <a:pt x="1118" y="1503"/>
                  </a:lnTo>
                  <a:lnTo>
                    <a:pt x="1119" y="1509"/>
                  </a:lnTo>
                  <a:lnTo>
                    <a:pt x="1121" y="1514"/>
                  </a:lnTo>
                  <a:lnTo>
                    <a:pt x="1125" y="1519"/>
                  </a:lnTo>
                  <a:lnTo>
                    <a:pt x="1128" y="1525"/>
                  </a:lnTo>
                  <a:lnTo>
                    <a:pt x="1132" y="1531"/>
                  </a:lnTo>
                  <a:lnTo>
                    <a:pt x="1143" y="1541"/>
                  </a:lnTo>
                  <a:lnTo>
                    <a:pt x="1156" y="1552"/>
                  </a:lnTo>
                  <a:lnTo>
                    <a:pt x="1169" y="1562"/>
                  </a:lnTo>
                  <a:lnTo>
                    <a:pt x="1185" y="1573"/>
                  </a:lnTo>
                  <a:lnTo>
                    <a:pt x="1216" y="1592"/>
                  </a:lnTo>
                  <a:lnTo>
                    <a:pt x="1246" y="1612"/>
                  </a:lnTo>
                  <a:lnTo>
                    <a:pt x="1258" y="1623"/>
                  </a:lnTo>
                  <a:lnTo>
                    <a:pt x="1268" y="1632"/>
                  </a:lnTo>
                  <a:lnTo>
                    <a:pt x="1273" y="1637"/>
                  </a:lnTo>
                  <a:lnTo>
                    <a:pt x="1276" y="1641"/>
                  </a:lnTo>
                  <a:lnTo>
                    <a:pt x="1279" y="1647"/>
                  </a:lnTo>
                  <a:lnTo>
                    <a:pt x="1281" y="1652"/>
                  </a:lnTo>
                  <a:lnTo>
                    <a:pt x="1286" y="1671"/>
                  </a:lnTo>
                  <a:lnTo>
                    <a:pt x="1294" y="1693"/>
                  </a:lnTo>
                  <a:lnTo>
                    <a:pt x="1299" y="1703"/>
                  </a:lnTo>
                  <a:lnTo>
                    <a:pt x="1305" y="1711"/>
                  </a:lnTo>
                  <a:lnTo>
                    <a:pt x="1309" y="1716"/>
                  </a:lnTo>
                  <a:lnTo>
                    <a:pt x="1313" y="1719"/>
                  </a:lnTo>
                  <a:lnTo>
                    <a:pt x="1318" y="1721"/>
                  </a:lnTo>
                  <a:lnTo>
                    <a:pt x="1323" y="1722"/>
                  </a:lnTo>
                  <a:lnTo>
                    <a:pt x="1327" y="1723"/>
                  </a:lnTo>
                  <a:lnTo>
                    <a:pt x="1332" y="1722"/>
                  </a:lnTo>
                  <a:lnTo>
                    <a:pt x="1335" y="1721"/>
                  </a:lnTo>
                  <a:lnTo>
                    <a:pt x="1338" y="1720"/>
                  </a:lnTo>
                  <a:lnTo>
                    <a:pt x="1341" y="1717"/>
                  </a:lnTo>
                  <a:lnTo>
                    <a:pt x="1345" y="1713"/>
                  </a:lnTo>
                  <a:lnTo>
                    <a:pt x="1347" y="1710"/>
                  </a:lnTo>
                  <a:lnTo>
                    <a:pt x="1349" y="1706"/>
                  </a:lnTo>
                  <a:lnTo>
                    <a:pt x="1355" y="1685"/>
                  </a:lnTo>
                  <a:lnTo>
                    <a:pt x="1362" y="1661"/>
                  </a:lnTo>
                  <a:lnTo>
                    <a:pt x="1368" y="1650"/>
                  </a:lnTo>
                  <a:lnTo>
                    <a:pt x="1374" y="1639"/>
                  </a:lnTo>
                  <a:lnTo>
                    <a:pt x="1378" y="1634"/>
                  </a:lnTo>
                  <a:lnTo>
                    <a:pt x="1383" y="1630"/>
                  </a:lnTo>
                  <a:lnTo>
                    <a:pt x="1388" y="1626"/>
                  </a:lnTo>
                  <a:lnTo>
                    <a:pt x="1395" y="1623"/>
                  </a:lnTo>
                  <a:lnTo>
                    <a:pt x="1401" y="1620"/>
                  </a:lnTo>
                  <a:lnTo>
                    <a:pt x="1409" y="1617"/>
                  </a:lnTo>
                  <a:lnTo>
                    <a:pt x="1418" y="1615"/>
                  </a:lnTo>
                  <a:lnTo>
                    <a:pt x="1427" y="1615"/>
                  </a:lnTo>
                  <a:lnTo>
                    <a:pt x="1437" y="1615"/>
                  </a:lnTo>
                  <a:lnTo>
                    <a:pt x="1449" y="1616"/>
                  </a:lnTo>
                  <a:lnTo>
                    <a:pt x="1461" y="1618"/>
                  </a:lnTo>
                  <a:lnTo>
                    <a:pt x="1476" y="1622"/>
                  </a:lnTo>
                  <a:lnTo>
                    <a:pt x="1476" y="162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5" name="Freeform 152">
              <a:extLst>
                <a:ext uri="{FF2B5EF4-FFF2-40B4-BE49-F238E27FC236}">
                  <a16:creationId xmlns:a16="http://schemas.microsoft.com/office/drawing/2014/main" id="{287D2235-EE51-4F89-89FC-59D59C042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8937" y="5509125"/>
              <a:ext cx="512482" cy="418197"/>
            </a:xfrm>
            <a:custGeom>
              <a:avLst/>
              <a:gdLst>
                <a:gd name="T0" fmla="*/ 1547 w 2041"/>
                <a:gd name="T1" fmla="*/ 1563 h 1723"/>
                <a:gd name="T2" fmla="*/ 1573 w 2041"/>
                <a:gd name="T3" fmla="*/ 1692 h 1723"/>
                <a:gd name="T4" fmla="*/ 1628 w 2041"/>
                <a:gd name="T5" fmla="*/ 1689 h 1723"/>
                <a:gd name="T6" fmla="*/ 1745 w 2041"/>
                <a:gd name="T7" fmla="*/ 1642 h 1723"/>
                <a:gd name="T8" fmla="*/ 1838 w 2041"/>
                <a:gd name="T9" fmla="*/ 1572 h 1723"/>
                <a:gd name="T10" fmla="*/ 1917 w 2041"/>
                <a:gd name="T11" fmla="*/ 1597 h 1723"/>
                <a:gd name="T12" fmla="*/ 2019 w 2041"/>
                <a:gd name="T13" fmla="*/ 1517 h 1723"/>
                <a:gd name="T14" fmla="*/ 2033 w 2041"/>
                <a:gd name="T15" fmla="*/ 1381 h 1723"/>
                <a:gd name="T16" fmla="*/ 1998 w 2041"/>
                <a:gd name="T17" fmla="*/ 1212 h 1723"/>
                <a:gd name="T18" fmla="*/ 1942 w 2041"/>
                <a:gd name="T19" fmla="*/ 1151 h 1723"/>
                <a:gd name="T20" fmla="*/ 2033 w 2041"/>
                <a:gd name="T21" fmla="*/ 1111 h 1723"/>
                <a:gd name="T22" fmla="*/ 1962 w 2041"/>
                <a:gd name="T23" fmla="*/ 974 h 1723"/>
                <a:gd name="T24" fmla="*/ 1964 w 2041"/>
                <a:gd name="T25" fmla="*/ 808 h 1723"/>
                <a:gd name="T26" fmla="*/ 1921 w 2041"/>
                <a:gd name="T27" fmla="*/ 746 h 1723"/>
                <a:gd name="T28" fmla="*/ 1804 w 2041"/>
                <a:gd name="T29" fmla="*/ 728 h 1723"/>
                <a:gd name="T30" fmla="*/ 1783 w 2041"/>
                <a:gd name="T31" fmla="*/ 636 h 1723"/>
                <a:gd name="T32" fmla="*/ 1752 w 2041"/>
                <a:gd name="T33" fmla="*/ 447 h 1723"/>
                <a:gd name="T34" fmla="*/ 1712 w 2041"/>
                <a:gd name="T35" fmla="*/ 352 h 1723"/>
                <a:gd name="T36" fmla="*/ 1685 w 2041"/>
                <a:gd name="T37" fmla="*/ 239 h 1723"/>
                <a:gd name="T38" fmla="*/ 1539 w 2041"/>
                <a:gd name="T39" fmla="*/ 166 h 1723"/>
                <a:gd name="T40" fmla="*/ 1457 w 2041"/>
                <a:gd name="T41" fmla="*/ 141 h 1723"/>
                <a:gd name="T42" fmla="*/ 1425 w 2041"/>
                <a:gd name="T43" fmla="*/ 22 h 1723"/>
                <a:gd name="T44" fmla="*/ 1264 w 2041"/>
                <a:gd name="T45" fmla="*/ 11 h 1723"/>
                <a:gd name="T46" fmla="*/ 1191 w 2041"/>
                <a:gd name="T47" fmla="*/ 130 h 1723"/>
                <a:gd name="T48" fmla="*/ 1061 w 2041"/>
                <a:gd name="T49" fmla="*/ 140 h 1723"/>
                <a:gd name="T50" fmla="*/ 1020 w 2041"/>
                <a:gd name="T51" fmla="*/ 53 h 1723"/>
                <a:gd name="T52" fmla="*/ 845 w 2041"/>
                <a:gd name="T53" fmla="*/ 127 h 1723"/>
                <a:gd name="T54" fmla="*/ 716 w 2041"/>
                <a:gd name="T55" fmla="*/ 230 h 1723"/>
                <a:gd name="T56" fmla="*/ 653 w 2041"/>
                <a:gd name="T57" fmla="*/ 186 h 1723"/>
                <a:gd name="T58" fmla="*/ 506 w 2041"/>
                <a:gd name="T59" fmla="*/ 158 h 1723"/>
                <a:gd name="T60" fmla="*/ 429 w 2041"/>
                <a:gd name="T61" fmla="*/ 88 h 1723"/>
                <a:gd name="T62" fmla="*/ 384 w 2041"/>
                <a:gd name="T63" fmla="*/ 178 h 1723"/>
                <a:gd name="T64" fmla="*/ 311 w 2041"/>
                <a:gd name="T65" fmla="*/ 155 h 1723"/>
                <a:gd name="T66" fmla="*/ 240 w 2041"/>
                <a:gd name="T67" fmla="*/ 196 h 1723"/>
                <a:gd name="T68" fmla="*/ 174 w 2041"/>
                <a:gd name="T69" fmla="*/ 257 h 1723"/>
                <a:gd name="T70" fmla="*/ 28 w 2041"/>
                <a:gd name="T71" fmla="*/ 416 h 1723"/>
                <a:gd name="T72" fmla="*/ 145 w 2041"/>
                <a:gd name="T73" fmla="*/ 848 h 1723"/>
                <a:gd name="T74" fmla="*/ 289 w 2041"/>
                <a:gd name="T75" fmla="*/ 985 h 1723"/>
                <a:gd name="T76" fmla="*/ 384 w 2041"/>
                <a:gd name="T77" fmla="*/ 946 h 1723"/>
                <a:gd name="T78" fmla="*/ 528 w 2041"/>
                <a:gd name="T79" fmla="*/ 935 h 1723"/>
                <a:gd name="T80" fmla="*/ 501 w 2041"/>
                <a:gd name="T81" fmla="*/ 995 h 1723"/>
                <a:gd name="T82" fmla="*/ 505 w 2041"/>
                <a:gd name="T83" fmla="*/ 1043 h 1723"/>
                <a:gd name="T84" fmla="*/ 523 w 2041"/>
                <a:gd name="T85" fmla="*/ 1097 h 1723"/>
                <a:gd name="T86" fmla="*/ 619 w 2041"/>
                <a:gd name="T87" fmla="*/ 1094 h 1723"/>
                <a:gd name="T88" fmla="*/ 586 w 2041"/>
                <a:gd name="T89" fmla="*/ 1163 h 1723"/>
                <a:gd name="T90" fmla="*/ 619 w 2041"/>
                <a:gd name="T91" fmla="*/ 1235 h 1723"/>
                <a:gd name="T92" fmla="*/ 680 w 2041"/>
                <a:gd name="T93" fmla="*/ 1221 h 1723"/>
                <a:gd name="T94" fmla="*/ 714 w 2041"/>
                <a:gd name="T95" fmla="*/ 1140 h 1723"/>
                <a:gd name="T96" fmla="*/ 800 w 2041"/>
                <a:gd name="T97" fmla="*/ 1197 h 1723"/>
                <a:gd name="T98" fmla="*/ 846 w 2041"/>
                <a:gd name="T99" fmla="*/ 1237 h 1723"/>
                <a:gd name="T100" fmla="*/ 821 w 2041"/>
                <a:gd name="T101" fmla="*/ 1319 h 1723"/>
                <a:gd name="T102" fmla="*/ 898 w 2041"/>
                <a:gd name="T103" fmla="*/ 1315 h 1723"/>
                <a:gd name="T104" fmla="*/ 963 w 2041"/>
                <a:gd name="T105" fmla="*/ 1340 h 1723"/>
                <a:gd name="T106" fmla="*/ 1004 w 2041"/>
                <a:gd name="T107" fmla="*/ 1439 h 1723"/>
                <a:gd name="T108" fmla="*/ 1105 w 2041"/>
                <a:gd name="T109" fmla="*/ 1360 h 1723"/>
                <a:gd name="T110" fmla="*/ 1242 w 2041"/>
                <a:gd name="T111" fmla="*/ 1414 h 1723"/>
                <a:gd name="T112" fmla="*/ 1153 w 2041"/>
                <a:gd name="T113" fmla="*/ 1454 h 1723"/>
                <a:gd name="T114" fmla="*/ 1128 w 2041"/>
                <a:gd name="T115" fmla="*/ 1525 h 1723"/>
                <a:gd name="T116" fmla="*/ 1279 w 2041"/>
                <a:gd name="T117" fmla="*/ 1647 h 1723"/>
                <a:gd name="T118" fmla="*/ 1335 w 2041"/>
                <a:gd name="T119" fmla="*/ 1721 h 1723"/>
                <a:gd name="T120" fmla="*/ 1388 w 2041"/>
                <a:gd name="T121" fmla="*/ 162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41" h="1723">
                  <a:moveTo>
                    <a:pt x="1476" y="1622"/>
                  </a:moveTo>
                  <a:lnTo>
                    <a:pt x="1479" y="1581"/>
                  </a:lnTo>
                  <a:lnTo>
                    <a:pt x="1486" y="1573"/>
                  </a:lnTo>
                  <a:lnTo>
                    <a:pt x="1493" y="1566"/>
                  </a:lnTo>
                  <a:lnTo>
                    <a:pt x="1498" y="1561"/>
                  </a:lnTo>
                  <a:lnTo>
                    <a:pt x="1504" y="1557"/>
                  </a:lnTo>
                  <a:lnTo>
                    <a:pt x="1509" y="1555"/>
                  </a:lnTo>
                  <a:lnTo>
                    <a:pt x="1515" y="1553"/>
                  </a:lnTo>
                  <a:lnTo>
                    <a:pt x="1520" y="1553"/>
                  </a:lnTo>
                  <a:lnTo>
                    <a:pt x="1525" y="1554"/>
                  </a:lnTo>
                  <a:lnTo>
                    <a:pt x="1535" y="1557"/>
                  </a:lnTo>
                  <a:lnTo>
                    <a:pt x="1547" y="1563"/>
                  </a:lnTo>
                  <a:lnTo>
                    <a:pt x="1558" y="1571"/>
                  </a:lnTo>
                  <a:lnTo>
                    <a:pt x="1572" y="1579"/>
                  </a:lnTo>
                  <a:lnTo>
                    <a:pt x="1573" y="1591"/>
                  </a:lnTo>
                  <a:lnTo>
                    <a:pt x="1572" y="1603"/>
                  </a:lnTo>
                  <a:lnTo>
                    <a:pt x="1571" y="1615"/>
                  </a:lnTo>
                  <a:lnTo>
                    <a:pt x="1570" y="1628"/>
                  </a:lnTo>
                  <a:lnTo>
                    <a:pt x="1568" y="1639"/>
                  </a:lnTo>
                  <a:lnTo>
                    <a:pt x="1567" y="1651"/>
                  </a:lnTo>
                  <a:lnTo>
                    <a:pt x="1567" y="1662"/>
                  </a:lnTo>
                  <a:lnTo>
                    <a:pt x="1568" y="1673"/>
                  </a:lnTo>
                  <a:lnTo>
                    <a:pt x="1571" y="1683"/>
                  </a:lnTo>
                  <a:lnTo>
                    <a:pt x="1573" y="1692"/>
                  </a:lnTo>
                  <a:lnTo>
                    <a:pt x="1576" y="1699"/>
                  </a:lnTo>
                  <a:lnTo>
                    <a:pt x="1579" y="1705"/>
                  </a:lnTo>
                  <a:lnTo>
                    <a:pt x="1582" y="1709"/>
                  </a:lnTo>
                  <a:lnTo>
                    <a:pt x="1585" y="1711"/>
                  </a:lnTo>
                  <a:lnTo>
                    <a:pt x="1589" y="1713"/>
                  </a:lnTo>
                  <a:lnTo>
                    <a:pt x="1593" y="1714"/>
                  </a:lnTo>
                  <a:lnTo>
                    <a:pt x="1597" y="1713"/>
                  </a:lnTo>
                  <a:lnTo>
                    <a:pt x="1601" y="1712"/>
                  </a:lnTo>
                  <a:lnTo>
                    <a:pt x="1605" y="1710"/>
                  </a:lnTo>
                  <a:lnTo>
                    <a:pt x="1609" y="1707"/>
                  </a:lnTo>
                  <a:lnTo>
                    <a:pt x="1619" y="1700"/>
                  </a:lnTo>
                  <a:lnTo>
                    <a:pt x="1628" y="1689"/>
                  </a:lnTo>
                  <a:lnTo>
                    <a:pt x="1648" y="1668"/>
                  </a:lnTo>
                  <a:lnTo>
                    <a:pt x="1668" y="1647"/>
                  </a:lnTo>
                  <a:lnTo>
                    <a:pt x="1677" y="1639"/>
                  </a:lnTo>
                  <a:lnTo>
                    <a:pt x="1687" y="1633"/>
                  </a:lnTo>
                  <a:lnTo>
                    <a:pt x="1692" y="1632"/>
                  </a:lnTo>
                  <a:lnTo>
                    <a:pt x="1696" y="1631"/>
                  </a:lnTo>
                  <a:lnTo>
                    <a:pt x="1701" y="1631"/>
                  </a:lnTo>
                  <a:lnTo>
                    <a:pt x="1705" y="1632"/>
                  </a:lnTo>
                  <a:lnTo>
                    <a:pt x="1717" y="1636"/>
                  </a:lnTo>
                  <a:lnTo>
                    <a:pt x="1726" y="1639"/>
                  </a:lnTo>
                  <a:lnTo>
                    <a:pt x="1737" y="1641"/>
                  </a:lnTo>
                  <a:lnTo>
                    <a:pt x="1745" y="1642"/>
                  </a:lnTo>
                  <a:lnTo>
                    <a:pt x="1753" y="1642"/>
                  </a:lnTo>
                  <a:lnTo>
                    <a:pt x="1761" y="1641"/>
                  </a:lnTo>
                  <a:lnTo>
                    <a:pt x="1768" y="1639"/>
                  </a:lnTo>
                  <a:lnTo>
                    <a:pt x="1774" y="1636"/>
                  </a:lnTo>
                  <a:lnTo>
                    <a:pt x="1780" y="1632"/>
                  </a:lnTo>
                  <a:lnTo>
                    <a:pt x="1788" y="1628"/>
                  </a:lnTo>
                  <a:lnTo>
                    <a:pt x="1794" y="1622"/>
                  </a:lnTo>
                  <a:lnTo>
                    <a:pt x="1800" y="1615"/>
                  </a:lnTo>
                  <a:lnTo>
                    <a:pt x="1813" y="1600"/>
                  </a:lnTo>
                  <a:lnTo>
                    <a:pt x="1827" y="1581"/>
                  </a:lnTo>
                  <a:lnTo>
                    <a:pt x="1833" y="1576"/>
                  </a:lnTo>
                  <a:lnTo>
                    <a:pt x="1838" y="1572"/>
                  </a:lnTo>
                  <a:lnTo>
                    <a:pt x="1843" y="1571"/>
                  </a:lnTo>
                  <a:lnTo>
                    <a:pt x="1848" y="1571"/>
                  </a:lnTo>
                  <a:lnTo>
                    <a:pt x="1853" y="1572"/>
                  </a:lnTo>
                  <a:lnTo>
                    <a:pt x="1859" y="1574"/>
                  </a:lnTo>
                  <a:lnTo>
                    <a:pt x="1864" y="1577"/>
                  </a:lnTo>
                  <a:lnTo>
                    <a:pt x="1870" y="1580"/>
                  </a:lnTo>
                  <a:lnTo>
                    <a:pt x="1882" y="1587"/>
                  </a:lnTo>
                  <a:lnTo>
                    <a:pt x="1893" y="1593"/>
                  </a:lnTo>
                  <a:lnTo>
                    <a:pt x="1899" y="1597"/>
                  </a:lnTo>
                  <a:lnTo>
                    <a:pt x="1906" y="1598"/>
                  </a:lnTo>
                  <a:lnTo>
                    <a:pt x="1911" y="1598"/>
                  </a:lnTo>
                  <a:lnTo>
                    <a:pt x="1917" y="1597"/>
                  </a:lnTo>
                  <a:lnTo>
                    <a:pt x="1927" y="1593"/>
                  </a:lnTo>
                  <a:lnTo>
                    <a:pt x="1938" y="1589"/>
                  </a:lnTo>
                  <a:lnTo>
                    <a:pt x="1947" y="1584"/>
                  </a:lnTo>
                  <a:lnTo>
                    <a:pt x="1957" y="1579"/>
                  </a:lnTo>
                  <a:lnTo>
                    <a:pt x="1966" y="1573"/>
                  </a:lnTo>
                  <a:lnTo>
                    <a:pt x="1975" y="1566"/>
                  </a:lnTo>
                  <a:lnTo>
                    <a:pt x="1984" y="1559"/>
                  </a:lnTo>
                  <a:lnTo>
                    <a:pt x="1992" y="1552"/>
                  </a:lnTo>
                  <a:lnTo>
                    <a:pt x="1999" y="1543"/>
                  </a:lnTo>
                  <a:lnTo>
                    <a:pt x="2007" y="1535"/>
                  </a:lnTo>
                  <a:lnTo>
                    <a:pt x="2014" y="1527"/>
                  </a:lnTo>
                  <a:lnTo>
                    <a:pt x="2019" y="1517"/>
                  </a:lnTo>
                  <a:lnTo>
                    <a:pt x="2025" y="1508"/>
                  </a:lnTo>
                  <a:lnTo>
                    <a:pt x="2030" y="1497"/>
                  </a:lnTo>
                  <a:lnTo>
                    <a:pt x="2034" y="1487"/>
                  </a:lnTo>
                  <a:lnTo>
                    <a:pt x="2036" y="1477"/>
                  </a:lnTo>
                  <a:lnTo>
                    <a:pt x="2039" y="1458"/>
                  </a:lnTo>
                  <a:lnTo>
                    <a:pt x="2041" y="1435"/>
                  </a:lnTo>
                  <a:lnTo>
                    <a:pt x="2041" y="1423"/>
                  </a:lnTo>
                  <a:lnTo>
                    <a:pt x="2040" y="1412"/>
                  </a:lnTo>
                  <a:lnTo>
                    <a:pt x="2039" y="1402"/>
                  </a:lnTo>
                  <a:lnTo>
                    <a:pt x="2038" y="1393"/>
                  </a:lnTo>
                  <a:lnTo>
                    <a:pt x="2036" y="1387"/>
                  </a:lnTo>
                  <a:lnTo>
                    <a:pt x="2033" y="1381"/>
                  </a:lnTo>
                  <a:lnTo>
                    <a:pt x="2030" y="1375"/>
                  </a:lnTo>
                  <a:lnTo>
                    <a:pt x="2027" y="1370"/>
                  </a:lnTo>
                  <a:lnTo>
                    <a:pt x="2019" y="1361"/>
                  </a:lnTo>
                  <a:lnTo>
                    <a:pt x="2012" y="1352"/>
                  </a:lnTo>
                  <a:lnTo>
                    <a:pt x="2005" y="1344"/>
                  </a:lnTo>
                  <a:lnTo>
                    <a:pt x="1999" y="1334"/>
                  </a:lnTo>
                  <a:lnTo>
                    <a:pt x="1997" y="1327"/>
                  </a:lnTo>
                  <a:lnTo>
                    <a:pt x="1996" y="1321"/>
                  </a:lnTo>
                  <a:lnTo>
                    <a:pt x="1996" y="1314"/>
                  </a:lnTo>
                  <a:lnTo>
                    <a:pt x="1996" y="1307"/>
                  </a:lnTo>
                  <a:lnTo>
                    <a:pt x="1998" y="1212"/>
                  </a:lnTo>
                  <a:lnTo>
                    <a:pt x="1998" y="1212"/>
                  </a:lnTo>
                  <a:lnTo>
                    <a:pt x="1979" y="1201"/>
                  </a:lnTo>
                  <a:lnTo>
                    <a:pt x="1956" y="1190"/>
                  </a:lnTo>
                  <a:lnTo>
                    <a:pt x="1950" y="1187"/>
                  </a:lnTo>
                  <a:lnTo>
                    <a:pt x="1945" y="1183"/>
                  </a:lnTo>
                  <a:lnTo>
                    <a:pt x="1941" y="1179"/>
                  </a:lnTo>
                  <a:lnTo>
                    <a:pt x="1938" y="1175"/>
                  </a:lnTo>
                  <a:lnTo>
                    <a:pt x="1935" y="1171"/>
                  </a:lnTo>
                  <a:lnTo>
                    <a:pt x="1933" y="1167"/>
                  </a:lnTo>
                  <a:lnTo>
                    <a:pt x="1932" y="1162"/>
                  </a:lnTo>
                  <a:lnTo>
                    <a:pt x="1932" y="1156"/>
                  </a:lnTo>
                  <a:lnTo>
                    <a:pt x="1937" y="1153"/>
                  </a:lnTo>
                  <a:lnTo>
                    <a:pt x="1942" y="1151"/>
                  </a:lnTo>
                  <a:lnTo>
                    <a:pt x="1947" y="1150"/>
                  </a:lnTo>
                  <a:lnTo>
                    <a:pt x="1954" y="1149"/>
                  </a:lnTo>
                  <a:lnTo>
                    <a:pt x="1967" y="1147"/>
                  </a:lnTo>
                  <a:lnTo>
                    <a:pt x="1981" y="1146"/>
                  </a:lnTo>
                  <a:lnTo>
                    <a:pt x="1993" y="1144"/>
                  </a:lnTo>
                  <a:lnTo>
                    <a:pt x="2006" y="1141"/>
                  </a:lnTo>
                  <a:lnTo>
                    <a:pt x="2011" y="1139"/>
                  </a:lnTo>
                  <a:lnTo>
                    <a:pt x="2015" y="1137"/>
                  </a:lnTo>
                  <a:lnTo>
                    <a:pt x="2019" y="1133"/>
                  </a:lnTo>
                  <a:lnTo>
                    <a:pt x="2022" y="1129"/>
                  </a:lnTo>
                  <a:lnTo>
                    <a:pt x="2029" y="1120"/>
                  </a:lnTo>
                  <a:lnTo>
                    <a:pt x="2033" y="1111"/>
                  </a:lnTo>
                  <a:lnTo>
                    <a:pt x="2035" y="1102"/>
                  </a:lnTo>
                  <a:lnTo>
                    <a:pt x="2037" y="1095"/>
                  </a:lnTo>
                  <a:lnTo>
                    <a:pt x="2037" y="1086"/>
                  </a:lnTo>
                  <a:lnTo>
                    <a:pt x="2036" y="1079"/>
                  </a:lnTo>
                  <a:lnTo>
                    <a:pt x="2034" y="1072"/>
                  </a:lnTo>
                  <a:lnTo>
                    <a:pt x="2031" y="1066"/>
                  </a:lnTo>
                  <a:lnTo>
                    <a:pt x="2022" y="1052"/>
                  </a:lnTo>
                  <a:lnTo>
                    <a:pt x="2012" y="1038"/>
                  </a:lnTo>
                  <a:lnTo>
                    <a:pt x="2001" y="1025"/>
                  </a:lnTo>
                  <a:lnTo>
                    <a:pt x="1990" y="1010"/>
                  </a:lnTo>
                  <a:lnTo>
                    <a:pt x="1975" y="992"/>
                  </a:lnTo>
                  <a:lnTo>
                    <a:pt x="1962" y="974"/>
                  </a:lnTo>
                  <a:lnTo>
                    <a:pt x="1956" y="964"/>
                  </a:lnTo>
                  <a:lnTo>
                    <a:pt x="1950" y="954"/>
                  </a:lnTo>
                  <a:lnTo>
                    <a:pt x="1947" y="944"/>
                  </a:lnTo>
                  <a:lnTo>
                    <a:pt x="1945" y="931"/>
                  </a:lnTo>
                  <a:lnTo>
                    <a:pt x="1943" y="912"/>
                  </a:lnTo>
                  <a:lnTo>
                    <a:pt x="1943" y="897"/>
                  </a:lnTo>
                  <a:lnTo>
                    <a:pt x="1943" y="889"/>
                  </a:lnTo>
                  <a:lnTo>
                    <a:pt x="1944" y="882"/>
                  </a:lnTo>
                  <a:lnTo>
                    <a:pt x="1945" y="873"/>
                  </a:lnTo>
                  <a:lnTo>
                    <a:pt x="1948" y="863"/>
                  </a:lnTo>
                  <a:lnTo>
                    <a:pt x="1956" y="837"/>
                  </a:lnTo>
                  <a:lnTo>
                    <a:pt x="1964" y="808"/>
                  </a:lnTo>
                  <a:lnTo>
                    <a:pt x="1965" y="801"/>
                  </a:lnTo>
                  <a:lnTo>
                    <a:pt x="1966" y="793"/>
                  </a:lnTo>
                  <a:lnTo>
                    <a:pt x="1966" y="787"/>
                  </a:lnTo>
                  <a:lnTo>
                    <a:pt x="1965" y="780"/>
                  </a:lnTo>
                  <a:lnTo>
                    <a:pt x="1963" y="773"/>
                  </a:lnTo>
                  <a:lnTo>
                    <a:pt x="1960" y="767"/>
                  </a:lnTo>
                  <a:lnTo>
                    <a:pt x="1957" y="762"/>
                  </a:lnTo>
                  <a:lnTo>
                    <a:pt x="1951" y="757"/>
                  </a:lnTo>
                  <a:lnTo>
                    <a:pt x="1944" y="752"/>
                  </a:lnTo>
                  <a:lnTo>
                    <a:pt x="1937" y="748"/>
                  </a:lnTo>
                  <a:lnTo>
                    <a:pt x="1930" y="747"/>
                  </a:lnTo>
                  <a:lnTo>
                    <a:pt x="1921" y="746"/>
                  </a:lnTo>
                  <a:lnTo>
                    <a:pt x="1905" y="747"/>
                  </a:lnTo>
                  <a:lnTo>
                    <a:pt x="1888" y="751"/>
                  </a:lnTo>
                  <a:lnTo>
                    <a:pt x="1870" y="755"/>
                  </a:lnTo>
                  <a:lnTo>
                    <a:pt x="1853" y="757"/>
                  </a:lnTo>
                  <a:lnTo>
                    <a:pt x="1844" y="758"/>
                  </a:lnTo>
                  <a:lnTo>
                    <a:pt x="1836" y="757"/>
                  </a:lnTo>
                  <a:lnTo>
                    <a:pt x="1827" y="756"/>
                  </a:lnTo>
                  <a:lnTo>
                    <a:pt x="1819" y="753"/>
                  </a:lnTo>
                  <a:lnTo>
                    <a:pt x="1815" y="746"/>
                  </a:lnTo>
                  <a:lnTo>
                    <a:pt x="1811" y="740"/>
                  </a:lnTo>
                  <a:lnTo>
                    <a:pt x="1808" y="734"/>
                  </a:lnTo>
                  <a:lnTo>
                    <a:pt x="1804" y="728"/>
                  </a:lnTo>
                  <a:lnTo>
                    <a:pt x="1802" y="720"/>
                  </a:lnTo>
                  <a:lnTo>
                    <a:pt x="1800" y="713"/>
                  </a:lnTo>
                  <a:lnTo>
                    <a:pt x="1799" y="706"/>
                  </a:lnTo>
                  <a:lnTo>
                    <a:pt x="1799" y="698"/>
                  </a:lnTo>
                  <a:lnTo>
                    <a:pt x="1801" y="674"/>
                  </a:lnTo>
                  <a:lnTo>
                    <a:pt x="1801" y="674"/>
                  </a:lnTo>
                  <a:lnTo>
                    <a:pt x="1799" y="671"/>
                  </a:lnTo>
                  <a:lnTo>
                    <a:pt x="1796" y="669"/>
                  </a:lnTo>
                  <a:lnTo>
                    <a:pt x="1794" y="662"/>
                  </a:lnTo>
                  <a:lnTo>
                    <a:pt x="1790" y="651"/>
                  </a:lnTo>
                  <a:lnTo>
                    <a:pt x="1786" y="642"/>
                  </a:lnTo>
                  <a:lnTo>
                    <a:pt x="1783" y="636"/>
                  </a:lnTo>
                  <a:lnTo>
                    <a:pt x="1783" y="625"/>
                  </a:lnTo>
                  <a:lnTo>
                    <a:pt x="1781" y="614"/>
                  </a:lnTo>
                  <a:lnTo>
                    <a:pt x="1780" y="603"/>
                  </a:lnTo>
                  <a:lnTo>
                    <a:pt x="1778" y="594"/>
                  </a:lnTo>
                  <a:lnTo>
                    <a:pt x="1774" y="574"/>
                  </a:lnTo>
                  <a:lnTo>
                    <a:pt x="1768" y="555"/>
                  </a:lnTo>
                  <a:lnTo>
                    <a:pt x="1763" y="537"/>
                  </a:lnTo>
                  <a:lnTo>
                    <a:pt x="1759" y="518"/>
                  </a:lnTo>
                  <a:lnTo>
                    <a:pt x="1754" y="497"/>
                  </a:lnTo>
                  <a:lnTo>
                    <a:pt x="1752" y="476"/>
                  </a:lnTo>
                  <a:lnTo>
                    <a:pt x="1752" y="460"/>
                  </a:lnTo>
                  <a:lnTo>
                    <a:pt x="1752" y="447"/>
                  </a:lnTo>
                  <a:lnTo>
                    <a:pt x="1751" y="433"/>
                  </a:lnTo>
                  <a:lnTo>
                    <a:pt x="1750" y="420"/>
                  </a:lnTo>
                  <a:lnTo>
                    <a:pt x="1747" y="408"/>
                  </a:lnTo>
                  <a:lnTo>
                    <a:pt x="1742" y="397"/>
                  </a:lnTo>
                  <a:lnTo>
                    <a:pt x="1739" y="391"/>
                  </a:lnTo>
                  <a:lnTo>
                    <a:pt x="1735" y="385"/>
                  </a:lnTo>
                  <a:lnTo>
                    <a:pt x="1729" y="379"/>
                  </a:lnTo>
                  <a:lnTo>
                    <a:pt x="1724" y="374"/>
                  </a:lnTo>
                  <a:lnTo>
                    <a:pt x="1720" y="369"/>
                  </a:lnTo>
                  <a:lnTo>
                    <a:pt x="1717" y="363"/>
                  </a:lnTo>
                  <a:lnTo>
                    <a:pt x="1714" y="358"/>
                  </a:lnTo>
                  <a:lnTo>
                    <a:pt x="1712" y="352"/>
                  </a:lnTo>
                  <a:lnTo>
                    <a:pt x="1710" y="339"/>
                  </a:lnTo>
                  <a:lnTo>
                    <a:pt x="1708" y="326"/>
                  </a:lnTo>
                  <a:lnTo>
                    <a:pt x="1708" y="313"/>
                  </a:lnTo>
                  <a:lnTo>
                    <a:pt x="1710" y="300"/>
                  </a:lnTo>
                  <a:lnTo>
                    <a:pt x="1708" y="286"/>
                  </a:lnTo>
                  <a:lnTo>
                    <a:pt x="1707" y="273"/>
                  </a:lnTo>
                  <a:lnTo>
                    <a:pt x="1706" y="269"/>
                  </a:lnTo>
                  <a:lnTo>
                    <a:pt x="1704" y="263"/>
                  </a:lnTo>
                  <a:lnTo>
                    <a:pt x="1702" y="259"/>
                  </a:lnTo>
                  <a:lnTo>
                    <a:pt x="1699" y="255"/>
                  </a:lnTo>
                  <a:lnTo>
                    <a:pt x="1693" y="247"/>
                  </a:lnTo>
                  <a:lnTo>
                    <a:pt x="1685" y="239"/>
                  </a:lnTo>
                  <a:lnTo>
                    <a:pt x="1668" y="228"/>
                  </a:lnTo>
                  <a:lnTo>
                    <a:pt x="1650" y="216"/>
                  </a:lnTo>
                  <a:lnTo>
                    <a:pt x="1638" y="210"/>
                  </a:lnTo>
                  <a:lnTo>
                    <a:pt x="1623" y="204"/>
                  </a:lnTo>
                  <a:lnTo>
                    <a:pt x="1607" y="198"/>
                  </a:lnTo>
                  <a:lnTo>
                    <a:pt x="1591" y="192"/>
                  </a:lnTo>
                  <a:lnTo>
                    <a:pt x="1575" y="186"/>
                  </a:lnTo>
                  <a:lnTo>
                    <a:pt x="1560" y="180"/>
                  </a:lnTo>
                  <a:lnTo>
                    <a:pt x="1554" y="177"/>
                  </a:lnTo>
                  <a:lnTo>
                    <a:pt x="1548" y="174"/>
                  </a:lnTo>
                  <a:lnTo>
                    <a:pt x="1543" y="169"/>
                  </a:lnTo>
                  <a:lnTo>
                    <a:pt x="1539" y="166"/>
                  </a:lnTo>
                  <a:lnTo>
                    <a:pt x="1533" y="161"/>
                  </a:lnTo>
                  <a:lnTo>
                    <a:pt x="1528" y="157"/>
                  </a:lnTo>
                  <a:lnTo>
                    <a:pt x="1523" y="153"/>
                  </a:lnTo>
                  <a:lnTo>
                    <a:pt x="1518" y="151"/>
                  </a:lnTo>
                  <a:lnTo>
                    <a:pt x="1512" y="149"/>
                  </a:lnTo>
                  <a:lnTo>
                    <a:pt x="1506" y="146"/>
                  </a:lnTo>
                  <a:lnTo>
                    <a:pt x="1500" y="145"/>
                  </a:lnTo>
                  <a:lnTo>
                    <a:pt x="1493" y="145"/>
                  </a:lnTo>
                  <a:lnTo>
                    <a:pt x="1476" y="145"/>
                  </a:lnTo>
                  <a:lnTo>
                    <a:pt x="1466" y="145"/>
                  </a:lnTo>
                  <a:lnTo>
                    <a:pt x="1461" y="144"/>
                  </a:lnTo>
                  <a:lnTo>
                    <a:pt x="1457" y="141"/>
                  </a:lnTo>
                  <a:lnTo>
                    <a:pt x="1452" y="136"/>
                  </a:lnTo>
                  <a:lnTo>
                    <a:pt x="1447" y="129"/>
                  </a:lnTo>
                  <a:lnTo>
                    <a:pt x="1447" y="111"/>
                  </a:lnTo>
                  <a:lnTo>
                    <a:pt x="1448" y="93"/>
                  </a:lnTo>
                  <a:lnTo>
                    <a:pt x="1448" y="77"/>
                  </a:lnTo>
                  <a:lnTo>
                    <a:pt x="1447" y="61"/>
                  </a:lnTo>
                  <a:lnTo>
                    <a:pt x="1446" y="53"/>
                  </a:lnTo>
                  <a:lnTo>
                    <a:pt x="1444" y="46"/>
                  </a:lnTo>
                  <a:lnTo>
                    <a:pt x="1441" y="39"/>
                  </a:lnTo>
                  <a:lnTo>
                    <a:pt x="1436" y="33"/>
                  </a:lnTo>
                  <a:lnTo>
                    <a:pt x="1431" y="28"/>
                  </a:lnTo>
                  <a:lnTo>
                    <a:pt x="1425" y="22"/>
                  </a:lnTo>
                  <a:lnTo>
                    <a:pt x="1417" y="18"/>
                  </a:lnTo>
                  <a:lnTo>
                    <a:pt x="1407" y="14"/>
                  </a:lnTo>
                  <a:lnTo>
                    <a:pt x="1392" y="9"/>
                  </a:lnTo>
                  <a:lnTo>
                    <a:pt x="1372" y="5"/>
                  </a:lnTo>
                  <a:lnTo>
                    <a:pt x="1350" y="1"/>
                  </a:lnTo>
                  <a:lnTo>
                    <a:pt x="1326" y="0"/>
                  </a:lnTo>
                  <a:lnTo>
                    <a:pt x="1314" y="0"/>
                  </a:lnTo>
                  <a:lnTo>
                    <a:pt x="1303" y="1"/>
                  </a:lnTo>
                  <a:lnTo>
                    <a:pt x="1292" y="3"/>
                  </a:lnTo>
                  <a:lnTo>
                    <a:pt x="1282" y="5"/>
                  </a:lnTo>
                  <a:lnTo>
                    <a:pt x="1273" y="8"/>
                  </a:lnTo>
                  <a:lnTo>
                    <a:pt x="1264" y="11"/>
                  </a:lnTo>
                  <a:lnTo>
                    <a:pt x="1257" y="16"/>
                  </a:lnTo>
                  <a:lnTo>
                    <a:pt x="1252" y="21"/>
                  </a:lnTo>
                  <a:lnTo>
                    <a:pt x="1246" y="32"/>
                  </a:lnTo>
                  <a:lnTo>
                    <a:pt x="1239" y="42"/>
                  </a:lnTo>
                  <a:lnTo>
                    <a:pt x="1235" y="54"/>
                  </a:lnTo>
                  <a:lnTo>
                    <a:pt x="1231" y="66"/>
                  </a:lnTo>
                  <a:lnTo>
                    <a:pt x="1224" y="90"/>
                  </a:lnTo>
                  <a:lnTo>
                    <a:pt x="1217" y="114"/>
                  </a:lnTo>
                  <a:lnTo>
                    <a:pt x="1212" y="118"/>
                  </a:lnTo>
                  <a:lnTo>
                    <a:pt x="1206" y="122"/>
                  </a:lnTo>
                  <a:lnTo>
                    <a:pt x="1199" y="126"/>
                  </a:lnTo>
                  <a:lnTo>
                    <a:pt x="1191" y="130"/>
                  </a:lnTo>
                  <a:lnTo>
                    <a:pt x="1177" y="135"/>
                  </a:lnTo>
                  <a:lnTo>
                    <a:pt x="1162" y="139"/>
                  </a:lnTo>
                  <a:lnTo>
                    <a:pt x="1153" y="140"/>
                  </a:lnTo>
                  <a:lnTo>
                    <a:pt x="1142" y="140"/>
                  </a:lnTo>
                  <a:lnTo>
                    <a:pt x="1131" y="141"/>
                  </a:lnTo>
                  <a:lnTo>
                    <a:pt x="1121" y="141"/>
                  </a:lnTo>
                  <a:lnTo>
                    <a:pt x="1101" y="143"/>
                  </a:lnTo>
                  <a:lnTo>
                    <a:pt x="1080" y="144"/>
                  </a:lnTo>
                  <a:lnTo>
                    <a:pt x="1075" y="144"/>
                  </a:lnTo>
                  <a:lnTo>
                    <a:pt x="1070" y="143"/>
                  </a:lnTo>
                  <a:lnTo>
                    <a:pt x="1065" y="142"/>
                  </a:lnTo>
                  <a:lnTo>
                    <a:pt x="1061" y="140"/>
                  </a:lnTo>
                  <a:lnTo>
                    <a:pt x="1057" y="138"/>
                  </a:lnTo>
                  <a:lnTo>
                    <a:pt x="1054" y="135"/>
                  </a:lnTo>
                  <a:lnTo>
                    <a:pt x="1050" y="131"/>
                  </a:lnTo>
                  <a:lnTo>
                    <a:pt x="1046" y="126"/>
                  </a:lnTo>
                  <a:lnTo>
                    <a:pt x="1041" y="115"/>
                  </a:lnTo>
                  <a:lnTo>
                    <a:pt x="1036" y="105"/>
                  </a:lnTo>
                  <a:lnTo>
                    <a:pt x="1031" y="95"/>
                  </a:lnTo>
                  <a:lnTo>
                    <a:pt x="1027" y="85"/>
                  </a:lnTo>
                  <a:lnTo>
                    <a:pt x="1023" y="73"/>
                  </a:lnTo>
                  <a:lnTo>
                    <a:pt x="1022" y="63"/>
                  </a:lnTo>
                  <a:lnTo>
                    <a:pt x="1021" y="58"/>
                  </a:lnTo>
                  <a:lnTo>
                    <a:pt x="1020" y="53"/>
                  </a:lnTo>
                  <a:lnTo>
                    <a:pt x="1018" y="47"/>
                  </a:lnTo>
                  <a:lnTo>
                    <a:pt x="1015" y="42"/>
                  </a:lnTo>
                  <a:lnTo>
                    <a:pt x="1015" y="42"/>
                  </a:lnTo>
                  <a:lnTo>
                    <a:pt x="993" y="55"/>
                  </a:lnTo>
                  <a:lnTo>
                    <a:pt x="970" y="65"/>
                  </a:lnTo>
                  <a:lnTo>
                    <a:pt x="947" y="76"/>
                  </a:lnTo>
                  <a:lnTo>
                    <a:pt x="923" y="85"/>
                  </a:lnTo>
                  <a:lnTo>
                    <a:pt x="900" y="95"/>
                  </a:lnTo>
                  <a:lnTo>
                    <a:pt x="878" y="107"/>
                  </a:lnTo>
                  <a:lnTo>
                    <a:pt x="867" y="113"/>
                  </a:lnTo>
                  <a:lnTo>
                    <a:pt x="856" y="119"/>
                  </a:lnTo>
                  <a:lnTo>
                    <a:pt x="845" y="127"/>
                  </a:lnTo>
                  <a:lnTo>
                    <a:pt x="836" y="135"/>
                  </a:lnTo>
                  <a:lnTo>
                    <a:pt x="822" y="146"/>
                  </a:lnTo>
                  <a:lnTo>
                    <a:pt x="808" y="159"/>
                  </a:lnTo>
                  <a:lnTo>
                    <a:pt x="792" y="170"/>
                  </a:lnTo>
                  <a:lnTo>
                    <a:pt x="777" y="181"/>
                  </a:lnTo>
                  <a:lnTo>
                    <a:pt x="768" y="187"/>
                  </a:lnTo>
                  <a:lnTo>
                    <a:pt x="760" y="194"/>
                  </a:lnTo>
                  <a:lnTo>
                    <a:pt x="751" y="202"/>
                  </a:lnTo>
                  <a:lnTo>
                    <a:pt x="743" y="210"/>
                  </a:lnTo>
                  <a:lnTo>
                    <a:pt x="735" y="217"/>
                  </a:lnTo>
                  <a:lnTo>
                    <a:pt x="726" y="225"/>
                  </a:lnTo>
                  <a:lnTo>
                    <a:pt x="716" y="230"/>
                  </a:lnTo>
                  <a:lnTo>
                    <a:pt x="705" y="234"/>
                  </a:lnTo>
                  <a:lnTo>
                    <a:pt x="701" y="235"/>
                  </a:lnTo>
                  <a:lnTo>
                    <a:pt x="697" y="235"/>
                  </a:lnTo>
                  <a:lnTo>
                    <a:pt x="693" y="235"/>
                  </a:lnTo>
                  <a:lnTo>
                    <a:pt x="689" y="233"/>
                  </a:lnTo>
                  <a:lnTo>
                    <a:pt x="680" y="230"/>
                  </a:lnTo>
                  <a:lnTo>
                    <a:pt x="673" y="224"/>
                  </a:lnTo>
                  <a:lnTo>
                    <a:pt x="667" y="217"/>
                  </a:lnTo>
                  <a:lnTo>
                    <a:pt x="662" y="209"/>
                  </a:lnTo>
                  <a:lnTo>
                    <a:pt x="659" y="201"/>
                  </a:lnTo>
                  <a:lnTo>
                    <a:pt x="658" y="192"/>
                  </a:lnTo>
                  <a:lnTo>
                    <a:pt x="653" y="186"/>
                  </a:lnTo>
                  <a:lnTo>
                    <a:pt x="651" y="179"/>
                  </a:lnTo>
                  <a:lnTo>
                    <a:pt x="645" y="176"/>
                  </a:lnTo>
                  <a:lnTo>
                    <a:pt x="639" y="174"/>
                  </a:lnTo>
                  <a:lnTo>
                    <a:pt x="631" y="172"/>
                  </a:lnTo>
                  <a:lnTo>
                    <a:pt x="625" y="170"/>
                  </a:lnTo>
                  <a:lnTo>
                    <a:pt x="611" y="168"/>
                  </a:lnTo>
                  <a:lnTo>
                    <a:pt x="595" y="167"/>
                  </a:lnTo>
                  <a:lnTo>
                    <a:pt x="564" y="167"/>
                  </a:lnTo>
                  <a:lnTo>
                    <a:pt x="534" y="168"/>
                  </a:lnTo>
                  <a:lnTo>
                    <a:pt x="524" y="165"/>
                  </a:lnTo>
                  <a:lnTo>
                    <a:pt x="515" y="162"/>
                  </a:lnTo>
                  <a:lnTo>
                    <a:pt x="506" y="158"/>
                  </a:lnTo>
                  <a:lnTo>
                    <a:pt x="497" y="153"/>
                  </a:lnTo>
                  <a:lnTo>
                    <a:pt x="490" y="146"/>
                  </a:lnTo>
                  <a:lnTo>
                    <a:pt x="481" y="139"/>
                  </a:lnTo>
                  <a:lnTo>
                    <a:pt x="475" y="132"/>
                  </a:lnTo>
                  <a:lnTo>
                    <a:pt x="468" y="125"/>
                  </a:lnTo>
                  <a:lnTo>
                    <a:pt x="460" y="115"/>
                  </a:lnTo>
                  <a:lnTo>
                    <a:pt x="449" y="103"/>
                  </a:lnTo>
                  <a:lnTo>
                    <a:pt x="443" y="96"/>
                  </a:lnTo>
                  <a:lnTo>
                    <a:pt x="438" y="91"/>
                  </a:lnTo>
                  <a:lnTo>
                    <a:pt x="434" y="90"/>
                  </a:lnTo>
                  <a:lnTo>
                    <a:pt x="431" y="89"/>
                  </a:lnTo>
                  <a:lnTo>
                    <a:pt x="429" y="88"/>
                  </a:lnTo>
                  <a:lnTo>
                    <a:pt x="426" y="89"/>
                  </a:lnTo>
                  <a:lnTo>
                    <a:pt x="420" y="91"/>
                  </a:lnTo>
                  <a:lnTo>
                    <a:pt x="416" y="95"/>
                  </a:lnTo>
                  <a:lnTo>
                    <a:pt x="411" y="102"/>
                  </a:lnTo>
                  <a:lnTo>
                    <a:pt x="408" y="108"/>
                  </a:lnTo>
                  <a:lnTo>
                    <a:pt x="404" y="124"/>
                  </a:lnTo>
                  <a:lnTo>
                    <a:pt x="400" y="141"/>
                  </a:lnTo>
                  <a:lnTo>
                    <a:pt x="399" y="150"/>
                  </a:lnTo>
                  <a:lnTo>
                    <a:pt x="396" y="158"/>
                  </a:lnTo>
                  <a:lnTo>
                    <a:pt x="393" y="165"/>
                  </a:lnTo>
                  <a:lnTo>
                    <a:pt x="390" y="172"/>
                  </a:lnTo>
                  <a:lnTo>
                    <a:pt x="384" y="178"/>
                  </a:lnTo>
                  <a:lnTo>
                    <a:pt x="378" y="181"/>
                  </a:lnTo>
                  <a:lnTo>
                    <a:pt x="374" y="183"/>
                  </a:lnTo>
                  <a:lnTo>
                    <a:pt x="370" y="184"/>
                  </a:lnTo>
                  <a:lnTo>
                    <a:pt x="366" y="184"/>
                  </a:lnTo>
                  <a:lnTo>
                    <a:pt x="360" y="184"/>
                  </a:lnTo>
                  <a:lnTo>
                    <a:pt x="355" y="183"/>
                  </a:lnTo>
                  <a:lnTo>
                    <a:pt x="349" y="180"/>
                  </a:lnTo>
                  <a:lnTo>
                    <a:pt x="341" y="176"/>
                  </a:lnTo>
                  <a:lnTo>
                    <a:pt x="332" y="170"/>
                  </a:lnTo>
                  <a:lnTo>
                    <a:pt x="324" y="165"/>
                  </a:lnTo>
                  <a:lnTo>
                    <a:pt x="317" y="160"/>
                  </a:lnTo>
                  <a:lnTo>
                    <a:pt x="311" y="155"/>
                  </a:lnTo>
                  <a:lnTo>
                    <a:pt x="308" y="151"/>
                  </a:lnTo>
                  <a:lnTo>
                    <a:pt x="298" y="149"/>
                  </a:lnTo>
                  <a:lnTo>
                    <a:pt x="289" y="148"/>
                  </a:lnTo>
                  <a:lnTo>
                    <a:pt x="281" y="149"/>
                  </a:lnTo>
                  <a:lnTo>
                    <a:pt x="274" y="151"/>
                  </a:lnTo>
                  <a:lnTo>
                    <a:pt x="268" y="154"/>
                  </a:lnTo>
                  <a:lnTo>
                    <a:pt x="261" y="159"/>
                  </a:lnTo>
                  <a:lnTo>
                    <a:pt x="255" y="165"/>
                  </a:lnTo>
                  <a:lnTo>
                    <a:pt x="249" y="174"/>
                  </a:lnTo>
                  <a:lnTo>
                    <a:pt x="246" y="180"/>
                  </a:lnTo>
                  <a:lnTo>
                    <a:pt x="243" y="187"/>
                  </a:lnTo>
                  <a:lnTo>
                    <a:pt x="240" y="196"/>
                  </a:lnTo>
                  <a:lnTo>
                    <a:pt x="239" y="203"/>
                  </a:lnTo>
                  <a:lnTo>
                    <a:pt x="237" y="210"/>
                  </a:lnTo>
                  <a:lnTo>
                    <a:pt x="235" y="216"/>
                  </a:lnTo>
                  <a:lnTo>
                    <a:pt x="233" y="223"/>
                  </a:lnTo>
                  <a:lnTo>
                    <a:pt x="230" y="227"/>
                  </a:lnTo>
                  <a:lnTo>
                    <a:pt x="224" y="232"/>
                  </a:lnTo>
                  <a:lnTo>
                    <a:pt x="216" y="237"/>
                  </a:lnTo>
                  <a:lnTo>
                    <a:pt x="208" y="242"/>
                  </a:lnTo>
                  <a:lnTo>
                    <a:pt x="200" y="247"/>
                  </a:lnTo>
                  <a:lnTo>
                    <a:pt x="191" y="251"/>
                  </a:lnTo>
                  <a:lnTo>
                    <a:pt x="183" y="254"/>
                  </a:lnTo>
                  <a:lnTo>
                    <a:pt x="174" y="257"/>
                  </a:lnTo>
                  <a:lnTo>
                    <a:pt x="164" y="259"/>
                  </a:lnTo>
                  <a:lnTo>
                    <a:pt x="146" y="262"/>
                  </a:lnTo>
                  <a:lnTo>
                    <a:pt x="127" y="264"/>
                  </a:lnTo>
                  <a:lnTo>
                    <a:pt x="108" y="263"/>
                  </a:lnTo>
                  <a:lnTo>
                    <a:pt x="91" y="261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7" y="294"/>
                  </a:lnTo>
                  <a:lnTo>
                    <a:pt x="13" y="326"/>
                  </a:lnTo>
                  <a:lnTo>
                    <a:pt x="18" y="355"/>
                  </a:lnTo>
                  <a:lnTo>
                    <a:pt x="21" y="377"/>
                  </a:lnTo>
                  <a:lnTo>
                    <a:pt x="28" y="416"/>
                  </a:lnTo>
                  <a:lnTo>
                    <a:pt x="33" y="452"/>
                  </a:lnTo>
                  <a:lnTo>
                    <a:pt x="40" y="488"/>
                  </a:lnTo>
                  <a:lnTo>
                    <a:pt x="47" y="522"/>
                  </a:lnTo>
                  <a:lnTo>
                    <a:pt x="54" y="555"/>
                  </a:lnTo>
                  <a:lnTo>
                    <a:pt x="62" y="589"/>
                  </a:lnTo>
                  <a:lnTo>
                    <a:pt x="70" y="621"/>
                  </a:lnTo>
                  <a:lnTo>
                    <a:pt x="79" y="653"/>
                  </a:lnTo>
                  <a:lnTo>
                    <a:pt x="88" y="686"/>
                  </a:lnTo>
                  <a:lnTo>
                    <a:pt x="99" y="717"/>
                  </a:lnTo>
                  <a:lnTo>
                    <a:pt x="109" y="749"/>
                  </a:lnTo>
                  <a:lnTo>
                    <a:pt x="119" y="782"/>
                  </a:lnTo>
                  <a:lnTo>
                    <a:pt x="145" y="848"/>
                  </a:lnTo>
                  <a:lnTo>
                    <a:pt x="172" y="916"/>
                  </a:lnTo>
                  <a:lnTo>
                    <a:pt x="172" y="925"/>
                  </a:lnTo>
                  <a:lnTo>
                    <a:pt x="173" y="934"/>
                  </a:lnTo>
                  <a:lnTo>
                    <a:pt x="174" y="945"/>
                  </a:lnTo>
                  <a:lnTo>
                    <a:pt x="176" y="954"/>
                  </a:lnTo>
                  <a:lnTo>
                    <a:pt x="180" y="974"/>
                  </a:lnTo>
                  <a:lnTo>
                    <a:pt x="184" y="994"/>
                  </a:lnTo>
                  <a:lnTo>
                    <a:pt x="184" y="994"/>
                  </a:lnTo>
                  <a:lnTo>
                    <a:pt x="270" y="990"/>
                  </a:lnTo>
                  <a:lnTo>
                    <a:pt x="276" y="989"/>
                  </a:lnTo>
                  <a:lnTo>
                    <a:pt x="282" y="987"/>
                  </a:lnTo>
                  <a:lnTo>
                    <a:pt x="289" y="985"/>
                  </a:lnTo>
                  <a:lnTo>
                    <a:pt x="296" y="981"/>
                  </a:lnTo>
                  <a:lnTo>
                    <a:pt x="302" y="978"/>
                  </a:lnTo>
                  <a:lnTo>
                    <a:pt x="307" y="974"/>
                  </a:lnTo>
                  <a:lnTo>
                    <a:pt x="312" y="969"/>
                  </a:lnTo>
                  <a:lnTo>
                    <a:pt x="317" y="964"/>
                  </a:lnTo>
                  <a:lnTo>
                    <a:pt x="321" y="960"/>
                  </a:lnTo>
                  <a:lnTo>
                    <a:pt x="326" y="956"/>
                  </a:lnTo>
                  <a:lnTo>
                    <a:pt x="331" y="953"/>
                  </a:lnTo>
                  <a:lnTo>
                    <a:pt x="336" y="951"/>
                  </a:lnTo>
                  <a:lnTo>
                    <a:pt x="348" y="948"/>
                  </a:lnTo>
                  <a:lnTo>
                    <a:pt x="359" y="946"/>
                  </a:lnTo>
                  <a:lnTo>
                    <a:pt x="384" y="946"/>
                  </a:lnTo>
                  <a:lnTo>
                    <a:pt x="408" y="947"/>
                  </a:lnTo>
                  <a:lnTo>
                    <a:pt x="428" y="946"/>
                  </a:lnTo>
                  <a:lnTo>
                    <a:pt x="448" y="944"/>
                  </a:lnTo>
                  <a:lnTo>
                    <a:pt x="466" y="939"/>
                  </a:lnTo>
                  <a:lnTo>
                    <a:pt x="485" y="935"/>
                  </a:lnTo>
                  <a:lnTo>
                    <a:pt x="496" y="931"/>
                  </a:lnTo>
                  <a:lnTo>
                    <a:pt x="506" y="927"/>
                  </a:lnTo>
                  <a:lnTo>
                    <a:pt x="510" y="926"/>
                  </a:lnTo>
                  <a:lnTo>
                    <a:pt x="515" y="926"/>
                  </a:lnTo>
                  <a:lnTo>
                    <a:pt x="520" y="927"/>
                  </a:lnTo>
                  <a:lnTo>
                    <a:pt x="524" y="930"/>
                  </a:lnTo>
                  <a:lnTo>
                    <a:pt x="528" y="935"/>
                  </a:lnTo>
                  <a:lnTo>
                    <a:pt x="532" y="940"/>
                  </a:lnTo>
                  <a:lnTo>
                    <a:pt x="536" y="945"/>
                  </a:lnTo>
                  <a:lnTo>
                    <a:pt x="538" y="949"/>
                  </a:lnTo>
                  <a:lnTo>
                    <a:pt x="539" y="953"/>
                  </a:lnTo>
                  <a:lnTo>
                    <a:pt x="540" y="957"/>
                  </a:lnTo>
                  <a:lnTo>
                    <a:pt x="540" y="960"/>
                  </a:lnTo>
                  <a:lnTo>
                    <a:pt x="539" y="963"/>
                  </a:lnTo>
                  <a:lnTo>
                    <a:pt x="536" y="970"/>
                  </a:lnTo>
                  <a:lnTo>
                    <a:pt x="530" y="975"/>
                  </a:lnTo>
                  <a:lnTo>
                    <a:pt x="524" y="980"/>
                  </a:lnTo>
                  <a:lnTo>
                    <a:pt x="517" y="985"/>
                  </a:lnTo>
                  <a:lnTo>
                    <a:pt x="501" y="995"/>
                  </a:lnTo>
                  <a:lnTo>
                    <a:pt x="487" y="1004"/>
                  </a:lnTo>
                  <a:lnTo>
                    <a:pt x="480" y="1010"/>
                  </a:lnTo>
                  <a:lnTo>
                    <a:pt x="476" y="1017"/>
                  </a:lnTo>
                  <a:lnTo>
                    <a:pt x="474" y="1020"/>
                  </a:lnTo>
                  <a:lnTo>
                    <a:pt x="473" y="1023"/>
                  </a:lnTo>
                  <a:lnTo>
                    <a:pt x="473" y="1027"/>
                  </a:lnTo>
                  <a:lnTo>
                    <a:pt x="473" y="1031"/>
                  </a:lnTo>
                  <a:lnTo>
                    <a:pt x="479" y="1034"/>
                  </a:lnTo>
                  <a:lnTo>
                    <a:pt x="485" y="1036"/>
                  </a:lnTo>
                  <a:lnTo>
                    <a:pt x="492" y="1038"/>
                  </a:lnTo>
                  <a:lnTo>
                    <a:pt x="498" y="1041"/>
                  </a:lnTo>
                  <a:lnTo>
                    <a:pt x="505" y="1043"/>
                  </a:lnTo>
                  <a:lnTo>
                    <a:pt x="510" y="1045"/>
                  </a:lnTo>
                  <a:lnTo>
                    <a:pt x="517" y="1048"/>
                  </a:lnTo>
                  <a:lnTo>
                    <a:pt x="521" y="1052"/>
                  </a:lnTo>
                  <a:lnTo>
                    <a:pt x="523" y="1054"/>
                  </a:lnTo>
                  <a:lnTo>
                    <a:pt x="523" y="1058"/>
                  </a:lnTo>
                  <a:lnTo>
                    <a:pt x="524" y="1062"/>
                  </a:lnTo>
                  <a:lnTo>
                    <a:pt x="523" y="1067"/>
                  </a:lnTo>
                  <a:lnTo>
                    <a:pt x="522" y="1076"/>
                  </a:lnTo>
                  <a:lnTo>
                    <a:pt x="521" y="1086"/>
                  </a:lnTo>
                  <a:lnTo>
                    <a:pt x="521" y="1091"/>
                  </a:lnTo>
                  <a:lnTo>
                    <a:pt x="522" y="1094"/>
                  </a:lnTo>
                  <a:lnTo>
                    <a:pt x="523" y="1097"/>
                  </a:lnTo>
                  <a:lnTo>
                    <a:pt x="525" y="1099"/>
                  </a:lnTo>
                  <a:lnTo>
                    <a:pt x="529" y="1100"/>
                  </a:lnTo>
                  <a:lnTo>
                    <a:pt x="533" y="1100"/>
                  </a:lnTo>
                  <a:lnTo>
                    <a:pt x="540" y="1099"/>
                  </a:lnTo>
                  <a:lnTo>
                    <a:pt x="548" y="1096"/>
                  </a:lnTo>
                  <a:lnTo>
                    <a:pt x="561" y="1092"/>
                  </a:lnTo>
                  <a:lnTo>
                    <a:pt x="572" y="1089"/>
                  </a:lnTo>
                  <a:lnTo>
                    <a:pt x="581" y="1087"/>
                  </a:lnTo>
                  <a:lnTo>
                    <a:pt x="591" y="1086"/>
                  </a:lnTo>
                  <a:lnTo>
                    <a:pt x="600" y="1087"/>
                  </a:lnTo>
                  <a:lnTo>
                    <a:pt x="608" y="1091"/>
                  </a:lnTo>
                  <a:lnTo>
                    <a:pt x="619" y="1094"/>
                  </a:lnTo>
                  <a:lnTo>
                    <a:pt x="630" y="1099"/>
                  </a:lnTo>
                  <a:lnTo>
                    <a:pt x="630" y="1103"/>
                  </a:lnTo>
                  <a:lnTo>
                    <a:pt x="630" y="1107"/>
                  </a:lnTo>
                  <a:lnTo>
                    <a:pt x="630" y="1109"/>
                  </a:lnTo>
                  <a:lnTo>
                    <a:pt x="628" y="1113"/>
                  </a:lnTo>
                  <a:lnTo>
                    <a:pt x="626" y="1117"/>
                  </a:lnTo>
                  <a:lnTo>
                    <a:pt x="623" y="1124"/>
                  </a:lnTo>
                  <a:lnTo>
                    <a:pt x="616" y="1129"/>
                  </a:lnTo>
                  <a:lnTo>
                    <a:pt x="606" y="1138"/>
                  </a:lnTo>
                  <a:lnTo>
                    <a:pt x="597" y="1147"/>
                  </a:lnTo>
                  <a:lnTo>
                    <a:pt x="589" y="1157"/>
                  </a:lnTo>
                  <a:lnTo>
                    <a:pt x="586" y="1163"/>
                  </a:lnTo>
                  <a:lnTo>
                    <a:pt x="582" y="1168"/>
                  </a:lnTo>
                  <a:lnTo>
                    <a:pt x="580" y="1174"/>
                  </a:lnTo>
                  <a:lnTo>
                    <a:pt x="579" y="1179"/>
                  </a:lnTo>
                  <a:lnTo>
                    <a:pt x="579" y="1185"/>
                  </a:lnTo>
                  <a:lnTo>
                    <a:pt x="580" y="1190"/>
                  </a:lnTo>
                  <a:lnTo>
                    <a:pt x="583" y="1194"/>
                  </a:lnTo>
                  <a:lnTo>
                    <a:pt x="587" y="1198"/>
                  </a:lnTo>
                  <a:lnTo>
                    <a:pt x="596" y="1209"/>
                  </a:lnTo>
                  <a:lnTo>
                    <a:pt x="604" y="1220"/>
                  </a:lnTo>
                  <a:lnTo>
                    <a:pt x="608" y="1225"/>
                  </a:lnTo>
                  <a:lnTo>
                    <a:pt x="614" y="1230"/>
                  </a:lnTo>
                  <a:lnTo>
                    <a:pt x="619" y="1235"/>
                  </a:lnTo>
                  <a:lnTo>
                    <a:pt x="624" y="1237"/>
                  </a:lnTo>
                  <a:lnTo>
                    <a:pt x="629" y="1238"/>
                  </a:lnTo>
                  <a:lnTo>
                    <a:pt x="637" y="1239"/>
                  </a:lnTo>
                  <a:lnTo>
                    <a:pt x="645" y="1239"/>
                  </a:lnTo>
                  <a:lnTo>
                    <a:pt x="654" y="1238"/>
                  </a:lnTo>
                  <a:lnTo>
                    <a:pt x="663" y="1236"/>
                  </a:lnTo>
                  <a:lnTo>
                    <a:pt x="670" y="1232"/>
                  </a:lnTo>
                  <a:lnTo>
                    <a:pt x="673" y="1230"/>
                  </a:lnTo>
                  <a:lnTo>
                    <a:pt x="675" y="1228"/>
                  </a:lnTo>
                  <a:lnTo>
                    <a:pt x="677" y="1226"/>
                  </a:lnTo>
                  <a:lnTo>
                    <a:pt x="678" y="1224"/>
                  </a:lnTo>
                  <a:lnTo>
                    <a:pt x="680" y="1221"/>
                  </a:lnTo>
                  <a:lnTo>
                    <a:pt x="684" y="1218"/>
                  </a:lnTo>
                  <a:lnTo>
                    <a:pt x="685" y="1213"/>
                  </a:lnTo>
                  <a:lnTo>
                    <a:pt x="686" y="1207"/>
                  </a:lnTo>
                  <a:lnTo>
                    <a:pt x="688" y="1195"/>
                  </a:lnTo>
                  <a:lnTo>
                    <a:pt x="690" y="1181"/>
                  </a:lnTo>
                  <a:lnTo>
                    <a:pt x="692" y="1168"/>
                  </a:lnTo>
                  <a:lnTo>
                    <a:pt x="695" y="1155"/>
                  </a:lnTo>
                  <a:lnTo>
                    <a:pt x="698" y="1150"/>
                  </a:lnTo>
                  <a:lnTo>
                    <a:pt x="701" y="1146"/>
                  </a:lnTo>
                  <a:lnTo>
                    <a:pt x="705" y="1142"/>
                  </a:lnTo>
                  <a:lnTo>
                    <a:pt x="711" y="1140"/>
                  </a:lnTo>
                  <a:lnTo>
                    <a:pt x="714" y="1140"/>
                  </a:lnTo>
                  <a:lnTo>
                    <a:pt x="718" y="1141"/>
                  </a:lnTo>
                  <a:lnTo>
                    <a:pt x="721" y="1143"/>
                  </a:lnTo>
                  <a:lnTo>
                    <a:pt x="726" y="1146"/>
                  </a:lnTo>
                  <a:lnTo>
                    <a:pt x="735" y="1154"/>
                  </a:lnTo>
                  <a:lnTo>
                    <a:pt x="744" y="1165"/>
                  </a:lnTo>
                  <a:lnTo>
                    <a:pt x="754" y="1175"/>
                  </a:lnTo>
                  <a:lnTo>
                    <a:pt x="763" y="1185"/>
                  </a:lnTo>
                  <a:lnTo>
                    <a:pt x="768" y="1189"/>
                  </a:lnTo>
                  <a:lnTo>
                    <a:pt x="771" y="1192"/>
                  </a:lnTo>
                  <a:lnTo>
                    <a:pt x="775" y="1194"/>
                  </a:lnTo>
                  <a:lnTo>
                    <a:pt x="778" y="1195"/>
                  </a:lnTo>
                  <a:lnTo>
                    <a:pt x="800" y="1197"/>
                  </a:lnTo>
                  <a:lnTo>
                    <a:pt x="834" y="1201"/>
                  </a:lnTo>
                  <a:lnTo>
                    <a:pt x="849" y="1204"/>
                  </a:lnTo>
                  <a:lnTo>
                    <a:pt x="863" y="1207"/>
                  </a:lnTo>
                  <a:lnTo>
                    <a:pt x="868" y="1210"/>
                  </a:lnTo>
                  <a:lnTo>
                    <a:pt x="871" y="1212"/>
                  </a:lnTo>
                  <a:lnTo>
                    <a:pt x="872" y="1214"/>
                  </a:lnTo>
                  <a:lnTo>
                    <a:pt x="872" y="1217"/>
                  </a:lnTo>
                  <a:lnTo>
                    <a:pt x="869" y="1221"/>
                  </a:lnTo>
                  <a:lnTo>
                    <a:pt x="866" y="1225"/>
                  </a:lnTo>
                  <a:lnTo>
                    <a:pt x="862" y="1228"/>
                  </a:lnTo>
                  <a:lnTo>
                    <a:pt x="857" y="1231"/>
                  </a:lnTo>
                  <a:lnTo>
                    <a:pt x="846" y="1237"/>
                  </a:lnTo>
                  <a:lnTo>
                    <a:pt x="836" y="1241"/>
                  </a:lnTo>
                  <a:lnTo>
                    <a:pt x="831" y="1244"/>
                  </a:lnTo>
                  <a:lnTo>
                    <a:pt x="826" y="1247"/>
                  </a:lnTo>
                  <a:lnTo>
                    <a:pt x="821" y="1250"/>
                  </a:lnTo>
                  <a:lnTo>
                    <a:pt x="818" y="1254"/>
                  </a:lnTo>
                  <a:lnTo>
                    <a:pt x="815" y="1259"/>
                  </a:lnTo>
                  <a:lnTo>
                    <a:pt x="813" y="1264"/>
                  </a:lnTo>
                  <a:lnTo>
                    <a:pt x="812" y="1270"/>
                  </a:lnTo>
                  <a:lnTo>
                    <a:pt x="812" y="1277"/>
                  </a:lnTo>
                  <a:lnTo>
                    <a:pt x="815" y="1297"/>
                  </a:lnTo>
                  <a:lnTo>
                    <a:pt x="819" y="1313"/>
                  </a:lnTo>
                  <a:lnTo>
                    <a:pt x="821" y="1319"/>
                  </a:lnTo>
                  <a:lnTo>
                    <a:pt x="823" y="1324"/>
                  </a:lnTo>
                  <a:lnTo>
                    <a:pt x="825" y="1328"/>
                  </a:lnTo>
                  <a:lnTo>
                    <a:pt x="828" y="1332"/>
                  </a:lnTo>
                  <a:lnTo>
                    <a:pt x="832" y="1334"/>
                  </a:lnTo>
                  <a:lnTo>
                    <a:pt x="835" y="1336"/>
                  </a:lnTo>
                  <a:lnTo>
                    <a:pt x="838" y="1337"/>
                  </a:lnTo>
                  <a:lnTo>
                    <a:pt x="841" y="1338"/>
                  </a:lnTo>
                  <a:lnTo>
                    <a:pt x="847" y="1337"/>
                  </a:lnTo>
                  <a:lnTo>
                    <a:pt x="856" y="1335"/>
                  </a:lnTo>
                  <a:lnTo>
                    <a:pt x="871" y="1327"/>
                  </a:lnTo>
                  <a:lnTo>
                    <a:pt x="889" y="1318"/>
                  </a:lnTo>
                  <a:lnTo>
                    <a:pt x="898" y="1315"/>
                  </a:lnTo>
                  <a:lnTo>
                    <a:pt x="908" y="1313"/>
                  </a:lnTo>
                  <a:lnTo>
                    <a:pt x="912" y="1313"/>
                  </a:lnTo>
                  <a:lnTo>
                    <a:pt x="917" y="1313"/>
                  </a:lnTo>
                  <a:lnTo>
                    <a:pt x="922" y="1314"/>
                  </a:lnTo>
                  <a:lnTo>
                    <a:pt x="927" y="1315"/>
                  </a:lnTo>
                  <a:lnTo>
                    <a:pt x="937" y="1318"/>
                  </a:lnTo>
                  <a:lnTo>
                    <a:pt x="944" y="1322"/>
                  </a:lnTo>
                  <a:lnTo>
                    <a:pt x="950" y="1325"/>
                  </a:lnTo>
                  <a:lnTo>
                    <a:pt x="956" y="1328"/>
                  </a:lnTo>
                  <a:lnTo>
                    <a:pt x="959" y="1333"/>
                  </a:lnTo>
                  <a:lnTo>
                    <a:pt x="961" y="1336"/>
                  </a:lnTo>
                  <a:lnTo>
                    <a:pt x="963" y="1340"/>
                  </a:lnTo>
                  <a:lnTo>
                    <a:pt x="963" y="1344"/>
                  </a:lnTo>
                  <a:lnTo>
                    <a:pt x="961" y="1364"/>
                  </a:lnTo>
                  <a:lnTo>
                    <a:pt x="958" y="1390"/>
                  </a:lnTo>
                  <a:lnTo>
                    <a:pt x="959" y="1394"/>
                  </a:lnTo>
                  <a:lnTo>
                    <a:pt x="960" y="1398"/>
                  </a:lnTo>
                  <a:lnTo>
                    <a:pt x="962" y="1403"/>
                  </a:lnTo>
                  <a:lnTo>
                    <a:pt x="965" y="1407"/>
                  </a:lnTo>
                  <a:lnTo>
                    <a:pt x="971" y="1416"/>
                  </a:lnTo>
                  <a:lnTo>
                    <a:pt x="980" y="1424"/>
                  </a:lnTo>
                  <a:lnTo>
                    <a:pt x="989" y="1432"/>
                  </a:lnTo>
                  <a:lnTo>
                    <a:pt x="998" y="1437"/>
                  </a:lnTo>
                  <a:lnTo>
                    <a:pt x="1004" y="1439"/>
                  </a:lnTo>
                  <a:lnTo>
                    <a:pt x="1008" y="1440"/>
                  </a:lnTo>
                  <a:lnTo>
                    <a:pt x="1012" y="1440"/>
                  </a:lnTo>
                  <a:lnTo>
                    <a:pt x="1016" y="1440"/>
                  </a:lnTo>
                  <a:lnTo>
                    <a:pt x="1023" y="1437"/>
                  </a:lnTo>
                  <a:lnTo>
                    <a:pt x="1030" y="1433"/>
                  </a:lnTo>
                  <a:lnTo>
                    <a:pt x="1038" y="1427"/>
                  </a:lnTo>
                  <a:lnTo>
                    <a:pt x="1045" y="1419"/>
                  </a:lnTo>
                  <a:lnTo>
                    <a:pt x="1062" y="1403"/>
                  </a:lnTo>
                  <a:lnTo>
                    <a:pt x="1080" y="1384"/>
                  </a:lnTo>
                  <a:lnTo>
                    <a:pt x="1088" y="1375"/>
                  </a:lnTo>
                  <a:lnTo>
                    <a:pt x="1096" y="1367"/>
                  </a:lnTo>
                  <a:lnTo>
                    <a:pt x="1105" y="1360"/>
                  </a:lnTo>
                  <a:lnTo>
                    <a:pt x="1112" y="1354"/>
                  </a:lnTo>
                  <a:lnTo>
                    <a:pt x="1119" y="1349"/>
                  </a:lnTo>
                  <a:lnTo>
                    <a:pt x="1127" y="1347"/>
                  </a:lnTo>
                  <a:lnTo>
                    <a:pt x="1130" y="1346"/>
                  </a:lnTo>
                  <a:lnTo>
                    <a:pt x="1133" y="1346"/>
                  </a:lnTo>
                  <a:lnTo>
                    <a:pt x="1136" y="1347"/>
                  </a:lnTo>
                  <a:lnTo>
                    <a:pt x="1139" y="1348"/>
                  </a:lnTo>
                  <a:lnTo>
                    <a:pt x="1165" y="1364"/>
                  </a:lnTo>
                  <a:lnTo>
                    <a:pt x="1204" y="1385"/>
                  </a:lnTo>
                  <a:lnTo>
                    <a:pt x="1222" y="1396"/>
                  </a:lnTo>
                  <a:lnTo>
                    <a:pt x="1237" y="1408"/>
                  </a:lnTo>
                  <a:lnTo>
                    <a:pt x="1242" y="1414"/>
                  </a:lnTo>
                  <a:lnTo>
                    <a:pt x="1248" y="1419"/>
                  </a:lnTo>
                  <a:lnTo>
                    <a:pt x="1251" y="1423"/>
                  </a:lnTo>
                  <a:lnTo>
                    <a:pt x="1252" y="1429"/>
                  </a:lnTo>
                  <a:lnTo>
                    <a:pt x="1243" y="1432"/>
                  </a:lnTo>
                  <a:lnTo>
                    <a:pt x="1235" y="1435"/>
                  </a:lnTo>
                  <a:lnTo>
                    <a:pt x="1226" y="1437"/>
                  </a:lnTo>
                  <a:lnTo>
                    <a:pt x="1216" y="1439"/>
                  </a:lnTo>
                  <a:lnTo>
                    <a:pt x="1198" y="1442"/>
                  </a:lnTo>
                  <a:lnTo>
                    <a:pt x="1179" y="1445"/>
                  </a:lnTo>
                  <a:lnTo>
                    <a:pt x="1170" y="1447"/>
                  </a:lnTo>
                  <a:lnTo>
                    <a:pt x="1161" y="1451"/>
                  </a:lnTo>
                  <a:lnTo>
                    <a:pt x="1153" y="1454"/>
                  </a:lnTo>
                  <a:lnTo>
                    <a:pt x="1145" y="1458"/>
                  </a:lnTo>
                  <a:lnTo>
                    <a:pt x="1138" y="1463"/>
                  </a:lnTo>
                  <a:lnTo>
                    <a:pt x="1132" y="1469"/>
                  </a:lnTo>
                  <a:lnTo>
                    <a:pt x="1126" y="1478"/>
                  </a:lnTo>
                  <a:lnTo>
                    <a:pt x="1121" y="1486"/>
                  </a:lnTo>
                  <a:lnTo>
                    <a:pt x="1119" y="1492"/>
                  </a:lnTo>
                  <a:lnTo>
                    <a:pt x="1118" y="1497"/>
                  </a:lnTo>
                  <a:lnTo>
                    <a:pt x="1118" y="1503"/>
                  </a:lnTo>
                  <a:lnTo>
                    <a:pt x="1119" y="1509"/>
                  </a:lnTo>
                  <a:lnTo>
                    <a:pt x="1121" y="1514"/>
                  </a:lnTo>
                  <a:lnTo>
                    <a:pt x="1125" y="1519"/>
                  </a:lnTo>
                  <a:lnTo>
                    <a:pt x="1128" y="1525"/>
                  </a:lnTo>
                  <a:lnTo>
                    <a:pt x="1132" y="1531"/>
                  </a:lnTo>
                  <a:lnTo>
                    <a:pt x="1143" y="1541"/>
                  </a:lnTo>
                  <a:lnTo>
                    <a:pt x="1156" y="1552"/>
                  </a:lnTo>
                  <a:lnTo>
                    <a:pt x="1169" y="1562"/>
                  </a:lnTo>
                  <a:lnTo>
                    <a:pt x="1185" y="1573"/>
                  </a:lnTo>
                  <a:lnTo>
                    <a:pt x="1216" y="1592"/>
                  </a:lnTo>
                  <a:lnTo>
                    <a:pt x="1246" y="1612"/>
                  </a:lnTo>
                  <a:lnTo>
                    <a:pt x="1258" y="1623"/>
                  </a:lnTo>
                  <a:lnTo>
                    <a:pt x="1268" y="1632"/>
                  </a:lnTo>
                  <a:lnTo>
                    <a:pt x="1273" y="1637"/>
                  </a:lnTo>
                  <a:lnTo>
                    <a:pt x="1276" y="1641"/>
                  </a:lnTo>
                  <a:lnTo>
                    <a:pt x="1279" y="1647"/>
                  </a:lnTo>
                  <a:lnTo>
                    <a:pt x="1281" y="1652"/>
                  </a:lnTo>
                  <a:lnTo>
                    <a:pt x="1286" y="1671"/>
                  </a:lnTo>
                  <a:lnTo>
                    <a:pt x="1294" y="1693"/>
                  </a:lnTo>
                  <a:lnTo>
                    <a:pt x="1299" y="1703"/>
                  </a:lnTo>
                  <a:lnTo>
                    <a:pt x="1305" y="1711"/>
                  </a:lnTo>
                  <a:lnTo>
                    <a:pt x="1309" y="1716"/>
                  </a:lnTo>
                  <a:lnTo>
                    <a:pt x="1313" y="1719"/>
                  </a:lnTo>
                  <a:lnTo>
                    <a:pt x="1318" y="1721"/>
                  </a:lnTo>
                  <a:lnTo>
                    <a:pt x="1323" y="1722"/>
                  </a:lnTo>
                  <a:lnTo>
                    <a:pt x="1327" y="1723"/>
                  </a:lnTo>
                  <a:lnTo>
                    <a:pt x="1332" y="1722"/>
                  </a:lnTo>
                  <a:lnTo>
                    <a:pt x="1335" y="1721"/>
                  </a:lnTo>
                  <a:lnTo>
                    <a:pt x="1338" y="1720"/>
                  </a:lnTo>
                  <a:lnTo>
                    <a:pt x="1341" y="1717"/>
                  </a:lnTo>
                  <a:lnTo>
                    <a:pt x="1345" y="1713"/>
                  </a:lnTo>
                  <a:lnTo>
                    <a:pt x="1347" y="1710"/>
                  </a:lnTo>
                  <a:lnTo>
                    <a:pt x="1349" y="1706"/>
                  </a:lnTo>
                  <a:lnTo>
                    <a:pt x="1355" y="1685"/>
                  </a:lnTo>
                  <a:lnTo>
                    <a:pt x="1362" y="1661"/>
                  </a:lnTo>
                  <a:lnTo>
                    <a:pt x="1368" y="1650"/>
                  </a:lnTo>
                  <a:lnTo>
                    <a:pt x="1374" y="1639"/>
                  </a:lnTo>
                  <a:lnTo>
                    <a:pt x="1378" y="1634"/>
                  </a:lnTo>
                  <a:lnTo>
                    <a:pt x="1383" y="1630"/>
                  </a:lnTo>
                  <a:lnTo>
                    <a:pt x="1388" y="1626"/>
                  </a:lnTo>
                  <a:lnTo>
                    <a:pt x="1395" y="1623"/>
                  </a:lnTo>
                  <a:lnTo>
                    <a:pt x="1401" y="1620"/>
                  </a:lnTo>
                  <a:lnTo>
                    <a:pt x="1409" y="1617"/>
                  </a:lnTo>
                  <a:lnTo>
                    <a:pt x="1418" y="1615"/>
                  </a:lnTo>
                  <a:lnTo>
                    <a:pt x="1427" y="1615"/>
                  </a:lnTo>
                  <a:lnTo>
                    <a:pt x="1437" y="1615"/>
                  </a:lnTo>
                  <a:lnTo>
                    <a:pt x="1449" y="1616"/>
                  </a:lnTo>
                  <a:lnTo>
                    <a:pt x="1461" y="1618"/>
                  </a:lnTo>
                  <a:lnTo>
                    <a:pt x="1476" y="1622"/>
                  </a:lnTo>
                  <a:lnTo>
                    <a:pt x="1476" y="1622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6" name="Freeform 153">
              <a:extLst>
                <a:ext uri="{FF2B5EF4-FFF2-40B4-BE49-F238E27FC236}">
                  <a16:creationId xmlns:a16="http://schemas.microsoft.com/office/drawing/2014/main" id="{BF69C931-6F0B-4114-8C51-E7AF34097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1127" y="5312413"/>
              <a:ext cx="642109" cy="590140"/>
            </a:xfrm>
            <a:custGeom>
              <a:avLst/>
              <a:gdLst>
                <a:gd name="T0" fmla="*/ 984 w 2559"/>
                <a:gd name="T1" fmla="*/ 2285 h 2435"/>
                <a:gd name="T2" fmla="*/ 913 w 2559"/>
                <a:gd name="T3" fmla="*/ 2249 h 2435"/>
                <a:gd name="T4" fmla="*/ 911 w 2559"/>
                <a:gd name="T5" fmla="*/ 2060 h 2435"/>
                <a:gd name="T6" fmla="*/ 887 w 2559"/>
                <a:gd name="T7" fmla="*/ 1915 h 2435"/>
                <a:gd name="T8" fmla="*/ 941 w 2559"/>
                <a:gd name="T9" fmla="*/ 1789 h 2435"/>
                <a:gd name="T10" fmla="*/ 848 w 2559"/>
                <a:gd name="T11" fmla="*/ 1681 h 2435"/>
                <a:gd name="T12" fmla="*/ 744 w 2559"/>
                <a:gd name="T13" fmla="*/ 1790 h 2435"/>
                <a:gd name="T14" fmla="*/ 699 w 2559"/>
                <a:gd name="T15" fmla="*/ 1914 h 2435"/>
                <a:gd name="T16" fmla="*/ 714 w 2559"/>
                <a:gd name="T17" fmla="*/ 2064 h 2435"/>
                <a:gd name="T18" fmla="*/ 555 w 2559"/>
                <a:gd name="T19" fmla="*/ 1995 h 2435"/>
                <a:gd name="T20" fmla="*/ 443 w 2559"/>
                <a:gd name="T21" fmla="*/ 2080 h 2435"/>
                <a:gd name="T22" fmla="*/ 278 w 2559"/>
                <a:gd name="T23" fmla="*/ 2006 h 2435"/>
                <a:gd name="T24" fmla="*/ 133 w 2559"/>
                <a:gd name="T25" fmla="*/ 1969 h 2435"/>
                <a:gd name="T26" fmla="*/ 238 w 2559"/>
                <a:gd name="T27" fmla="*/ 1899 h 2435"/>
                <a:gd name="T28" fmla="*/ 145 w 2559"/>
                <a:gd name="T29" fmla="*/ 1695 h 2435"/>
                <a:gd name="T30" fmla="*/ 106 w 2559"/>
                <a:gd name="T31" fmla="*/ 1560 h 2435"/>
                <a:gd name="T32" fmla="*/ 2 w 2559"/>
                <a:gd name="T33" fmla="*/ 1487 h 2435"/>
                <a:gd name="T34" fmla="*/ 126 w 2559"/>
                <a:gd name="T35" fmla="*/ 1338 h 2435"/>
                <a:gd name="T36" fmla="*/ 258 w 2559"/>
                <a:gd name="T37" fmla="*/ 1196 h 2435"/>
                <a:gd name="T38" fmla="*/ 430 w 2559"/>
                <a:gd name="T39" fmla="*/ 1227 h 2435"/>
                <a:gd name="T40" fmla="*/ 411 w 2559"/>
                <a:gd name="T41" fmla="*/ 1047 h 2435"/>
                <a:gd name="T42" fmla="*/ 563 w 2559"/>
                <a:gd name="T43" fmla="*/ 749 h 2435"/>
                <a:gd name="T44" fmla="*/ 715 w 2559"/>
                <a:gd name="T45" fmla="*/ 663 h 2435"/>
                <a:gd name="T46" fmla="*/ 825 w 2559"/>
                <a:gd name="T47" fmla="*/ 649 h 2435"/>
                <a:gd name="T48" fmla="*/ 1117 w 2559"/>
                <a:gd name="T49" fmla="*/ 676 h 2435"/>
                <a:gd name="T50" fmla="*/ 1146 w 2559"/>
                <a:gd name="T51" fmla="*/ 587 h 2435"/>
                <a:gd name="T52" fmla="*/ 1117 w 2559"/>
                <a:gd name="T53" fmla="*/ 413 h 2435"/>
                <a:gd name="T54" fmla="*/ 1208 w 2559"/>
                <a:gd name="T55" fmla="*/ 360 h 2435"/>
                <a:gd name="T56" fmla="*/ 1348 w 2559"/>
                <a:gd name="T57" fmla="*/ 339 h 2435"/>
                <a:gd name="T58" fmla="*/ 1426 w 2559"/>
                <a:gd name="T59" fmla="*/ 168 h 2435"/>
                <a:gd name="T60" fmla="*/ 1582 w 2559"/>
                <a:gd name="T61" fmla="*/ 150 h 2435"/>
                <a:gd name="T62" fmla="*/ 1666 w 2559"/>
                <a:gd name="T63" fmla="*/ 81 h 2435"/>
                <a:gd name="T64" fmla="*/ 1779 w 2559"/>
                <a:gd name="T65" fmla="*/ 23 h 2435"/>
                <a:gd name="T66" fmla="*/ 1888 w 2559"/>
                <a:gd name="T67" fmla="*/ 45 h 2435"/>
                <a:gd name="T68" fmla="*/ 1994 w 2559"/>
                <a:gd name="T69" fmla="*/ 34 h 2435"/>
                <a:gd name="T70" fmla="*/ 2040 w 2559"/>
                <a:gd name="T71" fmla="*/ 193 h 2435"/>
                <a:gd name="T72" fmla="*/ 2014 w 2559"/>
                <a:gd name="T73" fmla="*/ 372 h 2435"/>
                <a:gd name="T74" fmla="*/ 1849 w 2559"/>
                <a:gd name="T75" fmla="*/ 464 h 2435"/>
                <a:gd name="T76" fmla="*/ 1896 w 2559"/>
                <a:gd name="T77" fmla="*/ 728 h 2435"/>
                <a:gd name="T78" fmla="*/ 1898 w 2559"/>
                <a:gd name="T79" fmla="*/ 807 h 2435"/>
                <a:gd name="T80" fmla="*/ 2000 w 2559"/>
                <a:gd name="T81" fmla="*/ 838 h 2435"/>
                <a:gd name="T82" fmla="*/ 2141 w 2559"/>
                <a:gd name="T83" fmla="*/ 965 h 2435"/>
                <a:gd name="T84" fmla="*/ 2227 w 2559"/>
                <a:gd name="T85" fmla="*/ 1112 h 2435"/>
                <a:gd name="T86" fmla="*/ 2420 w 2559"/>
                <a:gd name="T87" fmla="*/ 1108 h 2435"/>
                <a:gd name="T88" fmla="*/ 2480 w 2559"/>
                <a:gd name="T89" fmla="*/ 1180 h 2435"/>
                <a:gd name="T90" fmla="*/ 2555 w 2559"/>
                <a:gd name="T91" fmla="*/ 1287 h 2435"/>
                <a:gd name="T92" fmla="*/ 2505 w 2559"/>
                <a:gd name="T93" fmla="*/ 1412 h 2435"/>
                <a:gd name="T94" fmla="*/ 2377 w 2559"/>
                <a:gd name="T95" fmla="*/ 1613 h 2435"/>
                <a:gd name="T96" fmla="*/ 2205 w 2559"/>
                <a:gd name="T97" fmla="*/ 1739 h 2435"/>
                <a:gd name="T98" fmla="*/ 2116 w 2559"/>
                <a:gd name="T99" fmla="*/ 1761 h 2435"/>
                <a:gd name="T100" fmla="*/ 2022 w 2559"/>
                <a:gd name="T101" fmla="*/ 1650 h 2435"/>
                <a:gd name="T102" fmla="*/ 1925 w 2559"/>
                <a:gd name="T103" fmla="*/ 1686 h 2435"/>
                <a:gd name="T104" fmla="*/ 1779 w 2559"/>
                <a:gd name="T105" fmla="*/ 1766 h 2435"/>
                <a:gd name="T106" fmla="*/ 1809 w 2559"/>
                <a:gd name="T107" fmla="*/ 1942 h 2435"/>
                <a:gd name="T108" fmla="*/ 1824 w 2559"/>
                <a:gd name="T109" fmla="*/ 2147 h 2435"/>
                <a:gd name="T110" fmla="*/ 1585 w 2559"/>
                <a:gd name="T111" fmla="*/ 2146 h 2435"/>
                <a:gd name="T112" fmla="*/ 1528 w 2559"/>
                <a:gd name="T113" fmla="*/ 2325 h 2435"/>
                <a:gd name="T114" fmla="*/ 1390 w 2559"/>
                <a:gd name="T115" fmla="*/ 2288 h 2435"/>
                <a:gd name="T116" fmla="*/ 1359 w 2559"/>
                <a:gd name="T117" fmla="*/ 2412 h 2435"/>
                <a:gd name="T118" fmla="*/ 1207 w 2559"/>
                <a:gd name="T119" fmla="*/ 2354 h 2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9" h="2435">
                  <a:moveTo>
                    <a:pt x="1069" y="2290"/>
                  </a:moveTo>
                  <a:lnTo>
                    <a:pt x="1066" y="2283"/>
                  </a:lnTo>
                  <a:lnTo>
                    <a:pt x="1063" y="2277"/>
                  </a:lnTo>
                  <a:lnTo>
                    <a:pt x="1057" y="2273"/>
                  </a:lnTo>
                  <a:lnTo>
                    <a:pt x="1052" y="2269"/>
                  </a:lnTo>
                  <a:lnTo>
                    <a:pt x="1047" y="2266"/>
                  </a:lnTo>
                  <a:lnTo>
                    <a:pt x="1041" y="2262"/>
                  </a:lnTo>
                  <a:lnTo>
                    <a:pt x="1035" y="2261"/>
                  </a:lnTo>
                  <a:lnTo>
                    <a:pt x="1028" y="2260"/>
                  </a:lnTo>
                  <a:lnTo>
                    <a:pt x="1021" y="2260"/>
                  </a:lnTo>
                  <a:lnTo>
                    <a:pt x="1015" y="2261"/>
                  </a:lnTo>
                  <a:lnTo>
                    <a:pt x="1008" y="2262"/>
                  </a:lnTo>
                  <a:lnTo>
                    <a:pt x="1003" y="2266"/>
                  </a:lnTo>
                  <a:lnTo>
                    <a:pt x="997" y="2269"/>
                  </a:lnTo>
                  <a:lnTo>
                    <a:pt x="992" y="2273"/>
                  </a:lnTo>
                  <a:lnTo>
                    <a:pt x="988" y="2279"/>
                  </a:lnTo>
                  <a:lnTo>
                    <a:pt x="984" y="2285"/>
                  </a:lnTo>
                  <a:lnTo>
                    <a:pt x="971" y="2295"/>
                  </a:lnTo>
                  <a:lnTo>
                    <a:pt x="956" y="2303"/>
                  </a:lnTo>
                  <a:lnTo>
                    <a:pt x="949" y="2306"/>
                  </a:lnTo>
                  <a:lnTo>
                    <a:pt x="944" y="2307"/>
                  </a:lnTo>
                  <a:lnTo>
                    <a:pt x="938" y="2308"/>
                  </a:lnTo>
                  <a:lnTo>
                    <a:pt x="933" y="2308"/>
                  </a:lnTo>
                  <a:lnTo>
                    <a:pt x="929" y="2307"/>
                  </a:lnTo>
                  <a:lnTo>
                    <a:pt x="925" y="2306"/>
                  </a:lnTo>
                  <a:lnTo>
                    <a:pt x="922" y="2305"/>
                  </a:lnTo>
                  <a:lnTo>
                    <a:pt x="919" y="2302"/>
                  </a:lnTo>
                  <a:lnTo>
                    <a:pt x="917" y="2300"/>
                  </a:lnTo>
                  <a:lnTo>
                    <a:pt x="915" y="2297"/>
                  </a:lnTo>
                  <a:lnTo>
                    <a:pt x="914" y="2293"/>
                  </a:lnTo>
                  <a:lnTo>
                    <a:pt x="913" y="2290"/>
                  </a:lnTo>
                  <a:lnTo>
                    <a:pt x="910" y="2280"/>
                  </a:lnTo>
                  <a:lnTo>
                    <a:pt x="910" y="2270"/>
                  </a:lnTo>
                  <a:lnTo>
                    <a:pt x="913" y="2249"/>
                  </a:lnTo>
                  <a:lnTo>
                    <a:pt x="917" y="2227"/>
                  </a:lnTo>
                  <a:lnTo>
                    <a:pt x="921" y="2207"/>
                  </a:lnTo>
                  <a:lnTo>
                    <a:pt x="922" y="2192"/>
                  </a:lnTo>
                  <a:lnTo>
                    <a:pt x="922" y="2184"/>
                  </a:lnTo>
                  <a:lnTo>
                    <a:pt x="922" y="2177"/>
                  </a:lnTo>
                  <a:lnTo>
                    <a:pt x="920" y="2170"/>
                  </a:lnTo>
                  <a:lnTo>
                    <a:pt x="918" y="2163"/>
                  </a:lnTo>
                  <a:lnTo>
                    <a:pt x="913" y="2150"/>
                  </a:lnTo>
                  <a:lnTo>
                    <a:pt x="907" y="2137"/>
                  </a:lnTo>
                  <a:lnTo>
                    <a:pt x="901" y="2124"/>
                  </a:lnTo>
                  <a:lnTo>
                    <a:pt x="896" y="2111"/>
                  </a:lnTo>
                  <a:lnTo>
                    <a:pt x="895" y="2104"/>
                  </a:lnTo>
                  <a:lnTo>
                    <a:pt x="894" y="2097"/>
                  </a:lnTo>
                  <a:lnTo>
                    <a:pt x="893" y="2089"/>
                  </a:lnTo>
                  <a:lnTo>
                    <a:pt x="893" y="2081"/>
                  </a:lnTo>
                  <a:lnTo>
                    <a:pt x="902" y="2071"/>
                  </a:lnTo>
                  <a:lnTo>
                    <a:pt x="911" y="2060"/>
                  </a:lnTo>
                  <a:lnTo>
                    <a:pt x="921" y="2050"/>
                  </a:lnTo>
                  <a:lnTo>
                    <a:pt x="931" y="2040"/>
                  </a:lnTo>
                  <a:lnTo>
                    <a:pt x="952" y="2022"/>
                  </a:lnTo>
                  <a:lnTo>
                    <a:pt x="973" y="2002"/>
                  </a:lnTo>
                  <a:lnTo>
                    <a:pt x="973" y="1999"/>
                  </a:lnTo>
                  <a:lnTo>
                    <a:pt x="972" y="1994"/>
                  </a:lnTo>
                  <a:lnTo>
                    <a:pt x="970" y="1990"/>
                  </a:lnTo>
                  <a:lnTo>
                    <a:pt x="968" y="1987"/>
                  </a:lnTo>
                  <a:lnTo>
                    <a:pt x="963" y="1980"/>
                  </a:lnTo>
                  <a:lnTo>
                    <a:pt x="955" y="1974"/>
                  </a:lnTo>
                  <a:lnTo>
                    <a:pt x="939" y="1962"/>
                  </a:lnTo>
                  <a:lnTo>
                    <a:pt x="925" y="1953"/>
                  </a:lnTo>
                  <a:lnTo>
                    <a:pt x="917" y="1945"/>
                  </a:lnTo>
                  <a:lnTo>
                    <a:pt x="908" y="1939"/>
                  </a:lnTo>
                  <a:lnTo>
                    <a:pt x="901" y="1931"/>
                  </a:lnTo>
                  <a:lnTo>
                    <a:pt x="894" y="1923"/>
                  </a:lnTo>
                  <a:lnTo>
                    <a:pt x="887" y="1915"/>
                  </a:lnTo>
                  <a:lnTo>
                    <a:pt x="881" y="1906"/>
                  </a:lnTo>
                  <a:lnTo>
                    <a:pt x="877" y="1896"/>
                  </a:lnTo>
                  <a:lnTo>
                    <a:pt x="873" y="1886"/>
                  </a:lnTo>
                  <a:lnTo>
                    <a:pt x="872" y="1882"/>
                  </a:lnTo>
                  <a:lnTo>
                    <a:pt x="871" y="1876"/>
                  </a:lnTo>
                  <a:lnTo>
                    <a:pt x="871" y="1872"/>
                  </a:lnTo>
                  <a:lnTo>
                    <a:pt x="872" y="1867"/>
                  </a:lnTo>
                  <a:lnTo>
                    <a:pt x="875" y="1859"/>
                  </a:lnTo>
                  <a:lnTo>
                    <a:pt x="880" y="1851"/>
                  </a:lnTo>
                  <a:lnTo>
                    <a:pt x="886" y="1843"/>
                  </a:lnTo>
                  <a:lnTo>
                    <a:pt x="895" y="1836"/>
                  </a:lnTo>
                  <a:lnTo>
                    <a:pt x="903" y="1828"/>
                  </a:lnTo>
                  <a:lnTo>
                    <a:pt x="911" y="1821"/>
                  </a:lnTo>
                  <a:lnTo>
                    <a:pt x="920" y="1814"/>
                  </a:lnTo>
                  <a:lnTo>
                    <a:pt x="928" y="1806"/>
                  </a:lnTo>
                  <a:lnTo>
                    <a:pt x="935" y="1797"/>
                  </a:lnTo>
                  <a:lnTo>
                    <a:pt x="941" y="1789"/>
                  </a:lnTo>
                  <a:lnTo>
                    <a:pt x="944" y="1784"/>
                  </a:lnTo>
                  <a:lnTo>
                    <a:pt x="946" y="1779"/>
                  </a:lnTo>
                  <a:lnTo>
                    <a:pt x="947" y="1774"/>
                  </a:lnTo>
                  <a:lnTo>
                    <a:pt x="948" y="1769"/>
                  </a:lnTo>
                  <a:lnTo>
                    <a:pt x="948" y="1764"/>
                  </a:lnTo>
                  <a:lnTo>
                    <a:pt x="947" y="1758"/>
                  </a:lnTo>
                  <a:lnTo>
                    <a:pt x="946" y="1751"/>
                  </a:lnTo>
                  <a:lnTo>
                    <a:pt x="944" y="1745"/>
                  </a:lnTo>
                  <a:lnTo>
                    <a:pt x="942" y="1740"/>
                  </a:lnTo>
                  <a:lnTo>
                    <a:pt x="938" y="1735"/>
                  </a:lnTo>
                  <a:lnTo>
                    <a:pt x="934" y="1730"/>
                  </a:lnTo>
                  <a:lnTo>
                    <a:pt x="929" y="1725"/>
                  </a:lnTo>
                  <a:lnTo>
                    <a:pt x="919" y="1718"/>
                  </a:lnTo>
                  <a:lnTo>
                    <a:pt x="907" y="1711"/>
                  </a:lnTo>
                  <a:lnTo>
                    <a:pt x="882" y="1699"/>
                  </a:lnTo>
                  <a:lnTo>
                    <a:pt x="860" y="1689"/>
                  </a:lnTo>
                  <a:lnTo>
                    <a:pt x="848" y="1681"/>
                  </a:lnTo>
                  <a:lnTo>
                    <a:pt x="835" y="1675"/>
                  </a:lnTo>
                  <a:lnTo>
                    <a:pt x="823" y="1669"/>
                  </a:lnTo>
                  <a:lnTo>
                    <a:pt x="809" y="1664"/>
                  </a:lnTo>
                  <a:lnTo>
                    <a:pt x="744" y="1674"/>
                  </a:lnTo>
                  <a:lnTo>
                    <a:pt x="739" y="1678"/>
                  </a:lnTo>
                  <a:lnTo>
                    <a:pt x="736" y="1683"/>
                  </a:lnTo>
                  <a:lnTo>
                    <a:pt x="733" y="1689"/>
                  </a:lnTo>
                  <a:lnTo>
                    <a:pt x="732" y="1695"/>
                  </a:lnTo>
                  <a:lnTo>
                    <a:pt x="731" y="1701"/>
                  </a:lnTo>
                  <a:lnTo>
                    <a:pt x="731" y="1707"/>
                  </a:lnTo>
                  <a:lnTo>
                    <a:pt x="731" y="1715"/>
                  </a:lnTo>
                  <a:lnTo>
                    <a:pt x="732" y="1721"/>
                  </a:lnTo>
                  <a:lnTo>
                    <a:pt x="737" y="1748"/>
                  </a:lnTo>
                  <a:lnTo>
                    <a:pt x="744" y="1771"/>
                  </a:lnTo>
                  <a:lnTo>
                    <a:pt x="745" y="1778"/>
                  </a:lnTo>
                  <a:lnTo>
                    <a:pt x="745" y="1784"/>
                  </a:lnTo>
                  <a:lnTo>
                    <a:pt x="744" y="1790"/>
                  </a:lnTo>
                  <a:lnTo>
                    <a:pt x="743" y="1795"/>
                  </a:lnTo>
                  <a:lnTo>
                    <a:pt x="739" y="1806"/>
                  </a:lnTo>
                  <a:lnTo>
                    <a:pt x="735" y="1815"/>
                  </a:lnTo>
                  <a:lnTo>
                    <a:pt x="730" y="1823"/>
                  </a:lnTo>
                  <a:lnTo>
                    <a:pt x="724" y="1833"/>
                  </a:lnTo>
                  <a:lnTo>
                    <a:pt x="720" y="1842"/>
                  </a:lnTo>
                  <a:lnTo>
                    <a:pt x="715" y="1854"/>
                  </a:lnTo>
                  <a:lnTo>
                    <a:pt x="709" y="1858"/>
                  </a:lnTo>
                  <a:lnTo>
                    <a:pt x="704" y="1863"/>
                  </a:lnTo>
                  <a:lnTo>
                    <a:pt x="701" y="1867"/>
                  </a:lnTo>
                  <a:lnTo>
                    <a:pt x="698" y="1872"/>
                  </a:lnTo>
                  <a:lnTo>
                    <a:pt x="696" y="1878"/>
                  </a:lnTo>
                  <a:lnTo>
                    <a:pt x="694" y="1883"/>
                  </a:lnTo>
                  <a:lnTo>
                    <a:pt x="694" y="1888"/>
                  </a:lnTo>
                  <a:lnTo>
                    <a:pt x="694" y="1892"/>
                  </a:lnTo>
                  <a:lnTo>
                    <a:pt x="696" y="1904"/>
                  </a:lnTo>
                  <a:lnTo>
                    <a:pt x="699" y="1914"/>
                  </a:lnTo>
                  <a:lnTo>
                    <a:pt x="705" y="1924"/>
                  </a:lnTo>
                  <a:lnTo>
                    <a:pt x="711" y="1936"/>
                  </a:lnTo>
                  <a:lnTo>
                    <a:pt x="725" y="1959"/>
                  </a:lnTo>
                  <a:lnTo>
                    <a:pt x="738" y="1982"/>
                  </a:lnTo>
                  <a:lnTo>
                    <a:pt x="743" y="1993"/>
                  </a:lnTo>
                  <a:lnTo>
                    <a:pt x="746" y="2006"/>
                  </a:lnTo>
                  <a:lnTo>
                    <a:pt x="746" y="2012"/>
                  </a:lnTo>
                  <a:lnTo>
                    <a:pt x="746" y="2017"/>
                  </a:lnTo>
                  <a:lnTo>
                    <a:pt x="745" y="2024"/>
                  </a:lnTo>
                  <a:lnTo>
                    <a:pt x="744" y="2030"/>
                  </a:lnTo>
                  <a:lnTo>
                    <a:pt x="740" y="2037"/>
                  </a:lnTo>
                  <a:lnTo>
                    <a:pt x="737" y="2043"/>
                  </a:lnTo>
                  <a:lnTo>
                    <a:pt x="733" y="2050"/>
                  </a:lnTo>
                  <a:lnTo>
                    <a:pt x="729" y="2054"/>
                  </a:lnTo>
                  <a:lnTo>
                    <a:pt x="725" y="2058"/>
                  </a:lnTo>
                  <a:lnTo>
                    <a:pt x="720" y="2062"/>
                  </a:lnTo>
                  <a:lnTo>
                    <a:pt x="714" y="2064"/>
                  </a:lnTo>
                  <a:lnTo>
                    <a:pt x="708" y="2066"/>
                  </a:lnTo>
                  <a:lnTo>
                    <a:pt x="703" y="2068"/>
                  </a:lnTo>
                  <a:lnTo>
                    <a:pt x="697" y="2069"/>
                  </a:lnTo>
                  <a:lnTo>
                    <a:pt x="689" y="2069"/>
                  </a:lnTo>
                  <a:lnTo>
                    <a:pt x="683" y="2069"/>
                  </a:lnTo>
                  <a:lnTo>
                    <a:pt x="670" y="2067"/>
                  </a:lnTo>
                  <a:lnTo>
                    <a:pt x="655" y="2064"/>
                  </a:lnTo>
                  <a:lnTo>
                    <a:pt x="641" y="2059"/>
                  </a:lnTo>
                  <a:lnTo>
                    <a:pt x="628" y="2053"/>
                  </a:lnTo>
                  <a:lnTo>
                    <a:pt x="615" y="2045"/>
                  </a:lnTo>
                  <a:lnTo>
                    <a:pt x="603" y="2037"/>
                  </a:lnTo>
                  <a:lnTo>
                    <a:pt x="591" y="2029"/>
                  </a:lnTo>
                  <a:lnTo>
                    <a:pt x="582" y="2019"/>
                  </a:lnTo>
                  <a:lnTo>
                    <a:pt x="575" y="2009"/>
                  </a:lnTo>
                  <a:lnTo>
                    <a:pt x="568" y="2000"/>
                  </a:lnTo>
                  <a:lnTo>
                    <a:pt x="561" y="1998"/>
                  </a:lnTo>
                  <a:lnTo>
                    <a:pt x="555" y="1995"/>
                  </a:lnTo>
                  <a:lnTo>
                    <a:pt x="549" y="1994"/>
                  </a:lnTo>
                  <a:lnTo>
                    <a:pt x="542" y="1994"/>
                  </a:lnTo>
                  <a:lnTo>
                    <a:pt x="537" y="1994"/>
                  </a:lnTo>
                  <a:lnTo>
                    <a:pt x="532" y="1995"/>
                  </a:lnTo>
                  <a:lnTo>
                    <a:pt x="528" y="1998"/>
                  </a:lnTo>
                  <a:lnTo>
                    <a:pt x="524" y="2000"/>
                  </a:lnTo>
                  <a:lnTo>
                    <a:pt x="515" y="2005"/>
                  </a:lnTo>
                  <a:lnTo>
                    <a:pt x="508" y="2012"/>
                  </a:lnTo>
                  <a:lnTo>
                    <a:pt x="502" y="2019"/>
                  </a:lnTo>
                  <a:lnTo>
                    <a:pt x="495" y="2029"/>
                  </a:lnTo>
                  <a:lnTo>
                    <a:pt x="484" y="2047"/>
                  </a:lnTo>
                  <a:lnTo>
                    <a:pt x="471" y="2063"/>
                  </a:lnTo>
                  <a:lnTo>
                    <a:pt x="465" y="2071"/>
                  </a:lnTo>
                  <a:lnTo>
                    <a:pt x="457" y="2076"/>
                  </a:lnTo>
                  <a:lnTo>
                    <a:pt x="453" y="2078"/>
                  </a:lnTo>
                  <a:lnTo>
                    <a:pt x="449" y="2079"/>
                  </a:lnTo>
                  <a:lnTo>
                    <a:pt x="443" y="2080"/>
                  </a:lnTo>
                  <a:lnTo>
                    <a:pt x="438" y="2080"/>
                  </a:lnTo>
                  <a:lnTo>
                    <a:pt x="427" y="2078"/>
                  </a:lnTo>
                  <a:lnTo>
                    <a:pt x="417" y="2076"/>
                  </a:lnTo>
                  <a:lnTo>
                    <a:pt x="409" y="2072"/>
                  </a:lnTo>
                  <a:lnTo>
                    <a:pt x="401" y="2066"/>
                  </a:lnTo>
                  <a:lnTo>
                    <a:pt x="387" y="2055"/>
                  </a:lnTo>
                  <a:lnTo>
                    <a:pt x="373" y="2040"/>
                  </a:lnTo>
                  <a:lnTo>
                    <a:pt x="367" y="2034"/>
                  </a:lnTo>
                  <a:lnTo>
                    <a:pt x="361" y="2027"/>
                  </a:lnTo>
                  <a:lnTo>
                    <a:pt x="354" y="2020"/>
                  </a:lnTo>
                  <a:lnTo>
                    <a:pt x="346" y="2015"/>
                  </a:lnTo>
                  <a:lnTo>
                    <a:pt x="338" y="2010"/>
                  </a:lnTo>
                  <a:lnTo>
                    <a:pt x="329" y="2007"/>
                  </a:lnTo>
                  <a:lnTo>
                    <a:pt x="318" y="2004"/>
                  </a:lnTo>
                  <a:lnTo>
                    <a:pt x="306" y="2004"/>
                  </a:lnTo>
                  <a:lnTo>
                    <a:pt x="291" y="2004"/>
                  </a:lnTo>
                  <a:lnTo>
                    <a:pt x="278" y="2006"/>
                  </a:lnTo>
                  <a:lnTo>
                    <a:pt x="264" y="2009"/>
                  </a:lnTo>
                  <a:lnTo>
                    <a:pt x="251" y="2013"/>
                  </a:lnTo>
                  <a:lnTo>
                    <a:pt x="239" y="2016"/>
                  </a:lnTo>
                  <a:lnTo>
                    <a:pt x="225" y="2020"/>
                  </a:lnTo>
                  <a:lnTo>
                    <a:pt x="213" y="2023"/>
                  </a:lnTo>
                  <a:lnTo>
                    <a:pt x="199" y="2025"/>
                  </a:lnTo>
                  <a:lnTo>
                    <a:pt x="199" y="2025"/>
                  </a:lnTo>
                  <a:lnTo>
                    <a:pt x="180" y="2014"/>
                  </a:lnTo>
                  <a:lnTo>
                    <a:pt x="157" y="2003"/>
                  </a:lnTo>
                  <a:lnTo>
                    <a:pt x="151" y="2000"/>
                  </a:lnTo>
                  <a:lnTo>
                    <a:pt x="146" y="1996"/>
                  </a:lnTo>
                  <a:lnTo>
                    <a:pt x="142" y="1992"/>
                  </a:lnTo>
                  <a:lnTo>
                    <a:pt x="139" y="1988"/>
                  </a:lnTo>
                  <a:lnTo>
                    <a:pt x="136" y="1984"/>
                  </a:lnTo>
                  <a:lnTo>
                    <a:pt x="134" y="1980"/>
                  </a:lnTo>
                  <a:lnTo>
                    <a:pt x="133" y="1975"/>
                  </a:lnTo>
                  <a:lnTo>
                    <a:pt x="133" y="1969"/>
                  </a:lnTo>
                  <a:lnTo>
                    <a:pt x="138" y="1966"/>
                  </a:lnTo>
                  <a:lnTo>
                    <a:pt x="143" y="1964"/>
                  </a:lnTo>
                  <a:lnTo>
                    <a:pt x="148" y="1963"/>
                  </a:lnTo>
                  <a:lnTo>
                    <a:pt x="155" y="1962"/>
                  </a:lnTo>
                  <a:lnTo>
                    <a:pt x="168" y="1960"/>
                  </a:lnTo>
                  <a:lnTo>
                    <a:pt x="182" y="1959"/>
                  </a:lnTo>
                  <a:lnTo>
                    <a:pt x="194" y="1957"/>
                  </a:lnTo>
                  <a:lnTo>
                    <a:pt x="207" y="1954"/>
                  </a:lnTo>
                  <a:lnTo>
                    <a:pt x="212" y="1952"/>
                  </a:lnTo>
                  <a:lnTo>
                    <a:pt x="216" y="1950"/>
                  </a:lnTo>
                  <a:lnTo>
                    <a:pt x="220" y="1946"/>
                  </a:lnTo>
                  <a:lnTo>
                    <a:pt x="223" y="1942"/>
                  </a:lnTo>
                  <a:lnTo>
                    <a:pt x="230" y="1933"/>
                  </a:lnTo>
                  <a:lnTo>
                    <a:pt x="234" y="1924"/>
                  </a:lnTo>
                  <a:lnTo>
                    <a:pt x="236" y="1915"/>
                  </a:lnTo>
                  <a:lnTo>
                    <a:pt x="238" y="1908"/>
                  </a:lnTo>
                  <a:lnTo>
                    <a:pt x="238" y="1899"/>
                  </a:lnTo>
                  <a:lnTo>
                    <a:pt x="237" y="1892"/>
                  </a:lnTo>
                  <a:lnTo>
                    <a:pt x="235" y="1885"/>
                  </a:lnTo>
                  <a:lnTo>
                    <a:pt x="232" y="1879"/>
                  </a:lnTo>
                  <a:lnTo>
                    <a:pt x="223" y="1865"/>
                  </a:lnTo>
                  <a:lnTo>
                    <a:pt x="213" y="1851"/>
                  </a:lnTo>
                  <a:lnTo>
                    <a:pt x="202" y="1838"/>
                  </a:lnTo>
                  <a:lnTo>
                    <a:pt x="191" y="1823"/>
                  </a:lnTo>
                  <a:lnTo>
                    <a:pt x="176" y="1805"/>
                  </a:lnTo>
                  <a:lnTo>
                    <a:pt x="163" y="1787"/>
                  </a:lnTo>
                  <a:lnTo>
                    <a:pt x="157" y="1777"/>
                  </a:lnTo>
                  <a:lnTo>
                    <a:pt x="151" y="1767"/>
                  </a:lnTo>
                  <a:lnTo>
                    <a:pt x="148" y="1757"/>
                  </a:lnTo>
                  <a:lnTo>
                    <a:pt x="146" y="1744"/>
                  </a:lnTo>
                  <a:lnTo>
                    <a:pt x="144" y="1725"/>
                  </a:lnTo>
                  <a:lnTo>
                    <a:pt x="144" y="1710"/>
                  </a:lnTo>
                  <a:lnTo>
                    <a:pt x="144" y="1702"/>
                  </a:lnTo>
                  <a:lnTo>
                    <a:pt x="145" y="1695"/>
                  </a:lnTo>
                  <a:lnTo>
                    <a:pt x="146" y="1686"/>
                  </a:lnTo>
                  <a:lnTo>
                    <a:pt x="149" y="1676"/>
                  </a:lnTo>
                  <a:lnTo>
                    <a:pt x="157" y="1650"/>
                  </a:lnTo>
                  <a:lnTo>
                    <a:pt x="165" y="1621"/>
                  </a:lnTo>
                  <a:lnTo>
                    <a:pt x="166" y="1614"/>
                  </a:lnTo>
                  <a:lnTo>
                    <a:pt x="167" y="1606"/>
                  </a:lnTo>
                  <a:lnTo>
                    <a:pt x="167" y="1600"/>
                  </a:lnTo>
                  <a:lnTo>
                    <a:pt x="166" y="1593"/>
                  </a:lnTo>
                  <a:lnTo>
                    <a:pt x="164" y="1586"/>
                  </a:lnTo>
                  <a:lnTo>
                    <a:pt x="161" y="1580"/>
                  </a:lnTo>
                  <a:lnTo>
                    <a:pt x="158" y="1575"/>
                  </a:lnTo>
                  <a:lnTo>
                    <a:pt x="152" y="1570"/>
                  </a:lnTo>
                  <a:lnTo>
                    <a:pt x="145" y="1565"/>
                  </a:lnTo>
                  <a:lnTo>
                    <a:pt x="138" y="1561"/>
                  </a:lnTo>
                  <a:lnTo>
                    <a:pt x="131" y="1560"/>
                  </a:lnTo>
                  <a:lnTo>
                    <a:pt x="122" y="1559"/>
                  </a:lnTo>
                  <a:lnTo>
                    <a:pt x="106" y="1560"/>
                  </a:lnTo>
                  <a:lnTo>
                    <a:pt x="89" y="1564"/>
                  </a:lnTo>
                  <a:lnTo>
                    <a:pt x="71" y="1568"/>
                  </a:lnTo>
                  <a:lnTo>
                    <a:pt x="54" y="1570"/>
                  </a:lnTo>
                  <a:lnTo>
                    <a:pt x="45" y="1571"/>
                  </a:lnTo>
                  <a:lnTo>
                    <a:pt x="37" y="1570"/>
                  </a:lnTo>
                  <a:lnTo>
                    <a:pt x="28" y="1569"/>
                  </a:lnTo>
                  <a:lnTo>
                    <a:pt x="20" y="1566"/>
                  </a:lnTo>
                  <a:lnTo>
                    <a:pt x="16" y="1559"/>
                  </a:lnTo>
                  <a:lnTo>
                    <a:pt x="12" y="1553"/>
                  </a:lnTo>
                  <a:lnTo>
                    <a:pt x="9" y="1547"/>
                  </a:lnTo>
                  <a:lnTo>
                    <a:pt x="5" y="1541"/>
                  </a:lnTo>
                  <a:lnTo>
                    <a:pt x="3" y="1533"/>
                  </a:lnTo>
                  <a:lnTo>
                    <a:pt x="1" y="1526"/>
                  </a:lnTo>
                  <a:lnTo>
                    <a:pt x="0" y="1519"/>
                  </a:lnTo>
                  <a:lnTo>
                    <a:pt x="0" y="1511"/>
                  </a:lnTo>
                  <a:lnTo>
                    <a:pt x="2" y="1487"/>
                  </a:lnTo>
                  <a:lnTo>
                    <a:pt x="2" y="1487"/>
                  </a:lnTo>
                  <a:lnTo>
                    <a:pt x="13" y="1484"/>
                  </a:lnTo>
                  <a:lnTo>
                    <a:pt x="22" y="1481"/>
                  </a:lnTo>
                  <a:lnTo>
                    <a:pt x="30" y="1477"/>
                  </a:lnTo>
                  <a:lnTo>
                    <a:pt x="39" y="1472"/>
                  </a:lnTo>
                  <a:lnTo>
                    <a:pt x="46" y="1466"/>
                  </a:lnTo>
                  <a:lnTo>
                    <a:pt x="53" y="1461"/>
                  </a:lnTo>
                  <a:lnTo>
                    <a:pt x="60" y="1456"/>
                  </a:lnTo>
                  <a:lnTo>
                    <a:pt x="66" y="1450"/>
                  </a:lnTo>
                  <a:lnTo>
                    <a:pt x="88" y="1423"/>
                  </a:lnTo>
                  <a:lnTo>
                    <a:pt x="112" y="1392"/>
                  </a:lnTo>
                  <a:lnTo>
                    <a:pt x="115" y="1389"/>
                  </a:lnTo>
                  <a:lnTo>
                    <a:pt x="117" y="1384"/>
                  </a:lnTo>
                  <a:lnTo>
                    <a:pt x="119" y="1380"/>
                  </a:lnTo>
                  <a:lnTo>
                    <a:pt x="121" y="1374"/>
                  </a:lnTo>
                  <a:lnTo>
                    <a:pt x="123" y="1363"/>
                  </a:lnTo>
                  <a:lnTo>
                    <a:pt x="124" y="1351"/>
                  </a:lnTo>
                  <a:lnTo>
                    <a:pt x="126" y="1338"/>
                  </a:lnTo>
                  <a:lnTo>
                    <a:pt x="127" y="1327"/>
                  </a:lnTo>
                  <a:lnTo>
                    <a:pt x="129" y="1315"/>
                  </a:lnTo>
                  <a:lnTo>
                    <a:pt x="132" y="1305"/>
                  </a:lnTo>
                  <a:lnTo>
                    <a:pt x="137" y="1293"/>
                  </a:lnTo>
                  <a:lnTo>
                    <a:pt x="143" y="1281"/>
                  </a:lnTo>
                  <a:lnTo>
                    <a:pt x="149" y="1270"/>
                  </a:lnTo>
                  <a:lnTo>
                    <a:pt x="156" y="1259"/>
                  </a:lnTo>
                  <a:lnTo>
                    <a:pt x="164" y="1249"/>
                  </a:lnTo>
                  <a:lnTo>
                    <a:pt x="172" y="1240"/>
                  </a:lnTo>
                  <a:lnTo>
                    <a:pt x="181" y="1232"/>
                  </a:lnTo>
                  <a:lnTo>
                    <a:pt x="190" y="1224"/>
                  </a:lnTo>
                  <a:lnTo>
                    <a:pt x="199" y="1218"/>
                  </a:lnTo>
                  <a:lnTo>
                    <a:pt x="210" y="1212"/>
                  </a:lnTo>
                  <a:lnTo>
                    <a:pt x="221" y="1207"/>
                  </a:lnTo>
                  <a:lnTo>
                    <a:pt x="233" y="1202"/>
                  </a:lnTo>
                  <a:lnTo>
                    <a:pt x="245" y="1198"/>
                  </a:lnTo>
                  <a:lnTo>
                    <a:pt x="258" y="1196"/>
                  </a:lnTo>
                  <a:lnTo>
                    <a:pt x="271" y="1194"/>
                  </a:lnTo>
                  <a:lnTo>
                    <a:pt x="285" y="1193"/>
                  </a:lnTo>
                  <a:lnTo>
                    <a:pt x="298" y="1193"/>
                  </a:lnTo>
                  <a:lnTo>
                    <a:pt x="310" y="1193"/>
                  </a:lnTo>
                  <a:lnTo>
                    <a:pt x="321" y="1194"/>
                  </a:lnTo>
                  <a:lnTo>
                    <a:pt x="333" y="1195"/>
                  </a:lnTo>
                  <a:lnTo>
                    <a:pt x="344" y="1197"/>
                  </a:lnTo>
                  <a:lnTo>
                    <a:pt x="356" y="1200"/>
                  </a:lnTo>
                  <a:lnTo>
                    <a:pt x="367" y="1205"/>
                  </a:lnTo>
                  <a:lnTo>
                    <a:pt x="379" y="1210"/>
                  </a:lnTo>
                  <a:lnTo>
                    <a:pt x="394" y="1219"/>
                  </a:lnTo>
                  <a:lnTo>
                    <a:pt x="410" y="1227"/>
                  </a:lnTo>
                  <a:lnTo>
                    <a:pt x="414" y="1228"/>
                  </a:lnTo>
                  <a:lnTo>
                    <a:pt x="418" y="1229"/>
                  </a:lnTo>
                  <a:lnTo>
                    <a:pt x="421" y="1229"/>
                  </a:lnTo>
                  <a:lnTo>
                    <a:pt x="426" y="1229"/>
                  </a:lnTo>
                  <a:lnTo>
                    <a:pt x="430" y="1227"/>
                  </a:lnTo>
                  <a:lnTo>
                    <a:pt x="433" y="1224"/>
                  </a:lnTo>
                  <a:lnTo>
                    <a:pt x="437" y="1221"/>
                  </a:lnTo>
                  <a:lnTo>
                    <a:pt x="441" y="1217"/>
                  </a:lnTo>
                  <a:lnTo>
                    <a:pt x="442" y="1204"/>
                  </a:lnTo>
                  <a:lnTo>
                    <a:pt x="443" y="1192"/>
                  </a:lnTo>
                  <a:lnTo>
                    <a:pt x="443" y="1187"/>
                  </a:lnTo>
                  <a:lnTo>
                    <a:pt x="442" y="1181"/>
                  </a:lnTo>
                  <a:lnTo>
                    <a:pt x="440" y="1174"/>
                  </a:lnTo>
                  <a:lnTo>
                    <a:pt x="436" y="1167"/>
                  </a:lnTo>
                  <a:lnTo>
                    <a:pt x="426" y="1148"/>
                  </a:lnTo>
                  <a:lnTo>
                    <a:pt x="414" y="1128"/>
                  </a:lnTo>
                  <a:lnTo>
                    <a:pt x="410" y="1117"/>
                  </a:lnTo>
                  <a:lnTo>
                    <a:pt x="408" y="1107"/>
                  </a:lnTo>
                  <a:lnTo>
                    <a:pt x="406" y="1096"/>
                  </a:lnTo>
                  <a:lnTo>
                    <a:pt x="407" y="1086"/>
                  </a:lnTo>
                  <a:lnTo>
                    <a:pt x="408" y="1066"/>
                  </a:lnTo>
                  <a:lnTo>
                    <a:pt x="411" y="1047"/>
                  </a:lnTo>
                  <a:lnTo>
                    <a:pt x="415" y="1029"/>
                  </a:lnTo>
                  <a:lnTo>
                    <a:pt x="420" y="1012"/>
                  </a:lnTo>
                  <a:lnTo>
                    <a:pt x="425" y="995"/>
                  </a:lnTo>
                  <a:lnTo>
                    <a:pt x="430" y="978"/>
                  </a:lnTo>
                  <a:lnTo>
                    <a:pt x="433" y="961"/>
                  </a:lnTo>
                  <a:lnTo>
                    <a:pt x="435" y="943"/>
                  </a:lnTo>
                  <a:lnTo>
                    <a:pt x="443" y="798"/>
                  </a:lnTo>
                  <a:lnTo>
                    <a:pt x="453" y="788"/>
                  </a:lnTo>
                  <a:lnTo>
                    <a:pt x="463" y="781"/>
                  </a:lnTo>
                  <a:lnTo>
                    <a:pt x="474" y="775"/>
                  </a:lnTo>
                  <a:lnTo>
                    <a:pt x="484" y="771"/>
                  </a:lnTo>
                  <a:lnTo>
                    <a:pt x="505" y="764"/>
                  </a:lnTo>
                  <a:lnTo>
                    <a:pt x="525" y="760"/>
                  </a:lnTo>
                  <a:lnTo>
                    <a:pt x="534" y="758"/>
                  </a:lnTo>
                  <a:lnTo>
                    <a:pt x="544" y="756"/>
                  </a:lnTo>
                  <a:lnTo>
                    <a:pt x="554" y="753"/>
                  </a:lnTo>
                  <a:lnTo>
                    <a:pt x="563" y="749"/>
                  </a:lnTo>
                  <a:lnTo>
                    <a:pt x="572" y="744"/>
                  </a:lnTo>
                  <a:lnTo>
                    <a:pt x="581" y="736"/>
                  </a:lnTo>
                  <a:lnTo>
                    <a:pt x="589" y="728"/>
                  </a:lnTo>
                  <a:lnTo>
                    <a:pt x="597" y="717"/>
                  </a:lnTo>
                  <a:lnTo>
                    <a:pt x="599" y="701"/>
                  </a:lnTo>
                  <a:lnTo>
                    <a:pt x="604" y="676"/>
                  </a:lnTo>
                  <a:lnTo>
                    <a:pt x="607" y="663"/>
                  </a:lnTo>
                  <a:lnTo>
                    <a:pt x="610" y="653"/>
                  </a:lnTo>
                  <a:lnTo>
                    <a:pt x="613" y="644"/>
                  </a:lnTo>
                  <a:lnTo>
                    <a:pt x="616" y="639"/>
                  </a:lnTo>
                  <a:lnTo>
                    <a:pt x="640" y="640"/>
                  </a:lnTo>
                  <a:lnTo>
                    <a:pt x="665" y="642"/>
                  </a:lnTo>
                  <a:lnTo>
                    <a:pt x="677" y="645"/>
                  </a:lnTo>
                  <a:lnTo>
                    <a:pt x="689" y="649"/>
                  </a:lnTo>
                  <a:lnTo>
                    <a:pt x="700" y="652"/>
                  </a:lnTo>
                  <a:lnTo>
                    <a:pt x="711" y="657"/>
                  </a:lnTo>
                  <a:lnTo>
                    <a:pt x="715" y="663"/>
                  </a:lnTo>
                  <a:lnTo>
                    <a:pt x="720" y="669"/>
                  </a:lnTo>
                  <a:lnTo>
                    <a:pt x="724" y="675"/>
                  </a:lnTo>
                  <a:lnTo>
                    <a:pt x="728" y="678"/>
                  </a:lnTo>
                  <a:lnTo>
                    <a:pt x="733" y="681"/>
                  </a:lnTo>
                  <a:lnTo>
                    <a:pt x="737" y="684"/>
                  </a:lnTo>
                  <a:lnTo>
                    <a:pt x="743" y="685"/>
                  </a:lnTo>
                  <a:lnTo>
                    <a:pt x="747" y="686"/>
                  </a:lnTo>
                  <a:lnTo>
                    <a:pt x="752" y="686"/>
                  </a:lnTo>
                  <a:lnTo>
                    <a:pt x="756" y="685"/>
                  </a:lnTo>
                  <a:lnTo>
                    <a:pt x="761" y="683"/>
                  </a:lnTo>
                  <a:lnTo>
                    <a:pt x="767" y="681"/>
                  </a:lnTo>
                  <a:lnTo>
                    <a:pt x="776" y="674"/>
                  </a:lnTo>
                  <a:lnTo>
                    <a:pt x="786" y="664"/>
                  </a:lnTo>
                  <a:lnTo>
                    <a:pt x="793" y="659"/>
                  </a:lnTo>
                  <a:lnTo>
                    <a:pt x="802" y="655"/>
                  </a:lnTo>
                  <a:lnTo>
                    <a:pt x="812" y="652"/>
                  </a:lnTo>
                  <a:lnTo>
                    <a:pt x="825" y="649"/>
                  </a:lnTo>
                  <a:lnTo>
                    <a:pt x="838" y="646"/>
                  </a:lnTo>
                  <a:lnTo>
                    <a:pt x="853" y="645"/>
                  </a:lnTo>
                  <a:lnTo>
                    <a:pt x="869" y="644"/>
                  </a:lnTo>
                  <a:lnTo>
                    <a:pt x="884" y="644"/>
                  </a:lnTo>
                  <a:lnTo>
                    <a:pt x="917" y="644"/>
                  </a:lnTo>
                  <a:lnTo>
                    <a:pt x="947" y="645"/>
                  </a:lnTo>
                  <a:lnTo>
                    <a:pt x="974" y="646"/>
                  </a:lnTo>
                  <a:lnTo>
                    <a:pt x="994" y="648"/>
                  </a:lnTo>
                  <a:lnTo>
                    <a:pt x="1003" y="648"/>
                  </a:lnTo>
                  <a:lnTo>
                    <a:pt x="1014" y="650"/>
                  </a:lnTo>
                  <a:lnTo>
                    <a:pt x="1024" y="652"/>
                  </a:lnTo>
                  <a:lnTo>
                    <a:pt x="1036" y="655"/>
                  </a:lnTo>
                  <a:lnTo>
                    <a:pt x="1060" y="662"/>
                  </a:lnTo>
                  <a:lnTo>
                    <a:pt x="1084" y="669"/>
                  </a:lnTo>
                  <a:lnTo>
                    <a:pt x="1095" y="673"/>
                  </a:lnTo>
                  <a:lnTo>
                    <a:pt x="1106" y="675"/>
                  </a:lnTo>
                  <a:lnTo>
                    <a:pt x="1117" y="676"/>
                  </a:lnTo>
                  <a:lnTo>
                    <a:pt x="1127" y="677"/>
                  </a:lnTo>
                  <a:lnTo>
                    <a:pt x="1138" y="676"/>
                  </a:lnTo>
                  <a:lnTo>
                    <a:pt x="1146" y="673"/>
                  </a:lnTo>
                  <a:lnTo>
                    <a:pt x="1150" y="670"/>
                  </a:lnTo>
                  <a:lnTo>
                    <a:pt x="1154" y="668"/>
                  </a:lnTo>
                  <a:lnTo>
                    <a:pt x="1158" y="665"/>
                  </a:lnTo>
                  <a:lnTo>
                    <a:pt x="1161" y="662"/>
                  </a:lnTo>
                  <a:lnTo>
                    <a:pt x="1161" y="652"/>
                  </a:lnTo>
                  <a:lnTo>
                    <a:pt x="1158" y="643"/>
                  </a:lnTo>
                  <a:lnTo>
                    <a:pt x="1154" y="634"/>
                  </a:lnTo>
                  <a:lnTo>
                    <a:pt x="1150" y="626"/>
                  </a:lnTo>
                  <a:lnTo>
                    <a:pt x="1147" y="618"/>
                  </a:lnTo>
                  <a:lnTo>
                    <a:pt x="1144" y="611"/>
                  </a:lnTo>
                  <a:lnTo>
                    <a:pt x="1141" y="604"/>
                  </a:lnTo>
                  <a:lnTo>
                    <a:pt x="1140" y="596"/>
                  </a:lnTo>
                  <a:lnTo>
                    <a:pt x="1143" y="591"/>
                  </a:lnTo>
                  <a:lnTo>
                    <a:pt x="1146" y="587"/>
                  </a:lnTo>
                  <a:lnTo>
                    <a:pt x="1148" y="582"/>
                  </a:lnTo>
                  <a:lnTo>
                    <a:pt x="1149" y="578"/>
                  </a:lnTo>
                  <a:lnTo>
                    <a:pt x="1150" y="567"/>
                  </a:lnTo>
                  <a:lnTo>
                    <a:pt x="1150" y="557"/>
                  </a:lnTo>
                  <a:lnTo>
                    <a:pt x="1147" y="537"/>
                  </a:lnTo>
                  <a:lnTo>
                    <a:pt x="1144" y="519"/>
                  </a:lnTo>
                  <a:lnTo>
                    <a:pt x="1135" y="507"/>
                  </a:lnTo>
                  <a:lnTo>
                    <a:pt x="1125" y="496"/>
                  </a:lnTo>
                  <a:lnTo>
                    <a:pt x="1119" y="482"/>
                  </a:lnTo>
                  <a:lnTo>
                    <a:pt x="1113" y="467"/>
                  </a:lnTo>
                  <a:lnTo>
                    <a:pt x="1110" y="460"/>
                  </a:lnTo>
                  <a:lnTo>
                    <a:pt x="1107" y="452"/>
                  </a:lnTo>
                  <a:lnTo>
                    <a:pt x="1106" y="445"/>
                  </a:lnTo>
                  <a:lnTo>
                    <a:pt x="1107" y="437"/>
                  </a:lnTo>
                  <a:lnTo>
                    <a:pt x="1110" y="428"/>
                  </a:lnTo>
                  <a:lnTo>
                    <a:pt x="1113" y="421"/>
                  </a:lnTo>
                  <a:lnTo>
                    <a:pt x="1117" y="413"/>
                  </a:lnTo>
                  <a:lnTo>
                    <a:pt x="1122" y="406"/>
                  </a:lnTo>
                  <a:lnTo>
                    <a:pt x="1126" y="398"/>
                  </a:lnTo>
                  <a:lnTo>
                    <a:pt x="1130" y="391"/>
                  </a:lnTo>
                  <a:lnTo>
                    <a:pt x="1134" y="385"/>
                  </a:lnTo>
                  <a:lnTo>
                    <a:pt x="1136" y="378"/>
                  </a:lnTo>
                  <a:lnTo>
                    <a:pt x="1142" y="368"/>
                  </a:lnTo>
                  <a:lnTo>
                    <a:pt x="1149" y="358"/>
                  </a:lnTo>
                  <a:lnTo>
                    <a:pt x="1153" y="352"/>
                  </a:lnTo>
                  <a:lnTo>
                    <a:pt x="1159" y="348"/>
                  </a:lnTo>
                  <a:lnTo>
                    <a:pt x="1164" y="346"/>
                  </a:lnTo>
                  <a:lnTo>
                    <a:pt x="1170" y="345"/>
                  </a:lnTo>
                  <a:lnTo>
                    <a:pt x="1175" y="343"/>
                  </a:lnTo>
                  <a:lnTo>
                    <a:pt x="1179" y="342"/>
                  </a:lnTo>
                  <a:lnTo>
                    <a:pt x="1184" y="343"/>
                  </a:lnTo>
                  <a:lnTo>
                    <a:pt x="1189" y="345"/>
                  </a:lnTo>
                  <a:lnTo>
                    <a:pt x="1198" y="351"/>
                  </a:lnTo>
                  <a:lnTo>
                    <a:pt x="1208" y="360"/>
                  </a:lnTo>
                  <a:lnTo>
                    <a:pt x="1217" y="367"/>
                  </a:lnTo>
                  <a:lnTo>
                    <a:pt x="1226" y="373"/>
                  </a:lnTo>
                  <a:lnTo>
                    <a:pt x="1231" y="375"/>
                  </a:lnTo>
                  <a:lnTo>
                    <a:pt x="1234" y="376"/>
                  </a:lnTo>
                  <a:lnTo>
                    <a:pt x="1238" y="375"/>
                  </a:lnTo>
                  <a:lnTo>
                    <a:pt x="1241" y="373"/>
                  </a:lnTo>
                  <a:lnTo>
                    <a:pt x="1255" y="360"/>
                  </a:lnTo>
                  <a:lnTo>
                    <a:pt x="1265" y="350"/>
                  </a:lnTo>
                  <a:lnTo>
                    <a:pt x="1271" y="347"/>
                  </a:lnTo>
                  <a:lnTo>
                    <a:pt x="1278" y="345"/>
                  </a:lnTo>
                  <a:lnTo>
                    <a:pt x="1287" y="344"/>
                  </a:lnTo>
                  <a:lnTo>
                    <a:pt x="1298" y="344"/>
                  </a:lnTo>
                  <a:lnTo>
                    <a:pt x="1310" y="344"/>
                  </a:lnTo>
                  <a:lnTo>
                    <a:pt x="1321" y="344"/>
                  </a:lnTo>
                  <a:lnTo>
                    <a:pt x="1332" y="343"/>
                  </a:lnTo>
                  <a:lnTo>
                    <a:pt x="1340" y="341"/>
                  </a:lnTo>
                  <a:lnTo>
                    <a:pt x="1348" y="339"/>
                  </a:lnTo>
                  <a:lnTo>
                    <a:pt x="1356" y="336"/>
                  </a:lnTo>
                  <a:lnTo>
                    <a:pt x="1362" y="331"/>
                  </a:lnTo>
                  <a:lnTo>
                    <a:pt x="1367" y="328"/>
                  </a:lnTo>
                  <a:lnTo>
                    <a:pt x="1372" y="323"/>
                  </a:lnTo>
                  <a:lnTo>
                    <a:pt x="1377" y="319"/>
                  </a:lnTo>
                  <a:lnTo>
                    <a:pt x="1381" y="314"/>
                  </a:lnTo>
                  <a:lnTo>
                    <a:pt x="1384" y="307"/>
                  </a:lnTo>
                  <a:lnTo>
                    <a:pt x="1388" y="296"/>
                  </a:lnTo>
                  <a:lnTo>
                    <a:pt x="1391" y="282"/>
                  </a:lnTo>
                  <a:lnTo>
                    <a:pt x="1396" y="253"/>
                  </a:lnTo>
                  <a:lnTo>
                    <a:pt x="1400" y="223"/>
                  </a:lnTo>
                  <a:lnTo>
                    <a:pt x="1404" y="208"/>
                  </a:lnTo>
                  <a:lnTo>
                    <a:pt x="1409" y="194"/>
                  </a:lnTo>
                  <a:lnTo>
                    <a:pt x="1412" y="187"/>
                  </a:lnTo>
                  <a:lnTo>
                    <a:pt x="1416" y="180"/>
                  </a:lnTo>
                  <a:lnTo>
                    <a:pt x="1420" y="174"/>
                  </a:lnTo>
                  <a:lnTo>
                    <a:pt x="1426" y="168"/>
                  </a:lnTo>
                  <a:lnTo>
                    <a:pt x="1431" y="162"/>
                  </a:lnTo>
                  <a:lnTo>
                    <a:pt x="1436" y="157"/>
                  </a:lnTo>
                  <a:lnTo>
                    <a:pt x="1442" y="154"/>
                  </a:lnTo>
                  <a:lnTo>
                    <a:pt x="1449" y="152"/>
                  </a:lnTo>
                  <a:lnTo>
                    <a:pt x="1457" y="150"/>
                  </a:lnTo>
                  <a:lnTo>
                    <a:pt x="1464" y="149"/>
                  </a:lnTo>
                  <a:lnTo>
                    <a:pt x="1472" y="148"/>
                  </a:lnTo>
                  <a:lnTo>
                    <a:pt x="1481" y="148"/>
                  </a:lnTo>
                  <a:lnTo>
                    <a:pt x="1497" y="150"/>
                  </a:lnTo>
                  <a:lnTo>
                    <a:pt x="1514" y="152"/>
                  </a:lnTo>
                  <a:lnTo>
                    <a:pt x="1530" y="155"/>
                  </a:lnTo>
                  <a:lnTo>
                    <a:pt x="1543" y="157"/>
                  </a:lnTo>
                  <a:lnTo>
                    <a:pt x="1555" y="158"/>
                  </a:lnTo>
                  <a:lnTo>
                    <a:pt x="1564" y="158"/>
                  </a:lnTo>
                  <a:lnTo>
                    <a:pt x="1571" y="156"/>
                  </a:lnTo>
                  <a:lnTo>
                    <a:pt x="1577" y="154"/>
                  </a:lnTo>
                  <a:lnTo>
                    <a:pt x="1582" y="150"/>
                  </a:lnTo>
                  <a:lnTo>
                    <a:pt x="1585" y="145"/>
                  </a:lnTo>
                  <a:lnTo>
                    <a:pt x="1587" y="138"/>
                  </a:lnTo>
                  <a:lnTo>
                    <a:pt x="1589" y="132"/>
                  </a:lnTo>
                  <a:lnTo>
                    <a:pt x="1592" y="119"/>
                  </a:lnTo>
                  <a:lnTo>
                    <a:pt x="1595" y="104"/>
                  </a:lnTo>
                  <a:lnTo>
                    <a:pt x="1598" y="98"/>
                  </a:lnTo>
                  <a:lnTo>
                    <a:pt x="1601" y="91"/>
                  </a:lnTo>
                  <a:lnTo>
                    <a:pt x="1604" y="85"/>
                  </a:lnTo>
                  <a:lnTo>
                    <a:pt x="1609" y="81"/>
                  </a:lnTo>
                  <a:lnTo>
                    <a:pt x="1613" y="78"/>
                  </a:lnTo>
                  <a:lnTo>
                    <a:pt x="1617" y="75"/>
                  </a:lnTo>
                  <a:lnTo>
                    <a:pt x="1623" y="74"/>
                  </a:lnTo>
                  <a:lnTo>
                    <a:pt x="1627" y="73"/>
                  </a:lnTo>
                  <a:lnTo>
                    <a:pt x="1637" y="72"/>
                  </a:lnTo>
                  <a:lnTo>
                    <a:pt x="1648" y="74"/>
                  </a:lnTo>
                  <a:lnTo>
                    <a:pt x="1657" y="77"/>
                  </a:lnTo>
                  <a:lnTo>
                    <a:pt x="1666" y="81"/>
                  </a:lnTo>
                  <a:lnTo>
                    <a:pt x="1676" y="86"/>
                  </a:lnTo>
                  <a:lnTo>
                    <a:pt x="1684" y="93"/>
                  </a:lnTo>
                  <a:lnTo>
                    <a:pt x="1690" y="98"/>
                  </a:lnTo>
                  <a:lnTo>
                    <a:pt x="1696" y="100"/>
                  </a:lnTo>
                  <a:lnTo>
                    <a:pt x="1702" y="101"/>
                  </a:lnTo>
                  <a:lnTo>
                    <a:pt x="1708" y="101"/>
                  </a:lnTo>
                  <a:lnTo>
                    <a:pt x="1713" y="99"/>
                  </a:lnTo>
                  <a:lnTo>
                    <a:pt x="1718" y="96"/>
                  </a:lnTo>
                  <a:lnTo>
                    <a:pt x="1724" y="93"/>
                  </a:lnTo>
                  <a:lnTo>
                    <a:pt x="1729" y="87"/>
                  </a:lnTo>
                  <a:lnTo>
                    <a:pt x="1738" y="76"/>
                  </a:lnTo>
                  <a:lnTo>
                    <a:pt x="1747" y="64"/>
                  </a:lnTo>
                  <a:lnTo>
                    <a:pt x="1754" y="52"/>
                  </a:lnTo>
                  <a:lnTo>
                    <a:pt x="1760" y="42"/>
                  </a:lnTo>
                  <a:lnTo>
                    <a:pt x="1769" y="32"/>
                  </a:lnTo>
                  <a:lnTo>
                    <a:pt x="1776" y="25"/>
                  </a:lnTo>
                  <a:lnTo>
                    <a:pt x="1779" y="23"/>
                  </a:lnTo>
                  <a:lnTo>
                    <a:pt x="1783" y="21"/>
                  </a:lnTo>
                  <a:lnTo>
                    <a:pt x="1786" y="20"/>
                  </a:lnTo>
                  <a:lnTo>
                    <a:pt x="1789" y="18"/>
                  </a:lnTo>
                  <a:lnTo>
                    <a:pt x="1796" y="20"/>
                  </a:lnTo>
                  <a:lnTo>
                    <a:pt x="1801" y="22"/>
                  </a:lnTo>
                  <a:lnTo>
                    <a:pt x="1807" y="25"/>
                  </a:lnTo>
                  <a:lnTo>
                    <a:pt x="1812" y="30"/>
                  </a:lnTo>
                  <a:lnTo>
                    <a:pt x="1824" y="41"/>
                  </a:lnTo>
                  <a:lnTo>
                    <a:pt x="1836" y="53"/>
                  </a:lnTo>
                  <a:lnTo>
                    <a:pt x="1844" y="58"/>
                  </a:lnTo>
                  <a:lnTo>
                    <a:pt x="1851" y="62"/>
                  </a:lnTo>
                  <a:lnTo>
                    <a:pt x="1858" y="65"/>
                  </a:lnTo>
                  <a:lnTo>
                    <a:pt x="1867" y="66"/>
                  </a:lnTo>
                  <a:lnTo>
                    <a:pt x="1874" y="61"/>
                  </a:lnTo>
                  <a:lnTo>
                    <a:pt x="1878" y="56"/>
                  </a:lnTo>
                  <a:lnTo>
                    <a:pt x="1883" y="51"/>
                  </a:lnTo>
                  <a:lnTo>
                    <a:pt x="1888" y="45"/>
                  </a:lnTo>
                  <a:lnTo>
                    <a:pt x="1889" y="39"/>
                  </a:lnTo>
                  <a:lnTo>
                    <a:pt x="1891" y="34"/>
                  </a:lnTo>
                  <a:lnTo>
                    <a:pt x="1893" y="28"/>
                  </a:lnTo>
                  <a:lnTo>
                    <a:pt x="1896" y="22"/>
                  </a:lnTo>
                  <a:lnTo>
                    <a:pt x="1902" y="10"/>
                  </a:lnTo>
                  <a:lnTo>
                    <a:pt x="1907" y="0"/>
                  </a:lnTo>
                  <a:lnTo>
                    <a:pt x="1907" y="0"/>
                  </a:lnTo>
                  <a:lnTo>
                    <a:pt x="1922" y="7"/>
                  </a:lnTo>
                  <a:lnTo>
                    <a:pt x="1935" y="15"/>
                  </a:lnTo>
                  <a:lnTo>
                    <a:pt x="1942" y="18"/>
                  </a:lnTo>
                  <a:lnTo>
                    <a:pt x="1949" y="22"/>
                  </a:lnTo>
                  <a:lnTo>
                    <a:pt x="1957" y="25"/>
                  </a:lnTo>
                  <a:lnTo>
                    <a:pt x="1966" y="26"/>
                  </a:lnTo>
                  <a:lnTo>
                    <a:pt x="1974" y="28"/>
                  </a:lnTo>
                  <a:lnTo>
                    <a:pt x="1981" y="29"/>
                  </a:lnTo>
                  <a:lnTo>
                    <a:pt x="1987" y="31"/>
                  </a:lnTo>
                  <a:lnTo>
                    <a:pt x="1994" y="34"/>
                  </a:lnTo>
                  <a:lnTo>
                    <a:pt x="2005" y="39"/>
                  </a:lnTo>
                  <a:lnTo>
                    <a:pt x="2018" y="48"/>
                  </a:lnTo>
                  <a:lnTo>
                    <a:pt x="2017" y="60"/>
                  </a:lnTo>
                  <a:lnTo>
                    <a:pt x="2014" y="74"/>
                  </a:lnTo>
                  <a:lnTo>
                    <a:pt x="2010" y="86"/>
                  </a:lnTo>
                  <a:lnTo>
                    <a:pt x="2009" y="101"/>
                  </a:lnTo>
                  <a:lnTo>
                    <a:pt x="2009" y="107"/>
                  </a:lnTo>
                  <a:lnTo>
                    <a:pt x="2011" y="112"/>
                  </a:lnTo>
                  <a:lnTo>
                    <a:pt x="2014" y="118"/>
                  </a:lnTo>
                  <a:lnTo>
                    <a:pt x="2016" y="123"/>
                  </a:lnTo>
                  <a:lnTo>
                    <a:pt x="2022" y="132"/>
                  </a:lnTo>
                  <a:lnTo>
                    <a:pt x="2026" y="143"/>
                  </a:lnTo>
                  <a:lnTo>
                    <a:pt x="2029" y="158"/>
                  </a:lnTo>
                  <a:lnTo>
                    <a:pt x="2032" y="172"/>
                  </a:lnTo>
                  <a:lnTo>
                    <a:pt x="2033" y="179"/>
                  </a:lnTo>
                  <a:lnTo>
                    <a:pt x="2036" y="186"/>
                  </a:lnTo>
                  <a:lnTo>
                    <a:pt x="2040" y="193"/>
                  </a:lnTo>
                  <a:lnTo>
                    <a:pt x="2044" y="200"/>
                  </a:lnTo>
                  <a:lnTo>
                    <a:pt x="2055" y="211"/>
                  </a:lnTo>
                  <a:lnTo>
                    <a:pt x="2068" y="222"/>
                  </a:lnTo>
                  <a:lnTo>
                    <a:pt x="2073" y="227"/>
                  </a:lnTo>
                  <a:lnTo>
                    <a:pt x="2078" y="233"/>
                  </a:lnTo>
                  <a:lnTo>
                    <a:pt x="2079" y="236"/>
                  </a:lnTo>
                  <a:lnTo>
                    <a:pt x="2081" y="240"/>
                  </a:lnTo>
                  <a:lnTo>
                    <a:pt x="2081" y="244"/>
                  </a:lnTo>
                  <a:lnTo>
                    <a:pt x="2082" y="247"/>
                  </a:lnTo>
                  <a:lnTo>
                    <a:pt x="2072" y="262"/>
                  </a:lnTo>
                  <a:lnTo>
                    <a:pt x="2059" y="275"/>
                  </a:lnTo>
                  <a:lnTo>
                    <a:pt x="2054" y="281"/>
                  </a:lnTo>
                  <a:lnTo>
                    <a:pt x="2049" y="289"/>
                  </a:lnTo>
                  <a:lnTo>
                    <a:pt x="2044" y="296"/>
                  </a:lnTo>
                  <a:lnTo>
                    <a:pt x="2041" y="304"/>
                  </a:lnTo>
                  <a:lnTo>
                    <a:pt x="2028" y="340"/>
                  </a:lnTo>
                  <a:lnTo>
                    <a:pt x="2014" y="372"/>
                  </a:lnTo>
                  <a:lnTo>
                    <a:pt x="2005" y="388"/>
                  </a:lnTo>
                  <a:lnTo>
                    <a:pt x="1996" y="403"/>
                  </a:lnTo>
                  <a:lnTo>
                    <a:pt x="1985" y="418"/>
                  </a:lnTo>
                  <a:lnTo>
                    <a:pt x="1973" y="432"/>
                  </a:lnTo>
                  <a:lnTo>
                    <a:pt x="1968" y="437"/>
                  </a:lnTo>
                  <a:lnTo>
                    <a:pt x="1959" y="441"/>
                  </a:lnTo>
                  <a:lnTo>
                    <a:pt x="1951" y="444"/>
                  </a:lnTo>
                  <a:lnTo>
                    <a:pt x="1942" y="447"/>
                  </a:lnTo>
                  <a:lnTo>
                    <a:pt x="1921" y="450"/>
                  </a:lnTo>
                  <a:lnTo>
                    <a:pt x="1899" y="453"/>
                  </a:lnTo>
                  <a:lnTo>
                    <a:pt x="1879" y="455"/>
                  </a:lnTo>
                  <a:lnTo>
                    <a:pt x="1861" y="456"/>
                  </a:lnTo>
                  <a:lnTo>
                    <a:pt x="1855" y="457"/>
                  </a:lnTo>
                  <a:lnTo>
                    <a:pt x="1850" y="458"/>
                  </a:lnTo>
                  <a:lnTo>
                    <a:pt x="1847" y="460"/>
                  </a:lnTo>
                  <a:lnTo>
                    <a:pt x="1846" y="461"/>
                  </a:lnTo>
                  <a:lnTo>
                    <a:pt x="1849" y="464"/>
                  </a:lnTo>
                  <a:lnTo>
                    <a:pt x="1852" y="467"/>
                  </a:lnTo>
                  <a:lnTo>
                    <a:pt x="1854" y="471"/>
                  </a:lnTo>
                  <a:lnTo>
                    <a:pt x="1857" y="476"/>
                  </a:lnTo>
                  <a:lnTo>
                    <a:pt x="1862" y="489"/>
                  </a:lnTo>
                  <a:lnTo>
                    <a:pt x="1867" y="503"/>
                  </a:lnTo>
                  <a:lnTo>
                    <a:pt x="1872" y="518"/>
                  </a:lnTo>
                  <a:lnTo>
                    <a:pt x="1875" y="536"/>
                  </a:lnTo>
                  <a:lnTo>
                    <a:pt x="1879" y="555"/>
                  </a:lnTo>
                  <a:lnTo>
                    <a:pt x="1882" y="573"/>
                  </a:lnTo>
                  <a:lnTo>
                    <a:pt x="1887" y="612"/>
                  </a:lnTo>
                  <a:lnTo>
                    <a:pt x="1891" y="649"/>
                  </a:lnTo>
                  <a:lnTo>
                    <a:pt x="1893" y="679"/>
                  </a:lnTo>
                  <a:lnTo>
                    <a:pt x="1894" y="700"/>
                  </a:lnTo>
                  <a:lnTo>
                    <a:pt x="1893" y="710"/>
                  </a:lnTo>
                  <a:lnTo>
                    <a:pt x="1893" y="717"/>
                  </a:lnTo>
                  <a:lnTo>
                    <a:pt x="1894" y="724"/>
                  </a:lnTo>
                  <a:lnTo>
                    <a:pt x="1896" y="728"/>
                  </a:lnTo>
                  <a:lnTo>
                    <a:pt x="1899" y="730"/>
                  </a:lnTo>
                  <a:lnTo>
                    <a:pt x="1903" y="732"/>
                  </a:lnTo>
                  <a:lnTo>
                    <a:pt x="1906" y="733"/>
                  </a:lnTo>
                  <a:lnTo>
                    <a:pt x="1910" y="733"/>
                  </a:lnTo>
                  <a:lnTo>
                    <a:pt x="1913" y="734"/>
                  </a:lnTo>
                  <a:lnTo>
                    <a:pt x="1917" y="735"/>
                  </a:lnTo>
                  <a:lnTo>
                    <a:pt x="1919" y="737"/>
                  </a:lnTo>
                  <a:lnTo>
                    <a:pt x="1920" y="739"/>
                  </a:lnTo>
                  <a:lnTo>
                    <a:pt x="1920" y="745"/>
                  </a:lnTo>
                  <a:lnTo>
                    <a:pt x="1919" y="750"/>
                  </a:lnTo>
                  <a:lnTo>
                    <a:pt x="1916" y="758"/>
                  </a:lnTo>
                  <a:lnTo>
                    <a:pt x="1910" y="770"/>
                  </a:lnTo>
                  <a:lnTo>
                    <a:pt x="1904" y="779"/>
                  </a:lnTo>
                  <a:lnTo>
                    <a:pt x="1899" y="793"/>
                  </a:lnTo>
                  <a:lnTo>
                    <a:pt x="1897" y="799"/>
                  </a:lnTo>
                  <a:lnTo>
                    <a:pt x="1897" y="805"/>
                  </a:lnTo>
                  <a:lnTo>
                    <a:pt x="1898" y="807"/>
                  </a:lnTo>
                  <a:lnTo>
                    <a:pt x="1900" y="809"/>
                  </a:lnTo>
                  <a:lnTo>
                    <a:pt x="1902" y="810"/>
                  </a:lnTo>
                  <a:lnTo>
                    <a:pt x="1905" y="811"/>
                  </a:lnTo>
                  <a:lnTo>
                    <a:pt x="1911" y="812"/>
                  </a:lnTo>
                  <a:lnTo>
                    <a:pt x="1920" y="810"/>
                  </a:lnTo>
                  <a:lnTo>
                    <a:pt x="1927" y="808"/>
                  </a:lnTo>
                  <a:lnTo>
                    <a:pt x="1935" y="806"/>
                  </a:lnTo>
                  <a:lnTo>
                    <a:pt x="1944" y="804"/>
                  </a:lnTo>
                  <a:lnTo>
                    <a:pt x="1951" y="802"/>
                  </a:lnTo>
                  <a:lnTo>
                    <a:pt x="1955" y="802"/>
                  </a:lnTo>
                  <a:lnTo>
                    <a:pt x="1958" y="802"/>
                  </a:lnTo>
                  <a:lnTo>
                    <a:pt x="1962" y="803"/>
                  </a:lnTo>
                  <a:lnTo>
                    <a:pt x="1966" y="805"/>
                  </a:lnTo>
                  <a:lnTo>
                    <a:pt x="1975" y="811"/>
                  </a:lnTo>
                  <a:lnTo>
                    <a:pt x="1983" y="819"/>
                  </a:lnTo>
                  <a:lnTo>
                    <a:pt x="1992" y="828"/>
                  </a:lnTo>
                  <a:lnTo>
                    <a:pt x="2000" y="838"/>
                  </a:lnTo>
                  <a:lnTo>
                    <a:pt x="2015" y="861"/>
                  </a:lnTo>
                  <a:lnTo>
                    <a:pt x="2029" y="885"/>
                  </a:lnTo>
                  <a:lnTo>
                    <a:pt x="2038" y="898"/>
                  </a:lnTo>
                  <a:lnTo>
                    <a:pt x="2045" y="908"/>
                  </a:lnTo>
                  <a:lnTo>
                    <a:pt x="2054" y="920"/>
                  </a:lnTo>
                  <a:lnTo>
                    <a:pt x="2063" y="929"/>
                  </a:lnTo>
                  <a:lnTo>
                    <a:pt x="2073" y="937"/>
                  </a:lnTo>
                  <a:lnTo>
                    <a:pt x="2084" y="943"/>
                  </a:lnTo>
                  <a:lnTo>
                    <a:pt x="2091" y="946"/>
                  </a:lnTo>
                  <a:lnTo>
                    <a:pt x="2097" y="948"/>
                  </a:lnTo>
                  <a:lnTo>
                    <a:pt x="2103" y="949"/>
                  </a:lnTo>
                  <a:lnTo>
                    <a:pt x="2111" y="950"/>
                  </a:lnTo>
                  <a:lnTo>
                    <a:pt x="2120" y="952"/>
                  </a:lnTo>
                  <a:lnTo>
                    <a:pt x="2127" y="954"/>
                  </a:lnTo>
                  <a:lnTo>
                    <a:pt x="2133" y="957"/>
                  </a:lnTo>
                  <a:lnTo>
                    <a:pt x="2139" y="961"/>
                  </a:lnTo>
                  <a:lnTo>
                    <a:pt x="2141" y="965"/>
                  </a:lnTo>
                  <a:lnTo>
                    <a:pt x="2143" y="970"/>
                  </a:lnTo>
                  <a:lnTo>
                    <a:pt x="2144" y="975"/>
                  </a:lnTo>
                  <a:lnTo>
                    <a:pt x="2144" y="981"/>
                  </a:lnTo>
                  <a:lnTo>
                    <a:pt x="2139" y="1011"/>
                  </a:lnTo>
                  <a:lnTo>
                    <a:pt x="2135" y="1045"/>
                  </a:lnTo>
                  <a:lnTo>
                    <a:pt x="2136" y="1049"/>
                  </a:lnTo>
                  <a:lnTo>
                    <a:pt x="2137" y="1054"/>
                  </a:lnTo>
                  <a:lnTo>
                    <a:pt x="2140" y="1059"/>
                  </a:lnTo>
                  <a:lnTo>
                    <a:pt x="2144" y="1063"/>
                  </a:lnTo>
                  <a:lnTo>
                    <a:pt x="2153" y="1070"/>
                  </a:lnTo>
                  <a:lnTo>
                    <a:pt x="2165" y="1078"/>
                  </a:lnTo>
                  <a:lnTo>
                    <a:pt x="2190" y="1092"/>
                  </a:lnTo>
                  <a:lnTo>
                    <a:pt x="2210" y="1104"/>
                  </a:lnTo>
                  <a:lnTo>
                    <a:pt x="2215" y="1108"/>
                  </a:lnTo>
                  <a:lnTo>
                    <a:pt x="2219" y="1110"/>
                  </a:lnTo>
                  <a:lnTo>
                    <a:pt x="2223" y="1111"/>
                  </a:lnTo>
                  <a:lnTo>
                    <a:pt x="2227" y="1112"/>
                  </a:lnTo>
                  <a:lnTo>
                    <a:pt x="2236" y="1111"/>
                  </a:lnTo>
                  <a:lnTo>
                    <a:pt x="2244" y="1108"/>
                  </a:lnTo>
                  <a:lnTo>
                    <a:pt x="2251" y="1104"/>
                  </a:lnTo>
                  <a:lnTo>
                    <a:pt x="2260" y="1100"/>
                  </a:lnTo>
                  <a:lnTo>
                    <a:pt x="2268" y="1097"/>
                  </a:lnTo>
                  <a:lnTo>
                    <a:pt x="2277" y="1096"/>
                  </a:lnTo>
                  <a:lnTo>
                    <a:pt x="2286" y="1097"/>
                  </a:lnTo>
                  <a:lnTo>
                    <a:pt x="2294" y="1098"/>
                  </a:lnTo>
                  <a:lnTo>
                    <a:pt x="2302" y="1100"/>
                  </a:lnTo>
                  <a:lnTo>
                    <a:pt x="2311" y="1102"/>
                  </a:lnTo>
                  <a:lnTo>
                    <a:pt x="2319" y="1106"/>
                  </a:lnTo>
                  <a:lnTo>
                    <a:pt x="2328" y="1108"/>
                  </a:lnTo>
                  <a:lnTo>
                    <a:pt x="2338" y="1109"/>
                  </a:lnTo>
                  <a:lnTo>
                    <a:pt x="2347" y="1109"/>
                  </a:lnTo>
                  <a:lnTo>
                    <a:pt x="2376" y="1109"/>
                  </a:lnTo>
                  <a:lnTo>
                    <a:pt x="2406" y="1108"/>
                  </a:lnTo>
                  <a:lnTo>
                    <a:pt x="2420" y="1108"/>
                  </a:lnTo>
                  <a:lnTo>
                    <a:pt x="2435" y="1106"/>
                  </a:lnTo>
                  <a:lnTo>
                    <a:pt x="2448" y="1103"/>
                  </a:lnTo>
                  <a:lnTo>
                    <a:pt x="2463" y="1101"/>
                  </a:lnTo>
                  <a:lnTo>
                    <a:pt x="2475" y="1099"/>
                  </a:lnTo>
                  <a:lnTo>
                    <a:pt x="2485" y="1097"/>
                  </a:lnTo>
                  <a:lnTo>
                    <a:pt x="2492" y="1097"/>
                  </a:lnTo>
                  <a:lnTo>
                    <a:pt x="2497" y="1098"/>
                  </a:lnTo>
                  <a:lnTo>
                    <a:pt x="2510" y="1102"/>
                  </a:lnTo>
                  <a:lnTo>
                    <a:pt x="2530" y="1109"/>
                  </a:lnTo>
                  <a:lnTo>
                    <a:pt x="2529" y="1114"/>
                  </a:lnTo>
                  <a:lnTo>
                    <a:pt x="2527" y="1120"/>
                  </a:lnTo>
                  <a:lnTo>
                    <a:pt x="2523" y="1125"/>
                  </a:lnTo>
                  <a:lnTo>
                    <a:pt x="2520" y="1132"/>
                  </a:lnTo>
                  <a:lnTo>
                    <a:pt x="2511" y="1143"/>
                  </a:lnTo>
                  <a:lnTo>
                    <a:pt x="2499" y="1155"/>
                  </a:lnTo>
                  <a:lnTo>
                    <a:pt x="2489" y="1166"/>
                  </a:lnTo>
                  <a:lnTo>
                    <a:pt x="2480" y="1180"/>
                  </a:lnTo>
                  <a:lnTo>
                    <a:pt x="2475" y="1187"/>
                  </a:lnTo>
                  <a:lnTo>
                    <a:pt x="2473" y="1194"/>
                  </a:lnTo>
                  <a:lnTo>
                    <a:pt x="2471" y="1202"/>
                  </a:lnTo>
                  <a:lnTo>
                    <a:pt x="2470" y="1210"/>
                  </a:lnTo>
                  <a:lnTo>
                    <a:pt x="2469" y="1217"/>
                  </a:lnTo>
                  <a:lnTo>
                    <a:pt x="2470" y="1224"/>
                  </a:lnTo>
                  <a:lnTo>
                    <a:pt x="2471" y="1231"/>
                  </a:lnTo>
                  <a:lnTo>
                    <a:pt x="2473" y="1237"/>
                  </a:lnTo>
                  <a:lnTo>
                    <a:pt x="2475" y="1242"/>
                  </a:lnTo>
                  <a:lnTo>
                    <a:pt x="2480" y="1246"/>
                  </a:lnTo>
                  <a:lnTo>
                    <a:pt x="2483" y="1252"/>
                  </a:lnTo>
                  <a:lnTo>
                    <a:pt x="2488" y="1255"/>
                  </a:lnTo>
                  <a:lnTo>
                    <a:pt x="2508" y="1268"/>
                  </a:lnTo>
                  <a:lnTo>
                    <a:pt x="2528" y="1282"/>
                  </a:lnTo>
                  <a:lnTo>
                    <a:pt x="2541" y="1284"/>
                  </a:lnTo>
                  <a:lnTo>
                    <a:pt x="2555" y="1287"/>
                  </a:lnTo>
                  <a:lnTo>
                    <a:pt x="2555" y="1287"/>
                  </a:lnTo>
                  <a:lnTo>
                    <a:pt x="2557" y="1294"/>
                  </a:lnTo>
                  <a:lnTo>
                    <a:pt x="2558" y="1303"/>
                  </a:lnTo>
                  <a:lnTo>
                    <a:pt x="2559" y="1311"/>
                  </a:lnTo>
                  <a:lnTo>
                    <a:pt x="2559" y="1318"/>
                  </a:lnTo>
                  <a:lnTo>
                    <a:pt x="2559" y="1327"/>
                  </a:lnTo>
                  <a:lnTo>
                    <a:pt x="2558" y="1335"/>
                  </a:lnTo>
                  <a:lnTo>
                    <a:pt x="2556" y="1342"/>
                  </a:lnTo>
                  <a:lnTo>
                    <a:pt x="2554" y="1351"/>
                  </a:lnTo>
                  <a:lnTo>
                    <a:pt x="2552" y="1358"/>
                  </a:lnTo>
                  <a:lnTo>
                    <a:pt x="2547" y="1365"/>
                  </a:lnTo>
                  <a:lnTo>
                    <a:pt x="2544" y="1373"/>
                  </a:lnTo>
                  <a:lnTo>
                    <a:pt x="2539" y="1380"/>
                  </a:lnTo>
                  <a:lnTo>
                    <a:pt x="2535" y="1386"/>
                  </a:lnTo>
                  <a:lnTo>
                    <a:pt x="2529" y="1392"/>
                  </a:lnTo>
                  <a:lnTo>
                    <a:pt x="2523" y="1398"/>
                  </a:lnTo>
                  <a:lnTo>
                    <a:pt x="2516" y="1403"/>
                  </a:lnTo>
                  <a:lnTo>
                    <a:pt x="2505" y="1412"/>
                  </a:lnTo>
                  <a:lnTo>
                    <a:pt x="2493" y="1424"/>
                  </a:lnTo>
                  <a:lnTo>
                    <a:pt x="2481" y="1434"/>
                  </a:lnTo>
                  <a:lnTo>
                    <a:pt x="2469" y="1444"/>
                  </a:lnTo>
                  <a:lnTo>
                    <a:pt x="2458" y="1454"/>
                  </a:lnTo>
                  <a:lnTo>
                    <a:pt x="2447" y="1463"/>
                  </a:lnTo>
                  <a:lnTo>
                    <a:pt x="2438" y="1474"/>
                  </a:lnTo>
                  <a:lnTo>
                    <a:pt x="2429" y="1483"/>
                  </a:lnTo>
                  <a:lnTo>
                    <a:pt x="2427" y="1495"/>
                  </a:lnTo>
                  <a:lnTo>
                    <a:pt x="2426" y="1506"/>
                  </a:lnTo>
                  <a:lnTo>
                    <a:pt x="2424" y="1519"/>
                  </a:lnTo>
                  <a:lnTo>
                    <a:pt x="2421" y="1530"/>
                  </a:lnTo>
                  <a:lnTo>
                    <a:pt x="2418" y="1542"/>
                  </a:lnTo>
                  <a:lnTo>
                    <a:pt x="2413" y="1552"/>
                  </a:lnTo>
                  <a:lnTo>
                    <a:pt x="2407" y="1562"/>
                  </a:lnTo>
                  <a:lnTo>
                    <a:pt x="2400" y="1573"/>
                  </a:lnTo>
                  <a:lnTo>
                    <a:pt x="2388" y="1592"/>
                  </a:lnTo>
                  <a:lnTo>
                    <a:pt x="2377" y="1613"/>
                  </a:lnTo>
                  <a:lnTo>
                    <a:pt x="2372" y="1622"/>
                  </a:lnTo>
                  <a:lnTo>
                    <a:pt x="2366" y="1632"/>
                  </a:lnTo>
                  <a:lnTo>
                    <a:pt x="2359" y="1641"/>
                  </a:lnTo>
                  <a:lnTo>
                    <a:pt x="2350" y="1649"/>
                  </a:lnTo>
                  <a:lnTo>
                    <a:pt x="2316" y="1656"/>
                  </a:lnTo>
                  <a:lnTo>
                    <a:pt x="2283" y="1666"/>
                  </a:lnTo>
                  <a:lnTo>
                    <a:pt x="2266" y="1671"/>
                  </a:lnTo>
                  <a:lnTo>
                    <a:pt x="2251" y="1679"/>
                  </a:lnTo>
                  <a:lnTo>
                    <a:pt x="2244" y="1683"/>
                  </a:lnTo>
                  <a:lnTo>
                    <a:pt x="2238" y="1689"/>
                  </a:lnTo>
                  <a:lnTo>
                    <a:pt x="2231" y="1695"/>
                  </a:lnTo>
                  <a:lnTo>
                    <a:pt x="2225" y="1701"/>
                  </a:lnTo>
                  <a:lnTo>
                    <a:pt x="2219" y="1711"/>
                  </a:lnTo>
                  <a:lnTo>
                    <a:pt x="2214" y="1718"/>
                  </a:lnTo>
                  <a:lnTo>
                    <a:pt x="2211" y="1725"/>
                  </a:lnTo>
                  <a:lnTo>
                    <a:pt x="2207" y="1733"/>
                  </a:lnTo>
                  <a:lnTo>
                    <a:pt x="2205" y="1739"/>
                  </a:lnTo>
                  <a:lnTo>
                    <a:pt x="2204" y="1745"/>
                  </a:lnTo>
                  <a:lnTo>
                    <a:pt x="2203" y="1751"/>
                  </a:lnTo>
                  <a:lnTo>
                    <a:pt x="2203" y="1757"/>
                  </a:lnTo>
                  <a:lnTo>
                    <a:pt x="2203" y="1769"/>
                  </a:lnTo>
                  <a:lnTo>
                    <a:pt x="2203" y="1783"/>
                  </a:lnTo>
                  <a:lnTo>
                    <a:pt x="2202" y="1797"/>
                  </a:lnTo>
                  <a:lnTo>
                    <a:pt x="2199" y="1814"/>
                  </a:lnTo>
                  <a:lnTo>
                    <a:pt x="2126" y="1823"/>
                  </a:lnTo>
                  <a:lnTo>
                    <a:pt x="2122" y="1823"/>
                  </a:lnTo>
                  <a:lnTo>
                    <a:pt x="2120" y="1821"/>
                  </a:lnTo>
                  <a:lnTo>
                    <a:pt x="2118" y="1817"/>
                  </a:lnTo>
                  <a:lnTo>
                    <a:pt x="2117" y="1813"/>
                  </a:lnTo>
                  <a:lnTo>
                    <a:pt x="2116" y="1800"/>
                  </a:lnTo>
                  <a:lnTo>
                    <a:pt x="2117" y="1785"/>
                  </a:lnTo>
                  <a:lnTo>
                    <a:pt x="2117" y="1777"/>
                  </a:lnTo>
                  <a:lnTo>
                    <a:pt x="2117" y="1769"/>
                  </a:lnTo>
                  <a:lnTo>
                    <a:pt x="2116" y="1761"/>
                  </a:lnTo>
                  <a:lnTo>
                    <a:pt x="2114" y="1753"/>
                  </a:lnTo>
                  <a:lnTo>
                    <a:pt x="2112" y="1746"/>
                  </a:lnTo>
                  <a:lnTo>
                    <a:pt x="2108" y="1740"/>
                  </a:lnTo>
                  <a:lnTo>
                    <a:pt x="2103" y="1735"/>
                  </a:lnTo>
                  <a:lnTo>
                    <a:pt x="2097" y="1729"/>
                  </a:lnTo>
                  <a:lnTo>
                    <a:pt x="2075" y="1721"/>
                  </a:lnTo>
                  <a:lnTo>
                    <a:pt x="2051" y="1712"/>
                  </a:lnTo>
                  <a:lnTo>
                    <a:pt x="2045" y="1709"/>
                  </a:lnTo>
                  <a:lnTo>
                    <a:pt x="2040" y="1705"/>
                  </a:lnTo>
                  <a:lnTo>
                    <a:pt x="2035" y="1702"/>
                  </a:lnTo>
                  <a:lnTo>
                    <a:pt x="2031" y="1698"/>
                  </a:lnTo>
                  <a:lnTo>
                    <a:pt x="2028" y="1694"/>
                  </a:lnTo>
                  <a:lnTo>
                    <a:pt x="2025" y="1689"/>
                  </a:lnTo>
                  <a:lnTo>
                    <a:pt x="2024" y="1683"/>
                  </a:lnTo>
                  <a:lnTo>
                    <a:pt x="2023" y="1678"/>
                  </a:lnTo>
                  <a:lnTo>
                    <a:pt x="2023" y="1664"/>
                  </a:lnTo>
                  <a:lnTo>
                    <a:pt x="2022" y="1650"/>
                  </a:lnTo>
                  <a:lnTo>
                    <a:pt x="2020" y="1644"/>
                  </a:lnTo>
                  <a:lnTo>
                    <a:pt x="2017" y="1640"/>
                  </a:lnTo>
                  <a:lnTo>
                    <a:pt x="2015" y="1638"/>
                  </a:lnTo>
                  <a:lnTo>
                    <a:pt x="2011" y="1635"/>
                  </a:lnTo>
                  <a:lnTo>
                    <a:pt x="2008" y="1634"/>
                  </a:lnTo>
                  <a:lnTo>
                    <a:pt x="2004" y="1633"/>
                  </a:lnTo>
                  <a:lnTo>
                    <a:pt x="1993" y="1629"/>
                  </a:lnTo>
                  <a:lnTo>
                    <a:pt x="1980" y="1622"/>
                  </a:lnTo>
                  <a:lnTo>
                    <a:pt x="1974" y="1619"/>
                  </a:lnTo>
                  <a:lnTo>
                    <a:pt x="1968" y="1616"/>
                  </a:lnTo>
                  <a:lnTo>
                    <a:pt x="1961" y="1614"/>
                  </a:lnTo>
                  <a:lnTo>
                    <a:pt x="1956" y="1613"/>
                  </a:lnTo>
                  <a:lnTo>
                    <a:pt x="1952" y="1623"/>
                  </a:lnTo>
                  <a:lnTo>
                    <a:pt x="1943" y="1648"/>
                  </a:lnTo>
                  <a:lnTo>
                    <a:pt x="1936" y="1662"/>
                  </a:lnTo>
                  <a:lnTo>
                    <a:pt x="1931" y="1675"/>
                  </a:lnTo>
                  <a:lnTo>
                    <a:pt x="1925" y="1686"/>
                  </a:lnTo>
                  <a:lnTo>
                    <a:pt x="1920" y="1693"/>
                  </a:lnTo>
                  <a:lnTo>
                    <a:pt x="1911" y="1700"/>
                  </a:lnTo>
                  <a:lnTo>
                    <a:pt x="1902" y="1706"/>
                  </a:lnTo>
                  <a:lnTo>
                    <a:pt x="1894" y="1711"/>
                  </a:lnTo>
                  <a:lnTo>
                    <a:pt x="1884" y="1715"/>
                  </a:lnTo>
                  <a:lnTo>
                    <a:pt x="1874" y="1717"/>
                  </a:lnTo>
                  <a:lnTo>
                    <a:pt x="1863" y="1719"/>
                  </a:lnTo>
                  <a:lnTo>
                    <a:pt x="1853" y="1720"/>
                  </a:lnTo>
                  <a:lnTo>
                    <a:pt x="1843" y="1720"/>
                  </a:lnTo>
                  <a:lnTo>
                    <a:pt x="1838" y="1724"/>
                  </a:lnTo>
                  <a:lnTo>
                    <a:pt x="1831" y="1728"/>
                  </a:lnTo>
                  <a:lnTo>
                    <a:pt x="1822" y="1733"/>
                  </a:lnTo>
                  <a:lnTo>
                    <a:pt x="1811" y="1737"/>
                  </a:lnTo>
                  <a:lnTo>
                    <a:pt x="1791" y="1744"/>
                  </a:lnTo>
                  <a:lnTo>
                    <a:pt x="1778" y="1748"/>
                  </a:lnTo>
                  <a:lnTo>
                    <a:pt x="1778" y="1758"/>
                  </a:lnTo>
                  <a:lnTo>
                    <a:pt x="1779" y="1766"/>
                  </a:lnTo>
                  <a:lnTo>
                    <a:pt x="1780" y="1773"/>
                  </a:lnTo>
                  <a:lnTo>
                    <a:pt x="1782" y="1779"/>
                  </a:lnTo>
                  <a:lnTo>
                    <a:pt x="1787" y="1791"/>
                  </a:lnTo>
                  <a:lnTo>
                    <a:pt x="1794" y="1801"/>
                  </a:lnTo>
                  <a:lnTo>
                    <a:pt x="1808" y="1821"/>
                  </a:lnTo>
                  <a:lnTo>
                    <a:pt x="1825" y="1845"/>
                  </a:lnTo>
                  <a:lnTo>
                    <a:pt x="1827" y="1850"/>
                  </a:lnTo>
                  <a:lnTo>
                    <a:pt x="1829" y="1857"/>
                  </a:lnTo>
                  <a:lnTo>
                    <a:pt x="1829" y="1862"/>
                  </a:lnTo>
                  <a:lnTo>
                    <a:pt x="1829" y="1867"/>
                  </a:lnTo>
                  <a:lnTo>
                    <a:pt x="1827" y="1879"/>
                  </a:lnTo>
                  <a:lnTo>
                    <a:pt x="1824" y="1889"/>
                  </a:lnTo>
                  <a:lnTo>
                    <a:pt x="1819" y="1899"/>
                  </a:lnTo>
                  <a:lnTo>
                    <a:pt x="1814" y="1911"/>
                  </a:lnTo>
                  <a:lnTo>
                    <a:pt x="1810" y="1921"/>
                  </a:lnTo>
                  <a:lnTo>
                    <a:pt x="1809" y="1933"/>
                  </a:lnTo>
                  <a:lnTo>
                    <a:pt x="1809" y="1942"/>
                  </a:lnTo>
                  <a:lnTo>
                    <a:pt x="1811" y="1951"/>
                  </a:lnTo>
                  <a:lnTo>
                    <a:pt x="1814" y="1958"/>
                  </a:lnTo>
                  <a:lnTo>
                    <a:pt x="1819" y="1964"/>
                  </a:lnTo>
                  <a:lnTo>
                    <a:pt x="1823" y="1970"/>
                  </a:lnTo>
                  <a:lnTo>
                    <a:pt x="1829" y="1977"/>
                  </a:lnTo>
                  <a:lnTo>
                    <a:pt x="1834" y="1982"/>
                  </a:lnTo>
                  <a:lnTo>
                    <a:pt x="1840" y="1986"/>
                  </a:lnTo>
                  <a:lnTo>
                    <a:pt x="1852" y="1996"/>
                  </a:lnTo>
                  <a:lnTo>
                    <a:pt x="1862" y="2008"/>
                  </a:lnTo>
                  <a:lnTo>
                    <a:pt x="1867" y="2014"/>
                  </a:lnTo>
                  <a:lnTo>
                    <a:pt x="1870" y="2022"/>
                  </a:lnTo>
                  <a:lnTo>
                    <a:pt x="1871" y="2029"/>
                  </a:lnTo>
                  <a:lnTo>
                    <a:pt x="1872" y="2038"/>
                  </a:lnTo>
                  <a:lnTo>
                    <a:pt x="1863" y="2156"/>
                  </a:lnTo>
                  <a:lnTo>
                    <a:pt x="1863" y="2156"/>
                  </a:lnTo>
                  <a:lnTo>
                    <a:pt x="1835" y="2149"/>
                  </a:lnTo>
                  <a:lnTo>
                    <a:pt x="1824" y="2147"/>
                  </a:lnTo>
                  <a:lnTo>
                    <a:pt x="1811" y="2145"/>
                  </a:lnTo>
                  <a:lnTo>
                    <a:pt x="1799" y="2145"/>
                  </a:lnTo>
                  <a:lnTo>
                    <a:pt x="1785" y="2145"/>
                  </a:lnTo>
                  <a:lnTo>
                    <a:pt x="1772" y="2147"/>
                  </a:lnTo>
                  <a:lnTo>
                    <a:pt x="1759" y="2148"/>
                  </a:lnTo>
                  <a:lnTo>
                    <a:pt x="1747" y="2151"/>
                  </a:lnTo>
                  <a:lnTo>
                    <a:pt x="1735" y="2154"/>
                  </a:lnTo>
                  <a:lnTo>
                    <a:pt x="1727" y="2155"/>
                  </a:lnTo>
                  <a:lnTo>
                    <a:pt x="1717" y="2157"/>
                  </a:lnTo>
                  <a:lnTo>
                    <a:pt x="1709" y="2158"/>
                  </a:lnTo>
                  <a:lnTo>
                    <a:pt x="1701" y="2159"/>
                  </a:lnTo>
                  <a:lnTo>
                    <a:pt x="1675" y="2154"/>
                  </a:lnTo>
                  <a:lnTo>
                    <a:pt x="1649" y="2149"/>
                  </a:lnTo>
                  <a:lnTo>
                    <a:pt x="1623" y="2144"/>
                  </a:lnTo>
                  <a:lnTo>
                    <a:pt x="1598" y="2137"/>
                  </a:lnTo>
                  <a:lnTo>
                    <a:pt x="1591" y="2141"/>
                  </a:lnTo>
                  <a:lnTo>
                    <a:pt x="1585" y="2146"/>
                  </a:lnTo>
                  <a:lnTo>
                    <a:pt x="1580" y="2151"/>
                  </a:lnTo>
                  <a:lnTo>
                    <a:pt x="1574" y="2156"/>
                  </a:lnTo>
                  <a:lnTo>
                    <a:pt x="1564" y="2169"/>
                  </a:lnTo>
                  <a:lnTo>
                    <a:pt x="1556" y="2182"/>
                  </a:lnTo>
                  <a:lnTo>
                    <a:pt x="1547" y="2197"/>
                  </a:lnTo>
                  <a:lnTo>
                    <a:pt x="1541" y="2210"/>
                  </a:lnTo>
                  <a:lnTo>
                    <a:pt x="1535" y="2225"/>
                  </a:lnTo>
                  <a:lnTo>
                    <a:pt x="1530" y="2238"/>
                  </a:lnTo>
                  <a:lnTo>
                    <a:pt x="1528" y="2247"/>
                  </a:lnTo>
                  <a:lnTo>
                    <a:pt x="1528" y="2258"/>
                  </a:lnTo>
                  <a:lnTo>
                    <a:pt x="1528" y="2272"/>
                  </a:lnTo>
                  <a:lnTo>
                    <a:pt x="1529" y="2285"/>
                  </a:lnTo>
                  <a:lnTo>
                    <a:pt x="1531" y="2299"/>
                  </a:lnTo>
                  <a:lnTo>
                    <a:pt x="1532" y="2310"/>
                  </a:lnTo>
                  <a:lnTo>
                    <a:pt x="1532" y="2319"/>
                  </a:lnTo>
                  <a:lnTo>
                    <a:pt x="1531" y="2322"/>
                  </a:lnTo>
                  <a:lnTo>
                    <a:pt x="1528" y="2325"/>
                  </a:lnTo>
                  <a:lnTo>
                    <a:pt x="1524" y="2328"/>
                  </a:lnTo>
                  <a:lnTo>
                    <a:pt x="1519" y="2329"/>
                  </a:lnTo>
                  <a:lnTo>
                    <a:pt x="1514" y="2330"/>
                  </a:lnTo>
                  <a:lnTo>
                    <a:pt x="1505" y="2329"/>
                  </a:lnTo>
                  <a:lnTo>
                    <a:pt x="1494" y="2327"/>
                  </a:lnTo>
                  <a:lnTo>
                    <a:pt x="1483" y="2322"/>
                  </a:lnTo>
                  <a:lnTo>
                    <a:pt x="1471" y="2317"/>
                  </a:lnTo>
                  <a:lnTo>
                    <a:pt x="1460" y="2310"/>
                  </a:lnTo>
                  <a:lnTo>
                    <a:pt x="1448" y="2304"/>
                  </a:lnTo>
                  <a:lnTo>
                    <a:pt x="1437" y="2298"/>
                  </a:lnTo>
                  <a:lnTo>
                    <a:pt x="1427" y="2292"/>
                  </a:lnTo>
                  <a:lnTo>
                    <a:pt x="1416" y="2288"/>
                  </a:lnTo>
                  <a:lnTo>
                    <a:pt x="1407" y="2285"/>
                  </a:lnTo>
                  <a:lnTo>
                    <a:pt x="1402" y="2284"/>
                  </a:lnTo>
                  <a:lnTo>
                    <a:pt x="1397" y="2285"/>
                  </a:lnTo>
                  <a:lnTo>
                    <a:pt x="1393" y="2285"/>
                  </a:lnTo>
                  <a:lnTo>
                    <a:pt x="1390" y="2288"/>
                  </a:lnTo>
                  <a:lnTo>
                    <a:pt x="1386" y="2290"/>
                  </a:lnTo>
                  <a:lnTo>
                    <a:pt x="1384" y="2293"/>
                  </a:lnTo>
                  <a:lnTo>
                    <a:pt x="1381" y="2297"/>
                  </a:lnTo>
                  <a:lnTo>
                    <a:pt x="1379" y="2302"/>
                  </a:lnTo>
                  <a:lnTo>
                    <a:pt x="1377" y="2308"/>
                  </a:lnTo>
                  <a:lnTo>
                    <a:pt x="1374" y="2316"/>
                  </a:lnTo>
                  <a:lnTo>
                    <a:pt x="1374" y="2323"/>
                  </a:lnTo>
                  <a:lnTo>
                    <a:pt x="1374" y="2331"/>
                  </a:lnTo>
                  <a:lnTo>
                    <a:pt x="1374" y="2347"/>
                  </a:lnTo>
                  <a:lnTo>
                    <a:pt x="1374" y="2363"/>
                  </a:lnTo>
                  <a:lnTo>
                    <a:pt x="1374" y="2371"/>
                  </a:lnTo>
                  <a:lnTo>
                    <a:pt x="1373" y="2378"/>
                  </a:lnTo>
                  <a:lnTo>
                    <a:pt x="1372" y="2386"/>
                  </a:lnTo>
                  <a:lnTo>
                    <a:pt x="1370" y="2393"/>
                  </a:lnTo>
                  <a:lnTo>
                    <a:pt x="1368" y="2400"/>
                  </a:lnTo>
                  <a:lnTo>
                    <a:pt x="1364" y="2406"/>
                  </a:lnTo>
                  <a:lnTo>
                    <a:pt x="1359" y="2412"/>
                  </a:lnTo>
                  <a:lnTo>
                    <a:pt x="1354" y="2417"/>
                  </a:lnTo>
                  <a:lnTo>
                    <a:pt x="1351" y="2424"/>
                  </a:lnTo>
                  <a:lnTo>
                    <a:pt x="1348" y="2429"/>
                  </a:lnTo>
                  <a:lnTo>
                    <a:pt x="1343" y="2433"/>
                  </a:lnTo>
                  <a:lnTo>
                    <a:pt x="1338" y="2434"/>
                  </a:lnTo>
                  <a:lnTo>
                    <a:pt x="1332" y="2435"/>
                  </a:lnTo>
                  <a:lnTo>
                    <a:pt x="1324" y="2434"/>
                  </a:lnTo>
                  <a:lnTo>
                    <a:pt x="1317" y="2431"/>
                  </a:lnTo>
                  <a:lnTo>
                    <a:pt x="1310" y="2428"/>
                  </a:lnTo>
                  <a:lnTo>
                    <a:pt x="1294" y="2421"/>
                  </a:lnTo>
                  <a:lnTo>
                    <a:pt x="1280" y="2412"/>
                  </a:lnTo>
                  <a:lnTo>
                    <a:pt x="1268" y="2404"/>
                  </a:lnTo>
                  <a:lnTo>
                    <a:pt x="1261" y="2398"/>
                  </a:lnTo>
                  <a:lnTo>
                    <a:pt x="1247" y="2386"/>
                  </a:lnTo>
                  <a:lnTo>
                    <a:pt x="1234" y="2374"/>
                  </a:lnTo>
                  <a:lnTo>
                    <a:pt x="1220" y="2364"/>
                  </a:lnTo>
                  <a:lnTo>
                    <a:pt x="1207" y="2354"/>
                  </a:lnTo>
                  <a:lnTo>
                    <a:pt x="1192" y="2346"/>
                  </a:lnTo>
                  <a:lnTo>
                    <a:pt x="1176" y="2338"/>
                  </a:lnTo>
                  <a:lnTo>
                    <a:pt x="1160" y="2331"/>
                  </a:lnTo>
                  <a:lnTo>
                    <a:pt x="1143" y="2324"/>
                  </a:lnTo>
                  <a:lnTo>
                    <a:pt x="1124" y="2317"/>
                  </a:lnTo>
                  <a:lnTo>
                    <a:pt x="1105" y="2308"/>
                  </a:lnTo>
                  <a:lnTo>
                    <a:pt x="1087" y="2299"/>
                  </a:lnTo>
                  <a:lnTo>
                    <a:pt x="1069" y="2290"/>
                  </a:lnTo>
                  <a:lnTo>
                    <a:pt x="1069" y="229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7" name="Freeform 154">
              <a:extLst>
                <a:ext uri="{FF2B5EF4-FFF2-40B4-BE49-F238E27FC236}">
                  <a16:creationId xmlns:a16="http://schemas.microsoft.com/office/drawing/2014/main" id="{A1AA813E-1C29-4386-A64E-438A0342C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1127" y="5312413"/>
              <a:ext cx="642109" cy="590140"/>
            </a:xfrm>
            <a:custGeom>
              <a:avLst/>
              <a:gdLst>
                <a:gd name="T0" fmla="*/ 984 w 2559"/>
                <a:gd name="T1" fmla="*/ 2285 h 2435"/>
                <a:gd name="T2" fmla="*/ 913 w 2559"/>
                <a:gd name="T3" fmla="*/ 2249 h 2435"/>
                <a:gd name="T4" fmla="*/ 911 w 2559"/>
                <a:gd name="T5" fmla="*/ 2060 h 2435"/>
                <a:gd name="T6" fmla="*/ 887 w 2559"/>
                <a:gd name="T7" fmla="*/ 1915 h 2435"/>
                <a:gd name="T8" fmla="*/ 941 w 2559"/>
                <a:gd name="T9" fmla="*/ 1789 h 2435"/>
                <a:gd name="T10" fmla="*/ 848 w 2559"/>
                <a:gd name="T11" fmla="*/ 1681 h 2435"/>
                <a:gd name="T12" fmla="*/ 744 w 2559"/>
                <a:gd name="T13" fmla="*/ 1790 h 2435"/>
                <a:gd name="T14" fmla="*/ 699 w 2559"/>
                <a:gd name="T15" fmla="*/ 1914 h 2435"/>
                <a:gd name="T16" fmla="*/ 714 w 2559"/>
                <a:gd name="T17" fmla="*/ 2064 h 2435"/>
                <a:gd name="T18" fmla="*/ 555 w 2559"/>
                <a:gd name="T19" fmla="*/ 1995 h 2435"/>
                <a:gd name="T20" fmla="*/ 443 w 2559"/>
                <a:gd name="T21" fmla="*/ 2080 h 2435"/>
                <a:gd name="T22" fmla="*/ 278 w 2559"/>
                <a:gd name="T23" fmla="*/ 2006 h 2435"/>
                <a:gd name="T24" fmla="*/ 133 w 2559"/>
                <a:gd name="T25" fmla="*/ 1969 h 2435"/>
                <a:gd name="T26" fmla="*/ 238 w 2559"/>
                <a:gd name="T27" fmla="*/ 1899 h 2435"/>
                <a:gd name="T28" fmla="*/ 145 w 2559"/>
                <a:gd name="T29" fmla="*/ 1695 h 2435"/>
                <a:gd name="T30" fmla="*/ 106 w 2559"/>
                <a:gd name="T31" fmla="*/ 1560 h 2435"/>
                <a:gd name="T32" fmla="*/ 2 w 2559"/>
                <a:gd name="T33" fmla="*/ 1487 h 2435"/>
                <a:gd name="T34" fmla="*/ 126 w 2559"/>
                <a:gd name="T35" fmla="*/ 1338 h 2435"/>
                <a:gd name="T36" fmla="*/ 258 w 2559"/>
                <a:gd name="T37" fmla="*/ 1196 h 2435"/>
                <a:gd name="T38" fmla="*/ 430 w 2559"/>
                <a:gd name="T39" fmla="*/ 1227 h 2435"/>
                <a:gd name="T40" fmla="*/ 411 w 2559"/>
                <a:gd name="T41" fmla="*/ 1047 h 2435"/>
                <a:gd name="T42" fmla="*/ 563 w 2559"/>
                <a:gd name="T43" fmla="*/ 749 h 2435"/>
                <a:gd name="T44" fmla="*/ 715 w 2559"/>
                <a:gd name="T45" fmla="*/ 663 h 2435"/>
                <a:gd name="T46" fmla="*/ 825 w 2559"/>
                <a:gd name="T47" fmla="*/ 649 h 2435"/>
                <a:gd name="T48" fmla="*/ 1117 w 2559"/>
                <a:gd name="T49" fmla="*/ 676 h 2435"/>
                <a:gd name="T50" fmla="*/ 1146 w 2559"/>
                <a:gd name="T51" fmla="*/ 587 h 2435"/>
                <a:gd name="T52" fmla="*/ 1117 w 2559"/>
                <a:gd name="T53" fmla="*/ 413 h 2435"/>
                <a:gd name="T54" fmla="*/ 1208 w 2559"/>
                <a:gd name="T55" fmla="*/ 360 h 2435"/>
                <a:gd name="T56" fmla="*/ 1348 w 2559"/>
                <a:gd name="T57" fmla="*/ 339 h 2435"/>
                <a:gd name="T58" fmla="*/ 1426 w 2559"/>
                <a:gd name="T59" fmla="*/ 168 h 2435"/>
                <a:gd name="T60" fmla="*/ 1582 w 2559"/>
                <a:gd name="T61" fmla="*/ 150 h 2435"/>
                <a:gd name="T62" fmla="*/ 1666 w 2559"/>
                <a:gd name="T63" fmla="*/ 81 h 2435"/>
                <a:gd name="T64" fmla="*/ 1779 w 2559"/>
                <a:gd name="T65" fmla="*/ 23 h 2435"/>
                <a:gd name="T66" fmla="*/ 1888 w 2559"/>
                <a:gd name="T67" fmla="*/ 45 h 2435"/>
                <a:gd name="T68" fmla="*/ 1994 w 2559"/>
                <a:gd name="T69" fmla="*/ 34 h 2435"/>
                <a:gd name="T70" fmla="*/ 2040 w 2559"/>
                <a:gd name="T71" fmla="*/ 193 h 2435"/>
                <a:gd name="T72" fmla="*/ 2014 w 2559"/>
                <a:gd name="T73" fmla="*/ 372 h 2435"/>
                <a:gd name="T74" fmla="*/ 1849 w 2559"/>
                <a:gd name="T75" fmla="*/ 464 h 2435"/>
                <a:gd name="T76" fmla="*/ 1896 w 2559"/>
                <a:gd name="T77" fmla="*/ 728 h 2435"/>
                <a:gd name="T78" fmla="*/ 1898 w 2559"/>
                <a:gd name="T79" fmla="*/ 807 h 2435"/>
                <a:gd name="T80" fmla="*/ 2000 w 2559"/>
                <a:gd name="T81" fmla="*/ 838 h 2435"/>
                <a:gd name="T82" fmla="*/ 2141 w 2559"/>
                <a:gd name="T83" fmla="*/ 965 h 2435"/>
                <a:gd name="T84" fmla="*/ 2227 w 2559"/>
                <a:gd name="T85" fmla="*/ 1112 h 2435"/>
                <a:gd name="T86" fmla="*/ 2420 w 2559"/>
                <a:gd name="T87" fmla="*/ 1108 h 2435"/>
                <a:gd name="T88" fmla="*/ 2480 w 2559"/>
                <a:gd name="T89" fmla="*/ 1180 h 2435"/>
                <a:gd name="T90" fmla="*/ 2555 w 2559"/>
                <a:gd name="T91" fmla="*/ 1287 h 2435"/>
                <a:gd name="T92" fmla="*/ 2505 w 2559"/>
                <a:gd name="T93" fmla="*/ 1412 h 2435"/>
                <a:gd name="T94" fmla="*/ 2377 w 2559"/>
                <a:gd name="T95" fmla="*/ 1613 h 2435"/>
                <a:gd name="T96" fmla="*/ 2205 w 2559"/>
                <a:gd name="T97" fmla="*/ 1739 h 2435"/>
                <a:gd name="T98" fmla="*/ 2116 w 2559"/>
                <a:gd name="T99" fmla="*/ 1761 h 2435"/>
                <a:gd name="T100" fmla="*/ 2022 w 2559"/>
                <a:gd name="T101" fmla="*/ 1650 h 2435"/>
                <a:gd name="T102" fmla="*/ 1925 w 2559"/>
                <a:gd name="T103" fmla="*/ 1686 h 2435"/>
                <a:gd name="T104" fmla="*/ 1779 w 2559"/>
                <a:gd name="T105" fmla="*/ 1766 h 2435"/>
                <a:gd name="T106" fmla="*/ 1809 w 2559"/>
                <a:gd name="T107" fmla="*/ 1942 h 2435"/>
                <a:gd name="T108" fmla="*/ 1824 w 2559"/>
                <a:gd name="T109" fmla="*/ 2147 h 2435"/>
                <a:gd name="T110" fmla="*/ 1585 w 2559"/>
                <a:gd name="T111" fmla="*/ 2146 h 2435"/>
                <a:gd name="T112" fmla="*/ 1528 w 2559"/>
                <a:gd name="T113" fmla="*/ 2325 h 2435"/>
                <a:gd name="T114" fmla="*/ 1390 w 2559"/>
                <a:gd name="T115" fmla="*/ 2288 h 2435"/>
                <a:gd name="T116" fmla="*/ 1359 w 2559"/>
                <a:gd name="T117" fmla="*/ 2412 h 2435"/>
                <a:gd name="T118" fmla="*/ 1207 w 2559"/>
                <a:gd name="T119" fmla="*/ 2354 h 2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9" h="2435">
                  <a:moveTo>
                    <a:pt x="1069" y="2290"/>
                  </a:moveTo>
                  <a:lnTo>
                    <a:pt x="1066" y="2283"/>
                  </a:lnTo>
                  <a:lnTo>
                    <a:pt x="1063" y="2277"/>
                  </a:lnTo>
                  <a:lnTo>
                    <a:pt x="1057" y="2273"/>
                  </a:lnTo>
                  <a:lnTo>
                    <a:pt x="1052" y="2269"/>
                  </a:lnTo>
                  <a:lnTo>
                    <a:pt x="1047" y="2266"/>
                  </a:lnTo>
                  <a:lnTo>
                    <a:pt x="1041" y="2262"/>
                  </a:lnTo>
                  <a:lnTo>
                    <a:pt x="1035" y="2261"/>
                  </a:lnTo>
                  <a:lnTo>
                    <a:pt x="1028" y="2260"/>
                  </a:lnTo>
                  <a:lnTo>
                    <a:pt x="1021" y="2260"/>
                  </a:lnTo>
                  <a:lnTo>
                    <a:pt x="1015" y="2261"/>
                  </a:lnTo>
                  <a:lnTo>
                    <a:pt x="1008" y="2262"/>
                  </a:lnTo>
                  <a:lnTo>
                    <a:pt x="1003" y="2266"/>
                  </a:lnTo>
                  <a:lnTo>
                    <a:pt x="997" y="2269"/>
                  </a:lnTo>
                  <a:lnTo>
                    <a:pt x="992" y="2273"/>
                  </a:lnTo>
                  <a:lnTo>
                    <a:pt x="988" y="2279"/>
                  </a:lnTo>
                  <a:lnTo>
                    <a:pt x="984" y="2285"/>
                  </a:lnTo>
                  <a:lnTo>
                    <a:pt x="971" y="2295"/>
                  </a:lnTo>
                  <a:lnTo>
                    <a:pt x="956" y="2303"/>
                  </a:lnTo>
                  <a:lnTo>
                    <a:pt x="949" y="2306"/>
                  </a:lnTo>
                  <a:lnTo>
                    <a:pt x="944" y="2307"/>
                  </a:lnTo>
                  <a:lnTo>
                    <a:pt x="938" y="2308"/>
                  </a:lnTo>
                  <a:lnTo>
                    <a:pt x="933" y="2308"/>
                  </a:lnTo>
                  <a:lnTo>
                    <a:pt x="929" y="2307"/>
                  </a:lnTo>
                  <a:lnTo>
                    <a:pt x="925" y="2306"/>
                  </a:lnTo>
                  <a:lnTo>
                    <a:pt x="922" y="2305"/>
                  </a:lnTo>
                  <a:lnTo>
                    <a:pt x="919" y="2302"/>
                  </a:lnTo>
                  <a:lnTo>
                    <a:pt x="917" y="2300"/>
                  </a:lnTo>
                  <a:lnTo>
                    <a:pt x="915" y="2297"/>
                  </a:lnTo>
                  <a:lnTo>
                    <a:pt x="914" y="2293"/>
                  </a:lnTo>
                  <a:lnTo>
                    <a:pt x="913" y="2290"/>
                  </a:lnTo>
                  <a:lnTo>
                    <a:pt x="910" y="2280"/>
                  </a:lnTo>
                  <a:lnTo>
                    <a:pt x="910" y="2270"/>
                  </a:lnTo>
                  <a:lnTo>
                    <a:pt x="913" y="2249"/>
                  </a:lnTo>
                  <a:lnTo>
                    <a:pt x="917" y="2227"/>
                  </a:lnTo>
                  <a:lnTo>
                    <a:pt x="921" y="2207"/>
                  </a:lnTo>
                  <a:lnTo>
                    <a:pt x="922" y="2192"/>
                  </a:lnTo>
                  <a:lnTo>
                    <a:pt x="922" y="2184"/>
                  </a:lnTo>
                  <a:lnTo>
                    <a:pt x="922" y="2177"/>
                  </a:lnTo>
                  <a:lnTo>
                    <a:pt x="920" y="2170"/>
                  </a:lnTo>
                  <a:lnTo>
                    <a:pt x="918" y="2163"/>
                  </a:lnTo>
                  <a:lnTo>
                    <a:pt x="913" y="2150"/>
                  </a:lnTo>
                  <a:lnTo>
                    <a:pt x="907" y="2137"/>
                  </a:lnTo>
                  <a:lnTo>
                    <a:pt x="901" y="2124"/>
                  </a:lnTo>
                  <a:lnTo>
                    <a:pt x="896" y="2111"/>
                  </a:lnTo>
                  <a:lnTo>
                    <a:pt x="895" y="2104"/>
                  </a:lnTo>
                  <a:lnTo>
                    <a:pt x="894" y="2097"/>
                  </a:lnTo>
                  <a:lnTo>
                    <a:pt x="893" y="2089"/>
                  </a:lnTo>
                  <a:lnTo>
                    <a:pt x="893" y="2081"/>
                  </a:lnTo>
                  <a:lnTo>
                    <a:pt x="902" y="2071"/>
                  </a:lnTo>
                  <a:lnTo>
                    <a:pt x="911" y="2060"/>
                  </a:lnTo>
                  <a:lnTo>
                    <a:pt x="921" y="2050"/>
                  </a:lnTo>
                  <a:lnTo>
                    <a:pt x="931" y="2040"/>
                  </a:lnTo>
                  <a:lnTo>
                    <a:pt x="952" y="2022"/>
                  </a:lnTo>
                  <a:lnTo>
                    <a:pt x="973" y="2002"/>
                  </a:lnTo>
                  <a:lnTo>
                    <a:pt x="973" y="1999"/>
                  </a:lnTo>
                  <a:lnTo>
                    <a:pt x="972" y="1994"/>
                  </a:lnTo>
                  <a:lnTo>
                    <a:pt x="970" y="1990"/>
                  </a:lnTo>
                  <a:lnTo>
                    <a:pt x="968" y="1987"/>
                  </a:lnTo>
                  <a:lnTo>
                    <a:pt x="963" y="1980"/>
                  </a:lnTo>
                  <a:lnTo>
                    <a:pt x="955" y="1974"/>
                  </a:lnTo>
                  <a:lnTo>
                    <a:pt x="939" y="1962"/>
                  </a:lnTo>
                  <a:lnTo>
                    <a:pt x="925" y="1953"/>
                  </a:lnTo>
                  <a:lnTo>
                    <a:pt x="917" y="1945"/>
                  </a:lnTo>
                  <a:lnTo>
                    <a:pt x="908" y="1939"/>
                  </a:lnTo>
                  <a:lnTo>
                    <a:pt x="901" y="1931"/>
                  </a:lnTo>
                  <a:lnTo>
                    <a:pt x="894" y="1923"/>
                  </a:lnTo>
                  <a:lnTo>
                    <a:pt x="887" y="1915"/>
                  </a:lnTo>
                  <a:lnTo>
                    <a:pt x="881" y="1906"/>
                  </a:lnTo>
                  <a:lnTo>
                    <a:pt x="877" y="1896"/>
                  </a:lnTo>
                  <a:lnTo>
                    <a:pt x="873" y="1886"/>
                  </a:lnTo>
                  <a:lnTo>
                    <a:pt x="872" y="1882"/>
                  </a:lnTo>
                  <a:lnTo>
                    <a:pt x="871" y="1876"/>
                  </a:lnTo>
                  <a:lnTo>
                    <a:pt x="871" y="1872"/>
                  </a:lnTo>
                  <a:lnTo>
                    <a:pt x="872" y="1867"/>
                  </a:lnTo>
                  <a:lnTo>
                    <a:pt x="875" y="1859"/>
                  </a:lnTo>
                  <a:lnTo>
                    <a:pt x="880" y="1851"/>
                  </a:lnTo>
                  <a:lnTo>
                    <a:pt x="886" y="1843"/>
                  </a:lnTo>
                  <a:lnTo>
                    <a:pt x="895" y="1836"/>
                  </a:lnTo>
                  <a:lnTo>
                    <a:pt x="903" y="1828"/>
                  </a:lnTo>
                  <a:lnTo>
                    <a:pt x="911" y="1821"/>
                  </a:lnTo>
                  <a:lnTo>
                    <a:pt x="920" y="1814"/>
                  </a:lnTo>
                  <a:lnTo>
                    <a:pt x="928" y="1806"/>
                  </a:lnTo>
                  <a:lnTo>
                    <a:pt x="935" y="1797"/>
                  </a:lnTo>
                  <a:lnTo>
                    <a:pt x="941" y="1789"/>
                  </a:lnTo>
                  <a:lnTo>
                    <a:pt x="944" y="1784"/>
                  </a:lnTo>
                  <a:lnTo>
                    <a:pt x="946" y="1779"/>
                  </a:lnTo>
                  <a:lnTo>
                    <a:pt x="947" y="1774"/>
                  </a:lnTo>
                  <a:lnTo>
                    <a:pt x="948" y="1769"/>
                  </a:lnTo>
                  <a:lnTo>
                    <a:pt x="948" y="1764"/>
                  </a:lnTo>
                  <a:lnTo>
                    <a:pt x="947" y="1758"/>
                  </a:lnTo>
                  <a:lnTo>
                    <a:pt x="946" y="1751"/>
                  </a:lnTo>
                  <a:lnTo>
                    <a:pt x="944" y="1745"/>
                  </a:lnTo>
                  <a:lnTo>
                    <a:pt x="942" y="1740"/>
                  </a:lnTo>
                  <a:lnTo>
                    <a:pt x="938" y="1735"/>
                  </a:lnTo>
                  <a:lnTo>
                    <a:pt x="934" y="1730"/>
                  </a:lnTo>
                  <a:lnTo>
                    <a:pt x="929" y="1725"/>
                  </a:lnTo>
                  <a:lnTo>
                    <a:pt x="919" y="1718"/>
                  </a:lnTo>
                  <a:lnTo>
                    <a:pt x="907" y="1711"/>
                  </a:lnTo>
                  <a:lnTo>
                    <a:pt x="882" y="1699"/>
                  </a:lnTo>
                  <a:lnTo>
                    <a:pt x="860" y="1689"/>
                  </a:lnTo>
                  <a:lnTo>
                    <a:pt x="848" y="1681"/>
                  </a:lnTo>
                  <a:lnTo>
                    <a:pt x="835" y="1675"/>
                  </a:lnTo>
                  <a:lnTo>
                    <a:pt x="823" y="1669"/>
                  </a:lnTo>
                  <a:lnTo>
                    <a:pt x="809" y="1664"/>
                  </a:lnTo>
                  <a:lnTo>
                    <a:pt x="744" y="1674"/>
                  </a:lnTo>
                  <a:lnTo>
                    <a:pt x="739" y="1678"/>
                  </a:lnTo>
                  <a:lnTo>
                    <a:pt x="736" y="1683"/>
                  </a:lnTo>
                  <a:lnTo>
                    <a:pt x="733" y="1689"/>
                  </a:lnTo>
                  <a:lnTo>
                    <a:pt x="732" y="1695"/>
                  </a:lnTo>
                  <a:lnTo>
                    <a:pt x="731" y="1701"/>
                  </a:lnTo>
                  <a:lnTo>
                    <a:pt x="731" y="1707"/>
                  </a:lnTo>
                  <a:lnTo>
                    <a:pt x="731" y="1715"/>
                  </a:lnTo>
                  <a:lnTo>
                    <a:pt x="732" y="1721"/>
                  </a:lnTo>
                  <a:lnTo>
                    <a:pt x="737" y="1748"/>
                  </a:lnTo>
                  <a:lnTo>
                    <a:pt x="744" y="1771"/>
                  </a:lnTo>
                  <a:lnTo>
                    <a:pt x="745" y="1778"/>
                  </a:lnTo>
                  <a:lnTo>
                    <a:pt x="745" y="1784"/>
                  </a:lnTo>
                  <a:lnTo>
                    <a:pt x="744" y="1790"/>
                  </a:lnTo>
                  <a:lnTo>
                    <a:pt x="743" y="1795"/>
                  </a:lnTo>
                  <a:lnTo>
                    <a:pt x="739" y="1806"/>
                  </a:lnTo>
                  <a:lnTo>
                    <a:pt x="735" y="1815"/>
                  </a:lnTo>
                  <a:lnTo>
                    <a:pt x="730" y="1823"/>
                  </a:lnTo>
                  <a:lnTo>
                    <a:pt x="724" y="1833"/>
                  </a:lnTo>
                  <a:lnTo>
                    <a:pt x="720" y="1842"/>
                  </a:lnTo>
                  <a:lnTo>
                    <a:pt x="715" y="1854"/>
                  </a:lnTo>
                  <a:lnTo>
                    <a:pt x="709" y="1858"/>
                  </a:lnTo>
                  <a:lnTo>
                    <a:pt x="704" y="1863"/>
                  </a:lnTo>
                  <a:lnTo>
                    <a:pt x="701" y="1867"/>
                  </a:lnTo>
                  <a:lnTo>
                    <a:pt x="698" y="1872"/>
                  </a:lnTo>
                  <a:lnTo>
                    <a:pt x="696" y="1878"/>
                  </a:lnTo>
                  <a:lnTo>
                    <a:pt x="694" y="1883"/>
                  </a:lnTo>
                  <a:lnTo>
                    <a:pt x="694" y="1888"/>
                  </a:lnTo>
                  <a:lnTo>
                    <a:pt x="694" y="1892"/>
                  </a:lnTo>
                  <a:lnTo>
                    <a:pt x="696" y="1904"/>
                  </a:lnTo>
                  <a:lnTo>
                    <a:pt x="699" y="1914"/>
                  </a:lnTo>
                  <a:lnTo>
                    <a:pt x="705" y="1924"/>
                  </a:lnTo>
                  <a:lnTo>
                    <a:pt x="711" y="1936"/>
                  </a:lnTo>
                  <a:lnTo>
                    <a:pt x="725" y="1959"/>
                  </a:lnTo>
                  <a:lnTo>
                    <a:pt x="738" y="1982"/>
                  </a:lnTo>
                  <a:lnTo>
                    <a:pt x="743" y="1993"/>
                  </a:lnTo>
                  <a:lnTo>
                    <a:pt x="746" y="2006"/>
                  </a:lnTo>
                  <a:lnTo>
                    <a:pt x="746" y="2012"/>
                  </a:lnTo>
                  <a:lnTo>
                    <a:pt x="746" y="2017"/>
                  </a:lnTo>
                  <a:lnTo>
                    <a:pt x="745" y="2024"/>
                  </a:lnTo>
                  <a:lnTo>
                    <a:pt x="744" y="2030"/>
                  </a:lnTo>
                  <a:lnTo>
                    <a:pt x="740" y="2037"/>
                  </a:lnTo>
                  <a:lnTo>
                    <a:pt x="737" y="2043"/>
                  </a:lnTo>
                  <a:lnTo>
                    <a:pt x="733" y="2050"/>
                  </a:lnTo>
                  <a:lnTo>
                    <a:pt x="729" y="2054"/>
                  </a:lnTo>
                  <a:lnTo>
                    <a:pt x="725" y="2058"/>
                  </a:lnTo>
                  <a:lnTo>
                    <a:pt x="720" y="2062"/>
                  </a:lnTo>
                  <a:lnTo>
                    <a:pt x="714" y="2064"/>
                  </a:lnTo>
                  <a:lnTo>
                    <a:pt x="708" y="2066"/>
                  </a:lnTo>
                  <a:lnTo>
                    <a:pt x="703" y="2068"/>
                  </a:lnTo>
                  <a:lnTo>
                    <a:pt x="697" y="2069"/>
                  </a:lnTo>
                  <a:lnTo>
                    <a:pt x="689" y="2069"/>
                  </a:lnTo>
                  <a:lnTo>
                    <a:pt x="683" y="2069"/>
                  </a:lnTo>
                  <a:lnTo>
                    <a:pt x="670" y="2067"/>
                  </a:lnTo>
                  <a:lnTo>
                    <a:pt x="655" y="2064"/>
                  </a:lnTo>
                  <a:lnTo>
                    <a:pt x="641" y="2059"/>
                  </a:lnTo>
                  <a:lnTo>
                    <a:pt x="628" y="2053"/>
                  </a:lnTo>
                  <a:lnTo>
                    <a:pt x="615" y="2045"/>
                  </a:lnTo>
                  <a:lnTo>
                    <a:pt x="603" y="2037"/>
                  </a:lnTo>
                  <a:lnTo>
                    <a:pt x="591" y="2029"/>
                  </a:lnTo>
                  <a:lnTo>
                    <a:pt x="582" y="2019"/>
                  </a:lnTo>
                  <a:lnTo>
                    <a:pt x="575" y="2009"/>
                  </a:lnTo>
                  <a:lnTo>
                    <a:pt x="568" y="2000"/>
                  </a:lnTo>
                  <a:lnTo>
                    <a:pt x="561" y="1998"/>
                  </a:lnTo>
                  <a:lnTo>
                    <a:pt x="555" y="1995"/>
                  </a:lnTo>
                  <a:lnTo>
                    <a:pt x="549" y="1994"/>
                  </a:lnTo>
                  <a:lnTo>
                    <a:pt x="542" y="1994"/>
                  </a:lnTo>
                  <a:lnTo>
                    <a:pt x="537" y="1994"/>
                  </a:lnTo>
                  <a:lnTo>
                    <a:pt x="532" y="1995"/>
                  </a:lnTo>
                  <a:lnTo>
                    <a:pt x="528" y="1998"/>
                  </a:lnTo>
                  <a:lnTo>
                    <a:pt x="524" y="2000"/>
                  </a:lnTo>
                  <a:lnTo>
                    <a:pt x="515" y="2005"/>
                  </a:lnTo>
                  <a:lnTo>
                    <a:pt x="508" y="2012"/>
                  </a:lnTo>
                  <a:lnTo>
                    <a:pt x="502" y="2019"/>
                  </a:lnTo>
                  <a:lnTo>
                    <a:pt x="495" y="2029"/>
                  </a:lnTo>
                  <a:lnTo>
                    <a:pt x="484" y="2047"/>
                  </a:lnTo>
                  <a:lnTo>
                    <a:pt x="471" y="2063"/>
                  </a:lnTo>
                  <a:lnTo>
                    <a:pt x="465" y="2071"/>
                  </a:lnTo>
                  <a:lnTo>
                    <a:pt x="457" y="2076"/>
                  </a:lnTo>
                  <a:lnTo>
                    <a:pt x="453" y="2078"/>
                  </a:lnTo>
                  <a:lnTo>
                    <a:pt x="449" y="2079"/>
                  </a:lnTo>
                  <a:lnTo>
                    <a:pt x="443" y="2080"/>
                  </a:lnTo>
                  <a:lnTo>
                    <a:pt x="438" y="2080"/>
                  </a:lnTo>
                  <a:lnTo>
                    <a:pt x="427" y="2078"/>
                  </a:lnTo>
                  <a:lnTo>
                    <a:pt x="417" y="2076"/>
                  </a:lnTo>
                  <a:lnTo>
                    <a:pt x="409" y="2072"/>
                  </a:lnTo>
                  <a:lnTo>
                    <a:pt x="401" y="2066"/>
                  </a:lnTo>
                  <a:lnTo>
                    <a:pt x="387" y="2055"/>
                  </a:lnTo>
                  <a:lnTo>
                    <a:pt x="373" y="2040"/>
                  </a:lnTo>
                  <a:lnTo>
                    <a:pt x="367" y="2034"/>
                  </a:lnTo>
                  <a:lnTo>
                    <a:pt x="361" y="2027"/>
                  </a:lnTo>
                  <a:lnTo>
                    <a:pt x="354" y="2020"/>
                  </a:lnTo>
                  <a:lnTo>
                    <a:pt x="346" y="2015"/>
                  </a:lnTo>
                  <a:lnTo>
                    <a:pt x="338" y="2010"/>
                  </a:lnTo>
                  <a:lnTo>
                    <a:pt x="329" y="2007"/>
                  </a:lnTo>
                  <a:lnTo>
                    <a:pt x="318" y="2004"/>
                  </a:lnTo>
                  <a:lnTo>
                    <a:pt x="306" y="2004"/>
                  </a:lnTo>
                  <a:lnTo>
                    <a:pt x="291" y="2004"/>
                  </a:lnTo>
                  <a:lnTo>
                    <a:pt x="278" y="2006"/>
                  </a:lnTo>
                  <a:lnTo>
                    <a:pt x="264" y="2009"/>
                  </a:lnTo>
                  <a:lnTo>
                    <a:pt x="251" y="2013"/>
                  </a:lnTo>
                  <a:lnTo>
                    <a:pt x="239" y="2016"/>
                  </a:lnTo>
                  <a:lnTo>
                    <a:pt x="225" y="2020"/>
                  </a:lnTo>
                  <a:lnTo>
                    <a:pt x="213" y="2023"/>
                  </a:lnTo>
                  <a:lnTo>
                    <a:pt x="199" y="2025"/>
                  </a:lnTo>
                  <a:lnTo>
                    <a:pt x="199" y="2025"/>
                  </a:lnTo>
                  <a:lnTo>
                    <a:pt x="180" y="2014"/>
                  </a:lnTo>
                  <a:lnTo>
                    <a:pt x="157" y="2003"/>
                  </a:lnTo>
                  <a:lnTo>
                    <a:pt x="151" y="2000"/>
                  </a:lnTo>
                  <a:lnTo>
                    <a:pt x="146" y="1996"/>
                  </a:lnTo>
                  <a:lnTo>
                    <a:pt x="142" y="1992"/>
                  </a:lnTo>
                  <a:lnTo>
                    <a:pt x="139" y="1988"/>
                  </a:lnTo>
                  <a:lnTo>
                    <a:pt x="136" y="1984"/>
                  </a:lnTo>
                  <a:lnTo>
                    <a:pt x="134" y="1980"/>
                  </a:lnTo>
                  <a:lnTo>
                    <a:pt x="133" y="1975"/>
                  </a:lnTo>
                  <a:lnTo>
                    <a:pt x="133" y="1969"/>
                  </a:lnTo>
                  <a:lnTo>
                    <a:pt x="138" y="1966"/>
                  </a:lnTo>
                  <a:lnTo>
                    <a:pt x="143" y="1964"/>
                  </a:lnTo>
                  <a:lnTo>
                    <a:pt x="148" y="1963"/>
                  </a:lnTo>
                  <a:lnTo>
                    <a:pt x="155" y="1962"/>
                  </a:lnTo>
                  <a:lnTo>
                    <a:pt x="168" y="1960"/>
                  </a:lnTo>
                  <a:lnTo>
                    <a:pt x="182" y="1959"/>
                  </a:lnTo>
                  <a:lnTo>
                    <a:pt x="194" y="1957"/>
                  </a:lnTo>
                  <a:lnTo>
                    <a:pt x="207" y="1954"/>
                  </a:lnTo>
                  <a:lnTo>
                    <a:pt x="212" y="1952"/>
                  </a:lnTo>
                  <a:lnTo>
                    <a:pt x="216" y="1950"/>
                  </a:lnTo>
                  <a:lnTo>
                    <a:pt x="220" y="1946"/>
                  </a:lnTo>
                  <a:lnTo>
                    <a:pt x="223" y="1942"/>
                  </a:lnTo>
                  <a:lnTo>
                    <a:pt x="230" y="1933"/>
                  </a:lnTo>
                  <a:lnTo>
                    <a:pt x="234" y="1924"/>
                  </a:lnTo>
                  <a:lnTo>
                    <a:pt x="236" y="1915"/>
                  </a:lnTo>
                  <a:lnTo>
                    <a:pt x="238" y="1908"/>
                  </a:lnTo>
                  <a:lnTo>
                    <a:pt x="238" y="1899"/>
                  </a:lnTo>
                  <a:lnTo>
                    <a:pt x="237" y="1892"/>
                  </a:lnTo>
                  <a:lnTo>
                    <a:pt x="235" y="1885"/>
                  </a:lnTo>
                  <a:lnTo>
                    <a:pt x="232" y="1879"/>
                  </a:lnTo>
                  <a:lnTo>
                    <a:pt x="223" y="1865"/>
                  </a:lnTo>
                  <a:lnTo>
                    <a:pt x="213" y="1851"/>
                  </a:lnTo>
                  <a:lnTo>
                    <a:pt x="202" y="1838"/>
                  </a:lnTo>
                  <a:lnTo>
                    <a:pt x="191" y="1823"/>
                  </a:lnTo>
                  <a:lnTo>
                    <a:pt x="176" y="1805"/>
                  </a:lnTo>
                  <a:lnTo>
                    <a:pt x="163" y="1787"/>
                  </a:lnTo>
                  <a:lnTo>
                    <a:pt x="157" y="1777"/>
                  </a:lnTo>
                  <a:lnTo>
                    <a:pt x="151" y="1767"/>
                  </a:lnTo>
                  <a:lnTo>
                    <a:pt x="148" y="1757"/>
                  </a:lnTo>
                  <a:lnTo>
                    <a:pt x="146" y="1744"/>
                  </a:lnTo>
                  <a:lnTo>
                    <a:pt x="144" y="1725"/>
                  </a:lnTo>
                  <a:lnTo>
                    <a:pt x="144" y="1710"/>
                  </a:lnTo>
                  <a:lnTo>
                    <a:pt x="144" y="1702"/>
                  </a:lnTo>
                  <a:lnTo>
                    <a:pt x="145" y="1695"/>
                  </a:lnTo>
                  <a:lnTo>
                    <a:pt x="146" y="1686"/>
                  </a:lnTo>
                  <a:lnTo>
                    <a:pt x="149" y="1676"/>
                  </a:lnTo>
                  <a:lnTo>
                    <a:pt x="157" y="1650"/>
                  </a:lnTo>
                  <a:lnTo>
                    <a:pt x="165" y="1621"/>
                  </a:lnTo>
                  <a:lnTo>
                    <a:pt x="166" y="1614"/>
                  </a:lnTo>
                  <a:lnTo>
                    <a:pt x="167" y="1606"/>
                  </a:lnTo>
                  <a:lnTo>
                    <a:pt x="167" y="1600"/>
                  </a:lnTo>
                  <a:lnTo>
                    <a:pt x="166" y="1593"/>
                  </a:lnTo>
                  <a:lnTo>
                    <a:pt x="164" y="1586"/>
                  </a:lnTo>
                  <a:lnTo>
                    <a:pt x="161" y="1580"/>
                  </a:lnTo>
                  <a:lnTo>
                    <a:pt x="158" y="1575"/>
                  </a:lnTo>
                  <a:lnTo>
                    <a:pt x="152" y="1570"/>
                  </a:lnTo>
                  <a:lnTo>
                    <a:pt x="145" y="1565"/>
                  </a:lnTo>
                  <a:lnTo>
                    <a:pt x="138" y="1561"/>
                  </a:lnTo>
                  <a:lnTo>
                    <a:pt x="131" y="1560"/>
                  </a:lnTo>
                  <a:lnTo>
                    <a:pt x="122" y="1559"/>
                  </a:lnTo>
                  <a:lnTo>
                    <a:pt x="106" y="1560"/>
                  </a:lnTo>
                  <a:lnTo>
                    <a:pt x="89" y="1564"/>
                  </a:lnTo>
                  <a:lnTo>
                    <a:pt x="71" y="1568"/>
                  </a:lnTo>
                  <a:lnTo>
                    <a:pt x="54" y="1570"/>
                  </a:lnTo>
                  <a:lnTo>
                    <a:pt x="45" y="1571"/>
                  </a:lnTo>
                  <a:lnTo>
                    <a:pt x="37" y="1570"/>
                  </a:lnTo>
                  <a:lnTo>
                    <a:pt x="28" y="1569"/>
                  </a:lnTo>
                  <a:lnTo>
                    <a:pt x="20" y="1566"/>
                  </a:lnTo>
                  <a:lnTo>
                    <a:pt x="16" y="1559"/>
                  </a:lnTo>
                  <a:lnTo>
                    <a:pt x="12" y="1553"/>
                  </a:lnTo>
                  <a:lnTo>
                    <a:pt x="9" y="1547"/>
                  </a:lnTo>
                  <a:lnTo>
                    <a:pt x="5" y="1541"/>
                  </a:lnTo>
                  <a:lnTo>
                    <a:pt x="3" y="1533"/>
                  </a:lnTo>
                  <a:lnTo>
                    <a:pt x="1" y="1526"/>
                  </a:lnTo>
                  <a:lnTo>
                    <a:pt x="0" y="1519"/>
                  </a:lnTo>
                  <a:lnTo>
                    <a:pt x="0" y="1511"/>
                  </a:lnTo>
                  <a:lnTo>
                    <a:pt x="2" y="1487"/>
                  </a:lnTo>
                  <a:lnTo>
                    <a:pt x="2" y="1487"/>
                  </a:lnTo>
                  <a:lnTo>
                    <a:pt x="13" y="1484"/>
                  </a:lnTo>
                  <a:lnTo>
                    <a:pt x="22" y="1481"/>
                  </a:lnTo>
                  <a:lnTo>
                    <a:pt x="30" y="1477"/>
                  </a:lnTo>
                  <a:lnTo>
                    <a:pt x="39" y="1472"/>
                  </a:lnTo>
                  <a:lnTo>
                    <a:pt x="46" y="1466"/>
                  </a:lnTo>
                  <a:lnTo>
                    <a:pt x="53" y="1461"/>
                  </a:lnTo>
                  <a:lnTo>
                    <a:pt x="60" y="1456"/>
                  </a:lnTo>
                  <a:lnTo>
                    <a:pt x="66" y="1450"/>
                  </a:lnTo>
                  <a:lnTo>
                    <a:pt x="88" y="1423"/>
                  </a:lnTo>
                  <a:lnTo>
                    <a:pt x="112" y="1392"/>
                  </a:lnTo>
                  <a:lnTo>
                    <a:pt x="115" y="1389"/>
                  </a:lnTo>
                  <a:lnTo>
                    <a:pt x="117" y="1384"/>
                  </a:lnTo>
                  <a:lnTo>
                    <a:pt x="119" y="1380"/>
                  </a:lnTo>
                  <a:lnTo>
                    <a:pt x="121" y="1374"/>
                  </a:lnTo>
                  <a:lnTo>
                    <a:pt x="123" y="1363"/>
                  </a:lnTo>
                  <a:lnTo>
                    <a:pt x="124" y="1351"/>
                  </a:lnTo>
                  <a:lnTo>
                    <a:pt x="126" y="1338"/>
                  </a:lnTo>
                  <a:lnTo>
                    <a:pt x="127" y="1327"/>
                  </a:lnTo>
                  <a:lnTo>
                    <a:pt x="129" y="1315"/>
                  </a:lnTo>
                  <a:lnTo>
                    <a:pt x="132" y="1305"/>
                  </a:lnTo>
                  <a:lnTo>
                    <a:pt x="137" y="1293"/>
                  </a:lnTo>
                  <a:lnTo>
                    <a:pt x="143" y="1281"/>
                  </a:lnTo>
                  <a:lnTo>
                    <a:pt x="149" y="1270"/>
                  </a:lnTo>
                  <a:lnTo>
                    <a:pt x="156" y="1259"/>
                  </a:lnTo>
                  <a:lnTo>
                    <a:pt x="164" y="1249"/>
                  </a:lnTo>
                  <a:lnTo>
                    <a:pt x="172" y="1240"/>
                  </a:lnTo>
                  <a:lnTo>
                    <a:pt x="181" y="1232"/>
                  </a:lnTo>
                  <a:lnTo>
                    <a:pt x="190" y="1224"/>
                  </a:lnTo>
                  <a:lnTo>
                    <a:pt x="199" y="1218"/>
                  </a:lnTo>
                  <a:lnTo>
                    <a:pt x="210" y="1212"/>
                  </a:lnTo>
                  <a:lnTo>
                    <a:pt x="221" y="1207"/>
                  </a:lnTo>
                  <a:lnTo>
                    <a:pt x="233" y="1202"/>
                  </a:lnTo>
                  <a:lnTo>
                    <a:pt x="245" y="1198"/>
                  </a:lnTo>
                  <a:lnTo>
                    <a:pt x="258" y="1196"/>
                  </a:lnTo>
                  <a:lnTo>
                    <a:pt x="271" y="1194"/>
                  </a:lnTo>
                  <a:lnTo>
                    <a:pt x="285" y="1193"/>
                  </a:lnTo>
                  <a:lnTo>
                    <a:pt x="298" y="1193"/>
                  </a:lnTo>
                  <a:lnTo>
                    <a:pt x="310" y="1193"/>
                  </a:lnTo>
                  <a:lnTo>
                    <a:pt x="321" y="1194"/>
                  </a:lnTo>
                  <a:lnTo>
                    <a:pt x="333" y="1195"/>
                  </a:lnTo>
                  <a:lnTo>
                    <a:pt x="344" y="1197"/>
                  </a:lnTo>
                  <a:lnTo>
                    <a:pt x="356" y="1200"/>
                  </a:lnTo>
                  <a:lnTo>
                    <a:pt x="367" y="1205"/>
                  </a:lnTo>
                  <a:lnTo>
                    <a:pt x="379" y="1210"/>
                  </a:lnTo>
                  <a:lnTo>
                    <a:pt x="394" y="1219"/>
                  </a:lnTo>
                  <a:lnTo>
                    <a:pt x="410" y="1227"/>
                  </a:lnTo>
                  <a:lnTo>
                    <a:pt x="414" y="1228"/>
                  </a:lnTo>
                  <a:lnTo>
                    <a:pt x="418" y="1229"/>
                  </a:lnTo>
                  <a:lnTo>
                    <a:pt x="421" y="1229"/>
                  </a:lnTo>
                  <a:lnTo>
                    <a:pt x="426" y="1229"/>
                  </a:lnTo>
                  <a:lnTo>
                    <a:pt x="430" y="1227"/>
                  </a:lnTo>
                  <a:lnTo>
                    <a:pt x="433" y="1224"/>
                  </a:lnTo>
                  <a:lnTo>
                    <a:pt x="437" y="1221"/>
                  </a:lnTo>
                  <a:lnTo>
                    <a:pt x="441" y="1217"/>
                  </a:lnTo>
                  <a:lnTo>
                    <a:pt x="442" y="1204"/>
                  </a:lnTo>
                  <a:lnTo>
                    <a:pt x="443" y="1192"/>
                  </a:lnTo>
                  <a:lnTo>
                    <a:pt x="443" y="1187"/>
                  </a:lnTo>
                  <a:lnTo>
                    <a:pt x="442" y="1181"/>
                  </a:lnTo>
                  <a:lnTo>
                    <a:pt x="440" y="1174"/>
                  </a:lnTo>
                  <a:lnTo>
                    <a:pt x="436" y="1167"/>
                  </a:lnTo>
                  <a:lnTo>
                    <a:pt x="426" y="1148"/>
                  </a:lnTo>
                  <a:lnTo>
                    <a:pt x="414" y="1128"/>
                  </a:lnTo>
                  <a:lnTo>
                    <a:pt x="410" y="1117"/>
                  </a:lnTo>
                  <a:lnTo>
                    <a:pt x="408" y="1107"/>
                  </a:lnTo>
                  <a:lnTo>
                    <a:pt x="406" y="1096"/>
                  </a:lnTo>
                  <a:lnTo>
                    <a:pt x="407" y="1086"/>
                  </a:lnTo>
                  <a:lnTo>
                    <a:pt x="408" y="1066"/>
                  </a:lnTo>
                  <a:lnTo>
                    <a:pt x="411" y="1047"/>
                  </a:lnTo>
                  <a:lnTo>
                    <a:pt x="415" y="1029"/>
                  </a:lnTo>
                  <a:lnTo>
                    <a:pt x="420" y="1012"/>
                  </a:lnTo>
                  <a:lnTo>
                    <a:pt x="425" y="995"/>
                  </a:lnTo>
                  <a:lnTo>
                    <a:pt x="430" y="978"/>
                  </a:lnTo>
                  <a:lnTo>
                    <a:pt x="433" y="961"/>
                  </a:lnTo>
                  <a:lnTo>
                    <a:pt x="435" y="943"/>
                  </a:lnTo>
                  <a:lnTo>
                    <a:pt x="443" y="798"/>
                  </a:lnTo>
                  <a:lnTo>
                    <a:pt x="453" y="788"/>
                  </a:lnTo>
                  <a:lnTo>
                    <a:pt x="463" y="781"/>
                  </a:lnTo>
                  <a:lnTo>
                    <a:pt x="474" y="775"/>
                  </a:lnTo>
                  <a:lnTo>
                    <a:pt x="484" y="771"/>
                  </a:lnTo>
                  <a:lnTo>
                    <a:pt x="505" y="764"/>
                  </a:lnTo>
                  <a:lnTo>
                    <a:pt x="525" y="760"/>
                  </a:lnTo>
                  <a:lnTo>
                    <a:pt x="534" y="758"/>
                  </a:lnTo>
                  <a:lnTo>
                    <a:pt x="544" y="756"/>
                  </a:lnTo>
                  <a:lnTo>
                    <a:pt x="554" y="753"/>
                  </a:lnTo>
                  <a:lnTo>
                    <a:pt x="563" y="749"/>
                  </a:lnTo>
                  <a:lnTo>
                    <a:pt x="572" y="744"/>
                  </a:lnTo>
                  <a:lnTo>
                    <a:pt x="581" y="736"/>
                  </a:lnTo>
                  <a:lnTo>
                    <a:pt x="589" y="728"/>
                  </a:lnTo>
                  <a:lnTo>
                    <a:pt x="597" y="717"/>
                  </a:lnTo>
                  <a:lnTo>
                    <a:pt x="599" y="701"/>
                  </a:lnTo>
                  <a:lnTo>
                    <a:pt x="604" y="676"/>
                  </a:lnTo>
                  <a:lnTo>
                    <a:pt x="607" y="663"/>
                  </a:lnTo>
                  <a:lnTo>
                    <a:pt x="610" y="653"/>
                  </a:lnTo>
                  <a:lnTo>
                    <a:pt x="613" y="644"/>
                  </a:lnTo>
                  <a:lnTo>
                    <a:pt x="616" y="639"/>
                  </a:lnTo>
                  <a:lnTo>
                    <a:pt x="640" y="640"/>
                  </a:lnTo>
                  <a:lnTo>
                    <a:pt x="665" y="642"/>
                  </a:lnTo>
                  <a:lnTo>
                    <a:pt x="677" y="645"/>
                  </a:lnTo>
                  <a:lnTo>
                    <a:pt x="689" y="649"/>
                  </a:lnTo>
                  <a:lnTo>
                    <a:pt x="700" y="652"/>
                  </a:lnTo>
                  <a:lnTo>
                    <a:pt x="711" y="657"/>
                  </a:lnTo>
                  <a:lnTo>
                    <a:pt x="715" y="663"/>
                  </a:lnTo>
                  <a:lnTo>
                    <a:pt x="720" y="669"/>
                  </a:lnTo>
                  <a:lnTo>
                    <a:pt x="724" y="675"/>
                  </a:lnTo>
                  <a:lnTo>
                    <a:pt x="728" y="678"/>
                  </a:lnTo>
                  <a:lnTo>
                    <a:pt x="733" y="681"/>
                  </a:lnTo>
                  <a:lnTo>
                    <a:pt x="737" y="684"/>
                  </a:lnTo>
                  <a:lnTo>
                    <a:pt x="743" y="685"/>
                  </a:lnTo>
                  <a:lnTo>
                    <a:pt x="747" y="686"/>
                  </a:lnTo>
                  <a:lnTo>
                    <a:pt x="752" y="686"/>
                  </a:lnTo>
                  <a:lnTo>
                    <a:pt x="756" y="685"/>
                  </a:lnTo>
                  <a:lnTo>
                    <a:pt x="761" y="683"/>
                  </a:lnTo>
                  <a:lnTo>
                    <a:pt x="767" y="681"/>
                  </a:lnTo>
                  <a:lnTo>
                    <a:pt x="776" y="674"/>
                  </a:lnTo>
                  <a:lnTo>
                    <a:pt x="786" y="664"/>
                  </a:lnTo>
                  <a:lnTo>
                    <a:pt x="793" y="659"/>
                  </a:lnTo>
                  <a:lnTo>
                    <a:pt x="802" y="655"/>
                  </a:lnTo>
                  <a:lnTo>
                    <a:pt x="812" y="652"/>
                  </a:lnTo>
                  <a:lnTo>
                    <a:pt x="825" y="649"/>
                  </a:lnTo>
                  <a:lnTo>
                    <a:pt x="838" y="646"/>
                  </a:lnTo>
                  <a:lnTo>
                    <a:pt x="853" y="645"/>
                  </a:lnTo>
                  <a:lnTo>
                    <a:pt x="869" y="644"/>
                  </a:lnTo>
                  <a:lnTo>
                    <a:pt x="884" y="644"/>
                  </a:lnTo>
                  <a:lnTo>
                    <a:pt x="917" y="644"/>
                  </a:lnTo>
                  <a:lnTo>
                    <a:pt x="947" y="645"/>
                  </a:lnTo>
                  <a:lnTo>
                    <a:pt x="974" y="646"/>
                  </a:lnTo>
                  <a:lnTo>
                    <a:pt x="994" y="648"/>
                  </a:lnTo>
                  <a:lnTo>
                    <a:pt x="1003" y="648"/>
                  </a:lnTo>
                  <a:lnTo>
                    <a:pt x="1014" y="650"/>
                  </a:lnTo>
                  <a:lnTo>
                    <a:pt x="1024" y="652"/>
                  </a:lnTo>
                  <a:lnTo>
                    <a:pt x="1036" y="655"/>
                  </a:lnTo>
                  <a:lnTo>
                    <a:pt x="1060" y="662"/>
                  </a:lnTo>
                  <a:lnTo>
                    <a:pt x="1084" y="669"/>
                  </a:lnTo>
                  <a:lnTo>
                    <a:pt x="1095" y="673"/>
                  </a:lnTo>
                  <a:lnTo>
                    <a:pt x="1106" y="675"/>
                  </a:lnTo>
                  <a:lnTo>
                    <a:pt x="1117" y="676"/>
                  </a:lnTo>
                  <a:lnTo>
                    <a:pt x="1127" y="677"/>
                  </a:lnTo>
                  <a:lnTo>
                    <a:pt x="1138" y="676"/>
                  </a:lnTo>
                  <a:lnTo>
                    <a:pt x="1146" y="673"/>
                  </a:lnTo>
                  <a:lnTo>
                    <a:pt x="1150" y="670"/>
                  </a:lnTo>
                  <a:lnTo>
                    <a:pt x="1154" y="668"/>
                  </a:lnTo>
                  <a:lnTo>
                    <a:pt x="1158" y="665"/>
                  </a:lnTo>
                  <a:lnTo>
                    <a:pt x="1161" y="662"/>
                  </a:lnTo>
                  <a:lnTo>
                    <a:pt x="1161" y="652"/>
                  </a:lnTo>
                  <a:lnTo>
                    <a:pt x="1158" y="643"/>
                  </a:lnTo>
                  <a:lnTo>
                    <a:pt x="1154" y="634"/>
                  </a:lnTo>
                  <a:lnTo>
                    <a:pt x="1150" y="626"/>
                  </a:lnTo>
                  <a:lnTo>
                    <a:pt x="1147" y="618"/>
                  </a:lnTo>
                  <a:lnTo>
                    <a:pt x="1144" y="611"/>
                  </a:lnTo>
                  <a:lnTo>
                    <a:pt x="1141" y="604"/>
                  </a:lnTo>
                  <a:lnTo>
                    <a:pt x="1140" y="596"/>
                  </a:lnTo>
                  <a:lnTo>
                    <a:pt x="1143" y="591"/>
                  </a:lnTo>
                  <a:lnTo>
                    <a:pt x="1146" y="587"/>
                  </a:lnTo>
                  <a:lnTo>
                    <a:pt x="1148" y="582"/>
                  </a:lnTo>
                  <a:lnTo>
                    <a:pt x="1149" y="578"/>
                  </a:lnTo>
                  <a:lnTo>
                    <a:pt x="1150" y="567"/>
                  </a:lnTo>
                  <a:lnTo>
                    <a:pt x="1150" y="557"/>
                  </a:lnTo>
                  <a:lnTo>
                    <a:pt x="1147" y="537"/>
                  </a:lnTo>
                  <a:lnTo>
                    <a:pt x="1144" y="519"/>
                  </a:lnTo>
                  <a:lnTo>
                    <a:pt x="1135" y="507"/>
                  </a:lnTo>
                  <a:lnTo>
                    <a:pt x="1125" y="496"/>
                  </a:lnTo>
                  <a:lnTo>
                    <a:pt x="1119" y="482"/>
                  </a:lnTo>
                  <a:lnTo>
                    <a:pt x="1113" y="467"/>
                  </a:lnTo>
                  <a:lnTo>
                    <a:pt x="1110" y="460"/>
                  </a:lnTo>
                  <a:lnTo>
                    <a:pt x="1107" y="452"/>
                  </a:lnTo>
                  <a:lnTo>
                    <a:pt x="1106" y="445"/>
                  </a:lnTo>
                  <a:lnTo>
                    <a:pt x="1107" y="437"/>
                  </a:lnTo>
                  <a:lnTo>
                    <a:pt x="1110" y="428"/>
                  </a:lnTo>
                  <a:lnTo>
                    <a:pt x="1113" y="421"/>
                  </a:lnTo>
                  <a:lnTo>
                    <a:pt x="1117" y="413"/>
                  </a:lnTo>
                  <a:lnTo>
                    <a:pt x="1122" y="406"/>
                  </a:lnTo>
                  <a:lnTo>
                    <a:pt x="1126" y="398"/>
                  </a:lnTo>
                  <a:lnTo>
                    <a:pt x="1130" y="391"/>
                  </a:lnTo>
                  <a:lnTo>
                    <a:pt x="1134" y="385"/>
                  </a:lnTo>
                  <a:lnTo>
                    <a:pt x="1136" y="378"/>
                  </a:lnTo>
                  <a:lnTo>
                    <a:pt x="1142" y="368"/>
                  </a:lnTo>
                  <a:lnTo>
                    <a:pt x="1149" y="358"/>
                  </a:lnTo>
                  <a:lnTo>
                    <a:pt x="1153" y="352"/>
                  </a:lnTo>
                  <a:lnTo>
                    <a:pt x="1159" y="348"/>
                  </a:lnTo>
                  <a:lnTo>
                    <a:pt x="1164" y="346"/>
                  </a:lnTo>
                  <a:lnTo>
                    <a:pt x="1170" y="345"/>
                  </a:lnTo>
                  <a:lnTo>
                    <a:pt x="1175" y="343"/>
                  </a:lnTo>
                  <a:lnTo>
                    <a:pt x="1179" y="342"/>
                  </a:lnTo>
                  <a:lnTo>
                    <a:pt x="1184" y="343"/>
                  </a:lnTo>
                  <a:lnTo>
                    <a:pt x="1189" y="345"/>
                  </a:lnTo>
                  <a:lnTo>
                    <a:pt x="1198" y="351"/>
                  </a:lnTo>
                  <a:lnTo>
                    <a:pt x="1208" y="360"/>
                  </a:lnTo>
                  <a:lnTo>
                    <a:pt x="1217" y="367"/>
                  </a:lnTo>
                  <a:lnTo>
                    <a:pt x="1226" y="373"/>
                  </a:lnTo>
                  <a:lnTo>
                    <a:pt x="1231" y="375"/>
                  </a:lnTo>
                  <a:lnTo>
                    <a:pt x="1234" y="376"/>
                  </a:lnTo>
                  <a:lnTo>
                    <a:pt x="1238" y="375"/>
                  </a:lnTo>
                  <a:lnTo>
                    <a:pt x="1241" y="373"/>
                  </a:lnTo>
                  <a:lnTo>
                    <a:pt x="1255" y="360"/>
                  </a:lnTo>
                  <a:lnTo>
                    <a:pt x="1265" y="350"/>
                  </a:lnTo>
                  <a:lnTo>
                    <a:pt x="1271" y="347"/>
                  </a:lnTo>
                  <a:lnTo>
                    <a:pt x="1278" y="345"/>
                  </a:lnTo>
                  <a:lnTo>
                    <a:pt x="1287" y="344"/>
                  </a:lnTo>
                  <a:lnTo>
                    <a:pt x="1298" y="344"/>
                  </a:lnTo>
                  <a:lnTo>
                    <a:pt x="1310" y="344"/>
                  </a:lnTo>
                  <a:lnTo>
                    <a:pt x="1321" y="344"/>
                  </a:lnTo>
                  <a:lnTo>
                    <a:pt x="1332" y="343"/>
                  </a:lnTo>
                  <a:lnTo>
                    <a:pt x="1340" y="341"/>
                  </a:lnTo>
                  <a:lnTo>
                    <a:pt x="1348" y="339"/>
                  </a:lnTo>
                  <a:lnTo>
                    <a:pt x="1356" y="336"/>
                  </a:lnTo>
                  <a:lnTo>
                    <a:pt x="1362" y="331"/>
                  </a:lnTo>
                  <a:lnTo>
                    <a:pt x="1367" y="328"/>
                  </a:lnTo>
                  <a:lnTo>
                    <a:pt x="1372" y="323"/>
                  </a:lnTo>
                  <a:lnTo>
                    <a:pt x="1377" y="319"/>
                  </a:lnTo>
                  <a:lnTo>
                    <a:pt x="1381" y="314"/>
                  </a:lnTo>
                  <a:lnTo>
                    <a:pt x="1384" y="307"/>
                  </a:lnTo>
                  <a:lnTo>
                    <a:pt x="1388" y="296"/>
                  </a:lnTo>
                  <a:lnTo>
                    <a:pt x="1391" y="282"/>
                  </a:lnTo>
                  <a:lnTo>
                    <a:pt x="1396" y="253"/>
                  </a:lnTo>
                  <a:lnTo>
                    <a:pt x="1400" y="223"/>
                  </a:lnTo>
                  <a:lnTo>
                    <a:pt x="1404" y="208"/>
                  </a:lnTo>
                  <a:lnTo>
                    <a:pt x="1409" y="194"/>
                  </a:lnTo>
                  <a:lnTo>
                    <a:pt x="1412" y="187"/>
                  </a:lnTo>
                  <a:lnTo>
                    <a:pt x="1416" y="180"/>
                  </a:lnTo>
                  <a:lnTo>
                    <a:pt x="1420" y="174"/>
                  </a:lnTo>
                  <a:lnTo>
                    <a:pt x="1426" y="168"/>
                  </a:lnTo>
                  <a:lnTo>
                    <a:pt x="1431" y="162"/>
                  </a:lnTo>
                  <a:lnTo>
                    <a:pt x="1436" y="157"/>
                  </a:lnTo>
                  <a:lnTo>
                    <a:pt x="1442" y="154"/>
                  </a:lnTo>
                  <a:lnTo>
                    <a:pt x="1449" y="152"/>
                  </a:lnTo>
                  <a:lnTo>
                    <a:pt x="1457" y="150"/>
                  </a:lnTo>
                  <a:lnTo>
                    <a:pt x="1464" y="149"/>
                  </a:lnTo>
                  <a:lnTo>
                    <a:pt x="1472" y="148"/>
                  </a:lnTo>
                  <a:lnTo>
                    <a:pt x="1481" y="148"/>
                  </a:lnTo>
                  <a:lnTo>
                    <a:pt x="1497" y="150"/>
                  </a:lnTo>
                  <a:lnTo>
                    <a:pt x="1514" y="152"/>
                  </a:lnTo>
                  <a:lnTo>
                    <a:pt x="1530" y="155"/>
                  </a:lnTo>
                  <a:lnTo>
                    <a:pt x="1543" y="157"/>
                  </a:lnTo>
                  <a:lnTo>
                    <a:pt x="1555" y="158"/>
                  </a:lnTo>
                  <a:lnTo>
                    <a:pt x="1564" y="158"/>
                  </a:lnTo>
                  <a:lnTo>
                    <a:pt x="1571" y="156"/>
                  </a:lnTo>
                  <a:lnTo>
                    <a:pt x="1577" y="154"/>
                  </a:lnTo>
                  <a:lnTo>
                    <a:pt x="1582" y="150"/>
                  </a:lnTo>
                  <a:lnTo>
                    <a:pt x="1585" y="145"/>
                  </a:lnTo>
                  <a:lnTo>
                    <a:pt x="1587" y="138"/>
                  </a:lnTo>
                  <a:lnTo>
                    <a:pt x="1589" y="132"/>
                  </a:lnTo>
                  <a:lnTo>
                    <a:pt x="1592" y="119"/>
                  </a:lnTo>
                  <a:lnTo>
                    <a:pt x="1595" y="104"/>
                  </a:lnTo>
                  <a:lnTo>
                    <a:pt x="1598" y="98"/>
                  </a:lnTo>
                  <a:lnTo>
                    <a:pt x="1601" y="91"/>
                  </a:lnTo>
                  <a:lnTo>
                    <a:pt x="1604" y="85"/>
                  </a:lnTo>
                  <a:lnTo>
                    <a:pt x="1609" y="81"/>
                  </a:lnTo>
                  <a:lnTo>
                    <a:pt x="1613" y="78"/>
                  </a:lnTo>
                  <a:lnTo>
                    <a:pt x="1617" y="75"/>
                  </a:lnTo>
                  <a:lnTo>
                    <a:pt x="1623" y="74"/>
                  </a:lnTo>
                  <a:lnTo>
                    <a:pt x="1627" y="73"/>
                  </a:lnTo>
                  <a:lnTo>
                    <a:pt x="1637" y="72"/>
                  </a:lnTo>
                  <a:lnTo>
                    <a:pt x="1648" y="74"/>
                  </a:lnTo>
                  <a:lnTo>
                    <a:pt x="1657" y="77"/>
                  </a:lnTo>
                  <a:lnTo>
                    <a:pt x="1666" y="81"/>
                  </a:lnTo>
                  <a:lnTo>
                    <a:pt x="1676" y="86"/>
                  </a:lnTo>
                  <a:lnTo>
                    <a:pt x="1684" y="93"/>
                  </a:lnTo>
                  <a:lnTo>
                    <a:pt x="1690" y="98"/>
                  </a:lnTo>
                  <a:lnTo>
                    <a:pt x="1696" y="100"/>
                  </a:lnTo>
                  <a:lnTo>
                    <a:pt x="1702" y="101"/>
                  </a:lnTo>
                  <a:lnTo>
                    <a:pt x="1708" y="101"/>
                  </a:lnTo>
                  <a:lnTo>
                    <a:pt x="1713" y="99"/>
                  </a:lnTo>
                  <a:lnTo>
                    <a:pt x="1718" y="96"/>
                  </a:lnTo>
                  <a:lnTo>
                    <a:pt x="1724" y="93"/>
                  </a:lnTo>
                  <a:lnTo>
                    <a:pt x="1729" y="87"/>
                  </a:lnTo>
                  <a:lnTo>
                    <a:pt x="1738" y="76"/>
                  </a:lnTo>
                  <a:lnTo>
                    <a:pt x="1747" y="64"/>
                  </a:lnTo>
                  <a:lnTo>
                    <a:pt x="1754" y="52"/>
                  </a:lnTo>
                  <a:lnTo>
                    <a:pt x="1760" y="42"/>
                  </a:lnTo>
                  <a:lnTo>
                    <a:pt x="1769" y="32"/>
                  </a:lnTo>
                  <a:lnTo>
                    <a:pt x="1776" y="25"/>
                  </a:lnTo>
                  <a:lnTo>
                    <a:pt x="1779" y="23"/>
                  </a:lnTo>
                  <a:lnTo>
                    <a:pt x="1783" y="21"/>
                  </a:lnTo>
                  <a:lnTo>
                    <a:pt x="1786" y="20"/>
                  </a:lnTo>
                  <a:lnTo>
                    <a:pt x="1789" y="18"/>
                  </a:lnTo>
                  <a:lnTo>
                    <a:pt x="1796" y="20"/>
                  </a:lnTo>
                  <a:lnTo>
                    <a:pt x="1801" y="22"/>
                  </a:lnTo>
                  <a:lnTo>
                    <a:pt x="1807" y="25"/>
                  </a:lnTo>
                  <a:lnTo>
                    <a:pt x="1812" y="30"/>
                  </a:lnTo>
                  <a:lnTo>
                    <a:pt x="1824" y="41"/>
                  </a:lnTo>
                  <a:lnTo>
                    <a:pt x="1836" y="53"/>
                  </a:lnTo>
                  <a:lnTo>
                    <a:pt x="1844" y="58"/>
                  </a:lnTo>
                  <a:lnTo>
                    <a:pt x="1851" y="62"/>
                  </a:lnTo>
                  <a:lnTo>
                    <a:pt x="1858" y="65"/>
                  </a:lnTo>
                  <a:lnTo>
                    <a:pt x="1867" y="66"/>
                  </a:lnTo>
                  <a:lnTo>
                    <a:pt x="1874" y="61"/>
                  </a:lnTo>
                  <a:lnTo>
                    <a:pt x="1878" y="56"/>
                  </a:lnTo>
                  <a:lnTo>
                    <a:pt x="1883" y="51"/>
                  </a:lnTo>
                  <a:lnTo>
                    <a:pt x="1888" y="45"/>
                  </a:lnTo>
                  <a:lnTo>
                    <a:pt x="1889" y="39"/>
                  </a:lnTo>
                  <a:lnTo>
                    <a:pt x="1891" y="34"/>
                  </a:lnTo>
                  <a:lnTo>
                    <a:pt x="1893" y="28"/>
                  </a:lnTo>
                  <a:lnTo>
                    <a:pt x="1896" y="22"/>
                  </a:lnTo>
                  <a:lnTo>
                    <a:pt x="1902" y="10"/>
                  </a:lnTo>
                  <a:lnTo>
                    <a:pt x="1907" y="0"/>
                  </a:lnTo>
                  <a:lnTo>
                    <a:pt x="1907" y="0"/>
                  </a:lnTo>
                  <a:lnTo>
                    <a:pt x="1922" y="7"/>
                  </a:lnTo>
                  <a:lnTo>
                    <a:pt x="1935" y="15"/>
                  </a:lnTo>
                  <a:lnTo>
                    <a:pt x="1942" y="18"/>
                  </a:lnTo>
                  <a:lnTo>
                    <a:pt x="1949" y="22"/>
                  </a:lnTo>
                  <a:lnTo>
                    <a:pt x="1957" y="25"/>
                  </a:lnTo>
                  <a:lnTo>
                    <a:pt x="1966" y="26"/>
                  </a:lnTo>
                  <a:lnTo>
                    <a:pt x="1974" y="28"/>
                  </a:lnTo>
                  <a:lnTo>
                    <a:pt x="1981" y="29"/>
                  </a:lnTo>
                  <a:lnTo>
                    <a:pt x="1987" y="31"/>
                  </a:lnTo>
                  <a:lnTo>
                    <a:pt x="1994" y="34"/>
                  </a:lnTo>
                  <a:lnTo>
                    <a:pt x="2005" y="39"/>
                  </a:lnTo>
                  <a:lnTo>
                    <a:pt x="2018" y="48"/>
                  </a:lnTo>
                  <a:lnTo>
                    <a:pt x="2017" y="60"/>
                  </a:lnTo>
                  <a:lnTo>
                    <a:pt x="2014" y="74"/>
                  </a:lnTo>
                  <a:lnTo>
                    <a:pt x="2010" y="86"/>
                  </a:lnTo>
                  <a:lnTo>
                    <a:pt x="2009" y="101"/>
                  </a:lnTo>
                  <a:lnTo>
                    <a:pt x="2009" y="107"/>
                  </a:lnTo>
                  <a:lnTo>
                    <a:pt x="2011" y="112"/>
                  </a:lnTo>
                  <a:lnTo>
                    <a:pt x="2014" y="118"/>
                  </a:lnTo>
                  <a:lnTo>
                    <a:pt x="2016" y="123"/>
                  </a:lnTo>
                  <a:lnTo>
                    <a:pt x="2022" y="132"/>
                  </a:lnTo>
                  <a:lnTo>
                    <a:pt x="2026" y="143"/>
                  </a:lnTo>
                  <a:lnTo>
                    <a:pt x="2029" y="158"/>
                  </a:lnTo>
                  <a:lnTo>
                    <a:pt x="2032" y="172"/>
                  </a:lnTo>
                  <a:lnTo>
                    <a:pt x="2033" y="179"/>
                  </a:lnTo>
                  <a:lnTo>
                    <a:pt x="2036" y="186"/>
                  </a:lnTo>
                  <a:lnTo>
                    <a:pt x="2040" y="193"/>
                  </a:lnTo>
                  <a:lnTo>
                    <a:pt x="2044" y="200"/>
                  </a:lnTo>
                  <a:lnTo>
                    <a:pt x="2055" y="211"/>
                  </a:lnTo>
                  <a:lnTo>
                    <a:pt x="2068" y="222"/>
                  </a:lnTo>
                  <a:lnTo>
                    <a:pt x="2073" y="227"/>
                  </a:lnTo>
                  <a:lnTo>
                    <a:pt x="2078" y="233"/>
                  </a:lnTo>
                  <a:lnTo>
                    <a:pt x="2079" y="236"/>
                  </a:lnTo>
                  <a:lnTo>
                    <a:pt x="2081" y="240"/>
                  </a:lnTo>
                  <a:lnTo>
                    <a:pt x="2081" y="244"/>
                  </a:lnTo>
                  <a:lnTo>
                    <a:pt x="2082" y="247"/>
                  </a:lnTo>
                  <a:lnTo>
                    <a:pt x="2072" y="262"/>
                  </a:lnTo>
                  <a:lnTo>
                    <a:pt x="2059" y="275"/>
                  </a:lnTo>
                  <a:lnTo>
                    <a:pt x="2054" y="281"/>
                  </a:lnTo>
                  <a:lnTo>
                    <a:pt x="2049" y="289"/>
                  </a:lnTo>
                  <a:lnTo>
                    <a:pt x="2044" y="296"/>
                  </a:lnTo>
                  <a:lnTo>
                    <a:pt x="2041" y="304"/>
                  </a:lnTo>
                  <a:lnTo>
                    <a:pt x="2028" y="340"/>
                  </a:lnTo>
                  <a:lnTo>
                    <a:pt x="2014" y="372"/>
                  </a:lnTo>
                  <a:lnTo>
                    <a:pt x="2005" y="388"/>
                  </a:lnTo>
                  <a:lnTo>
                    <a:pt x="1996" y="403"/>
                  </a:lnTo>
                  <a:lnTo>
                    <a:pt x="1985" y="418"/>
                  </a:lnTo>
                  <a:lnTo>
                    <a:pt x="1973" y="432"/>
                  </a:lnTo>
                  <a:lnTo>
                    <a:pt x="1968" y="437"/>
                  </a:lnTo>
                  <a:lnTo>
                    <a:pt x="1959" y="441"/>
                  </a:lnTo>
                  <a:lnTo>
                    <a:pt x="1951" y="444"/>
                  </a:lnTo>
                  <a:lnTo>
                    <a:pt x="1942" y="447"/>
                  </a:lnTo>
                  <a:lnTo>
                    <a:pt x="1921" y="450"/>
                  </a:lnTo>
                  <a:lnTo>
                    <a:pt x="1899" y="453"/>
                  </a:lnTo>
                  <a:lnTo>
                    <a:pt x="1879" y="455"/>
                  </a:lnTo>
                  <a:lnTo>
                    <a:pt x="1861" y="456"/>
                  </a:lnTo>
                  <a:lnTo>
                    <a:pt x="1855" y="457"/>
                  </a:lnTo>
                  <a:lnTo>
                    <a:pt x="1850" y="458"/>
                  </a:lnTo>
                  <a:lnTo>
                    <a:pt x="1847" y="460"/>
                  </a:lnTo>
                  <a:lnTo>
                    <a:pt x="1846" y="461"/>
                  </a:lnTo>
                  <a:lnTo>
                    <a:pt x="1849" y="464"/>
                  </a:lnTo>
                  <a:lnTo>
                    <a:pt x="1852" y="467"/>
                  </a:lnTo>
                  <a:lnTo>
                    <a:pt x="1854" y="471"/>
                  </a:lnTo>
                  <a:lnTo>
                    <a:pt x="1857" y="476"/>
                  </a:lnTo>
                  <a:lnTo>
                    <a:pt x="1862" y="489"/>
                  </a:lnTo>
                  <a:lnTo>
                    <a:pt x="1867" y="503"/>
                  </a:lnTo>
                  <a:lnTo>
                    <a:pt x="1872" y="518"/>
                  </a:lnTo>
                  <a:lnTo>
                    <a:pt x="1875" y="536"/>
                  </a:lnTo>
                  <a:lnTo>
                    <a:pt x="1879" y="555"/>
                  </a:lnTo>
                  <a:lnTo>
                    <a:pt x="1882" y="573"/>
                  </a:lnTo>
                  <a:lnTo>
                    <a:pt x="1887" y="612"/>
                  </a:lnTo>
                  <a:lnTo>
                    <a:pt x="1891" y="649"/>
                  </a:lnTo>
                  <a:lnTo>
                    <a:pt x="1893" y="679"/>
                  </a:lnTo>
                  <a:lnTo>
                    <a:pt x="1894" y="700"/>
                  </a:lnTo>
                  <a:lnTo>
                    <a:pt x="1893" y="710"/>
                  </a:lnTo>
                  <a:lnTo>
                    <a:pt x="1893" y="717"/>
                  </a:lnTo>
                  <a:lnTo>
                    <a:pt x="1894" y="724"/>
                  </a:lnTo>
                  <a:lnTo>
                    <a:pt x="1896" y="728"/>
                  </a:lnTo>
                  <a:lnTo>
                    <a:pt x="1899" y="730"/>
                  </a:lnTo>
                  <a:lnTo>
                    <a:pt x="1903" y="732"/>
                  </a:lnTo>
                  <a:lnTo>
                    <a:pt x="1906" y="733"/>
                  </a:lnTo>
                  <a:lnTo>
                    <a:pt x="1910" y="733"/>
                  </a:lnTo>
                  <a:lnTo>
                    <a:pt x="1913" y="734"/>
                  </a:lnTo>
                  <a:lnTo>
                    <a:pt x="1917" y="735"/>
                  </a:lnTo>
                  <a:lnTo>
                    <a:pt x="1919" y="737"/>
                  </a:lnTo>
                  <a:lnTo>
                    <a:pt x="1920" y="739"/>
                  </a:lnTo>
                  <a:lnTo>
                    <a:pt x="1920" y="745"/>
                  </a:lnTo>
                  <a:lnTo>
                    <a:pt x="1919" y="750"/>
                  </a:lnTo>
                  <a:lnTo>
                    <a:pt x="1916" y="758"/>
                  </a:lnTo>
                  <a:lnTo>
                    <a:pt x="1910" y="770"/>
                  </a:lnTo>
                  <a:lnTo>
                    <a:pt x="1904" y="779"/>
                  </a:lnTo>
                  <a:lnTo>
                    <a:pt x="1899" y="793"/>
                  </a:lnTo>
                  <a:lnTo>
                    <a:pt x="1897" y="799"/>
                  </a:lnTo>
                  <a:lnTo>
                    <a:pt x="1897" y="805"/>
                  </a:lnTo>
                  <a:lnTo>
                    <a:pt x="1898" y="807"/>
                  </a:lnTo>
                  <a:lnTo>
                    <a:pt x="1900" y="809"/>
                  </a:lnTo>
                  <a:lnTo>
                    <a:pt x="1902" y="810"/>
                  </a:lnTo>
                  <a:lnTo>
                    <a:pt x="1905" y="811"/>
                  </a:lnTo>
                  <a:lnTo>
                    <a:pt x="1911" y="812"/>
                  </a:lnTo>
                  <a:lnTo>
                    <a:pt x="1920" y="810"/>
                  </a:lnTo>
                  <a:lnTo>
                    <a:pt x="1927" y="808"/>
                  </a:lnTo>
                  <a:lnTo>
                    <a:pt x="1935" y="806"/>
                  </a:lnTo>
                  <a:lnTo>
                    <a:pt x="1944" y="804"/>
                  </a:lnTo>
                  <a:lnTo>
                    <a:pt x="1951" y="802"/>
                  </a:lnTo>
                  <a:lnTo>
                    <a:pt x="1955" y="802"/>
                  </a:lnTo>
                  <a:lnTo>
                    <a:pt x="1958" y="802"/>
                  </a:lnTo>
                  <a:lnTo>
                    <a:pt x="1962" y="803"/>
                  </a:lnTo>
                  <a:lnTo>
                    <a:pt x="1966" y="805"/>
                  </a:lnTo>
                  <a:lnTo>
                    <a:pt x="1975" y="811"/>
                  </a:lnTo>
                  <a:lnTo>
                    <a:pt x="1983" y="819"/>
                  </a:lnTo>
                  <a:lnTo>
                    <a:pt x="1992" y="828"/>
                  </a:lnTo>
                  <a:lnTo>
                    <a:pt x="2000" y="838"/>
                  </a:lnTo>
                  <a:lnTo>
                    <a:pt x="2015" y="861"/>
                  </a:lnTo>
                  <a:lnTo>
                    <a:pt x="2029" y="885"/>
                  </a:lnTo>
                  <a:lnTo>
                    <a:pt x="2038" y="898"/>
                  </a:lnTo>
                  <a:lnTo>
                    <a:pt x="2045" y="908"/>
                  </a:lnTo>
                  <a:lnTo>
                    <a:pt x="2054" y="920"/>
                  </a:lnTo>
                  <a:lnTo>
                    <a:pt x="2063" y="929"/>
                  </a:lnTo>
                  <a:lnTo>
                    <a:pt x="2073" y="937"/>
                  </a:lnTo>
                  <a:lnTo>
                    <a:pt x="2084" y="943"/>
                  </a:lnTo>
                  <a:lnTo>
                    <a:pt x="2091" y="946"/>
                  </a:lnTo>
                  <a:lnTo>
                    <a:pt x="2097" y="948"/>
                  </a:lnTo>
                  <a:lnTo>
                    <a:pt x="2103" y="949"/>
                  </a:lnTo>
                  <a:lnTo>
                    <a:pt x="2111" y="950"/>
                  </a:lnTo>
                  <a:lnTo>
                    <a:pt x="2120" y="952"/>
                  </a:lnTo>
                  <a:lnTo>
                    <a:pt x="2127" y="954"/>
                  </a:lnTo>
                  <a:lnTo>
                    <a:pt x="2133" y="957"/>
                  </a:lnTo>
                  <a:lnTo>
                    <a:pt x="2139" y="961"/>
                  </a:lnTo>
                  <a:lnTo>
                    <a:pt x="2141" y="965"/>
                  </a:lnTo>
                  <a:lnTo>
                    <a:pt x="2143" y="970"/>
                  </a:lnTo>
                  <a:lnTo>
                    <a:pt x="2144" y="975"/>
                  </a:lnTo>
                  <a:lnTo>
                    <a:pt x="2144" y="981"/>
                  </a:lnTo>
                  <a:lnTo>
                    <a:pt x="2139" y="1011"/>
                  </a:lnTo>
                  <a:lnTo>
                    <a:pt x="2135" y="1045"/>
                  </a:lnTo>
                  <a:lnTo>
                    <a:pt x="2136" y="1049"/>
                  </a:lnTo>
                  <a:lnTo>
                    <a:pt x="2137" y="1054"/>
                  </a:lnTo>
                  <a:lnTo>
                    <a:pt x="2140" y="1059"/>
                  </a:lnTo>
                  <a:lnTo>
                    <a:pt x="2144" y="1063"/>
                  </a:lnTo>
                  <a:lnTo>
                    <a:pt x="2153" y="1070"/>
                  </a:lnTo>
                  <a:lnTo>
                    <a:pt x="2165" y="1078"/>
                  </a:lnTo>
                  <a:lnTo>
                    <a:pt x="2190" y="1092"/>
                  </a:lnTo>
                  <a:lnTo>
                    <a:pt x="2210" y="1104"/>
                  </a:lnTo>
                  <a:lnTo>
                    <a:pt x="2215" y="1108"/>
                  </a:lnTo>
                  <a:lnTo>
                    <a:pt x="2219" y="1110"/>
                  </a:lnTo>
                  <a:lnTo>
                    <a:pt x="2223" y="1111"/>
                  </a:lnTo>
                  <a:lnTo>
                    <a:pt x="2227" y="1112"/>
                  </a:lnTo>
                  <a:lnTo>
                    <a:pt x="2236" y="1111"/>
                  </a:lnTo>
                  <a:lnTo>
                    <a:pt x="2244" y="1108"/>
                  </a:lnTo>
                  <a:lnTo>
                    <a:pt x="2251" y="1104"/>
                  </a:lnTo>
                  <a:lnTo>
                    <a:pt x="2260" y="1100"/>
                  </a:lnTo>
                  <a:lnTo>
                    <a:pt x="2268" y="1097"/>
                  </a:lnTo>
                  <a:lnTo>
                    <a:pt x="2277" y="1096"/>
                  </a:lnTo>
                  <a:lnTo>
                    <a:pt x="2286" y="1097"/>
                  </a:lnTo>
                  <a:lnTo>
                    <a:pt x="2294" y="1098"/>
                  </a:lnTo>
                  <a:lnTo>
                    <a:pt x="2302" y="1100"/>
                  </a:lnTo>
                  <a:lnTo>
                    <a:pt x="2311" y="1102"/>
                  </a:lnTo>
                  <a:lnTo>
                    <a:pt x="2319" y="1106"/>
                  </a:lnTo>
                  <a:lnTo>
                    <a:pt x="2328" y="1108"/>
                  </a:lnTo>
                  <a:lnTo>
                    <a:pt x="2338" y="1109"/>
                  </a:lnTo>
                  <a:lnTo>
                    <a:pt x="2347" y="1109"/>
                  </a:lnTo>
                  <a:lnTo>
                    <a:pt x="2376" y="1109"/>
                  </a:lnTo>
                  <a:lnTo>
                    <a:pt x="2406" y="1108"/>
                  </a:lnTo>
                  <a:lnTo>
                    <a:pt x="2420" y="1108"/>
                  </a:lnTo>
                  <a:lnTo>
                    <a:pt x="2435" y="1106"/>
                  </a:lnTo>
                  <a:lnTo>
                    <a:pt x="2448" y="1103"/>
                  </a:lnTo>
                  <a:lnTo>
                    <a:pt x="2463" y="1101"/>
                  </a:lnTo>
                  <a:lnTo>
                    <a:pt x="2475" y="1099"/>
                  </a:lnTo>
                  <a:lnTo>
                    <a:pt x="2485" y="1097"/>
                  </a:lnTo>
                  <a:lnTo>
                    <a:pt x="2492" y="1097"/>
                  </a:lnTo>
                  <a:lnTo>
                    <a:pt x="2497" y="1098"/>
                  </a:lnTo>
                  <a:lnTo>
                    <a:pt x="2510" y="1102"/>
                  </a:lnTo>
                  <a:lnTo>
                    <a:pt x="2530" y="1109"/>
                  </a:lnTo>
                  <a:lnTo>
                    <a:pt x="2529" y="1114"/>
                  </a:lnTo>
                  <a:lnTo>
                    <a:pt x="2527" y="1120"/>
                  </a:lnTo>
                  <a:lnTo>
                    <a:pt x="2523" y="1125"/>
                  </a:lnTo>
                  <a:lnTo>
                    <a:pt x="2520" y="1132"/>
                  </a:lnTo>
                  <a:lnTo>
                    <a:pt x="2511" y="1143"/>
                  </a:lnTo>
                  <a:lnTo>
                    <a:pt x="2499" y="1155"/>
                  </a:lnTo>
                  <a:lnTo>
                    <a:pt x="2489" y="1166"/>
                  </a:lnTo>
                  <a:lnTo>
                    <a:pt x="2480" y="1180"/>
                  </a:lnTo>
                  <a:lnTo>
                    <a:pt x="2475" y="1187"/>
                  </a:lnTo>
                  <a:lnTo>
                    <a:pt x="2473" y="1194"/>
                  </a:lnTo>
                  <a:lnTo>
                    <a:pt x="2471" y="1202"/>
                  </a:lnTo>
                  <a:lnTo>
                    <a:pt x="2470" y="1210"/>
                  </a:lnTo>
                  <a:lnTo>
                    <a:pt x="2469" y="1217"/>
                  </a:lnTo>
                  <a:lnTo>
                    <a:pt x="2470" y="1224"/>
                  </a:lnTo>
                  <a:lnTo>
                    <a:pt x="2471" y="1231"/>
                  </a:lnTo>
                  <a:lnTo>
                    <a:pt x="2473" y="1237"/>
                  </a:lnTo>
                  <a:lnTo>
                    <a:pt x="2475" y="1242"/>
                  </a:lnTo>
                  <a:lnTo>
                    <a:pt x="2480" y="1246"/>
                  </a:lnTo>
                  <a:lnTo>
                    <a:pt x="2483" y="1252"/>
                  </a:lnTo>
                  <a:lnTo>
                    <a:pt x="2488" y="1255"/>
                  </a:lnTo>
                  <a:lnTo>
                    <a:pt x="2508" y="1268"/>
                  </a:lnTo>
                  <a:lnTo>
                    <a:pt x="2528" y="1282"/>
                  </a:lnTo>
                  <a:lnTo>
                    <a:pt x="2541" y="1284"/>
                  </a:lnTo>
                  <a:lnTo>
                    <a:pt x="2555" y="1287"/>
                  </a:lnTo>
                  <a:lnTo>
                    <a:pt x="2555" y="1287"/>
                  </a:lnTo>
                  <a:lnTo>
                    <a:pt x="2557" y="1294"/>
                  </a:lnTo>
                  <a:lnTo>
                    <a:pt x="2558" y="1303"/>
                  </a:lnTo>
                  <a:lnTo>
                    <a:pt x="2559" y="1311"/>
                  </a:lnTo>
                  <a:lnTo>
                    <a:pt x="2559" y="1318"/>
                  </a:lnTo>
                  <a:lnTo>
                    <a:pt x="2559" y="1327"/>
                  </a:lnTo>
                  <a:lnTo>
                    <a:pt x="2558" y="1335"/>
                  </a:lnTo>
                  <a:lnTo>
                    <a:pt x="2556" y="1342"/>
                  </a:lnTo>
                  <a:lnTo>
                    <a:pt x="2554" y="1351"/>
                  </a:lnTo>
                  <a:lnTo>
                    <a:pt x="2552" y="1358"/>
                  </a:lnTo>
                  <a:lnTo>
                    <a:pt x="2547" y="1365"/>
                  </a:lnTo>
                  <a:lnTo>
                    <a:pt x="2544" y="1373"/>
                  </a:lnTo>
                  <a:lnTo>
                    <a:pt x="2539" y="1380"/>
                  </a:lnTo>
                  <a:lnTo>
                    <a:pt x="2535" y="1386"/>
                  </a:lnTo>
                  <a:lnTo>
                    <a:pt x="2529" y="1392"/>
                  </a:lnTo>
                  <a:lnTo>
                    <a:pt x="2523" y="1398"/>
                  </a:lnTo>
                  <a:lnTo>
                    <a:pt x="2516" y="1403"/>
                  </a:lnTo>
                  <a:lnTo>
                    <a:pt x="2505" y="1412"/>
                  </a:lnTo>
                  <a:lnTo>
                    <a:pt x="2493" y="1424"/>
                  </a:lnTo>
                  <a:lnTo>
                    <a:pt x="2481" y="1434"/>
                  </a:lnTo>
                  <a:lnTo>
                    <a:pt x="2469" y="1444"/>
                  </a:lnTo>
                  <a:lnTo>
                    <a:pt x="2458" y="1454"/>
                  </a:lnTo>
                  <a:lnTo>
                    <a:pt x="2447" y="1463"/>
                  </a:lnTo>
                  <a:lnTo>
                    <a:pt x="2438" y="1474"/>
                  </a:lnTo>
                  <a:lnTo>
                    <a:pt x="2429" y="1483"/>
                  </a:lnTo>
                  <a:lnTo>
                    <a:pt x="2427" y="1495"/>
                  </a:lnTo>
                  <a:lnTo>
                    <a:pt x="2426" y="1506"/>
                  </a:lnTo>
                  <a:lnTo>
                    <a:pt x="2424" y="1519"/>
                  </a:lnTo>
                  <a:lnTo>
                    <a:pt x="2421" y="1530"/>
                  </a:lnTo>
                  <a:lnTo>
                    <a:pt x="2418" y="1542"/>
                  </a:lnTo>
                  <a:lnTo>
                    <a:pt x="2413" y="1552"/>
                  </a:lnTo>
                  <a:lnTo>
                    <a:pt x="2407" y="1562"/>
                  </a:lnTo>
                  <a:lnTo>
                    <a:pt x="2400" y="1573"/>
                  </a:lnTo>
                  <a:lnTo>
                    <a:pt x="2388" y="1592"/>
                  </a:lnTo>
                  <a:lnTo>
                    <a:pt x="2377" y="1613"/>
                  </a:lnTo>
                  <a:lnTo>
                    <a:pt x="2372" y="1622"/>
                  </a:lnTo>
                  <a:lnTo>
                    <a:pt x="2366" y="1632"/>
                  </a:lnTo>
                  <a:lnTo>
                    <a:pt x="2359" y="1641"/>
                  </a:lnTo>
                  <a:lnTo>
                    <a:pt x="2350" y="1649"/>
                  </a:lnTo>
                  <a:lnTo>
                    <a:pt x="2316" y="1656"/>
                  </a:lnTo>
                  <a:lnTo>
                    <a:pt x="2283" y="1666"/>
                  </a:lnTo>
                  <a:lnTo>
                    <a:pt x="2266" y="1671"/>
                  </a:lnTo>
                  <a:lnTo>
                    <a:pt x="2251" y="1679"/>
                  </a:lnTo>
                  <a:lnTo>
                    <a:pt x="2244" y="1683"/>
                  </a:lnTo>
                  <a:lnTo>
                    <a:pt x="2238" y="1689"/>
                  </a:lnTo>
                  <a:lnTo>
                    <a:pt x="2231" y="1695"/>
                  </a:lnTo>
                  <a:lnTo>
                    <a:pt x="2225" y="1701"/>
                  </a:lnTo>
                  <a:lnTo>
                    <a:pt x="2219" y="1711"/>
                  </a:lnTo>
                  <a:lnTo>
                    <a:pt x="2214" y="1718"/>
                  </a:lnTo>
                  <a:lnTo>
                    <a:pt x="2211" y="1725"/>
                  </a:lnTo>
                  <a:lnTo>
                    <a:pt x="2207" y="1733"/>
                  </a:lnTo>
                  <a:lnTo>
                    <a:pt x="2205" y="1739"/>
                  </a:lnTo>
                  <a:lnTo>
                    <a:pt x="2204" y="1745"/>
                  </a:lnTo>
                  <a:lnTo>
                    <a:pt x="2203" y="1751"/>
                  </a:lnTo>
                  <a:lnTo>
                    <a:pt x="2203" y="1757"/>
                  </a:lnTo>
                  <a:lnTo>
                    <a:pt x="2203" y="1769"/>
                  </a:lnTo>
                  <a:lnTo>
                    <a:pt x="2203" y="1783"/>
                  </a:lnTo>
                  <a:lnTo>
                    <a:pt x="2202" y="1797"/>
                  </a:lnTo>
                  <a:lnTo>
                    <a:pt x="2199" y="1814"/>
                  </a:lnTo>
                  <a:lnTo>
                    <a:pt x="2126" y="1823"/>
                  </a:lnTo>
                  <a:lnTo>
                    <a:pt x="2122" y="1823"/>
                  </a:lnTo>
                  <a:lnTo>
                    <a:pt x="2120" y="1821"/>
                  </a:lnTo>
                  <a:lnTo>
                    <a:pt x="2118" y="1817"/>
                  </a:lnTo>
                  <a:lnTo>
                    <a:pt x="2117" y="1813"/>
                  </a:lnTo>
                  <a:lnTo>
                    <a:pt x="2116" y="1800"/>
                  </a:lnTo>
                  <a:lnTo>
                    <a:pt x="2117" y="1785"/>
                  </a:lnTo>
                  <a:lnTo>
                    <a:pt x="2117" y="1777"/>
                  </a:lnTo>
                  <a:lnTo>
                    <a:pt x="2117" y="1769"/>
                  </a:lnTo>
                  <a:lnTo>
                    <a:pt x="2116" y="1761"/>
                  </a:lnTo>
                  <a:lnTo>
                    <a:pt x="2114" y="1753"/>
                  </a:lnTo>
                  <a:lnTo>
                    <a:pt x="2112" y="1746"/>
                  </a:lnTo>
                  <a:lnTo>
                    <a:pt x="2108" y="1740"/>
                  </a:lnTo>
                  <a:lnTo>
                    <a:pt x="2103" y="1735"/>
                  </a:lnTo>
                  <a:lnTo>
                    <a:pt x="2097" y="1729"/>
                  </a:lnTo>
                  <a:lnTo>
                    <a:pt x="2075" y="1721"/>
                  </a:lnTo>
                  <a:lnTo>
                    <a:pt x="2051" y="1712"/>
                  </a:lnTo>
                  <a:lnTo>
                    <a:pt x="2045" y="1709"/>
                  </a:lnTo>
                  <a:lnTo>
                    <a:pt x="2040" y="1705"/>
                  </a:lnTo>
                  <a:lnTo>
                    <a:pt x="2035" y="1702"/>
                  </a:lnTo>
                  <a:lnTo>
                    <a:pt x="2031" y="1698"/>
                  </a:lnTo>
                  <a:lnTo>
                    <a:pt x="2028" y="1694"/>
                  </a:lnTo>
                  <a:lnTo>
                    <a:pt x="2025" y="1689"/>
                  </a:lnTo>
                  <a:lnTo>
                    <a:pt x="2024" y="1683"/>
                  </a:lnTo>
                  <a:lnTo>
                    <a:pt x="2023" y="1678"/>
                  </a:lnTo>
                  <a:lnTo>
                    <a:pt x="2023" y="1664"/>
                  </a:lnTo>
                  <a:lnTo>
                    <a:pt x="2022" y="1650"/>
                  </a:lnTo>
                  <a:lnTo>
                    <a:pt x="2020" y="1644"/>
                  </a:lnTo>
                  <a:lnTo>
                    <a:pt x="2017" y="1640"/>
                  </a:lnTo>
                  <a:lnTo>
                    <a:pt x="2015" y="1638"/>
                  </a:lnTo>
                  <a:lnTo>
                    <a:pt x="2011" y="1635"/>
                  </a:lnTo>
                  <a:lnTo>
                    <a:pt x="2008" y="1634"/>
                  </a:lnTo>
                  <a:lnTo>
                    <a:pt x="2004" y="1633"/>
                  </a:lnTo>
                  <a:lnTo>
                    <a:pt x="1993" y="1629"/>
                  </a:lnTo>
                  <a:lnTo>
                    <a:pt x="1980" y="1622"/>
                  </a:lnTo>
                  <a:lnTo>
                    <a:pt x="1974" y="1619"/>
                  </a:lnTo>
                  <a:lnTo>
                    <a:pt x="1968" y="1616"/>
                  </a:lnTo>
                  <a:lnTo>
                    <a:pt x="1961" y="1614"/>
                  </a:lnTo>
                  <a:lnTo>
                    <a:pt x="1956" y="1613"/>
                  </a:lnTo>
                  <a:lnTo>
                    <a:pt x="1952" y="1623"/>
                  </a:lnTo>
                  <a:lnTo>
                    <a:pt x="1943" y="1648"/>
                  </a:lnTo>
                  <a:lnTo>
                    <a:pt x="1936" y="1662"/>
                  </a:lnTo>
                  <a:lnTo>
                    <a:pt x="1931" y="1675"/>
                  </a:lnTo>
                  <a:lnTo>
                    <a:pt x="1925" y="1686"/>
                  </a:lnTo>
                  <a:lnTo>
                    <a:pt x="1920" y="1693"/>
                  </a:lnTo>
                  <a:lnTo>
                    <a:pt x="1911" y="1700"/>
                  </a:lnTo>
                  <a:lnTo>
                    <a:pt x="1902" y="1706"/>
                  </a:lnTo>
                  <a:lnTo>
                    <a:pt x="1894" y="1711"/>
                  </a:lnTo>
                  <a:lnTo>
                    <a:pt x="1884" y="1715"/>
                  </a:lnTo>
                  <a:lnTo>
                    <a:pt x="1874" y="1717"/>
                  </a:lnTo>
                  <a:lnTo>
                    <a:pt x="1863" y="1719"/>
                  </a:lnTo>
                  <a:lnTo>
                    <a:pt x="1853" y="1720"/>
                  </a:lnTo>
                  <a:lnTo>
                    <a:pt x="1843" y="1720"/>
                  </a:lnTo>
                  <a:lnTo>
                    <a:pt x="1838" y="1724"/>
                  </a:lnTo>
                  <a:lnTo>
                    <a:pt x="1831" y="1728"/>
                  </a:lnTo>
                  <a:lnTo>
                    <a:pt x="1822" y="1733"/>
                  </a:lnTo>
                  <a:lnTo>
                    <a:pt x="1811" y="1737"/>
                  </a:lnTo>
                  <a:lnTo>
                    <a:pt x="1791" y="1744"/>
                  </a:lnTo>
                  <a:lnTo>
                    <a:pt x="1778" y="1748"/>
                  </a:lnTo>
                  <a:lnTo>
                    <a:pt x="1778" y="1758"/>
                  </a:lnTo>
                  <a:lnTo>
                    <a:pt x="1779" y="1766"/>
                  </a:lnTo>
                  <a:lnTo>
                    <a:pt x="1780" y="1773"/>
                  </a:lnTo>
                  <a:lnTo>
                    <a:pt x="1782" y="1779"/>
                  </a:lnTo>
                  <a:lnTo>
                    <a:pt x="1787" y="1791"/>
                  </a:lnTo>
                  <a:lnTo>
                    <a:pt x="1794" y="1801"/>
                  </a:lnTo>
                  <a:lnTo>
                    <a:pt x="1808" y="1821"/>
                  </a:lnTo>
                  <a:lnTo>
                    <a:pt x="1825" y="1845"/>
                  </a:lnTo>
                  <a:lnTo>
                    <a:pt x="1827" y="1850"/>
                  </a:lnTo>
                  <a:lnTo>
                    <a:pt x="1829" y="1857"/>
                  </a:lnTo>
                  <a:lnTo>
                    <a:pt x="1829" y="1862"/>
                  </a:lnTo>
                  <a:lnTo>
                    <a:pt x="1829" y="1867"/>
                  </a:lnTo>
                  <a:lnTo>
                    <a:pt x="1827" y="1879"/>
                  </a:lnTo>
                  <a:lnTo>
                    <a:pt x="1824" y="1889"/>
                  </a:lnTo>
                  <a:lnTo>
                    <a:pt x="1819" y="1899"/>
                  </a:lnTo>
                  <a:lnTo>
                    <a:pt x="1814" y="1911"/>
                  </a:lnTo>
                  <a:lnTo>
                    <a:pt x="1810" y="1921"/>
                  </a:lnTo>
                  <a:lnTo>
                    <a:pt x="1809" y="1933"/>
                  </a:lnTo>
                  <a:lnTo>
                    <a:pt x="1809" y="1942"/>
                  </a:lnTo>
                  <a:lnTo>
                    <a:pt x="1811" y="1951"/>
                  </a:lnTo>
                  <a:lnTo>
                    <a:pt x="1814" y="1958"/>
                  </a:lnTo>
                  <a:lnTo>
                    <a:pt x="1819" y="1964"/>
                  </a:lnTo>
                  <a:lnTo>
                    <a:pt x="1823" y="1970"/>
                  </a:lnTo>
                  <a:lnTo>
                    <a:pt x="1829" y="1977"/>
                  </a:lnTo>
                  <a:lnTo>
                    <a:pt x="1834" y="1982"/>
                  </a:lnTo>
                  <a:lnTo>
                    <a:pt x="1840" y="1986"/>
                  </a:lnTo>
                  <a:lnTo>
                    <a:pt x="1852" y="1996"/>
                  </a:lnTo>
                  <a:lnTo>
                    <a:pt x="1862" y="2008"/>
                  </a:lnTo>
                  <a:lnTo>
                    <a:pt x="1867" y="2014"/>
                  </a:lnTo>
                  <a:lnTo>
                    <a:pt x="1870" y="2022"/>
                  </a:lnTo>
                  <a:lnTo>
                    <a:pt x="1871" y="2029"/>
                  </a:lnTo>
                  <a:lnTo>
                    <a:pt x="1872" y="2038"/>
                  </a:lnTo>
                  <a:lnTo>
                    <a:pt x="1863" y="2156"/>
                  </a:lnTo>
                  <a:lnTo>
                    <a:pt x="1863" y="2156"/>
                  </a:lnTo>
                  <a:lnTo>
                    <a:pt x="1835" y="2149"/>
                  </a:lnTo>
                  <a:lnTo>
                    <a:pt x="1824" y="2147"/>
                  </a:lnTo>
                  <a:lnTo>
                    <a:pt x="1811" y="2145"/>
                  </a:lnTo>
                  <a:lnTo>
                    <a:pt x="1799" y="2145"/>
                  </a:lnTo>
                  <a:lnTo>
                    <a:pt x="1785" y="2145"/>
                  </a:lnTo>
                  <a:lnTo>
                    <a:pt x="1772" y="2147"/>
                  </a:lnTo>
                  <a:lnTo>
                    <a:pt x="1759" y="2148"/>
                  </a:lnTo>
                  <a:lnTo>
                    <a:pt x="1747" y="2151"/>
                  </a:lnTo>
                  <a:lnTo>
                    <a:pt x="1735" y="2154"/>
                  </a:lnTo>
                  <a:lnTo>
                    <a:pt x="1727" y="2155"/>
                  </a:lnTo>
                  <a:lnTo>
                    <a:pt x="1717" y="2157"/>
                  </a:lnTo>
                  <a:lnTo>
                    <a:pt x="1709" y="2158"/>
                  </a:lnTo>
                  <a:lnTo>
                    <a:pt x="1701" y="2159"/>
                  </a:lnTo>
                  <a:lnTo>
                    <a:pt x="1675" y="2154"/>
                  </a:lnTo>
                  <a:lnTo>
                    <a:pt x="1649" y="2149"/>
                  </a:lnTo>
                  <a:lnTo>
                    <a:pt x="1623" y="2144"/>
                  </a:lnTo>
                  <a:lnTo>
                    <a:pt x="1598" y="2137"/>
                  </a:lnTo>
                  <a:lnTo>
                    <a:pt x="1591" y="2141"/>
                  </a:lnTo>
                  <a:lnTo>
                    <a:pt x="1585" y="2146"/>
                  </a:lnTo>
                  <a:lnTo>
                    <a:pt x="1580" y="2151"/>
                  </a:lnTo>
                  <a:lnTo>
                    <a:pt x="1574" y="2156"/>
                  </a:lnTo>
                  <a:lnTo>
                    <a:pt x="1564" y="2169"/>
                  </a:lnTo>
                  <a:lnTo>
                    <a:pt x="1556" y="2182"/>
                  </a:lnTo>
                  <a:lnTo>
                    <a:pt x="1547" y="2197"/>
                  </a:lnTo>
                  <a:lnTo>
                    <a:pt x="1541" y="2210"/>
                  </a:lnTo>
                  <a:lnTo>
                    <a:pt x="1535" y="2225"/>
                  </a:lnTo>
                  <a:lnTo>
                    <a:pt x="1530" y="2238"/>
                  </a:lnTo>
                  <a:lnTo>
                    <a:pt x="1528" y="2247"/>
                  </a:lnTo>
                  <a:lnTo>
                    <a:pt x="1528" y="2258"/>
                  </a:lnTo>
                  <a:lnTo>
                    <a:pt x="1528" y="2272"/>
                  </a:lnTo>
                  <a:lnTo>
                    <a:pt x="1529" y="2285"/>
                  </a:lnTo>
                  <a:lnTo>
                    <a:pt x="1531" y="2299"/>
                  </a:lnTo>
                  <a:lnTo>
                    <a:pt x="1532" y="2310"/>
                  </a:lnTo>
                  <a:lnTo>
                    <a:pt x="1532" y="2319"/>
                  </a:lnTo>
                  <a:lnTo>
                    <a:pt x="1531" y="2322"/>
                  </a:lnTo>
                  <a:lnTo>
                    <a:pt x="1528" y="2325"/>
                  </a:lnTo>
                  <a:lnTo>
                    <a:pt x="1524" y="2328"/>
                  </a:lnTo>
                  <a:lnTo>
                    <a:pt x="1519" y="2329"/>
                  </a:lnTo>
                  <a:lnTo>
                    <a:pt x="1514" y="2330"/>
                  </a:lnTo>
                  <a:lnTo>
                    <a:pt x="1505" y="2329"/>
                  </a:lnTo>
                  <a:lnTo>
                    <a:pt x="1494" y="2327"/>
                  </a:lnTo>
                  <a:lnTo>
                    <a:pt x="1483" y="2322"/>
                  </a:lnTo>
                  <a:lnTo>
                    <a:pt x="1471" y="2317"/>
                  </a:lnTo>
                  <a:lnTo>
                    <a:pt x="1460" y="2310"/>
                  </a:lnTo>
                  <a:lnTo>
                    <a:pt x="1448" y="2304"/>
                  </a:lnTo>
                  <a:lnTo>
                    <a:pt x="1437" y="2298"/>
                  </a:lnTo>
                  <a:lnTo>
                    <a:pt x="1427" y="2292"/>
                  </a:lnTo>
                  <a:lnTo>
                    <a:pt x="1416" y="2288"/>
                  </a:lnTo>
                  <a:lnTo>
                    <a:pt x="1407" y="2285"/>
                  </a:lnTo>
                  <a:lnTo>
                    <a:pt x="1402" y="2284"/>
                  </a:lnTo>
                  <a:lnTo>
                    <a:pt x="1397" y="2285"/>
                  </a:lnTo>
                  <a:lnTo>
                    <a:pt x="1393" y="2285"/>
                  </a:lnTo>
                  <a:lnTo>
                    <a:pt x="1390" y="2288"/>
                  </a:lnTo>
                  <a:lnTo>
                    <a:pt x="1386" y="2290"/>
                  </a:lnTo>
                  <a:lnTo>
                    <a:pt x="1384" y="2293"/>
                  </a:lnTo>
                  <a:lnTo>
                    <a:pt x="1381" y="2297"/>
                  </a:lnTo>
                  <a:lnTo>
                    <a:pt x="1379" y="2302"/>
                  </a:lnTo>
                  <a:lnTo>
                    <a:pt x="1377" y="2308"/>
                  </a:lnTo>
                  <a:lnTo>
                    <a:pt x="1374" y="2316"/>
                  </a:lnTo>
                  <a:lnTo>
                    <a:pt x="1374" y="2323"/>
                  </a:lnTo>
                  <a:lnTo>
                    <a:pt x="1374" y="2331"/>
                  </a:lnTo>
                  <a:lnTo>
                    <a:pt x="1374" y="2347"/>
                  </a:lnTo>
                  <a:lnTo>
                    <a:pt x="1374" y="2363"/>
                  </a:lnTo>
                  <a:lnTo>
                    <a:pt x="1374" y="2371"/>
                  </a:lnTo>
                  <a:lnTo>
                    <a:pt x="1373" y="2378"/>
                  </a:lnTo>
                  <a:lnTo>
                    <a:pt x="1372" y="2386"/>
                  </a:lnTo>
                  <a:lnTo>
                    <a:pt x="1370" y="2393"/>
                  </a:lnTo>
                  <a:lnTo>
                    <a:pt x="1368" y="2400"/>
                  </a:lnTo>
                  <a:lnTo>
                    <a:pt x="1364" y="2406"/>
                  </a:lnTo>
                  <a:lnTo>
                    <a:pt x="1359" y="2412"/>
                  </a:lnTo>
                  <a:lnTo>
                    <a:pt x="1354" y="2417"/>
                  </a:lnTo>
                  <a:lnTo>
                    <a:pt x="1351" y="2424"/>
                  </a:lnTo>
                  <a:lnTo>
                    <a:pt x="1348" y="2429"/>
                  </a:lnTo>
                  <a:lnTo>
                    <a:pt x="1343" y="2433"/>
                  </a:lnTo>
                  <a:lnTo>
                    <a:pt x="1338" y="2434"/>
                  </a:lnTo>
                  <a:lnTo>
                    <a:pt x="1332" y="2435"/>
                  </a:lnTo>
                  <a:lnTo>
                    <a:pt x="1324" y="2434"/>
                  </a:lnTo>
                  <a:lnTo>
                    <a:pt x="1317" y="2431"/>
                  </a:lnTo>
                  <a:lnTo>
                    <a:pt x="1310" y="2428"/>
                  </a:lnTo>
                  <a:lnTo>
                    <a:pt x="1294" y="2421"/>
                  </a:lnTo>
                  <a:lnTo>
                    <a:pt x="1280" y="2412"/>
                  </a:lnTo>
                  <a:lnTo>
                    <a:pt x="1268" y="2404"/>
                  </a:lnTo>
                  <a:lnTo>
                    <a:pt x="1261" y="2398"/>
                  </a:lnTo>
                  <a:lnTo>
                    <a:pt x="1247" y="2386"/>
                  </a:lnTo>
                  <a:lnTo>
                    <a:pt x="1234" y="2374"/>
                  </a:lnTo>
                  <a:lnTo>
                    <a:pt x="1220" y="2364"/>
                  </a:lnTo>
                  <a:lnTo>
                    <a:pt x="1207" y="2354"/>
                  </a:lnTo>
                  <a:lnTo>
                    <a:pt x="1192" y="2346"/>
                  </a:lnTo>
                  <a:lnTo>
                    <a:pt x="1176" y="2338"/>
                  </a:lnTo>
                  <a:lnTo>
                    <a:pt x="1160" y="2331"/>
                  </a:lnTo>
                  <a:lnTo>
                    <a:pt x="1143" y="2324"/>
                  </a:lnTo>
                  <a:lnTo>
                    <a:pt x="1124" y="2317"/>
                  </a:lnTo>
                  <a:lnTo>
                    <a:pt x="1105" y="2308"/>
                  </a:lnTo>
                  <a:lnTo>
                    <a:pt x="1087" y="2299"/>
                  </a:lnTo>
                  <a:lnTo>
                    <a:pt x="1069" y="2290"/>
                  </a:lnTo>
                  <a:lnTo>
                    <a:pt x="1069" y="2290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8" name="Freeform 155">
              <a:extLst>
                <a:ext uri="{FF2B5EF4-FFF2-40B4-BE49-F238E27FC236}">
                  <a16:creationId xmlns:a16="http://schemas.microsoft.com/office/drawing/2014/main" id="{35ACD7BC-B265-48B0-8C12-3DFBFE438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491" y="6038066"/>
              <a:ext cx="789824" cy="406540"/>
            </a:xfrm>
            <a:custGeom>
              <a:avLst/>
              <a:gdLst>
                <a:gd name="T0" fmla="*/ 39 w 3147"/>
                <a:gd name="T1" fmla="*/ 1158 h 1675"/>
                <a:gd name="T2" fmla="*/ 165 w 3147"/>
                <a:gd name="T3" fmla="*/ 1067 h 1675"/>
                <a:gd name="T4" fmla="*/ 210 w 3147"/>
                <a:gd name="T5" fmla="*/ 973 h 1675"/>
                <a:gd name="T6" fmla="*/ 324 w 3147"/>
                <a:gd name="T7" fmla="*/ 963 h 1675"/>
                <a:gd name="T8" fmla="*/ 432 w 3147"/>
                <a:gd name="T9" fmla="*/ 780 h 1675"/>
                <a:gd name="T10" fmla="*/ 541 w 3147"/>
                <a:gd name="T11" fmla="*/ 763 h 1675"/>
                <a:gd name="T12" fmla="*/ 639 w 3147"/>
                <a:gd name="T13" fmla="*/ 721 h 1675"/>
                <a:gd name="T14" fmla="*/ 787 w 3147"/>
                <a:gd name="T15" fmla="*/ 690 h 1675"/>
                <a:gd name="T16" fmla="*/ 890 w 3147"/>
                <a:gd name="T17" fmla="*/ 742 h 1675"/>
                <a:gd name="T18" fmla="*/ 991 w 3147"/>
                <a:gd name="T19" fmla="*/ 750 h 1675"/>
                <a:gd name="T20" fmla="*/ 1062 w 3147"/>
                <a:gd name="T21" fmla="*/ 702 h 1675"/>
                <a:gd name="T22" fmla="*/ 1121 w 3147"/>
                <a:gd name="T23" fmla="*/ 723 h 1675"/>
                <a:gd name="T24" fmla="*/ 1190 w 3147"/>
                <a:gd name="T25" fmla="*/ 644 h 1675"/>
                <a:gd name="T26" fmla="*/ 1077 w 3147"/>
                <a:gd name="T27" fmla="*/ 578 h 1675"/>
                <a:gd name="T28" fmla="*/ 1073 w 3147"/>
                <a:gd name="T29" fmla="*/ 485 h 1675"/>
                <a:gd name="T30" fmla="*/ 1218 w 3147"/>
                <a:gd name="T31" fmla="*/ 498 h 1675"/>
                <a:gd name="T32" fmla="*/ 1362 w 3147"/>
                <a:gd name="T33" fmla="*/ 410 h 1675"/>
                <a:gd name="T34" fmla="*/ 1479 w 3147"/>
                <a:gd name="T35" fmla="*/ 440 h 1675"/>
                <a:gd name="T36" fmla="*/ 1549 w 3147"/>
                <a:gd name="T37" fmla="*/ 463 h 1675"/>
                <a:gd name="T38" fmla="*/ 1543 w 3147"/>
                <a:gd name="T39" fmla="*/ 319 h 1675"/>
                <a:gd name="T40" fmla="*/ 1621 w 3147"/>
                <a:gd name="T41" fmla="*/ 300 h 1675"/>
                <a:gd name="T42" fmla="*/ 1664 w 3147"/>
                <a:gd name="T43" fmla="*/ 253 h 1675"/>
                <a:gd name="T44" fmla="*/ 1718 w 3147"/>
                <a:gd name="T45" fmla="*/ 131 h 1675"/>
                <a:gd name="T46" fmla="*/ 1770 w 3147"/>
                <a:gd name="T47" fmla="*/ 35 h 1675"/>
                <a:gd name="T48" fmla="*/ 1826 w 3147"/>
                <a:gd name="T49" fmla="*/ 42 h 1675"/>
                <a:gd name="T50" fmla="*/ 1886 w 3147"/>
                <a:gd name="T51" fmla="*/ 0 h 1675"/>
                <a:gd name="T52" fmla="*/ 2155 w 3147"/>
                <a:gd name="T53" fmla="*/ 14 h 1675"/>
                <a:gd name="T54" fmla="*/ 2305 w 3147"/>
                <a:gd name="T55" fmla="*/ 122 h 1675"/>
                <a:gd name="T56" fmla="*/ 2434 w 3147"/>
                <a:gd name="T57" fmla="*/ 99 h 1675"/>
                <a:gd name="T58" fmla="*/ 2527 w 3147"/>
                <a:gd name="T59" fmla="*/ 228 h 1675"/>
                <a:gd name="T60" fmla="*/ 2693 w 3147"/>
                <a:gd name="T61" fmla="*/ 247 h 1675"/>
                <a:gd name="T62" fmla="*/ 3033 w 3147"/>
                <a:gd name="T63" fmla="*/ 303 h 1675"/>
                <a:gd name="T64" fmla="*/ 3133 w 3147"/>
                <a:gd name="T65" fmla="*/ 383 h 1675"/>
                <a:gd name="T66" fmla="*/ 3136 w 3147"/>
                <a:gd name="T67" fmla="*/ 539 h 1675"/>
                <a:gd name="T68" fmla="*/ 2983 w 3147"/>
                <a:gd name="T69" fmla="*/ 767 h 1675"/>
                <a:gd name="T70" fmla="*/ 2919 w 3147"/>
                <a:gd name="T71" fmla="*/ 856 h 1675"/>
                <a:gd name="T72" fmla="*/ 2728 w 3147"/>
                <a:gd name="T73" fmla="*/ 874 h 1675"/>
                <a:gd name="T74" fmla="*/ 2616 w 3147"/>
                <a:gd name="T75" fmla="*/ 930 h 1675"/>
                <a:gd name="T76" fmla="*/ 2521 w 3147"/>
                <a:gd name="T77" fmla="*/ 963 h 1675"/>
                <a:gd name="T78" fmla="*/ 2519 w 3147"/>
                <a:gd name="T79" fmla="*/ 1071 h 1675"/>
                <a:gd name="T80" fmla="*/ 2487 w 3147"/>
                <a:gd name="T81" fmla="*/ 1200 h 1675"/>
                <a:gd name="T82" fmla="*/ 2387 w 3147"/>
                <a:gd name="T83" fmla="*/ 1195 h 1675"/>
                <a:gd name="T84" fmla="*/ 2280 w 3147"/>
                <a:gd name="T85" fmla="*/ 1187 h 1675"/>
                <a:gd name="T86" fmla="*/ 2177 w 3147"/>
                <a:gd name="T87" fmla="*/ 1180 h 1675"/>
                <a:gd name="T88" fmla="*/ 1973 w 3147"/>
                <a:gd name="T89" fmla="*/ 1169 h 1675"/>
                <a:gd name="T90" fmla="*/ 1723 w 3147"/>
                <a:gd name="T91" fmla="*/ 1223 h 1675"/>
                <a:gd name="T92" fmla="*/ 1686 w 3147"/>
                <a:gd name="T93" fmla="*/ 1270 h 1675"/>
                <a:gd name="T94" fmla="*/ 1681 w 3147"/>
                <a:gd name="T95" fmla="*/ 1343 h 1675"/>
                <a:gd name="T96" fmla="*/ 1517 w 3147"/>
                <a:gd name="T97" fmla="*/ 1188 h 1675"/>
                <a:gd name="T98" fmla="*/ 1410 w 3147"/>
                <a:gd name="T99" fmla="*/ 1123 h 1675"/>
                <a:gd name="T100" fmla="*/ 1363 w 3147"/>
                <a:gd name="T101" fmla="*/ 1190 h 1675"/>
                <a:gd name="T102" fmla="*/ 1264 w 3147"/>
                <a:gd name="T103" fmla="*/ 1175 h 1675"/>
                <a:gd name="T104" fmla="*/ 1152 w 3147"/>
                <a:gd name="T105" fmla="*/ 1265 h 1675"/>
                <a:gd name="T106" fmla="*/ 1049 w 3147"/>
                <a:gd name="T107" fmla="*/ 1543 h 1675"/>
                <a:gd name="T108" fmla="*/ 1060 w 3147"/>
                <a:gd name="T109" fmla="*/ 1626 h 1675"/>
                <a:gd name="T110" fmla="*/ 987 w 3147"/>
                <a:gd name="T111" fmla="*/ 1674 h 1675"/>
                <a:gd name="T112" fmla="*/ 691 w 3147"/>
                <a:gd name="T113" fmla="*/ 1663 h 1675"/>
                <a:gd name="T114" fmla="*/ 495 w 3147"/>
                <a:gd name="T115" fmla="*/ 1640 h 1675"/>
                <a:gd name="T116" fmla="*/ 358 w 3147"/>
                <a:gd name="T117" fmla="*/ 1438 h 1675"/>
                <a:gd name="T118" fmla="*/ 269 w 3147"/>
                <a:gd name="T119" fmla="*/ 1380 h 1675"/>
                <a:gd name="T120" fmla="*/ 106 w 3147"/>
                <a:gd name="T121" fmla="*/ 1459 h 1675"/>
                <a:gd name="T122" fmla="*/ 56 w 3147"/>
                <a:gd name="T123" fmla="*/ 1410 h 1675"/>
                <a:gd name="T124" fmla="*/ 71 w 3147"/>
                <a:gd name="T125" fmla="*/ 1282 h 1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47" h="1675">
                  <a:moveTo>
                    <a:pt x="6" y="1270"/>
                  </a:moveTo>
                  <a:lnTo>
                    <a:pt x="2" y="1252"/>
                  </a:lnTo>
                  <a:lnTo>
                    <a:pt x="0" y="1236"/>
                  </a:lnTo>
                  <a:lnTo>
                    <a:pt x="0" y="1221"/>
                  </a:lnTo>
                  <a:lnTo>
                    <a:pt x="1" y="1209"/>
                  </a:lnTo>
                  <a:lnTo>
                    <a:pt x="4" y="1197"/>
                  </a:lnTo>
                  <a:lnTo>
                    <a:pt x="8" y="1188"/>
                  </a:lnTo>
                  <a:lnTo>
                    <a:pt x="13" y="1179"/>
                  </a:lnTo>
                  <a:lnTo>
                    <a:pt x="21" y="1171"/>
                  </a:lnTo>
                  <a:lnTo>
                    <a:pt x="29" y="1164"/>
                  </a:lnTo>
                  <a:lnTo>
                    <a:pt x="39" y="1158"/>
                  </a:lnTo>
                  <a:lnTo>
                    <a:pt x="50" y="1151"/>
                  </a:lnTo>
                  <a:lnTo>
                    <a:pt x="63" y="1145"/>
                  </a:lnTo>
                  <a:lnTo>
                    <a:pt x="92" y="1133"/>
                  </a:lnTo>
                  <a:lnTo>
                    <a:pt x="127" y="1118"/>
                  </a:lnTo>
                  <a:lnTo>
                    <a:pt x="136" y="1113"/>
                  </a:lnTo>
                  <a:lnTo>
                    <a:pt x="144" y="1107"/>
                  </a:lnTo>
                  <a:lnTo>
                    <a:pt x="150" y="1100"/>
                  </a:lnTo>
                  <a:lnTo>
                    <a:pt x="155" y="1093"/>
                  </a:lnTo>
                  <a:lnTo>
                    <a:pt x="159" y="1085"/>
                  </a:lnTo>
                  <a:lnTo>
                    <a:pt x="162" y="1076"/>
                  </a:lnTo>
                  <a:lnTo>
                    <a:pt x="165" y="1067"/>
                  </a:lnTo>
                  <a:lnTo>
                    <a:pt x="168" y="1057"/>
                  </a:lnTo>
                  <a:lnTo>
                    <a:pt x="171" y="1039"/>
                  </a:lnTo>
                  <a:lnTo>
                    <a:pt x="175" y="1019"/>
                  </a:lnTo>
                  <a:lnTo>
                    <a:pt x="177" y="1010"/>
                  </a:lnTo>
                  <a:lnTo>
                    <a:pt x="180" y="1000"/>
                  </a:lnTo>
                  <a:lnTo>
                    <a:pt x="184" y="992"/>
                  </a:lnTo>
                  <a:lnTo>
                    <a:pt x="189" y="983"/>
                  </a:lnTo>
                  <a:lnTo>
                    <a:pt x="193" y="978"/>
                  </a:lnTo>
                  <a:lnTo>
                    <a:pt x="198" y="976"/>
                  </a:lnTo>
                  <a:lnTo>
                    <a:pt x="204" y="974"/>
                  </a:lnTo>
                  <a:lnTo>
                    <a:pt x="210" y="973"/>
                  </a:lnTo>
                  <a:lnTo>
                    <a:pt x="226" y="972"/>
                  </a:lnTo>
                  <a:lnTo>
                    <a:pt x="244" y="974"/>
                  </a:lnTo>
                  <a:lnTo>
                    <a:pt x="260" y="976"/>
                  </a:lnTo>
                  <a:lnTo>
                    <a:pt x="277" y="979"/>
                  </a:lnTo>
                  <a:lnTo>
                    <a:pt x="285" y="979"/>
                  </a:lnTo>
                  <a:lnTo>
                    <a:pt x="293" y="980"/>
                  </a:lnTo>
                  <a:lnTo>
                    <a:pt x="298" y="979"/>
                  </a:lnTo>
                  <a:lnTo>
                    <a:pt x="303" y="978"/>
                  </a:lnTo>
                  <a:lnTo>
                    <a:pt x="310" y="975"/>
                  </a:lnTo>
                  <a:lnTo>
                    <a:pt x="318" y="970"/>
                  </a:lnTo>
                  <a:lnTo>
                    <a:pt x="324" y="963"/>
                  </a:lnTo>
                  <a:lnTo>
                    <a:pt x="330" y="954"/>
                  </a:lnTo>
                  <a:lnTo>
                    <a:pt x="343" y="932"/>
                  </a:lnTo>
                  <a:lnTo>
                    <a:pt x="354" y="907"/>
                  </a:lnTo>
                  <a:lnTo>
                    <a:pt x="366" y="882"/>
                  </a:lnTo>
                  <a:lnTo>
                    <a:pt x="376" y="857"/>
                  </a:lnTo>
                  <a:lnTo>
                    <a:pt x="382" y="846"/>
                  </a:lnTo>
                  <a:lnTo>
                    <a:pt x="388" y="835"/>
                  </a:lnTo>
                  <a:lnTo>
                    <a:pt x="393" y="826"/>
                  </a:lnTo>
                  <a:lnTo>
                    <a:pt x="399" y="819"/>
                  </a:lnTo>
                  <a:lnTo>
                    <a:pt x="415" y="800"/>
                  </a:lnTo>
                  <a:lnTo>
                    <a:pt x="432" y="780"/>
                  </a:lnTo>
                  <a:lnTo>
                    <a:pt x="443" y="772"/>
                  </a:lnTo>
                  <a:lnTo>
                    <a:pt x="453" y="764"/>
                  </a:lnTo>
                  <a:lnTo>
                    <a:pt x="458" y="762"/>
                  </a:lnTo>
                  <a:lnTo>
                    <a:pt x="465" y="761"/>
                  </a:lnTo>
                  <a:lnTo>
                    <a:pt x="470" y="760"/>
                  </a:lnTo>
                  <a:lnTo>
                    <a:pt x="476" y="760"/>
                  </a:lnTo>
                  <a:lnTo>
                    <a:pt x="491" y="762"/>
                  </a:lnTo>
                  <a:lnTo>
                    <a:pt x="505" y="763"/>
                  </a:lnTo>
                  <a:lnTo>
                    <a:pt x="520" y="764"/>
                  </a:lnTo>
                  <a:lnTo>
                    <a:pt x="535" y="764"/>
                  </a:lnTo>
                  <a:lnTo>
                    <a:pt x="541" y="763"/>
                  </a:lnTo>
                  <a:lnTo>
                    <a:pt x="548" y="762"/>
                  </a:lnTo>
                  <a:lnTo>
                    <a:pt x="555" y="761"/>
                  </a:lnTo>
                  <a:lnTo>
                    <a:pt x="562" y="759"/>
                  </a:lnTo>
                  <a:lnTo>
                    <a:pt x="569" y="756"/>
                  </a:lnTo>
                  <a:lnTo>
                    <a:pt x="575" y="753"/>
                  </a:lnTo>
                  <a:lnTo>
                    <a:pt x="581" y="748"/>
                  </a:lnTo>
                  <a:lnTo>
                    <a:pt x="588" y="743"/>
                  </a:lnTo>
                  <a:lnTo>
                    <a:pt x="602" y="735"/>
                  </a:lnTo>
                  <a:lnTo>
                    <a:pt x="615" y="729"/>
                  </a:lnTo>
                  <a:lnTo>
                    <a:pt x="627" y="724"/>
                  </a:lnTo>
                  <a:lnTo>
                    <a:pt x="639" y="721"/>
                  </a:lnTo>
                  <a:lnTo>
                    <a:pt x="651" y="717"/>
                  </a:lnTo>
                  <a:lnTo>
                    <a:pt x="665" y="715"/>
                  </a:lnTo>
                  <a:lnTo>
                    <a:pt x="680" y="714"/>
                  </a:lnTo>
                  <a:lnTo>
                    <a:pt x="696" y="713"/>
                  </a:lnTo>
                  <a:lnTo>
                    <a:pt x="705" y="713"/>
                  </a:lnTo>
                  <a:lnTo>
                    <a:pt x="715" y="712"/>
                  </a:lnTo>
                  <a:lnTo>
                    <a:pt x="724" y="710"/>
                  </a:lnTo>
                  <a:lnTo>
                    <a:pt x="735" y="708"/>
                  </a:lnTo>
                  <a:lnTo>
                    <a:pt x="754" y="703"/>
                  </a:lnTo>
                  <a:lnTo>
                    <a:pt x="771" y="697"/>
                  </a:lnTo>
                  <a:lnTo>
                    <a:pt x="787" y="690"/>
                  </a:lnTo>
                  <a:lnTo>
                    <a:pt x="804" y="682"/>
                  </a:lnTo>
                  <a:lnTo>
                    <a:pt x="812" y="679"/>
                  </a:lnTo>
                  <a:lnTo>
                    <a:pt x="820" y="676"/>
                  </a:lnTo>
                  <a:lnTo>
                    <a:pt x="828" y="674"/>
                  </a:lnTo>
                  <a:lnTo>
                    <a:pt x="836" y="674"/>
                  </a:lnTo>
                  <a:lnTo>
                    <a:pt x="842" y="680"/>
                  </a:lnTo>
                  <a:lnTo>
                    <a:pt x="849" y="688"/>
                  </a:lnTo>
                  <a:lnTo>
                    <a:pt x="857" y="697"/>
                  </a:lnTo>
                  <a:lnTo>
                    <a:pt x="864" y="706"/>
                  </a:lnTo>
                  <a:lnTo>
                    <a:pt x="878" y="726"/>
                  </a:lnTo>
                  <a:lnTo>
                    <a:pt x="890" y="742"/>
                  </a:lnTo>
                  <a:lnTo>
                    <a:pt x="904" y="755"/>
                  </a:lnTo>
                  <a:lnTo>
                    <a:pt x="914" y="763"/>
                  </a:lnTo>
                  <a:lnTo>
                    <a:pt x="918" y="766"/>
                  </a:lnTo>
                  <a:lnTo>
                    <a:pt x="923" y="767"/>
                  </a:lnTo>
                  <a:lnTo>
                    <a:pt x="928" y="769"/>
                  </a:lnTo>
                  <a:lnTo>
                    <a:pt x="933" y="769"/>
                  </a:lnTo>
                  <a:lnTo>
                    <a:pt x="942" y="767"/>
                  </a:lnTo>
                  <a:lnTo>
                    <a:pt x="954" y="763"/>
                  </a:lnTo>
                  <a:lnTo>
                    <a:pt x="967" y="759"/>
                  </a:lnTo>
                  <a:lnTo>
                    <a:pt x="985" y="753"/>
                  </a:lnTo>
                  <a:lnTo>
                    <a:pt x="991" y="750"/>
                  </a:lnTo>
                  <a:lnTo>
                    <a:pt x="998" y="746"/>
                  </a:lnTo>
                  <a:lnTo>
                    <a:pt x="1004" y="741"/>
                  </a:lnTo>
                  <a:lnTo>
                    <a:pt x="1009" y="737"/>
                  </a:lnTo>
                  <a:lnTo>
                    <a:pt x="1019" y="727"/>
                  </a:lnTo>
                  <a:lnTo>
                    <a:pt x="1029" y="718"/>
                  </a:lnTo>
                  <a:lnTo>
                    <a:pt x="1034" y="713"/>
                  </a:lnTo>
                  <a:lnTo>
                    <a:pt x="1039" y="710"/>
                  </a:lnTo>
                  <a:lnTo>
                    <a:pt x="1044" y="707"/>
                  </a:lnTo>
                  <a:lnTo>
                    <a:pt x="1050" y="704"/>
                  </a:lnTo>
                  <a:lnTo>
                    <a:pt x="1056" y="703"/>
                  </a:lnTo>
                  <a:lnTo>
                    <a:pt x="1062" y="702"/>
                  </a:lnTo>
                  <a:lnTo>
                    <a:pt x="1069" y="702"/>
                  </a:lnTo>
                  <a:lnTo>
                    <a:pt x="1078" y="704"/>
                  </a:lnTo>
                  <a:lnTo>
                    <a:pt x="1081" y="709"/>
                  </a:lnTo>
                  <a:lnTo>
                    <a:pt x="1085" y="713"/>
                  </a:lnTo>
                  <a:lnTo>
                    <a:pt x="1088" y="716"/>
                  </a:lnTo>
                  <a:lnTo>
                    <a:pt x="1092" y="719"/>
                  </a:lnTo>
                  <a:lnTo>
                    <a:pt x="1097" y="722"/>
                  </a:lnTo>
                  <a:lnTo>
                    <a:pt x="1102" y="723"/>
                  </a:lnTo>
                  <a:lnTo>
                    <a:pt x="1106" y="724"/>
                  </a:lnTo>
                  <a:lnTo>
                    <a:pt x="1111" y="724"/>
                  </a:lnTo>
                  <a:lnTo>
                    <a:pt x="1121" y="723"/>
                  </a:lnTo>
                  <a:lnTo>
                    <a:pt x="1131" y="719"/>
                  </a:lnTo>
                  <a:lnTo>
                    <a:pt x="1140" y="714"/>
                  </a:lnTo>
                  <a:lnTo>
                    <a:pt x="1150" y="708"/>
                  </a:lnTo>
                  <a:lnTo>
                    <a:pt x="1159" y="701"/>
                  </a:lnTo>
                  <a:lnTo>
                    <a:pt x="1167" y="693"/>
                  </a:lnTo>
                  <a:lnTo>
                    <a:pt x="1175" y="684"/>
                  </a:lnTo>
                  <a:lnTo>
                    <a:pt x="1181" y="676"/>
                  </a:lnTo>
                  <a:lnTo>
                    <a:pt x="1186" y="667"/>
                  </a:lnTo>
                  <a:lnTo>
                    <a:pt x="1189" y="659"/>
                  </a:lnTo>
                  <a:lnTo>
                    <a:pt x="1190" y="652"/>
                  </a:lnTo>
                  <a:lnTo>
                    <a:pt x="1190" y="644"/>
                  </a:lnTo>
                  <a:lnTo>
                    <a:pt x="1187" y="639"/>
                  </a:lnTo>
                  <a:lnTo>
                    <a:pt x="1183" y="634"/>
                  </a:lnTo>
                  <a:lnTo>
                    <a:pt x="1178" y="629"/>
                  </a:lnTo>
                  <a:lnTo>
                    <a:pt x="1172" y="625"/>
                  </a:lnTo>
                  <a:lnTo>
                    <a:pt x="1155" y="616"/>
                  </a:lnTo>
                  <a:lnTo>
                    <a:pt x="1136" y="609"/>
                  </a:lnTo>
                  <a:lnTo>
                    <a:pt x="1117" y="602"/>
                  </a:lnTo>
                  <a:lnTo>
                    <a:pt x="1099" y="592"/>
                  </a:lnTo>
                  <a:lnTo>
                    <a:pt x="1090" y="588"/>
                  </a:lnTo>
                  <a:lnTo>
                    <a:pt x="1083" y="583"/>
                  </a:lnTo>
                  <a:lnTo>
                    <a:pt x="1077" y="578"/>
                  </a:lnTo>
                  <a:lnTo>
                    <a:pt x="1072" y="571"/>
                  </a:lnTo>
                  <a:lnTo>
                    <a:pt x="1069" y="567"/>
                  </a:lnTo>
                  <a:lnTo>
                    <a:pt x="1067" y="562"/>
                  </a:lnTo>
                  <a:lnTo>
                    <a:pt x="1065" y="557"/>
                  </a:lnTo>
                  <a:lnTo>
                    <a:pt x="1064" y="550"/>
                  </a:lnTo>
                  <a:lnTo>
                    <a:pt x="1063" y="537"/>
                  </a:lnTo>
                  <a:lnTo>
                    <a:pt x="1063" y="522"/>
                  </a:lnTo>
                  <a:lnTo>
                    <a:pt x="1064" y="509"/>
                  </a:lnTo>
                  <a:lnTo>
                    <a:pt x="1067" y="495"/>
                  </a:lnTo>
                  <a:lnTo>
                    <a:pt x="1069" y="490"/>
                  </a:lnTo>
                  <a:lnTo>
                    <a:pt x="1073" y="485"/>
                  </a:lnTo>
                  <a:lnTo>
                    <a:pt x="1075" y="480"/>
                  </a:lnTo>
                  <a:lnTo>
                    <a:pt x="1079" y="475"/>
                  </a:lnTo>
                  <a:lnTo>
                    <a:pt x="1083" y="473"/>
                  </a:lnTo>
                  <a:lnTo>
                    <a:pt x="1089" y="471"/>
                  </a:lnTo>
                  <a:lnTo>
                    <a:pt x="1098" y="471"/>
                  </a:lnTo>
                  <a:lnTo>
                    <a:pt x="1107" y="472"/>
                  </a:lnTo>
                  <a:lnTo>
                    <a:pt x="1130" y="476"/>
                  </a:lnTo>
                  <a:lnTo>
                    <a:pt x="1154" y="483"/>
                  </a:lnTo>
                  <a:lnTo>
                    <a:pt x="1180" y="490"/>
                  </a:lnTo>
                  <a:lnTo>
                    <a:pt x="1206" y="496"/>
                  </a:lnTo>
                  <a:lnTo>
                    <a:pt x="1218" y="498"/>
                  </a:lnTo>
                  <a:lnTo>
                    <a:pt x="1229" y="499"/>
                  </a:lnTo>
                  <a:lnTo>
                    <a:pt x="1239" y="499"/>
                  </a:lnTo>
                  <a:lnTo>
                    <a:pt x="1248" y="498"/>
                  </a:lnTo>
                  <a:lnTo>
                    <a:pt x="1258" y="496"/>
                  </a:lnTo>
                  <a:lnTo>
                    <a:pt x="1269" y="491"/>
                  </a:lnTo>
                  <a:lnTo>
                    <a:pt x="1279" y="485"/>
                  </a:lnTo>
                  <a:lnTo>
                    <a:pt x="1288" y="477"/>
                  </a:lnTo>
                  <a:lnTo>
                    <a:pt x="1307" y="461"/>
                  </a:lnTo>
                  <a:lnTo>
                    <a:pt x="1326" y="442"/>
                  </a:lnTo>
                  <a:lnTo>
                    <a:pt x="1345" y="424"/>
                  </a:lnTo>
                  <a:lnTo>
                    <a:pt x="1362" y="410"/>
                  </a:lnTo>
                  <a:lnTo>
                    <a:pt x="1371" y="403"/>
                  </a:lnTo>
                  <a:lnTo>
                    <a:pt x="1380" y="398"/>
                  </a:lnTo>
                  <a:lnTo>
                    <a:pt x="1389" y="396"/>
                  </a:lnTo>
                  <a:lnTo>
                    <a:pt x="1397" y="395"/>
                  </a:lnTo>
                  <a:lnTo>
                    <a:pt x="1404" y="400"/>
                  </a:lnTo>
                  <a:lnTo>
                    <a:pt x="1411" y="405"/>
                  </a:lnTo>
                  <a:lnTo>
                    <a:pt x="1419" y="411"/>
                  </a:lnTo>
                  <a:lnTo>
                    <a:pt x="1427" y="416"/>
                  </a:lnTo>
                  <a:lnTo>
                    <a:pt x="1444" y="424"/>
                  </a:lnTo>
                  <a:lnTo>
                    <a:pt x="1461" y="433"/>
                  </a:lnTo>
                  <a:lnTo>
                    <a:pt x="1479" y="440"/>
                  </a:lnTo>
                  <a:lnTo>
                    <a:pt x="1495" y="449"/>
                  </a:lnTo>
                  <a:lnTo>
                    <a:pt x="1502" y="453"/>
                  </a:lnTo>
                  <a:lnTo>
                    <a:pt x="1509" y="459"/>
                  </a:lnTo>
                  <a:lnTo>
                    <a:pt x="1515" y="465"/>
                  </a:lnTo>
                  <a:lnTo>
                    <a:pt x="1520" y="471"/>
                  </a:lnTo>
                  <a:lnTo>
                    <a:pt x="1527" y="471"/>
                  </a:lnTo>
                  <a:lnTo>
                    <a:pt x="1532" y="471"/>
                  </a:lnTo>
                  <a:lnTo>
                    <a:pt x="1538" y="470"/>
                  </a:lnTo>
                  <a:lnTo>
                    <a:pt x="1542" y="468"/>
                  </a:lnTo>
                  <a:lnTo>
                    <a:pt x="1546" y="466"/>
                  </a:lnTo>
                  <a:lnTo>
                    <a:pt x="1549" y="463"/>
                  </a:lnTo>
                  <a:lnTo>
                    <a:pt x="1551" y="460"/>
                  </a:lnTo>
                  <a:lnTo>
                    <a:pt x="1553" y="456"/>
                  </a:lnTo>
                  <a:lnTo>
                    <a:pt x="1554" y="445"/>
                  </a:lnTo>
                  <a:lnTo>
                    <a:pt x="1555" y="435"/>
                  </a:lnTo>
                  <a:lnTo>
                    <a:pt x="1554" y="422"/>
                  </a:lnTo>
                  <a:lnTo>
                    <a:pt x="1552" y="409"/>
                  </a:lnTo>
                  <a:lnTo>
                    <a:pt x="1547" y="379"/>
                  </a:lnTo>
                  <a:lnTo>
                    <a:pt x="1543" y="351"/>
                  </a:lnTo>
                  <a:lnTo>
                    <a:pt x="1542" y="338"/>
                  </a:lnTo>
                  <a:lnTo>
                    <a:pt x="1542" y="325"/>
                  </a:lnTo>
                  <a:lnTo>
                    <a:pt x="1543" y="319"/>
                  </a:lnTo>
                  <a:lnTo>
                    <a:pt x="1545" y="314"/>
                  </a:lnTo>
                  <a:lnTo>
                    <a:pt x="1547" y="308"/>
                  </a:lnTo>
                  <a:lnTo>
                    <a:pt x="1549" y="304"/>
                  </a:lnTo>
                  <a:lnTo>
                    <a:pt x="1552" y="301"/>
                  </a:lnTo>
                  <a:lnTo>
                    <a:pt x="1556" y="299"/>
                  </a:lnTo>
                  <a:lnTo>
                    <a:pt x="1561" y="298"/>
                  </a:lnTo>
                  <a:lnTo>
                    <a:pt x="1566" y="298"/>
                  </a:lnTo>
                  <a:lnTo>
                    <a:pt x="1578" y="298"/>
                  </a:lnTo>
                  <a:lnTo>
                    <a:pt x="1592" y="299"/>
                  </a:lnTo>
                  <a:lnTo>
                    <a:pt x="1606" y="300"/>
                  </a:lnTo>
                  <a:lnTo>
                    <a:pt x="1621" y="300"/>
                  </a:lnTo>
                  <a:lnTo>
                    <a:pt x="1627" y="300"/>
                  </a:lnTo>
                  <a:lnTo>
                    <a:pt x="1634" y="299"/>
                  </a:lnTo>
                  <a:lnTo>
                    <a:pt x="1639" y="297"/>
                  </a:lnTo>
                  <a:lnTo>
                    <a:pt x="1644" y="294"/>
                  </a:lnTo>
                  <a:lnTo>
                    <a:pt x="1651" y="289"/>
                  </a:lnTo>
                  <a:lnTo>
                    <a:pt x="1655" y="282"/>
                  </a:lnTo>
                  <a:lnTo>
                    <a:pt x="1660" y="277"/>
                  </a:lnTo>
                  <a:lnTo>
                    <a:pt x="1662" y="271"/>
                  </a:lnTo>
                  <a:lnTo>
                    <a:pt x="1663" y="265"/>
                  </a:lnTo>
                  <a:lnTo>
                    <a:pt x="1664" y="259"/>
                  </a:lnTo>
                  <a:lnTo>
                    <a:pt x="1664" y="253"/>
                  </a:lnTo>
                  <a:lnTo>
                    <a:pt x="1663" y="247"/>
                  </a:lnTo>
                  <a:lnTo>
                    <a:pt x="1662" y="235"/>
                  </a:lnTo>
                  <a:lnTo>
                    <a:pt x="1661" y="223"/>
                  </a:lnTo>
                  <a:lnTo>
                    <a:pt x="1662" y="218"/>
                  </a:lnTo>
                  <a:lnTo>
                    <a:pt x="1663" y="211"/>
                  </a:lnTo>
                  <a:lnTo>
                    <a:pt x="1665" y="206"/>
                  </a:lnTo>
                  <a:lnTo>
                    <a:pt x="1669" y="201"/>
                  </a:lnTo>
                  <a:lnTo>
                    <a:pt x="1704" y="151"/>
                  </a:lnTo>
                  <a:lnTo>
                    <a:pt x="1704" y="151"/>
                  </a:lnTo>
                  <a:lnTo>
                    <a:pt x="1711" y="142"/>
                  </a:lnTo>
                  <a:lnTo>
                    <a:pt x="1718" y="131"/>
                  </a:lnTo>
                  <a:lnTo>
                    <a:pt x="1725" y="121"/>
                  </a:lnTo>
                  <a:lnTo>
                    <a:pt x="1732" y="109"/>
                  </a:lnTo>
                  <a:lnTo>
                    <a:pt x="1737" y="98"/>
                  </a:lnTo>
                  <a:lnTo>
                    <a:pt x="1742" y="85"/>
                  </a:lnTo>
                  <a:lnTo>
                    <a:pt x="1746" y="74"/>
                  </a:lnTo>
                  <a:lnTo>
                    <a:pt x="1748" y="63"/>
                  </a:lnTo>
                  <a:lnTo>
                    <a:pt x="1754" y="58"/>
                  </a:lnTo>
                  <a:lnTo>
                    <a:pt x="1759" y="52"/>
                  </a:lnTo>
                  <a:lnTo>
                    <a:pt x="1763" y="44"/>
                  </a:lnTo>
                  <a:lnTo>
                    <a:pt x="1768" y="38"/>
                  </a:lnTo>
                  <a:lnTo>
                    <a:pt x="1770" y="35"/>
                  </a:lnTo>
                  <a:lnTo>
                    <a:pt x="1773" y="33"/>
                  </a:lnTo>
                  <a:lnTo>
                    <a:pt x="1775" y="31"/>
                  </a:lnTo>
                  <a:lnTo>
                    <a:pt x="1780" y="30"/>
                  </a:lnTo>
                  <a:lnTo>
                    <a:pt x="1783" y="30"/>
                  </a:lnTo>
                  <a:lnTo>
                    <a:pt x="1788" y="31"/>
                  </a:lnTo>
                  <a:lnTo>
                    <a:pt x="1792" y="33"/>
                  </a:lnTo>
                  <a:lnTo>
                    <a:pt x="1798" y="35"/>
                  </a:lnTo>
                  <a:lnTo>
                    <a:pt x="1806" y="39"/>
                  </a:lnTo>
                  <a:lnTo>
                    <a:pt x="1813" y="42"/>
                  </a:lnTo>
                  <a:lnTo>
                    <a:pt x="1820" y="43"/>
                  </a:lnTo>
                  <a:lnTo>
                    <a:pt x="1826" y="42"/>
                  </a:lnTo>
                  <a:lnTo>
                    <a:pt x="1830" y="41"/>
                  </a:lnTo>
                  <a:lnTo>
                    <a:pt x="1832" y="39"/>
                  </a:lnTo>
                  <a:lnTo>
                    <a:pt x="1834" y="37"/>
                  </a:lnTo>
                  <a:lnTo>
                    <a:pt x="1837" y="35"/>
                  </a:lnTo>
                  <a:lnTo>
                    <a:pt x="1840" y="28"/>
                  </a:lnTo>
                  <a:lnTo>
                    <a:pt x="1842" y="18"/>
                  </a:lnTo>
                  <a:lnTo>
                    <a:pt x="1851" y="11"/>
                  </a:lnTo>
                  <a:lnTo>
                    <a:pt x="1860" y="6"/>
                  </a:lnTo>
                  <a:lnTo>
                    <a:pt x="1869" y="2"/>
                  </a:lnTo>
                  <a:lnTo>
                    <a:pt x="1878" y="0"/>
                  </a:lnTo>
                  <a:lnTo>
                    <a:pt x="1886" y="0"/>
                  </a:lnTo>
                  <a:lnTo>
                    <a:pt x="1894" y="0"/>
                  </a:lnTo>
                  <a:lnTo>
                    <a:pt x="1903" y="1"/>
                  </a:lnTo>
                  <a:lnTo>
                    <a:pt x="1911" y="3"/>
                  </a:lnTo>
                  <a:lnTo>
                    <a:pt x="1928" y="8"/>
                  </a:lnTo>
                  <a:lnTo>
                    <a:pt x="1944" y="13"/>
                  </a:lnTo>
                  <a:lnTo>
                    <a:pt x="1954" y="15"/>
                  </a:lnTo>
                  <a:lnTo>
                    <a:pt x="1963" y="17"/>
                  </a:lnTo>
                  <a:lnTo>
                    <a:pt x="1973" y="18"/>
                  </a:lnTo>
                  <a:lnTo>
                    <a:pt x="1984" y="19"/>
                  </a:lnTo>
                  <a:lnTo>
                    <a:pt x="2155" y="14"/>
                  </a:lnTo>
                  <a:lnTo>
                    <a:pt x="2155" y="14"/>
                  </a:lnTo>
                  <a:lnTo>
                    <a:pt x="2157" y="24"/>
                  </a:lnTo>
                  <a:lnTo>
                    <a:pt x="2157" y="34"/>
                  </a:lnTo>
                  <a:lnTo>
                    <a:pt x="2158" y="43"/>
                  </a:lnTo>
                  <a:lnTo>
                    <a:pt x="2159" y="54"/>
                  </a:lnTo>
                  <a:lnTo>
                    <a:pt x="2190" y="75"/>
                  </a:lnTo>
                  <a:lnTo>
                    <a:pt x="2216" y="92"/>
                  </a:lnTo>
                  <a:lnTo>
                    <a:pt x="2230" y="100"/>
                  </a:lnTo>
                  <a:lnTo>
                    <a:pt x="2247" y="107"/>
                  </a:lnTo>
                  <a:lnTo>
                    <a:pt x="2265" y="112"/>
                  </a:lnTo>
                  <a:lnTo>
                    <a:pt x="2287" y="119"/>
                  </a:lnTo>
                  <a:lnTo>
                    <a:pt x="2305" y="122"/>
                  </a:lnTo>
                  <a:lnTo>
                    <a:pt x="2325" y="125"/>
                  </a:lnTo>
                  <a:lnTo>
                    <a:pt x="2334" y="127"/>
                  </a:lnTo>
                  <a:lnTo>
                    <a:pt x="2344" y="127"/>
                  </a:lnTo>
                  <a:lnTo>
                    <a:pt x="2353" y="127"/>
                  </a:lnTo>
                  <a:lnTo>
                    <a:pt x="2361" y="125"/>
                  </a:lnTo>
                  <a:lnTo>
                    <a:pt x="2379" y="120"/>
                  </a:lnTo>
                  <a:lnTo>
                    <a:pt x="2399" y="113"/>
                  </a:lnTo>
                  <a:lnTo>
                    <a:pt x="2419" y="105"/>
                  </a:lnTo>
                  <a:lnTo>
                    <a:pt x="2435" y="98"/>
                  </a:lnTo>
                  <a:lnTo>
                    <a:pt x="2435" y="98"/>
                  </a:lnTo>
                  <a:lnTo>
                    <a:pt x="2434" y="99"/>
                  </a:lnTo>
                  <a:lnTo>
                    <a:pt x="2435" y="102"/>
                  </a:lnTo>
                  <a:lnTo>
                    <a:pt x="2438" y="106"/>
                  </a:lnTo>
                  <a:lnTo>
                    <a:pt x="2442" y="111"/>
                  </a:lnTo>
                  <a:lnTo>
                    <a:pt x="2452" y="126"/>
                  </a:lnTo>
                  <a:lnTo>
                    <a:pt x="2466" y="143"/>
                  </a:lnTo>
                  <a:lnTo>
                    <a:pt x="2480" y="162"/>
                  </a:lnTo>
                  <a:lnTo>
                    <a:pt x="2495" y="182"/>
                  </a:lnTo>
                  <a:lnTo>
                    <a:pt x="2508" y="201"/>
                  </a:lnTo>
                  <a:lnTo>
                    <a:pt x="2519" y="218"/>
                  </a:lnTo>
                  <a:lnTo>
                    <a:pt x="2522" y="223"/>
                  </a:lnTo>
                  <a:lnTo>
                    <a:pt x="2527" y="228"/>
                  </a:lnTo>
                  <a:lnTo>
                    <a:pt x="2532" y="232"/>
                  </a:lnTo>
                  <a:lnTo>
                    <a:pt x="2539" y="235"/>
                  </a:lnTo>
                  <a:lnTo>
                    <a:pt x="2545" y="240"/>
                  </a:lnTo>
                  <a:lnTo>
                    <a:pt x="2552" y="242"/>
                  </a:lnTo>
                  <a:lnTo>
                    <a:pt x="2559" y="244"/>
                  </a:lnTo>
                  <a:lnTo>
                    <a:pt x="2568" y="246"/>
                  </a:lnTo>
                  <a:lnTo>
                    <a:pt x="2587" y="249"/>
                  </a:lnTo>
                  <a:lnTo>
                    <a:pt x="2606" y="250"/>
                  </a:lnTo>
                  <a:lnTo>
                    <a:pt x="2627" y="250"/>
                  </a:lnTo>
                  <a:lnTo>
                    <a:pt x="2649" y="249"/>
                  </a:lnTo>
                  <a:lnTo>
                    <a:pt x="2693" y="247"/>
                  </a:lnTo>
                  <a:lnTo>
                    <a:pt x="2738" y="243"/>
                  </a:lnTo>
                  <a:lnTo>
                    <a:pt x="2759" y="242"/>
                  </a:lnTo>
                  <a:lnTo>
                    <a:pt x="2778" y="242"/>
                  </a:lnTo>
                  <a:lnTo>
                    <a:pt x="2796" y="242"/>
                  </a:lnTo>
                  <a:lnTo>
                    <a:pt x="2812" y="243"/>
                  </a:lnTo>
                  <a:lnTo>
                    <a:pt x="2838" y="248"/>
                  </a:lnTo>
                  <a:lnTo>
                    <a:pt x="2872" y="255"/>
                  </a:lnTo>
                  <a:lnTo>
                    <a:pt x="2911" y="266"/>
                  </a:lnTo>
                  <a:lnTo>
                    <a:pt x="2952" y="278"/>
                  </a:lnTo>
                  <a:lnTo>
                    <a:pt x="2994" y="291"/>
                  </a:lnTo>
                  <a:lnTo>
                    <a:pt x="3033" y="303"/>
                  </a:lnTo>
                  <a:lnTo>
                    <a:pt x="3050" y="311"/>
                  </a:lnTo>
                  <a:lnTo>
                    <a:pt x="3066" y="317"/>
                  </a:lnTo>
                  <a:lnTo>
                    <a:pt x="3080" y="322"/>
                  </a:lnTo>
                  <a:lnTo>
                    <a:pt x="3090" y="328"/>
                  </a:lnTo>
                  <a:lnTo>
                    <a:pt x="3096" y="331"/>
                  </a:lnTo>
                  <a:lnTo>
                    <a:pt x="3102" y="336"/>
                  </a:lnTo>
                  <a:lnTo>
                    <a:pt x="3106" y="340"/>
                  </a:lnTo>
                  <a:lnTo>
                    <a:pt x="3111" y="345"/>
                  </a:lnTo>
                  <a:lnTo>
                    <a:pt x="3119" y="356"/>
                  </a:lnTo>
                  <a:lnTo>
                    <a:pt x="3127" y="369"/>
                  </a:lnTo>
                  <a:lnTo>
                    <a:pt x="3133" y="383"/>
                  </a:lnTo>
                  <a:lnTo>
                    <a:pt x="3137" y="397"/>
                  </a:lnTo>
                  <a:lnTo>
                    <a:pt x="3141" y="413"/>
                  </a:lnTo>
                  <a:lnTo>
                    <a:pt x="3144" y="428"/>
                  </a:lnTo>
                  <a:lnTo>
                    <a:pt x="3146" y="444"/>
                  </a:lnTo>
                  <a:lnTo>
                    <a:pt x="3146" y="460"/>
                  </a:lnTo>
                  <a:lnTo>
                    <a:pt x="3147" y="475"/>
                  </a:lnTo>
                  <a:lnTo>
                    <a:pt x="3146" y="491"/>
                  </a:lnTo>
                  <a:lnTo>
                    <a:pt x="3144" y="505"/>
                  </a:lnTo>
                  <a:lnTo>
                    <a:pt x="3142" y="517"/>
                  </a:lnTo>
                  <a:lnTo>
                    <a:pt x="3139" y="529"/>
                  </a:lnTo>
                  <a:lnTo>
                    <a:pt x="3136" y="539"/>
                  </a:lnTo>
                  <a:lnTo>
                    <a:pt x="3132" y="548"/>
                  </a:lnTo>
                  <a:lnTo>
                    <a:pt x="3126" y="561"/>
                  </a:lnTo>
                  <a:lnTo>
                    <a:pt x="3117" y="573"/>
                  </a:lnTo>
                  <a:lnTo>
                    <a:pt x="3109" y="587"/>
                  </a:lnTo>
                  <a:lnTo>
                    <a:pt x="3088" y="618"/>
                  </a:lnTo>
                  <a:lnTo>
                    <a:pt x="3065" y="651"/>
                  </a:lnTo>
                  <a:lnTo>
                    <a:pt x="3042" y="682"/>
                  </a:lnTo>
                  <a:lnTo>
                    <a:pt x="3021" y="712"/>
                  </a:lnTo>
                  <a:lnTo>
                    <a:pt x="3003" y="737"/>
                  </a:lnTo>
                  <a:lnTo>
                    <a:pt x="2990" y="756"/>
                  </a:lnTo>
                  <a:lnTo>
                    <a:pt x="2983" y="767"/>
                  </a:lnTo>
                  <a:lnTo>
                    <a:pt x="2978" y="777"/>
                  </a:lnTo>
                  <a:lnTo>
                    <a:pt x="2973" y="787"/>
                  </a:lnTo>
                  <a:lnTo>
                    <a:pt x="2972" y="796"/>
                  </a:lnTo>
                  <a:lnTo>
                    <a:pt x="2972" y="800"/>
                  </a:lnTo>
                  <a:lnTo>
                    <a:pt x="2972" y="805"/>
                  </a:lnTo>
                  <a:lnTo>
                    <a:pt x="2973" y="809"/>
                  </a:lnTo>
                  <a:lnTo>
                    <a:pt x="2975" y="813"/>
                  </a:lnTo>
                  <a:lnTo>
                    <a:pt x="2981" y="824"/>
                  </a:lnTo>
                  <a:lnTo>
                    <a:pt x="2988" y="834"/>
                  </a:lnTo>
                  <a:lnTo>
                    <a:pt x="2954" y="845"/>
                  </a:lnTo>
                  <a:lnTo>
                    <a:pt x="2919" y="856"/>
                  </a:lnTo>
                  <a:lnTo>
                    <a:pt x="2902" y="861"/>
                  </a:lnTo>
                  <a:lnTo>
                    <a:pt x="2886" y="867"/>
                  </a:lnTo>
                  <a:lnTo>
                    <a:pt x="2867" y="871"/>
                  </a:lnTo>
                  <a:lnTo>
                    <a:pt x="2848" y="874"/>
                  </a:lnTo>
                  <a:lnTo>
                    <a:pt x="2836" y="875"/>
                  </a:lnTo>
                  <a:lnTo>
                    <a:pt x="2823" y="876"/>
                  </a:lnTo>
                  <a:lnTo>
                    <a:pt x="2811" y="876"/>
                  </a:lnTo>
                  <a:lnTo>
                    <a:pt x="2797" y="876"/>
                  </a:lnTo>
                  <a:lnTo>
                    <a:pt x="2769" y="875"/>
                  </a:lnTo>
                  <a:lnTo>
                    <a:pt x="2742" y="874"/>
                  </a:lnTo>
                  <a:lnTo>
                    <a:pt x="2728" y="874"/>
                  </a:lnTo>
                  <a:lnTo>
                    <a:pt x="2715" y="874"/>
                  </a:lnTo>
                  <a:lnTo>
                    <a:pt x="2701" y="875"/>
                  </a:lnTo>
                  <a:lnTo>
                    <a:pt x="2689" y="877"/>
                  </a:lnTo>
                  <a:lnTo>
                    <a:pt x="2676" y="880"/>
                  </a:lnTo>
                  <a:lnTo>
                    <a:pt x="2665" y="884"/>
                  </a:lnTo>
                  <a:lnTo>
                    <a:pt x="2654" y="888"/>
                  </a:lnTo>
                  <a:lnTo>
                    <a:pt x="2645" y="896"/>
                  </a:lnTo>
                  <a:lnTo>
                    <a:pt x="2637" y="902"/>
                  </a:lnTo>
                  <a:lnTo>
                    <a:pt x="2629" y="911"/>
                  </a:lnTo>
                  <a:lnTo>
                    <a:pt x="2622" y="921"/>
                  </a:lnTo>
                  <a:lnTo>
                    <a:pt x="2616" y="930"/>
                  </a:lnTo>
                  <a:lnTo>
                    <a:pt x="2608" y="940"/>
                  </a:lnTo>
                  <a:lnTo>
                    <a:pt x="2600" y="948"/>
                  </a:lnTo>
                  <a:lnTo>
                    <a:pt x="2596" y="951"/>
                  </a:lnTo>
                  <a:lnTo>
                    <a:pt x="2592" y="954"/>
                  </a:lnTo>
                  <a:lnTo>
                    <a:pt x="2587" y="956"/>
                  </a:lnTo>
                  <a:lnTo>
                    <a:pt x="2581" y="958"/>
                  </a:lnTo>
                  <a:lnTo>
                    <a:pt x="2560" y="959"/>
                  </a:lnTo>
                  <a:lnTo>
                    <a:pt x="2536" y="959"/>
                  </a:lnTo>
                  <a:lnTo>
                    <a:pt x="2530" y="959"/>
                  </a:lnTo>
                  <a:lnTo>
                    <a:pt x="2525" y="960"/>
                  </a:lnTo>
                  <a:lnTo>
                    <a:pt x="2521" y="963"/>
                  </a:lnTo>
                  <a:lnTo>
                    <a:pt x="2516" y="965"/>
                  </a:lnTo>
                  <a:lnTo>
                    <a:pt x="2512" y="968"/>
                  </a:lnTo>
                  <a:lnTo>
                    <a:pt x="2509" y="972"/>
                  </a:lnTo>
                  <a:lnTo>
                    <a:pt x="2507" y="977"/>
                  </a:lnTo>
                  <a:lnTo>
                    <a:pt x="2507" y="983"/>
                  </a:lnTo>
                  <a:lnTo>
                    <a:pt x="2506" y="995"/>
                  </a:lnTo>
                  <a:lnTo>
                    <a:pt x="2507" y="1006"/>
                  </a:lnTo>
                  <a:lnTo>
                    <a:pt x="2508" y="1018"/>
                  </a:lnTo>
                  <a:lnTo>
                    <a:pt x="2510" y="1029"/>
                  </a:lnTo>
                  <a:lnTo>
                    <a:pt x="2515" y="1050"/>
                  </a:lnTo>
                  <a:lnTo>
                    <a:pt x="2519" y="1071"/>
                  </a:lnTo>
                  <a:lnTo>
                    <a:pt x="2521" y="1081"/>
                  </a:lnTo>
                  <a:lnTo>
                    <a:pt x="2522" y="1092"/>
                  </a:lnTo>
                  <a:lnTo>
                    <a:pt x="2523" y="1102"/>
                  </a:lnTo>
                  <a:lnTo>
                    <a:pt x="2523" y="1114"/>
                  </a:lnTo>
                  <a:lnTo>
                    <a:pt x="2522" y="1125"/>
                  </a:lnTo>
                  <a:lnTo>
                    <a:pt x="2519" y="1138"/>
                  </a:lnTo>
                  <a:lnTo>
                    <a:pt x="2515" y="1150"/>
                  </a:lnTo>
                  <a:lnTo>
                    <a:pt x="2509" y="1164"/>
                  </a:lnTo>
                  <a:lnTo>
                    <a:pt x="2503" y="1177"/>
                  </a:lnTo>
                  <a:lnTo>
                    <a:pt x="2496" y="1190"/>
                  </a:lnTo>
                  <a:lnTo>
                    <a:pt x="2487" y="1200"/>
                  </a:lnTo>
                  <a:lnTo>
                    <a:pt x="2479" y="1211"/>
                  </a:lnTo>
                  <a:lnTo>
                    <a:pt x="2462" y="1229"/>
                  </a:lnTo>
                  <a:lnTo>
                    <a:pt x="2444" y="1245"/>
                  </a:lnTo>
                  <a:lnTo>
                    <a:pt x="2439" y="1238"/>
                  </a:lnTo>
                  <a:lnTo>
                    <a:pt x="2434" y="1232"/>
                  </a:lnTo>
                  <a:lnTo>
                    <a:pt x="2428" y="1224"/>
                  </a:lnTo>
                  <a:lnTo>
                    <a:pt x="2422" y="1218"/>
                  </a:lnTo>
                  <a:lnTo>
                    <a:pt x="2413" y="1212"/>
                  </a:lnTo>
                  <a:lnTo>
                    <a:pt x="2405" y="1207"/>
                  </a:lnTo>
                  <a:lnTo>
                    <a:pt x="2397" y="1200"/>
                  </a:lnTo>
                  <a:lnTo>
                    <a:pt x="2387" y="1195"/>
                  </a:lnTo>
                  <a:lnTo>
                    <a:pt x="2378" y="1191"/>
                  </a:lnTo>
                  <a:lnTo>
                    <a:pt x="2368" y="1187"/>
                  </a:lnTo>
                  <a:lnTo>
                    <a:pt x="2358" y="1184"/>
                  </a:lnTo>
                  <a:lnTo>
                    <a:pt x="2349" y="1181"/>
                  </a:lnTo>
                  <a:lnTo>
                    <a:pt x="2339" y="1179"/>
                  </a:lnTo>
                  <a:lnTo>
                    <a:pt x="2330" y="1177"/>
                  </a:lnTo>
                  <a:lnTo>
                    <a:pt x="2322" y="1177"/>
                  </a:lnTo>
                  <a:lnTo>
                    <a:pt x="2314" y="1179"/>
                  </a:lnTo>
                  <a:lnTo>
                    <a:pt x="2301" y="1181"/>
                  </a:lnTo>
                  <a:lnTo>
                    <a:pt x="2290" y="1184"/>
                  </a:lnTo>
                  <a:lnTo>
                    <a:pt x="2280" y="1187"/>
                  </a:lnTo>
                  <a:lnTo>
                    <a:pt x="2272" y="1190"/>
                  </a:lnTo>
                  <a:lnTo>
                    <a:pt x="2257" y="1195"/>
                  </a:lnTo>
                  <a:lnTo>
                    <a:pt x="2245" y="1199"/>
                  </a:lnTo>
                  <a:lnTo>
                    <a:pt x="2238" y="1200"/>
                  </a:lnTo>
                  <a:lnTo>
                    <a:pt x="2232" y="1201"/>
                  </a:lnTo>
                  <a:lnTo>
                    <a:pt x="2226" y="1200"/>
                  </a:lnTo>
                  <a:lnTo>
                    <a:pt x="2218" y="1199"/>
                  </a:lnTo>
                  <a:lnTo>
                    <a:pt x="2209" y="1196"/>
                  </a:lnTo>
                  <a:lnTo>
                    <a:pt x="2200" y="1192"/>
                  </a:lnTo>
                  <a:lnTo>
                    <a:pt x="2189" y="1187"/>
                  </a:lnTo>
                  <a:lnTo>
                    <a:pt x="2177" y="1180"/>
                  </a:lnTo>
                  <a:lnTo>
                    <a:pt x="2164" y="1175"/>
                  </a:lnTo>
                  <a:lnTo>
                    <a:pt x="2153" y="1171"/>
                  </a:lnTo>
                  <a:lnTo>
                    <a:pt x="2141" y="1167"/>
                  </a:lnTo>
                  <a:lnTo>
                    <a:pt x="2130" y="1164"/>
                  </a:lnTo>
                  <a:lnTo>
                    <a:pt x="2107" y="1160"/>
                  </a:lnTo>
                  <a:lnTo>
                    <a:pt x="2085" y="1158"/>
                  </a:lnTo>
                  <a:lnTo>
                    <a:pt x="2062" y="1157"/>
                  </a:lnTo>
                  <a:lnTo>
                    <a:pt x="2040" y="1158"/>
                  </a:lnTo>
                  <a:lnTo>
                    <a:pt x="2018" y="1161"/>
                  </a:lnTo>
                  <a:lnTo>
                    <a:pt x="1996" y="1164"/>
                  </a:lnTo>
                  <a:lnTo>
                    <a:pt x="1973" y="1169"/>
                  </a:lnTo>
                  <a:lnTo>
                    <a:pt x="1952" y="1174"/>
                  </a:lnTo>
                  <a:lnTo>
                    <a:pt x="1930" y="1181"/>
                  </a:lnTo>
                  <a:lnTo>
                    <a:pt x="1907" y="1187"/>
                  </a:lnTo>
                  <a:lnTo>
                    <a:pt x="1862" y="1200"/>
                  </a:lnTo>
                  <a:lnTo>
                    <a:pt x="1816" y="1214"/>
                  </a:lnTo>
                  <a:lnTo>
                    <a:pt x="1802" y="1216"/>
                  </a:lnTo>
                  <a:lnTo>
                    <a:pt x="1787" y="1218"/>
                  </a:lnTo>
                  <a:lnTo>
                    <a:pt x="1771" y="1219"/>
                  </a:lnTo>
                  <a:lnTo>
                    <a:pt x="1754" y="1219"/>
                  </a:lnTo>
                  <a:lnTo>
                    <a:pt x="1739" y="1221"/>
                  </a:lnTo>
                  <a:lnTo>
                    <a:pt x="1723" y="1223"/>
                  </a:lnTo>
                  <a:lnTo>
                    <a:pt x="1716" y="1224"/>
                  </a:lnTo>
                  <a:lnTo>
                    <a:pt x="1710" y="1226"/>
                  </a:lnTo>
                  <a:lnTo>
                    <a:pt x="1703" y="1229"/>
                  </a:lnTo>
                  <a:lnTo>
                    <a:pt x="1698" y="1232"/>
                  </a:lnTo>
                  <a:lnTo>
                    <a:pt x="1692" y="1235"/>
                  </a:lnTo>
                  <a:lnTo>
                    <a:pt x="1689" y="1240"/>
                  </a:lnTo>
                  <a:lnTo>
                    <a:pt x="1686" y="1245"/>
                  </a:lnTo>
                  <a:lnTo>
                    <a:pt x="1685" y="1250"/>
                  </a:lnTo>
                  <a:lnTo>
                    <a:pt x="1684" y="1257"/>
                  </a:lnTo>
                  <a:lnTo>
                    <a:pt x="1685" y="1264"/>
                  </a:lnTo>
                  <a:lnTo>
                    <a:pt x="1686" y="1270"/>
                  </a:lnTo>
                  <a:lnTo>
                    <a:pt x="1688" y="1278"/>
                  </a:lnTo>
                  <a:lnTo>
                    <a:pt x="1692" y="1292"/>
                  </a:lnTo>
                  <a:lnTo>
                    <a:pt x="1696" y="1306"/>
                  </a:lnTo>
                  <a:lnTo>
                    <a:pt x="1697" y="1313"/>
                  </a:lnTo>
                  <a:lnTo>
                    <a:pt x="1699" y="1319"/>
                  </a:lnTo>
                  <a:lnTo>
                    <a:pt x="1699" y="1326"/>
                  </a:lnTo>
                  <a:lnTo>
                    <a:pt x="1699" y="1331"/>
                  </a:lnTo>
                  <a:lnTo>
                    <a:pt x="1695" y="1335"/>
                  </a:lnTo>
                  <a:lnTo>
                    <a:pt x="1690" y="1338"/>
                  </a:lnTo>
                  <a:lnTo>
                    <a:pt x="1686" y="1341"/>
                  </a:lnTo>
                  <a:lnTo>
                    <a:pt x="1681" y="1343"/>
                  </a:lnTo>
                  <a:lnTo>
                    <a:pt x="1672" y="1345"/>
                  </a:lnTo>
                  <a:lnTo>
                    <a:pt x="1664" y="1345"/>
                  </a:lnTo>
                  <a:lnTo>
                    <a:pt x="1654" y="1344"/>
                  </a:lnTo>
                  <a:lnTo>
                    <a:pt x="1645" y="1342"/>
                  </a:lnTo>
                  <a:lnTo>
                    <a:pt x="1636" y="1338"/>
                  </a:lnTo>
                  <a:lnTo>
                    <a:pt x="1625" y="1335"/>
                  </a:lnTo>
                  <a:lnTo>
                    <a:pt x="1609" y="1310"/>
                  </a:lnTo>
                  <a:lnTo>
                    <a:pt x="1587" y="1279"/>
                  </a:lnTo>
                  <a:lnTo>
                    <a:pt x="1561" y="1242"/>
                  </a:lnTo>
                  <a:lnTo>
                    <a:pt x="1531" y="1206"/>
                  </a:lnTo>
                  <a:lnTo>
                    <a:pt x="1517" y="1188"/>
                  </a:lnTo>
                  <a:lnTo>
                    <a:pt x="1501" y="1172"/>
                  </a:lnTo>
                  <a:lnTo>
                    <a:pt x="1485" y="1158"/>
                  </a:lnTo>
                  <a:lnTo>
                    <a:pt x="1470" y="1145"/>
                  </a:lnTo>
                  <a:lnTo>
                    <a:pt x="1463" y="1139"/>
                  </a:lnTo>
                  <a:lnTo>
                    <a:pt x="1454" y="1135"/>
                  </a:lnTo>
                  <a:lnTo>
                    <a:pt x="1447" y="1131"/>
                  </a:lnTo>
                  <a:lnTo>
                    <a:pt x="1440" y="1127"/>
                  </a:lnTo>
                  <a:lnTo>
                    <a:pt x="1432" y="1124"/>
                  </a:lnTo>
                  <a:lnTo>
                    <a:pt x="1424" y="1123"/>
                  </a:lnTo>
                  <a:lnTo>
                    <a:pt x="1418" y="1122"/>
                  </a:lnTo>
                  <a:lnTo>
                    <a:pt x="1410" y="1123"/>
                  </a:lnTo>
                  <a:lnTo>
                    <a:pt x="1403" y="1124"/>
                  </a:lnTo>
                  <a:lnTo>
                    <a:pt x="1397" y="1126"/>
                  </a:lnTo>
                  <a:lnTo>
                    <a:pt x="1393" y="1129"/>
                  </a:lnTo>
                  <a:lnTo>
                    <a:pt x="1387" y="1134"/>
                  </a:lnTo>
                  <a:lnTo>
                    <a:pt x="1384" y="1138"/>
                  </a:lnTo>
                  <a:lnTo>
                    <a:pt x="1381" y="1143"/>
                  </a:lnTo>
                  <a:lnTo>
                    <a:pt x="1378" y="1148"/>
                  </a:lnTo>
                  <a:lnTo>
                    <a:pt x="1376" y="1155"/>
                  </a:lnTo>
                  <a:lnTo>
                    <a:pt x="1372" y="1166"/>
                  </a:lnTo>
                  <a:lnTo>
                    <a:pt x="1368" y="1179"/>
                  </a:lnTo>
                  <a:lnTo>
                    <a:pt x="1363" y="1190"/>
                  </a:lnTo>
                  <a:lnTo>
                    <a:pt x="1357" y="1199"/>
                  </a:lnTo>
                  <a:lnTo>
                    <a:pt x="1352" y="1206"/>
                  </a:lnTo>
                  <a:lnTo>
                    <a:pt x="1347" y="1209"/>
                  </a:lnTo>
                  <a:lnTo>
                    <a:pt x="1342" y="1211"/>
                  </a:lnTo>
                  <a:lnTo>
                    <a:pt x="1335" y="1212"/>
                  </a:lnTo>
                  <a:lnTo>
                    <a:pt x="1330" y="1211"/>
                  </a:lnTo>
                  <a:lnTo>
                    <a:pt x="1324" y="1210"/>
                  </a:lnTo>
                  <a:lnTo>
                    <a:pt x="1318" y="1207"/>
                  </a:lnTo>
                  <a:lnTo>
                    <a:pt x="1311" y="1204"/>
                  </a:lnTo>
                  <a:lnTo>
                    <a:pt x="1286" y="1188"/>
                  </a:lnTo>
                  <a:lnTo>
                    <a:pt x="1264" y="1175"/>
                  </a:lnTo>
                  <a:lnTo>
                    <a:pt x="1255" y="1173"/>
                  </a:lnTo>
                  <a:lnTo>
                    <a:pt x="1245" y="1173"/>
                  </a:lnTo>
                  <a:lnTo>
                    <a:pt x="1234" y="1176"/>
                  </a:lnTo>
                  <a:lnTo>
                    <a:pt x="1224" y="1181"/>
                  </a:lnTo>
                  <a:lnTo>
                    <a:pt x="1213" y="1188"/>
                  </a:lnTo>
                  <a:lnTo>
                    <a:pt x="1203" y="1197"/>
                  </a:lnTo>
                  <a:lnTo>
                    <a:pt x="1192" y="1208"/>
                  </a:lnTo>
                  <a:lnTo>
                    <a:pt x="1182" y="1220"/>
                  </a:lnTo>
                  <a:lnTo>
                    <a:pt x="1172" y="1234"/>
                  </a:lnTo>
                  <a:lnTo>
                    <a:pt x="1161" y="1248"/>
                  </a:lnTo>
                  <a:lnTo>
                    <a:pt x="1152" y="1265"/>
                  </a:lnTo>
                  <a:lnTo>
                    <a:pt x="1141" y="1282"/>
                  </a:lnTo>
                  <a:lnTo>
                    <a:pt x="1132" y="1300"/>
                  </a:lnTo>
                  <a:lnTo>
                    <a:pt x="1123" y="1318"/>
                  </a:lnTo>
                  <a:lnTo>
                    <a:pt x="1113" y="1338"/>
                  </a:lnTo>
                  <a:lnTo>
                    <a:pt x="1105" y="1358"/>
                  </a:lnTo>
                  <a:lnTo>
                    <a:pt x="1089" y="1398"/>
                  </a:lnTo>
                  <a:lnTo>
                    <a:pt x="1075" y="1437"/>
                  </a:lnTo>
                  <a:lnTo>
                    <a:pt x="1063" y="1476"/>
                  </a:lnTo>
                  <a:lnTo>
                    <a:pt x="1054" y="1511"/>
                  </a:lnTo>
                  <a:lnTo>
                    <a:pt x="1051" y="1527"/>
                  </a:lnTo>
                  <a:lnTo>
                    <a:pt x="1049" y="1543"/>
                  </a:lnTo>
                  <a:lnTo>
                    <a:pt x="1047" y="1556"/>
                  </a:lnTo>
                  <a:lnTo>
                    <a:pt x="1045" y="1569"/>
                  </a:lnTo>
                  <a:lnTo>
                    <a:pt x="1045" y="1580"/>
                  </a:lnTo>
                  <a:lnTo>
                    <a:pt x="1047" y="1589"/>
                  </a:lnTo>
                  <a:lnTo>
                    <a:pt x="1049" y="1596"/>
                  </a:lnTo>
                  <a:lnTo>
                    <a:pt x="1052" y="1601"/>
                  </a:lnTo>
                  <a:lnTo>
                    <a:pt x="1054" y="1607"/>
                  </a:lnTo>
                  <a:lnTo>
                    <a:pt x="1057" y="1615"/>
                  </a:lnTo>
                  <a:lnTo>
                    <a:pt x="1059" y="1619"/>
                  </a:lnTo>
                  <a:lnTo>
                    <a:pt x="1060" y="1623"/>
                  </a:lnTo>
                  <a:lnTo>
                    <a:pt x="1060" y="1626"/>
                  </a:lnTo>
                  <a:lnTo>
                    <a:pt x="1059" y="1628"/>
                  </a:lnTo>
                  <a:lnTo>
                    <a:pt x="1058" y="1635"/>
                  </a:lnTo>
                  <a:lnTo>
                    <a:pt x="1057" y="1642"/>
                  </a:lnTo>
                  <a:lnTo>
                    <a:pt x="1054" y="1648"/>
                  </a:lnTo>
                  <a:lnTo>
                    <a:pt x="1050" y="1652"/>
                  </a:lnTo>
                  <a:lnTo>
                    <a:pt x="1044" y="1657"/>
                  </a:lnTo>
                  <a:lnTo>
                    <a:pt x="1038" y="1660"/>
                  </a:lnTo>
                  <a:lnTo>
                    <a:pt x="1032" y="1665"/>
                  </a:lnTo>
                  <a:lnTo>
                    <a:pt x="1024" y="1667"/>
                  </a:lnTo>
                  <a:lnTo>
                    <a:pt x="1007" y="1672"/>
                  </a:lnTo>
                  <a:lnTo>
                    <a:pt x="987" y="1674"/>
                  </a:lnTo>
                  <a:lnTo>
                    <a:pt x="966" y="1675"/>
                  </a:lnTo>
                  <a:lnTo>
                    <a:pt x="944" y="1675"/>
                  </a:lnTo>
                  <a:lnTo>
                    <a:pt x="921" y="1674"/>
                  </a:lnTo>
                  <a:lnTo>
                    <a:pt x="898" y="1672"/>
                  </a:lnTo>
                  <a:lnTo>
                    <a:pt x="877" y="1670"/>
                  </a:lnTo>
                  <a:lnTo>
                    <a:pt x="856" y="1667"/>
                  </a:lnTo>
                  <a:lnTo>
                    <a:pt x="820" y="1660"/>
                  </a:lnTo>
                  <a:lnTo>
                    <a:pt x="796" y="1655"/>
                  </a:lnTo>
                  <a:lnTo>
                    <a:pt x="764" y="1656"/>
                  </a:lnTo>
                  <a:lnTo>
                    <a:pt x="729" y="1659"/>
                  </a:lnTo>
                  <a:lnTo>
                    <a:pt x="691" y="1663"/>
                  </a:lnTo>
                  <a:lnTo>
                    <a:pt x="652" y="1665"/>
                  </a:lnTo>
                  <a:lnTo>
                    <a:pt x="633" y="1666"/>
                  </a:lnTo>
                  <a:lnTo>
                    <a:pt x="614" y="1666"/>
                  </a:lnTo>
                  <a:lnTo>
                    <a:pt x="595" y="1666"/>
                  </a:lnTo>
                  <a:lnTo>
                    <a:pt x="577" y="1665"/>
                  </a:lnTo>
                  <a:lnTo>
                    <a:pt x="560" y="1663"/>
                  </a:lnTo>
                  <a:lnTo>
                    <a:pt x="543" y="1659"/>
                  </a:lnTo>
                  <a:lnTo>
                    <a:pt x="527" y="1655"/>
                  </a:lnTo>
                  <a:lnTo>
                    <a:pt x="513" y="1650"/>
                  </a:lnTo>
                  <a:lnTo>
                    <a:pt x="504" y="1646"/>
                  </a:lnTo>
                  <a:lnTo>
                    <a:pt x="495" y="1640"/>
                  </a:lnTo>
                  <a:lnTo>
                    <a:pt x="486" y="1633"/>
                  </a:lnTo>
                  <a:lnTo>
                    <a:pt x="476" y="1626"/>
                  </a:lnTo>
                  <a:lnTo>
                    <a:pt x="457" y="1608"/>
                  </a:lnTo>
                  <a:lnTo>
                    <a:pt x="440" y="1589"/>
                  </a:lnTo>
                  <a:lnTo>
                    <a:pt x="424" y="1568"/>
                  </a:lnTo>
                  <a:lnTo>
                    <a:pt x="409" y="1546"/>
                  </a:lnTo>
                  <a:lnTo>
                    <a:pt x="397" y="1525"/>
                  </a:lnTo>
                  <a:lnTo>
                    <a:pt x="389" y="1506"/>
                  </a:lnTo>
                  <a:lnTo>
                    <a:pt x="378" y="1482"/>
                  </a:lnTo>
                  <a:lnTo>
                    <a:pt x="365" y="1453"/>
                  </a:lnTo>
                  <a:lnTo>
                    <a:pt x="358" y="1438"/>
                  </a:lnTo>
                  <a:lnTo>
                    <a:pt x="351" y="1425"/>
                  </a:lnTo>
                  <a:lnTo>
                    <a:pt x="344" y="1412"/>
                  </a:lnTo>
                  <a:lnTo>
                    <a:pt x="338" y="1403"/>
                  </a:lnTo>
                  <a:lnTo>
                    <a:pt x="330" y="1393"/>
                  </a:lnTo>
                  <a:lnTo>
                    <a:pt x="322" y="1387"/>
                  </a:lnTo>
                  <a:lnTo>
                    <a:pt x="314" y="1382"/>
                  </a:lnTo>
                  <a:lnTo>
                    <a:pt x="305" y="1379"/>
                  </a:lnTo>
                  <a:lnTo>
                    <a:pt x="296" y="1377"/>
                  </a:lnTo>
                  <a:lnTo>
                    <a:pt x="287" y="1377"/>
                  </a:lnTo>
                  <a:lnTo>
                    <a:pt x="278" y="1378"/>
                  </a:lnTo>
                  <a:lnTo>
                    <a:pt x="269" y="1380"/>
                  </a:lnTo>
                  <a:lnTo>
                    <a:pt x="232" y="1393"/>
                  </a:lnTo>
                  <a:lnTo>
                    <a:pt x="198" y="1408"/>
                  </a:lnTo>
                  <a:lnTo>
                    <a:pt x="187" y="1422"/>
                  </a:lnTo>
                  <a:lnTo>
                    <a:pt x="173" y="1438"/>
                  </a:lnTo>
                  <a:lnTo>
                    <a:pt x="164" y="1446"/>
                  </a:lnTo>
                  <a:lnTo>
                    <a:pt x="156" y="1453"/>
                  </a:lnTo>
                  <a:lnTo>
                    <a:pt x="149" y="1458"/>
                  </a:lnTo>
                  <a:lnTo>
                    <a:pt x="143" y="1462"/>
                  </a:lnTo>
                  <a:lnTo>
                    <a:pt x="143" y="1462"/>
                  </a:lnTo>
                  <a:lnTo>
                    <a:pt x="123" y="1461"/>
                  </a:lnTo>
                  <a:lnTo>
                    <a:pt x="106" y="1459"/>
                  </a:lnTo>
                  <a:lnTo>
                    <a:pt x="92" y="1456"/>
                  </a:lnTo>
                  <a:lnTo>
                    <a:pt x="81" y="1451"/>
                  </a:lnTo>
                  <a:lnTo>
                    <a:pt x="76" y="1449"/>
                  </a:lnTo>
                  <a:lnTo>
                    <a:pt x="72" y="1446"/>
                  </a:lnTo>
                  <a:lnTo>
                    <a:pt x="69" y="1442"/>
                  </a:lnTo>
                  <a:lnTo>
                    <a:pt x="65" y="1438"/>
                  </a:lnTo>
                  <a:lnTo>
                    <a:pt x="62" y="1434"/>
                  </a:lnTo>
                  <a:lnTo>
                    <a:pt x="60" y="1430"/>
                  </a:lnTo>
                  <a:lnTo>
                    <a:pt x="58" y="1426"/>
                  </a:lnTo>
                  <a:lnTo>
                    <a:pt x="57" y="1421"/>
                  </a:lnTo>
                  <a:lnTo>
                    <a:pt x="56" y="1410"/>
                  </a:lnTo>
                  <a:lnTo>
                    <a:pt x="56" y="1400"/>
                  </a:lnTo>
                  <a:lnTo>
                    <a:pt x="57" y="1387"/>
                  </a:lnTo>
                  <a:lnTo>
                    <a:pt x="59" y="1374"/>
                  </a:lnTo>
                  <a:lnTo>
                    <a:pt x="66" y="1345"/>
                  </a:lnTo>
                  <a:lnTo>
                    <a:pt x="76" y="1313"/>
                  </a:lnTo>
                  <a:lnTo>
                    <a:pt x="78" y="1307"/>
                  </a:lnTo>
                  <a:lnTo>
                    <a:pt x="78" y="1301"/>
                  </a:lnTo>
                  <a:lnTo>
                    <a:pt x="78" y="1294"/>
                  </a:lnTo>
                  <a:lnTo>
                    <a:pt x="76" y="1290"/>
                  </a:lnTo>
                  <a:lnTo>
                    <a:pt x="74" y="1286"/>
                  </a:lnTo>
                  <a:lnTo>
                    <a:pt x="71" y="1282"/>
                  </a:lnTo>
                  <a:lnTo>
                    <a:pt x="66" y="1279"/>
                  </a:lnTo>
                  <a:lnTo>
                    <a:pt x="62" y="1277"/>
                  </a:lnTo>
                  <a:lnTo>
                    <a:pt x="57" y="1273"/>
                  </a:lnTo>
                  <a:lnTo>
                    <a:pt x="51" y="1272"/>
                  </a:lnTo>
                  <a:lnTo>
                    <a:pt x="45" y="1271"/>
                  </a:lnTo>
                  <a:lnTo>
                    <a:pt x="37" y="1270"/>
                  </a:lnTo>
                  <a:lnTo>
                    <a:pt x="23" y="1269"/>
                  </a:lnTo>
                  <a:lnTo>
                    <a:pt x="6" y="1270"/>
                  </a:lnTo>
                  <a:lnTo>
                    <a:pt x="6" y="1270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19" name="Freeform 156">
              <a:extLst>
                <a:ext uri="{FF2B5EF4-FFF2-40B4-BE49-F238E27FC236}">
                  <a16:creationId xmlns:a16="http://schemas.microsoft.com/office/drawing/2014/main" id="{86F50A4D-5A46-4A5C-8A08-B4FF88B16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491" y="6038066"/>
              <a:ext cx="789824" cy="406540"/>
            </a:xfrm>
            <a:custGeom>
              <a:avLst/>
              <a:gdLst>
                <a:gd name="T0" fmla="*/ 39 w 3147"/>
                <a:gd name="T1" fmla="*/ 1158 h 1675"/>
                <a:gd name="T2" fmla="*/ 165 w 3147"/>
                <a:gd name="T3" fmla="*/ 1067 h 1675"/>
                <a:gd name="T4" fmla="*/ 210 w 3147"/>
                <a:gd name="T5" fmla="*/ 973 h 1675"/>
                <a:gd name="T6" fmla="*/ 324 w 3147"/>
                <a:gd name="T7" fmla="*/ 963 h 1675"/>
                <a:gd name="T8" fmla="*/ 432 w 3147"/>
                <a:gd name="T9" fmla="*/ 780 h 1675"/>
                <a:gd name="T10" fmla="*/ 541 w 3147"/>
                <a:gd name="T11" fmla="*/ 763 h 1675"/>
                <a:gd name="T12" fmla="*/ 639 w 3147"/>
                <a:gd name="T13" fmla="*/ 721 h 1675"/>
                <a:gd name="T14" fmla="*/ 787 w 3147"/>
                <a:gd name="T15" fmla="*/ 690 h 1675"/>
                <a:gd name="T16" fmla="*/ 890 w 3147"/>
                <a:gd name="T17" fmla="*/ 742 h 1675"/>
                <a:gd name="T18" fmla="*/ 991 w 3147"/>
                <a:gd name="T19" fmla="*/ 750 h 1675"/>
                <a:gd name="T20" fmla="*/ 1062 w 3147"/>
                <a:gd name="T21" fmla="*/ 702 h 1675"/>
                <a:gd name="T22" fmla="*/ 1121 w 3147"/>
                <a:gd name="T23" fmla="*/ 723 h 1675"/>
                <a:gd name="T24" fmla="*/ 1190 w 3147"/>
                <a:gd name="T25" fmla="*/ 644 h 1675"/>
                <a:gd name="T26" fmla="*/ 1077 w 3147"/>
                <a:gd name="T27" fmla="*/ 578 h 1675"/>
                <a:gd name="T28" fmla="*/ 1073 w 3147"/>
                <a:gd name="T29" fmla="*/ 485 h 1675"/>
                <a:gd name="T30" fmla="*/ 1218 w 3147"/>
                <a:gd name="T31" fmla="*/ 498 h 1675"/>
                <a:gd name="T32" fmla="*/ 1362 w 3147"/>
                <a:gd name="T33" fmla="*/ 410 h 1675"/>
                <a:gd name="T34" fmla="*/ 1479 w 3147"/>
                <a:gd name="T35" fmla="*/ 440 h 1675"/>
                <a:gd name="T36" fmla="*/ 1549 w 3147"/>
                <a:gd name="T37" fmla="*/ 463 h 1675"/>
                <a:gd name="T38" fmla="*/ 1543 w 3147"/>
                <a:gd name="T39" fmla="*/ 319 h 1675"/>
                <a:gd name="T40" fmla="*/ 1621 w 3147"/>
                <a:gd name="T41" fmla="*/ 300 h 1675"/>
                <a:gd name="T42" fmla="*/ 1664 w 3147"/>
                <a:gd name="T43" fmla="*/ 253 h 1675"/>
                <a:gd name="T44" fmla="*/ 1718 w 3147"/>
                <a:gd name="T45" fmla="*/ 131 h 1675"/>
                <a:gd name="T46" fmla="*/ 1770 w 3147"/>
                <a:gd name="T47" fmla="*/ 35 h 1675"/>
                <a:gd name="T48" fmla="*/ 1826 w 3147"/>
                <a:gd name="T49" fmla="*/ 42 h 1675"/>
                <a:gd name="T50" fmla="*/ 1886 w 3147"/>
                <a:gd name="T51" fmla="*/ 0 h 1675"/>
                <a:gd name="T52" fmla="*/ 2155 w 3147"/>
                <a:gd name="T53" fmla="*/ 14 h 1675"/>
                <a:gd name="T54" fmla="*/ 2305 w 3147"/>
                <a:gd name="T55" fmla="*/ 122 h 1675"/>
                <a:gd name="T56" fmla="*/ 2434 w 3147"/>
                <a:gd name="T57" fmla="*/ 99 h 1675"/>
                <a:gd name="T58" fmla="*/ 2527 w 3147"/>
                <a:gd name="T59" fmla="*/ 228 h 1675"/>
                <a:gd name="T60" fmla="*/ 2693 w 3147"/>
                <a:gd name="T61" fmla="*/ 247 h 1675"/>
                <a:gd name="T62" fmla="*/ 3033 w 3147"/>
                <a:gd name="T63" fmla="*/ 303 h 1675"/>
                <a:gd name="T64" fmla="*/ 3133 w 3147"/>
                <a:gd name="T65" fmla="*/ 383 h 1675"/>
                <a:gd name="T66" fmla="*/ 3136 w 3147"/>
                <a:gd name="T67" fmla="*/ 539 h 1675"/>
                <a:gd name="T68" fmla="*/ 2983 w 3147"/>
                <a:gd name="T69" fmla="*/ 767 h 1675"/>
                <a:gd name="T70" fmla="*/ 2919 w 3147"/>
                <a:gd name="T71" fmla="*/ 856 h 1675"/>
                <a:gd name="T72" fmla="*/ 2728 w 3147"/>
                <a:gd name="T73" fmla="*/ 874 h 1675"/>
                <a:gd name="T74" fmla="*/ 2616 w 3147"/>
                <a:gd name="T75" fmla="*/ 930 h 1675"/>
                <a:gd name="T76" fmla="*/ 2521 w 3147"/>
                <a:gd name="T77" fmla="*/ 963 h 1675"/>
                <a:gd name="T78" fmla="*/ 2519 w 3147"/>
                <a:gd name="T79" fmla="*/ 1071 h 1675"/>
                <a:gd name="T80" fmla="*/ 2487 w 3147"/>
                <a:gd name="T81" fmla="*/ 1200 h 1675"/>
                <a:gd name="T82" fmla="*/ 2387 w 3147"/>
                <a:gd name="T83" fmla="*/ 1195 h 1675"/>
                <a:gd name="T84" fmla="*/ 2280 w 3147"/>
                <a:gd name="T85" fmla="*/ 1187 h 1675"/>
                <a:gd name="T86" fmla="*/ 2177 w 3147"/>
                <a:gd name="T87" fmla="*/ 1180 h 1675"/>
                <a:gd name="T88" fmla="*/ 1973 w 3147"/>
                <a:gd name="T89" fmla="*/ 1169 h 1675"/>
                <a:gd name="T90" fmla="*/ 1723 w 3147"/>
                <a:gd name="T91" fmla="*/ 1223 h 1675"/>
                <a:gd name="T92" fmla="*/ 1686 w 3147"/>
                <a:gd name="T93" fmla="*/ 1270 h 1675"/>
                <a:gd name="T94" fmla="*/ 1681 w 3147"/>
                <a:gd name="T95" fmla="*/ 1343 h 1675"/>
                <a:gd name="T96" fmla="*/ 1517 w 3147"/>
                <a:gd name="T97" fmla="*/ 1188 h 1675"/>
                <a:gd name="T98" fmla="*/ 1410 w 3147"/>
                <a:gd name="T99" fmla="*/ 1123 h 1675"/>
                <a:gd name="T100" fmla="*/ 1363 w 3147"/>
                <a:gd name="T101" fmla="*/ 1190 h 1675"/>
                <a:gd name="T102" fmla="*/ 1264 w 3147"/>
                <a:gd name="T103" fmla="*/ 1175 h 1675"/>
                <a:gd name="T104" fmla="*/ 1152 w 3147"/>
                <a:gd name="T105" fmla="*/ 1265 h 1675"/>
                <a:gd name="T106" fmla="*/ 1049 w 3147"/>
                <a:gd name="T107" fmla="*/ 1543 h 1675"/>
                <a:gd name="T108" fmla="*/ 1060 w 3147"/>
                <a:gd name="T109" fmla="*/ 1626 h 1675"/>
                <a:gd name="T110" fmla="*/ 987 w 3147"/>
                <a:gd name="T111" fmla="*/ 1674 h 1675"/>
                <a:gd name="T112" fmla="*/ 691 w 3147"/>
                <a:gd name="T113" fmla="*/ 1663 h 1675"/>
                <a:gd name="T114" fmla="*/ 495 w 3147"/>
                <a:gd name="T115" fmla="*/ 1640 h 1675"/>
                <a:gd name="T116" fmla="*/ 358 w 3147"/>
                <a:gd name="T117" fmla="*/ 1438 h 1675"/>
                <a:gd name="T118" fmla="*/ 269 w 3147"/>
                <a:gd name="T119" fmla="*/ 1380 h 1675"/>
                <a:gd name="T120" fmla="*/ 106 w 3147"/>
                <a:gd name="T121" fmla="*/ 1459 h 1675"/>
                <a:gd name="T122" fmla="*/ 56 w 3147"/>
                <a:gd name="T123" fmla="*/ 1410 h 1675"/>
                <a:gd name="T124" fmla="*/ 71 w 3147"/>
                <a:gd name="T125" fmla="*/ 1282 h 1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47" h="1675">
                  <a:moveTo>
                    <a:pt x="6" y="1270"/>
                  </a:moveTo>
                  <a:lnTo>
                    <a:pt x="2" y="1252"/>
                  </a:lnTo>
                  <a:lnTo>
                    <a:pt x="0" y="1236"/>
                  </a:lnTo>
                  <a:lnTo>
                    <a:pt x="0" y="1221"/>
                  </a:lnTo>
                  <a:lnTo>
                    <a:pt x="1" y="1209"/>
                  </a:lnTo>
                  <a:lnTo>
                    <a:pt x="4" y="1197"/>
                  </a:lnTo>
                  <a:lnTo>
                    <a:pt x="8" y="1188"/>
                  </a:lnTo>
                  <a:lnTo>
                    <a:pt x="13" y="1179"/>
                  </a:lnTo>
                  <a:lnTo>
                    <a:pt x="21" y="1171"/>
                  </a:lnTo>
                  <a:lnTo>
                    <a:pt x="29" y="1164"/>
                  </a:lnTo>
                  <a:lnTo>
                    <a:pt x="39" y="1158"/>
                  </a:lnTo>
                  <a:lnTo>
                    <a:pt x="50" y="1151"/>
                  </a:lnTo>
                  <a:lnTo>
                    <a:pt x="63" y="1145"/>
                  </a:lnTo>
                  <a:lnTo>
                    <a:pt x="92" y="1133"/>
                  </a:lnTo>
                  <a:lnTo>
                    <a:pt x="127" y="1118"/>
                  </a:lnTo>
                  <a:lnTo>
                    <a:pt x="136" y="1113"/>
                  </a:lnTo>
                  <a:lnTo>
                    <a:pt x="144" y="1107"/>
                  </a:lnTo>
                  <a:lnTo>
                    <a:pt x="150" y="1100"/>
                  </a:lnTo>
                  <a:lnTo>
                    <a:pt x="155" y="1093"/>
                  </a:lnTo>
                  <a:lnTo>
                    <a:pt x="159" y="1085"/>
                  </a:lnTo>
                  <a:lnTo>
                    <a:pt x="162" y="1076"/>
                  </a:lnTo>
                  <a:lnTo>
                    <a:pt x="165" y="1067"/>
                  </a:lnTo>
                  <a:lnTo>
                    <a:pt x="168" y="1057"/>
                  </a:lnTo>
                  <a:lnTo>
                    <a:pt x="171" y="1039"/>
                  </a:lnTo>
                  <a:lnTo>
                    <a:pt x="175" y="1019"/>
                  </a:lnTo>
                  <a:lnTo>
                    <a:pt x="177" y="1010"/>
                  </a:lnTo>
                  <a:lnTo>
                    <a:pt x="180" y="1000"/>
                  </a:lnTo>
                  <a:lnTo>
                    <a:pt x="184" y="992"/>
                  </a:lnTo>
                  <a:lnTo>
                    <a:pt x="189" y="983"/>
                  </a:lnTo>
                  <a:lnTo>
                    <a:pt x="193" y="978"/>
                  </a:lnTo>
                  <a:lnTo>
                    <a:pt x="198" y="976"/>
                  </a:lnTo>
                  <a:lnTo>
                    <a:pt x="204" y="974"/>
                  </a:lnTo>
                  <a:lnTo>
                    <a:pt x="210" y="973"/>
                  </a:lnTo>
                  <a:lnTo>
                    <a:pt x="226" y="972"/>
                  </a:lnTo>
                  <a:lnTo>
                    <a:pt x="244" y="974"/>
                  </a:lnTo>
                  <a:lnTo>
                    <a:pt x="260" y="976"/>
                  </a:lnTo>
                  <a:lnTo>
                    <a:pt x="277" y="979"/>
                  </a:lnTo>
                  <a:lnTo>
                    <a:pt x="285" y="979"/>
                  </a:lnTo>
                  <a:lnTo>
                    <a:pt x="293" y="980"/>
                  </a:lnTo>
                  <a:lnTo>
                    <a:pt x="298" y="979"/>
                  </a:lnTo>
                  <a:lnTo>
                    <a:pt x="303" y="978"/>
                  </a:lnTo>
                  <a:lnTo>
                    <a:pt x="310" y="975"/>
                  </a:lnTo>
                  <a:lnTo>
                    <a:pt x="318" y="970"/>
                  </a:lnTo>
                  <a:lnTo>
                    <a:pt x="324" y="963"/>
                  </a:lnTo>
                  <a:lnTo>
                    <a:pt x="330" y="954"/>
                  </a:lnTo>
                  <a:lnTo>
                    <a:pt x="343" y="932"/>
                  </a:lnTo>
                  <a:lnTo>
                    <a:pt x="354" y="907"/>
                  </a:lnTo>
                  <a:lnTo>
                    <a:pt x="366" y="882"/>
                  </a:lnTo>
                  <a:lnTo>
                    <a:pt x="376" y="857"/>
                  </a:lnTo>
                  <a:lnTo>
                    <a:pt x="382" y="846"/>
                  </a:lnTo>
                  <a:lnTo>
                    <a:pt x="388" y="835"/>
                  </a:lnTo>
                  <a:lnTo>
                    <a:pt x="393" y="826"/>
                  </a:lnTo>
                  <a:lnTo>
                    <a:pt x="399" y="819"/>
                  </a:lnTo>
                  <a:lnTo>
                    <a:pt x="415" y="800"/>
                  </a:lnTo>
                  <a:lnTo>
                    <a:pt x="432" y="780"/>
                  </a:lnTo>
                  <a:lnTo>
                    <a:pt x="443" y="772"/>
                  </a:lnTo>
                  <a:lnTo>
                    <a:pt x="453" y="764"/>
                  </a:lnTo>
                  <a:lnTo>
                    <a:pt x="458" y="762"/>
                  </a:lnTo>
                  <a:lnTo>
                    <a:pt x="465" y="761"/>
                  </a:lnTo>
                  <a:lnTo>
                    <a:pt x="470" y="760"/>
                  </a:lnTo>
                  <a:lnTo>
                    <a:pt x="476" y="760"/>
                  </a:lnTo>
                  <a:lnTo>
                    <a:pt x="491" y="762"/>
                  </a:lnTo>
                  <a:lnTo>
                    <a:pt x="505" y="763"/>
                  </a:lnTo>
                  <a:lnTo>
                    <a:pt x="520" y="764"/>
                  </a:lnTo>
                  <a:lnTo>
                    <a:pt x="535" y="764"/>
                  </a:lnTo>
                  <a:lnTo>
                    <a:pt x="541" y="763"/>
                  </a:lnTo>
                  <a:lnTo>
                    <a:pt x="548" y="762"/>
                  </a:lnTo>
                  <a:lnTo>
                    <a:pt x="555" y="761"/>
                  </a:lnTo>
                  <a:lnTo>
                    <a:pt x="562" y="759"/>
                  </a:lnTo>
                  <a:lnTo>
                    <a:pt x="569" y="756"/>
                  </a:lnTo>
                  <a:lnTo>
                    <a:pt x="575" y="753"/>
                  </a:lnTo>
                  <a:lnTo>
                    <a:pt x="581" y="748"/>
                  </a:lnTo>
                  <a:lnTo>
                    <a:pt x="588" y="743"/>
                  </a:lnTo>
                  <a:lnTo>
                    <a:pt x="602" y="735"/>
                  </a:lnTo>
                  <a:lnTo>
                    <a:pt x="615" y="729"/>
                  </a:lnTo>
                  <a:lnTo>
                    <a:pt x="627" y="724"/>
                  </a:lnTo>
                  <a:lnTo>
                    <a:pt x="639" y="721"/>
                  </a:lnTo>
                  <a:lnTo>
                    <a:pt x="651" y="717"/>
                  </a:lnTo>
                  <a:lnTo>
                    <a:pt x="665" y="715"/>
                  </a:lnTo>
                  <a:lnTo>
                    <a:pt x="680" y="714"/>
                  </a:lnTo>
                  <a:lnTo>
                    <a:pt x="696" y="713"/>
                  </a:lnTo>
                  <a:lnTo>
                    <a:pt x="705" y="713"/>
                  </a:lnTo>
                  <a:lnTo>
                    <a:pt x="715" y="712"/>
                  </a:lnTo>
                  <a:lnTo>
                    <a:pt x="724" y="710"/>
                  </a:lnTo>
                  <a:lnTo>
                    <a:pt x="735" y="708"/>
                  </a:lnTo>
                  <a:lnTo>
                    <a:pt x="754" y="703"/>
                  </a:lnTo>
                  <a:lnTo>
                    <a:pt x="771" y="697"/>
                  </a:lnTo>
                  <a:lnTo>
                    <a:pt x="787" y="690"/>
                  </a:lnTo>
                  <a:lnTo>
                    <a:pt x="804" y="682"/>
                  </a:lnTo>
                  <a:lnTo>
                    <a:pt x="812" y="679"/>
                  </a:lnTo>
                  <a:lnTo>
                    <a:pt x="820" y="676"/>
                  </a:lnTo>
                  <a:lnTo>
                    <a:pt x="828" y="674"/>
                  </a:lnTo>
                  <a:lnTo>
                    <a:pt x="836" y="674"/>
                  </a:lnTo>
                  <a:lnTo>
                    <a:pt x="842" y="680"/>
                  </a:lnTo>
                  <a:lnTo>
                    <a:pt x="849" y="688"/>
                  </a:lnTo>
                  <a:lnTo>
                    <a:pt x="857" y="697"/>
                  </a:lnTo>
                  <a:lnTo>
                    <a:pt x="864" y="706"/>
                  </a:lnTo>
                  <a:lnTo>
                    <a:pt x="878" y="726"/>
                  </a:lnTo>
                  <a:lnTo>
                    <a:pt x="890" y="742"/>
                  </a:lnTo>
                  <a:lnTo>
                    <a:pt x="904" y="755"/>
                  </a:lnTo>
                  <a:lnTo>
                    <a:pt x="914" y="763"/>
                  </a:lnTo>
                  <a:lnTo>
                    <a:pt x="918" y="766"/>
                  </a:lnTo>
                  <a:lnTo>
                    <a:pt x="923" y="767"/>
                  </a:lnTo>
                  <a:lnTo>
                    <a:pt x="928" y="769"/>
                  </a:lnTo>
                  <a:lnTo>
                    <a:pt x="933" y="769"/>
                  </a:lnTo>
                  <a:lnTo>
                    <a:pt x="942" y="767"/>
                  </a:lnTo>
                  <a:lnTo>
                    <a:pt x="954" y="763"/>
                  </a:lnTo>
                  <a:lnTo>
                    <a:pt x="967" y="759"/>
                  </a:lnTo>
                  <a:lnTo>
                    <a:pt x="985" y="753"/>
                  </a:lnTo>
                  <a:lnTo>
                    <a:pt x="991" y="750"/>
                  </a:lnTo>
                  <a:lnTo>
                    <a:pt x="998" y="746"/>
                  </a:lnTo>
                  <a:lnTo>
                    <a:pt x="1004" y="741"/>
                  </a:lnTo>
                  <a:lnTo>
                    <a:pt x="1009" y="737"/>
                  </a:lnTo>
                  <a:lnTo>
                    <a:pt x="1019" y="727"/>
                  </a:lnTo>
                  <a:lnTo>
                    <a:pt x="1029" y="718"/>
                  </a:lnTo>
                  <a:lnTo>
                    <a:pt x="1034" y="713"/>
                  </a:lnTo>
                  <a:lnTo>
                    <a:pt x="1039" y="710"/>
                  </a:lnTo>
                  <a:lnTo>
                    <a:pt x="1044" y="707"/>
                  </a:lnTo>
                  <a:lnTo>
                    <a:pt x="1050" y="704"/>
                  </a:lnTo>
                  <a:lnTo>
                    <a:pt x="1056" y="703"/>
                  </a:lnTo>
                  <a:lnTo>
                    <a:pt x="1062" y="702"/>
                  </a:lnTo>
                  <a:lnTo>
                    <a:pt x="1069" y="702"/>
                  </a:lnTo>
                  <a:lnTo>
                    <a:pt x="1078" y="704"/>
                  </a:lnTo>
                  <a:lnTo>
                    <a:pt x="1081" y="709"/>
                  </a:lnTo>
                  <a:lnTo>
                    <a:pt x="1085" y="713"/>
                  </a:lnTo>
                  <a:lnTo>
                    <a:pt x="1088" y="716"/>
                  </a:lnTo>
                  <a:lnTo>
                    <a:pt x="1092" y="719"/>
                  </a:lnTo>
                  <a:lnTo>
                    <a:pt x="1097" y="722"/>
                  </a:lnTo>
                  <a:lnTo>
                    <a:pt x="1102" y="723"/>
                  </a:lnTo>
                  <a:lnTo>
                    <a:pt x="1106" y="724"/>
                  </a:lnTo>
                  <a:lnTo>
                    <a:pt x="1111" y="724"/>
                  </a:lnTo>
                  <a:lnTo>
                    <a:pt x="1121" y="723"/>
                  </a:lnTo>
                  <a:lnTo>
                    <a:pt x="1131" y="719"/>
                  </a:lnTo>
                  <a:lnTo>
                    <a:pt x="1140" y="714"/>
                  </a:lnTo>
                  <a:lnTo>
                    <a:pt x="1150" y="708"/>
                  </a:lnTo>
                  <a:lnTo>
                    <a:pt x="1159" y="701"/>
                  </a:lnTo>
                  <a:lnTo>
                    <a:pt x="1167" y="693"/>
                  </a:lnTo>
                  <a:lnTo>
                    <a:pt x="1175" y="684"/>
                  </a:lnTo>
                  <a:lnTo>
                    <a:pt x="1181" y="676"/>
                  </a:lnTo>
                  <a:lnTo>
                    <a:pt x="1186" y="667"/>
                  </a:lnTo>
                  <a:lnTo>
                    <a:pt x="1189" y="659"/>
                  </a:lnTo>
                  <a:lnTo>
                    <a:pt x="1190" y="652"/>
                  </a:lnTo>
                  <a:lnTo>
                    <a:pt x="1190" y="644"/>
                  </a:lnTo>
                  <a:lnTo>
                    <a:pt x="1187" y="639"/>
                  </a:lnTo>
                  <a:lnTo>
                    <a:pt x="1183" y="634"/>
                  </a:lnTo>
                  <a:lnTo>
                    <a:pt x="1178" y="629"/>
                  </a:lnTo>
                  <a:lnTo>
                    <a:pt x="1172" y="625"/>
                  </a:lnTo>
                  <a:lnTo>
                    <a:pt x="1155" y="616"/>
                  </a:lnTo>
                  <a:lnTo>
                    <a:pt x="1136" y="609"/>
                  </a:lnTo>
                  <a:lnTo>
                    <a:pt x="1117" y="602"/>
                  </a:lnTo>
                  <a:lnTo>
                    <a:pt x="1099" y="592"/>
                  </a:lnTo>
                  <a:lnTo>
                    <a:pt x="1090" y="588"/>
                  </a:lnTo>
                  <a:lnTo>
                    <a:pt x="1083" y="583"/>
                  </a:lnTo>
                  <a:lnTo>
                    <a:pt x="1077" y="578"/>
                  </a:lnTo>
                  <a:lnTo>
                    <a:pt x="1072" y="571"/>
                  </a:lnTo>
                  <a:lnTo>
                    <a:pt x="1069" y="567"/>
                  </a:lnTo>
                  <a:lnTo>
                    <a:pt x="1067" y="562"/>
                  </a:lnTo>
                  <a:lnTo>
                    <a:pt x="1065" y="557"/>
                  </a:lnTo>
                  <a:lnTo>
                    <a:pt x="1064" y="550"/>
                  </a:lnTo>
                  <a:lnTo>
                    <a:pt x="1063" y="537"/>
                  </a:lnTo>
                  <a:lnTo>
                    <a:pt x="1063" y="522"/>
                  </a:lnTo>
                  <a:lnTo>
                    <a:pt x="1064" y="509"/>
                  </a:lnTo>
                  <a:lnTo>
                    <a:pt x="1067" y="495"/>
                  </a:lnTo>
                  <a:lnTo>
                    <a:pt x="1069" y="490"/>
                  </a:lnTo>
                  <a:lnTo>
                    <a:pt x="1073" y="485"/>
                  </a:lnTo>
                  <a:lnTo>
                    <a:pt x="1075" y="480"/>
                  </a:lnTo>
                  <a:lnTo>
                    <a:pt x="1079" y="475"/>
                  </a:lnTo>
                  <a:lnTo>
                    <a:pt x="1083" y="473"/>
                  </a:lnTo>
                  <a:lnTo>
                    <a:pt x="1089" y="471"/>
                  </a:lnTo>
                  <a:lnTo>
                    <a:pt x="1098" y="471"/>
                  </a:lnTo>
                  <a:lnTo>
                    <a:pt x="1107" y="472"/>
                  </a:lnTo>
                  <a:lnTo>
                    <a:pt x="1130" y="476"/>
                  </a:lnTo>
                  <a:lnTo>
                    <a:pt x="1154" y="483"/>
                  </a:lnTo>
                  <a:lnTo>
                    <a:pt x="1180" y="490"/>
                  </a:lnTo>
                  <a:lnTo>
                    <a:pt x="1206" y="496"/>
                  </a:lnTo>
                  <a:lnTo>
                    <a:pt x="1218" y="498"/>
                  </a:lnTo>
                  <a:lnTo>
                    <a:pt x="1229" y="499"/>
                  </a:lnTo>
                  <a:lnTo>
                    <a:pt x="1239" y="499"/>
                  </a:lnTo>
                  <a:lnTo>
                    <a:pt x="1248" y="498"/>
                  </a:lnTo>
                  <a:lnTo>
                    <a:pt x="1258" y="496"/>
                  </a:lnTo>
                  <a:lnTo>
                    <a:pt x="1269" y="491"/>
                  </a:lnTo>
                  <a:lnTo>
                    <a:pt x="1279" y="485"/>
                  </a:lnTo>
                  <a:lnTo>
                    <a:pt x="1288" y="477"/>
                  </a:lnTo>
                  <a:lnTo>
                    <a:pt x="1307" y="461"/>
                  </a:lnTo>
                  <a:lnTo>
                    <a:pt x="1326" y="442"/>
                  </a:lnTo>
                  <a:lnTo>
                    <a:pt x="1345" y="424"/>
                  </a:lnTo>
                  <a:lnTo>
                    <a:pt x="1362" y="410"/>
                  </a:lnTo>
                  <a:lnTo>
                    <a:pt x="1371" y="403"/>
                  </a:lnTo>
                  <a:lnTo>
                    <a:pt x="1380" y="398"/>
                  </a:lnTo>
                  <a:lnTo>
                    <a:pt x="1389" y="396"/>
                  </a:lnTo>
                  <a:lnTo>
                    <a:pt x="1397" y="395"/>
                  </a:lnTo>
                  <a:lnTo>
                    <a:pt x="1404" y="400"/>
                  </a:lnTo>
                  <a:lnTo>
                    <a:pt x="1411" y="405"/>
                  </a:lnTo>
                  <a:lnTo>
                    <a:pt x="1419" y="411"/>
                  </a:lnTo>
                  <a:lnTo>
                    <a:pt x="1427" y="416"/>
                  </a:lnTo>
                  <a:lnTo>
                    <a:pt x="1444" y="424"/>
                  </a:lnTo>
                  <a:lnTo>
                    <a:pt x="1461" y="433"/>
                  </a:lnTo>
                  <a:lnTo>
                    <a:pt x="1479" y="440"/>
                  </a:lnTo>
                  <a:lnTo>
                    <a:pt x="1495" y="449"/>
                  </a:lnTo>
                  <a:lnTo>
                    <a:pt x="1502" y="453"/>
                  </a:lnTo>
                  <a:lnTo>
                    <a:pt x="1509" y="459"/>
                  </a:lnTo>
                  <a:lnTo>
                    <a:pt x="1515" y="465"/>
                  </a:lnTo>
                  <a:lnTo>
                    <a:pt x="1520" y="471"/>
                  </a:lnTo>
                  <a:lnTo>
                    <a:pt x="1527" y="471"/>
                  </a:lnTo>
                  <a:lnTo>
                    <a:pt x="1532" y="471"/>
                  </a:lnTo>
                  <a:lnTo>
                    <a:pt x="1538" y="470"/>
                  </a:lnTo>
                  <a:lnTo>
                    <a:pt x="1542" y="468"/>
                  </a:lnTo>
                  <a:lnTo>
                    <a:pt x="1546" y="466"/>
                  </a:lnTo>
                  <a:lnTo>
                    <a:pt x="1549" y="463"/>
                  </a:lnTo>
                  <a:lnTo>
                    <a:pt x="1551" y="460"/>
                  </a:lnTo>
                  <a:lnTo>
                    <a:pt x="1553" y="456"/>
                  </a:lnTo>
                  <a:lnTo>
                    <a:pt x="1554" y="445"/>
                  </a:lnTo>
                  <a:lnTo>
                    <a:pt x="1555" y="435"/>
                  </a:lnTo>
                  <a:lnTo>
                    <a:pt x="1554" y="422"/>
                  </a:lnTo>
                  <a:lnTo>
                    <a:pt x="1552" y="409"/>
                  </a:lnTo>
                  <a:lnTo>
                    <a:pt x="1547" y="379"/>
                  </a:lnTo>
                  <a:lnTo>
                    <a:pt x="1543" y="351"/>
                  </a:lnTo>
                  <a:lnTo>
                    <a:pt x="1542" y="338"/>
                  </a:lnTo>
                  <a:lnTo>
                    <a:pt x="1542" y="325"/>
                  </a:lnTo>
                  <a:lnTo>
                    <a:pt x="1543" y="319"/>
                  </a:lnTo>
                  <a:lnTo>
                    <a:pt x="1545" y="314"/>
                  </a:lnTo>
                  <a:lnTo>
                    <a:pt x="1547" y="308"/>
                  </a:lnTo>
                  <a:lnTo>
                    <a:pt x="1549" y="304"/>
                  </a:lnTo>
                  <a:lnTo>
                    <a:pt x="1552" y="301"/>
                  </a:lnTo>
                  <a:lnTo>
                    <a:pt x="1556" y="299"/>
                  </a:lnTo>
                  <a:lnTo>
                    <a:pt x="1561" y="298"/>
                  </a:lnTo>
                  <a:lnTo>
                    <a:pt x="1566" y="298"/>
                  </a:lnTo>
                  <a:lnTo>
                    <a:pt x="1578" y="298"/>
                  </a:lnTo>
                  <a:lnTo>
                    <a:pt x="1592" y="299"/>
                  </a:lnTo>
                  <a:lnTo>
                    <a:pt x="1606" y="300"/>
                  </a:lnTo>
                  <a:lnTo>
                    <a:pt x="1621" y="300"/>
                  </a:lnTo>
                  <a:lnTo>
                    <a:pt x="1627" y="300"/>
                  </a:lnTo>
                  <a:lnTo>
                    <a:pt x="1634" y="299"/>
                  </a:lnTo>
                  <a:lnTo>
                    <a:pt x="1639" y="297"/>
                  </a:lnTo>
                  <a:lnTo>
                    <a:pt x="1644" y="294"/>
                  </a:lnTo>
                  <a:lnTo>
                    <a:pt x="1651" y="289"/>
                  </a:lnTo>
                  <a:lnTo>
                    <a:pt x="1655" y="282"/>
                  </a:lnTo>
                  <a:lnTo>
                    <a:pt x="1660" y="277"/>
                  </a:lnTo>
                  <a:lnTo>
                    <a:pt x="1662" y="271"/>
                  </a:lnTo>
                  <a:lnTo>
                    <a:pt x="1663" y="265"/>
                  </a:lnTo>
                  <a:lnTo>
                    <a:pt x="1664" y="259"/>
                  </a:lnTo>
                  <a:lnTo>
                    <a:pt x="1664" y="253"/>
                  </a:lnTo>
                  <a:lnTo>
                    <a:pt x="1663" y="247"/>
                  </a:lnTo>
                  <a:lnTo>
                    <a:pt x="1662" y="235"/>
                  </a:lnTo>
                  <a:lnTo>
                    <a:pt x="1661" y="223"/>
                  </a:lnTo>
                  <a:lnTo>
                    <a:pt x="1662" y="218"/>
                  </a:lnTo>
                  <a:lnTo>
                    <a:pt x="1663" y="211"/>
                  </a:lnTo>
                  <a:lnTo>
                    <a:pt x="1665" y="206"/>
                  </a:lnTo>
                  <a:lnTo>
                    <a:pt x="1669" y="201"/>
                  </a:lnTo>
                  <a:lnTo>
                    <a:pt x="1704" y="151"/>
                  </a:lnTo>
                  <a:lnTo>
                    <a:pt x="1704" y="151"/>
                  </a:lnTo>
                  <a:lnTo>
                    <a:pt x="1711" y="142"/>
                  </a:lnTo>
                  <a:lnTo>
                    <a:pt x="1718" y="131"/>
                  </a:lnTo>
                  <a:lnTo>
                    <a:pt x="1725" y="121"/>
                  </a:lnTo>
                  <a:lnTo>
                    <a:pt x="1732" y="109"/>
                  </a:lnTo>
                  <a:lnTo>
                    <a:pt x="1737" y="98"/>
                  </a:lnTo>
                  <a:lnTo>
                    <a:pt x="1742" y="85"/>
                  </a:lnTo>
                  <a:lnTo>
                    <a:pt x="1746" y="74"/>
                  </a:lnTo>
                  <a:lnTo>
                    <a:pt x="1748" y="63"/>
                  </a:lnTo>
                  <a:lnTo>
                    <a:pt x="1754" y="58"/>
                  </a:lnTo>
                  <a:lnTo>
                    <a:pt x="1759" y="52"/>
                  </a:lnTo>
                  <a:lnTo>
                    <a:pt x="1763" y="44"/>
                  </a:lnTo>
                  <a:lnTo>
                    <a:pt x="1768" y="38"/>
                  </a:lnTo>
                  <a:lnTo>
                    <a:pt x="1770" y="35"/>
                  </a:lnTo>
                  <a:lnTo>
                    <a:pt x="1773" y="33"/>
                  </a:lnTo>
                  <a:lnTo>
                    <a:pt x="1775" y="31"/>
                  </a:lnTo>
                  <a:lnTo>
                    <a:pt x="1780" y="30"/>
                  </a:lnTo>
                  <a:lnTo>
                    <a:pt x="1783" y="30"/>
                  </a:lnTo>
                  <a:lnTo>
                    <a:pt x="1788" y="31"/>
                  </a:lnTo>
                  <a:lnTo>
                    <a:pt x="1792" y="33"/>
                  </a:lnTo>
                  <a:lnTo>
                    <a:pt x="1798" y="35"/>
                  </a:lnTo>
                  <a:lnTo>
                    <a:pt x="1806" y="39"/>
                  </a:lnTo>
                  <a:lnTo>
                    <a:pt x="1813" y="42"/>
                  </a:lnTo>
                  <a:lnTo>
                    <a:pt x="1820" y="43"/>
                  </a:lnTo>
                  <a:lnTo>
                    <a:pt x="1826" y="42"/>
                  </a:lnTo>
                  <a:lnTo>
                    <a:pt x="1830" y="41"/>
                  </a:lnTo>
                  <a:lnTo>
                    <a:pt x="1832" y="39"/>
                  </a:lnTo>
                  <a:lnTo>
                    <a:pt x="1834" y="37"/>
                  </a:lnTo>
                  <a:lnTo>
                    <a:pt x="1837" y="35"/>
                  </a:lnTo>
                  <a:lnTo>
                    <a:pt x="1840" y="28"/>
                  </a:lnTo>
                  <a:lnTo>
                    <a:pt x="1842" y="18"/>
                  </a:lnTo>
                  <a:lnTo>
                    <a:pt x="1851" y="11"/>
                  </a:lnTo>
                  <a:lnTo>
                    <a:pt x="1860" y="6"/>
                  </a:lnTo>
                  <a:lnTo>
                    <a:pt x="1869" y="2"/>
                  </a:lnTo>
                  <a:lnTo>
                    <a:pt x="1878" y="0"/>
                  </a:lnTo>
                  <a:lnTo>
                    <a:pt x="1886" y="0"/>
                  </a:lnTo>
                  <a:lnTo>
                    <a:pt x="1894" y="0"/>
                  </a:lnTo>
                  <a:lnTo>
                    <a:pt x="1903" y="1"/>
                  </a:lnTo>
                  <a:lnTo>
                    <a:pt x="1911" y="3"/>
                  </a:lnTo>
                  <a:lnTo>
                    <a:pt x="1928" y="8"/>
                  </a:lnTo>
                  <a:lnTo>
                    <a:pt x="1944" y="13"/>
                  </a:lnTo>
                  <a:lnTo>
                    <a:pt x="1954" y="15"/>
                  </a:lnTo>
                  <a:lnTo>
                    <a:pt x="1963" y="17"/>
                  </a:lnTo>
                  <a:lnTo>
                    <a:pt x="1973" y="18"/>
                  </a:lnTo>
                  <a:lnTo>
                    <a:pt x="1984" y="19"/>
                  </a:lnTo>
                  <a:lnTo>
                    <a:pt x="2155" y="14"/>
                  </a:lnTo>
                  <a:lnTo>
                    <a:pt x="2155" y="14"/>
                  </a:lnTo>
                  <a:lnTo>
                    <a:pt x="2157" y="24"/>
                  </a:lnTo>
                  <a:lnTo>
                    <a:pt x="2157" y="34"/>
                  </a:lnTo>
                  <a:lnTo>
                    <a:pt x="2158" y="43"/>
                  </a:lnTo>
                  <a:lnTo>
                    <a:pt x="2159" y="54"/>
                  </a:lnTo>
                  <a:lnTo>
                    <a:pt x="2190" y="75"/>
                  </a:lnTo>
                  <a:lnTo>
                    <a:pt x="2216" y="92"/>
                  </a:lnTo>
                  <a:lnTo>
                    <a:pt x="2230" y="100"/>
                  </a:lnTo>
                  <a:lnTo>
                    <a:pt x="2247" y="107"/>
                  </a:lnTo>
                  <a:lnTo>
                    <a:pt x="2265" y="112"/>
                  </a:lnTo>
                  <a:lnTo>
                    <a:pt x="2287" y="119"/>
                  </a:lnTo>
                  <a:lnTo>
                    <a:pt x="2305" y="122"/>
                  </a:lnTo>
                  <a:lnTo>
                    <a:pt x="2325" y="125"/>
                  </a:lnTo>
                  <a:lnTo>
                    <a:pt x="2334" y="127"/>
                  </a:lnTo>
                  <a:lnTo>
                    <a:pt x="2344" y="127"/>
                  </a:lnTo>
                  <a:lnTo>
                    <a:pt x="2353" y="127"/>
                  </a:lnTo>
                  <a:lnTo>
                    <a:pt x="2361" y="125"/>
                  </a:lnTo>
                  <a:lnTo>
                    <a:pt x="2379" y="120"/>
                  </a:lnTo>
                  <a:lnTo>
                    <a:pt x="2399" y="113"/>
                  </a:lnTo>
                  <a:lnTo>
                    <a:pt x="2419" y="105"/>
                  </a:lnTo>
                  <a:lnTo>
                    <a:pt x="2435" y="98"/>
                  </a:lnTo>
                  <a:lnTo>
                    <a:pt x="2435" y="98"/>
                  </a:lnTo>
                  <a:lnTo>
                    <a:pt x="2434" y="99"/>
                  </a:lnTo>
                  <a:lnTo>
                    <a:pt x="2435" y="102"/>
                  </a:lnTo>
                  <a:lnTo>
                    <a:pt x="2438" y="106"/>
                  </a:lnTo>
                  <a:lnTo>
                    <a:pt x="2442" y="111"/>
                  </a:lnTo>
                  <a:lnTo>
                    <a:pt x="2452" y="126"/>
                  </a:lnTo>
                  <a:lnTo>
                    <a:pt x="2466" y="143"/>
                  </a:lnTo>
                  <a:lnTo>
                    <a:pt x="2480" y="162"/>
                  </a:lnTo>
                  <a:lnTo>
                    <a:pt x="2495" y="182"/>
                  </a:lnTo>
                  <a:lnTo>
                    <a:pt x="2508" y="201"/>
                  </a:lnTo>
                  <a:lnTo>
                    <a:pt x="2519" y="218"/>
                  </a:lnTo>
                  <a:lnTo>
                    <a:pt x="2522" y="223"/>
                  </a:lnTo>
                  <a:lnTo>
                    <a:pt x="2527" y="228"/>
                  </a:lnTo>
                  <a:lnTo>
                    <a:pt x="2532" y="232"/>
                  </a:lnTo>
                  <a:lnTo>
                    <a:pt x="2539" y="235"/>
                  </a:lnTo>
                  <a:lnTo>
                    <a:pt x="2545" y="240"/>
                  </a:lnTo>
                  <a:lnTo>
                    <a:pt x="2552" y="242"/>
                  </a:lnTo>
                  <a:lnTo>
                    <a:pt x="2559" y="244"/>
                  </a:lnTo>
                  <a:lnTo>
                    <a:pt x="2568" y="246"/>
                  </a:lnTo>
                  <a:lnTo>
                    <a:pt x="2587" y="249"/>
                  </a:lnTo>
                  <a:lnTo>
                    <a:pt x="2606" y="250"/>
                  </a:lnTo>
                  <a:lnTo>
                    <a:pt x="2627" y="250"/>
                  </a:lnTo>
                  <a:lnTo>
                    <a:pt x="2649" y="249"/>
                  </a:lnTo>
                  <a:lnTo>
                    <a:pt x="2693" y="247"/>
                  </a:lnTo>
                  <a:lnTo>
                    <a:pt x="2738" y="243"/>
                  </a:lnTo>
                  <a:lnTo>
                    <a:pt x="2759" y="242"/>
                  </a:lnTo>
                  <a:lnTo>
                    <a:pt x="2778" y="242"/>
                  </a:lnTo>
                  <a:lnTo>
                    <a:pt x="2796" y="242"/>
                  </a:lnTo>
                  <a:lnTo>
                    <a:pt x="2812" y="243"/>
                  </a:lnTo>
                  <a:lnTo>
                    <a:pt x="2838" y="248"/>
                  </a:lnTo>
                  <a:lnTo>
                    <a:pt x="2872" y="255"/>
                  </a:lnTo>
                  <a:lnTo>
                    <a:pt x="2911" y="266"/>
                  </a:lnTo>
                  <a:lnTo>
                    <a:pt x="2952" y="278"/>
                  </a:lnTo>
                  <a:lnTo>
                    <a:pt x="2994" y="291"/>
                  </a:lnTo>
                  <a:lnTo>
                    <a:pt x="3033" y="303"/>
                  </a:lnTo>
                  <a:lnTo>
                    <a:pt x="3050" y="311"/>
                  </a:lnTo>
                  <a:lnTo>
                    <a:pt x="3066" y="317"/>
                  </a:lnTo>
                  <a:lnTo>
                    <a:pt x="3080" y="322"/>
                  </a:lnTo>
                  <a:lnTo>
                    <a:pt x="3090" y="328"/>
                  </a:lnTo>
                  <a:lnTo>
                    <a:pt x="3096" y="331"/>
                  </a:lnTo>
                  <a:lnTo>
                    <a:pt x="3102" y="336"/>
                  </a:lnTo>
                  <a:lnTo>
                    <a:pt x="3106" y="340"/>
                  </a:lnTo>
                  <a:lnTo>
                    <a:pt x="3111" y="345"/>
                  </a:lnTo>
                  <a:lnTo>
                    <a:pt x="3119" y="356"/>
                  </a:lnTo>
                  <a:lnTo>
                    <a:pt x="3127" y="369"/>
                  </a:lnTo>
                  <a:lnTo>
                    <a:pt x="3133" y="383"/>
                  </a:lnTo>
                  <a:lnTo>
                    <a:pt x="3137" y="397"/>
                  </a:lnTo>
                  <a:lnTo>
                    <a:pt x="3141" y="413"/>
                  </a:lnTo>
                  <a:lnTo>
                    <a:pt x="3144" y="428"/>
                  </a:lnTo>
                  <a:lnTo>
                    <a:pt x="3146" y="444"/>
                  </a:lnTo>
                  <a:lnTo>
                    <a:pt x="3146" y="460"/>
                  </a:lnTo>
                  <a:lnTo>
                    <a:pt x="3147" y="475"/>
                  </a:lnTo>
                  <a:lnTo>
                    <a:pt x="3146" y="491"/>
                  </a:lnTo>
                  <a:lnTo>
                    <a:pt x="3144" y="505"/>
                  </a:lnTo>
                  <a:lnTo>
                    <a:pt x="3142" y="517"/>
                  </a:lnTo>
                  <a:lnTo>
                    <a:pt x="3139" y="529"/>
                  </a:lnTo>
                  <a:lnTo>
                    <a:pt x="3136" y="539"/>
                  </a:lnTo>
                  <a:lnTo>
                    <a:pt x="3132" y="548"/>
                  </a:lnTo>
                  <a:lnTo>
                    <a:pt x="3126" y="561"/>
                  </a:lnTo>
                  <a:lnTo>
                    <a:pt x="3117" y="573"/>
                  </a:lnTo>
                  <a:lnTo>
                    <a:pt x="3109" y="587"/>
                  </a:lnTo>
                  <a:lnTo>
                    <a:pt x="3088" y="618"/>
                  </a:lnTo>
                  <a:lnTo>
                    <a:pt x="3065" y="651"/>
                  </a:lnTo>
                  <a:lnTo>
                    <a:pt x="3042" y="682"/>
                  </a:lnTo>
                  <a:lnTo>
                    <a:pt x="3021" y="712"/>
                  </a:lnTo>
                  <a:lnTo>
                    <a:pt x="3003" y="737"/>
                  </a:lnTo>
                  <a:lnTo>
                    <a:pt x="2990" y="756"/>
                  </a:lnTo>
                  <a:lnTo>
                    <a:pt x="2983" y="767"/>
                  </a:lnTo>
                  <a:lnTo>
                    <a:pt x="2978" y="777"/>
                  </a:lnTo>
                  <a:lnTo>
                    <a:pt x="2973" y="787"/>
                  </a:lnTo>
                  <a:lnTo>
                    <a:pt x="2972" y="796"/>
                  </a:lnTo>
                  <a:lnTo>
                    <a:pt x="2972" y="800"/>
                  </a:lnTo>
                  <a:lnTo>
                    <a:pt x="2972" y="805"/>
                  </a:lnTo>
                  <a:lnTo>
                    <a:pt x="2973" y="809"/>
                  </a:lnTo>
                  <a:lnTo>
                    <a:pt x="2975" y="813"/>
                  </a:lnTo>
                  <a:lnTo>
                    <a:pt x="2981" y="824"/>
                  </a:lnTo>
                  <a:lnTo>
                    <a:pt x="2988" y="834"/>
                  </a:lnTo>
                  <a:lnTo>
                    <a:pt x="2954" y="845"/>
                  </a:lnTo>
                  <a:lnTo>
                    <a:pt x="2919" y="856"/>
                  </a:lnTo>
                  <a:lnTo>
                    <a:pt x="2902" y="861"/>
                  </a:lnTo>
                  <a:lnTo>
                    <a:pt x="2886" y="867"/>
                  </a:lnTo>
                  <a:lnTo>
                    <a:pt x="2867" y="871"/>
                  </a:lnTo>
                  <a:lnTo>
                    <a:pt x="2848" y="874"/>
                  </a:lnTo>
                  <a:lnTo>
                    <a:pt x="2836" y="875"/>
                  </a:lnTo>
                  <a:lnTo>
                    <a:pt x="2823" y="876"/>
                  </a:lnTo>
                  <a:lnTo>
                    <a:pt x="2811" y="876"/>
                  </a:lnTo>
                  <a:lnTo>
                    <a:pt x="2797" y="876"/>
                  </a:lnTo>
                  <a:lnTo>
                    <a:pt x="2769" y="875"/>
                  </a:lnTo>
                  <a:lnTo>
                    <a:pt x="2742" y="874"/>
                  </a:lnTo>
                  <a:lnTo>
                    <a:pt x="2728" y="874"/>
                  </a:lnTo>
                  <a:lnTo>
                    <a:pt x="2715" y="874"/>
                  </a:lnTo>
                  <a:lnTo>
                    <a:pt x="2701" y="875"/>
                  </a:lnTo>
                  <a:lnTo>
                    <a:pt x="2689" y="877"/>
                  </a:lnTo>
                  <a:lnTo>
                    <a:pt x="2676" y="880"/>
                  </a:lnTo>
                  <a:lnTo>
                    <a:pt x="2665" y="884"/>
                  </a:lnTo>
                  <a:lnTo>
                    <a:pt x="2654" y="888"/>
                  </a:lnTo>
                  <a:lnTo>
                    <a:pt x="2645" y="896"/>
                  </a:lnTo>
                  <a:lnTo>
                    <a:pt x="2637" y="902"/>
                  </a:lnTo>
                  <a:lnTo>
                    <a:pt x="2629" y="911"/>
                  </a:lnTo>
                  <a:lnTo>
                    <a:pt x="2622" y="921"/>
                  </a:lnTo>
                  <a:lnTo>
                    <a:pt x="2616" y="930"/>
                  </a:lnTo>
                  <a:lnTo>
                    <a:pt x="2608" y="940"/>
                  </a:lnTo>
                  <a:lnTo>
                    <a:pt x="2600" y="948"/>
                  </a:lnTo>
                  <a:lnTo>
                    <a:pt x="2596" y="951"/>
                  </a:lnTo>
                  <a:lnTo>
                    <a:pt x="2592" y="954"/>
                  </a:lnTo>
                  <a:lnTo>
                    <a:pt x="2587" y="956"/>
                  </a:lnTo>
                  <a:lnTo>
                    <a:pt x="2581" y="958"/>
                  </a:lnTo>
                  <a:lnTo>
                    <a:pt x="2560" y="959"/>
                  </a:lnTo>
                  <a:lnTo>
                    <a:pt x="2536" y="959"/>
                  </a:lnTo>
                  <a:lnTo>
                    <a:pt x="2530" y="959"/>
                  </a:lnTo>
                  <a:lnTo>
                    <a:pt x="2525" y="960"/>
                  </a:lnTo>
                  <a:lnTo>
                    <a:pt x="2521" y="963"/>
                  </a:lnTo>
                  <a:lnTo>
                    <a:pt x="2516" y="965"/>
                  </a:lnTo>
                  <a:lnTo>
                    <a:pt x="2512" y="968"/>
                  </a:lnTo>
                  <a:lnTo>
                    <a:pt x="2509" y="972"/>
                  </a:lnTo>
                  <a:lnTo>
                    <a:pt x="2507" y="977"/>
                  </a:lnTo>
                  <a:lnTo>
                    <a:pt x="2507" y="983"/>
                  </a:lnTo>
                  <a:lnTo>
                    <a:pt x="2506" y="995"/>
                  </a:lnTo>
                  <a:lnTo>
                    <a:pt x="2507" y="1006"/>
                  </a:lnTo>
                  <a:lnTo>
                    <a:pt x="2508" y="1018"/>
                  </a:lnTo>
                  <a:lnTo>
                    <a:pt x="2510" y="1029"/>
                  </a:lnTo>
                  <a:lnTo>
                    <a:pt x="2515" y="1050"/>
                  </a:lnTo>
                  <a:lnTo>
                    <a:pt x="2519" y="1071"/>
                  </a:lnTo>
                  <a:lnTo>
                    <a:pt x="2521" y="1081"/>
                  </a:lnTo>
                  <a:lnTo>
                    <a:pt x="2522" y="1092"/>
                  </a:lnTo>
                  <a:lnTo>
                    <a:pt x="2523" y="1102"/>
                  </a:lnTo>
                  <a:lnTo>
                    <a:pt x="2523" y="1114"/>
                  </a:lnTo>
                  <a:lnTo>
                    <a:pt x="2522" y="1125"/>
                  </a:lnTo>
                  <a:lnTo>
                    <a:pt x="2519" y="1138"/>
                  </a:lnTo>
                  <a:lnTo>
                    <a:pt x="2515" y="1150"/>
                  </a:lnTo>
                  <a:lnTo>
                    <a:pt x="2509" y="1164"/>
                  </a:lnTo>
                  <a:lnTo>
                    <a:pt x="2503" y="1177"/>
                  </a:lnTo>
                  <a:lnTo>
                    <a:pt x="2496" y="1190"/>
                  </a:lnTo>
                  <a:lnTo>
                    <a:pt x="2487" y="1200"/>
                  </a:lnTo>
                  <a:lnTo>
                    <a:pt x="2479" y="1211"/>
                  </a:lnTo>
                  <a:lnTo>
                    <a:pt x="2462" y="1229"/>
                  </a:lnTo>
                  <a:lnTo>
                    <a:pt x="2444" y="1245"/>
                  </a:lnTo>
                  <a:lnTo>
                    <a:pt x="2439" y="1238"/>
                  </a:lnTo>
                  <a:lnTo>
                    <a:pt x="2434" y="1232"/>
                  </a:lnTo>
                  <a:lnTo>
                    <a:pt x="2428" y="1224"/>
                  </a:lnTo>
                  <a:lnTo>
                    <a:pt x="2422" y="1218"/>
                  </a:lnTo>
                  <a:lnTo>
                    <a:pt x="2413" y="1212"/>
                  </a:lnTo>
                  <a:lnTo>
                    <a:pt x="2405" y="1207"/>
                  </a:lnTo>
                  <a:lnTo>
                    <a:pt x="2397" y="1200"/>
                  </a:lnTo>
                  <a:lnTo>
                    <a:pt x="2387" y="1195"/>
                  </a:lnTo>
                  <a:lnTo>
                    <a:pt x="2378" y="1191"/>
                  </a:lnTo>
                  <a:lnTo>
                    <a:pt x="2368" y="1187"/>
                  </a:lnTo>
                  <a:lnTo>
                    <a:pt x="2358" y="1184"/>
                  </a:lnTo>
                  <a:lnTo>
                    <a:pt x="2349" y="1181"/>
                  </a:lnTo>
                  <a:lnTo>
                    <a:pt x="2339" y="1179"/>
                  </a:lnTo>
                  <a:lnTo>
                    <a:pt x="2330" y="1177"/>
                  </a:lnTo>
                  <a:lnTo>
                    <a:pt x="2322" y="1177"/>
                  </a:lnTo>
                  <a:lnTo>
                    <a:pt x="2314" y="1179"/>
                  </a:lnTo>
                  <a:lnTo>
                    <a:pt x="2301" y="1181"/>
                  </a:lnTo>
                  <a:lnTo>
                    <a:pt x="2290" y="1184"/>
                  </a:lnTo>
                  <a:lnTo>
                    <a:pt x="2280" y="1187"/>
                  </a:lnTo>
                  <a:lnTo>
                    <a:pt x="2272" y="1190"/>
                  </a:lnTo>
                  <a:lnTo>
                    <a:pt x="2257" y="1195"/>
                  </a:lnTo>
                  <a:lnTo>
                    <a:pt x="2245" y="1199"/>
                  </a:lnTo>
                  <a:lnTo>
                    <a:pt x="2238" y="1200"/>
                  </a:lnTo>
                  <a:lnTo>
                    <a:pt x="2232" y="1201"/>
                  </a:lnTo>
                  <a:lnTo>
                    <a:pt x="2226" y="1200"/>
                  </a:lnTo>
                  <a:lnTo>
                    <a:pt x="2218" y="1199"/>
                  </a:lnTo>
                  <a:lnTo>
                    <a:pt x="2209" y="1196"/>
                  </a:lnTo>
                  <a:lnTo>
                    <a:pt x="2200" y="1192"/>
                  </a:lnTo>
                  <a:lnTo>
                    <a:pt x="2189" y="1187"/>
                  </a:lnTo>
                  <a:lnTo>
                    <a:pt x="2177" y="1180"/>
                  </a:lnTo>
                  <a:lnTo>
                    <a:pt x="2164" y="1175"/>
                  </a:lnTo>
                  <a:lnTo>
                    <a:pt x="2153" y="1171"/>
                  </a:lnTo>
                  <a:lnTo>
                    <a:pt x="2141" y="1167"/>
                  </a:lnTo>
                  <a:lnTo>
                    <a:pt x="2130" y="1164"/>
                  </a:lnTo>
                  <a:lnTo>
                    <a:pt x="2107" y="1160"/>
                  </a:lnTo>
                  <a:lnTo>
                    <a:pt x="2085" y="1158"/>
                  </a:lnTo>
                  <a:lnTo>
                    <a:pt x="2062" y="1157"/>
                  </a:lnTo>
                  <a:lnTo>
                    <a:pt x="2040" y="1158"/>
                  </a:lnTo>
                  <a:lnTo>
                    <a:pt x="2018" y="1161"/>
                  </a:lnTo>
                  <a:lnTo>
                    <a:pt x="1996" y="1164"/>
                  </a:lnTo>
                  <a:lnTo>
                    <a:pt x="1973" y="1169"/>
                  </a:lnTo>
                  <a:lnTo>
                    <a:pt x="1952" y="1174"/>
                  </a:lnTo>
                  <a:lnTo>
                    <a:pt x="1930" y="1181"/>
                  </a:lnTo>
                  <a:lnTo>
                    <a:pt x="1907" y="1187"/>
                  </a:lnTo>
                  <a:lnTo>
                    <a:pt x="1862" y="1200"/>
                  </a:lnTo>
                  <a:lnTo>
                    <a:pt x="1816" y="1214"/>
                  </a:lnTo>
                  <a:lnTo>
                    <a:pt x="1802" y="1216"/>
                  </a:lnTo>
                  <a:lnTo>
                    <a:pt x="1787" y="1218"/>
                  </a:lnTo>
                  <a:lnTo>
                    <a:pt x="1771" y="1219"/>
                  </a:lnTo>
                  <a:lnTo>
                    <a:pt x="1754" y="1219"/>
                  </a:lnTo>
                  <a:lnTo>
                    <a:pt x="1739" y="1221"/>
                  </a:lnTo>
                  <a:lnTo>
                    <a:pt x="1723" y="1223"/>
                  </a:lnTo>
                  <a:lnTo>
                    <a:pt x="1716" y="1224"/>
                  </a:lnTo>
                  <a:lnTo>
                    <a:pt x="1710" y="1226"/>
                  </a:lnTo>
                  <a:lnTo>
                    <a:pt x="1703" y="1229"/>
                  </a:lnTo>
                  <a:lnTo>
                    <a:pt x="1698" y="1232"/>
                  </a:lnTo>
                  <a:lnTo>
                    <a:pt x="1692" y="1235"/>
                  </a:lnTo>
                  <a:lnTo>
                    <a:pt x="1689" y="1240"/>
                  </a:lnTo>
                  <a:lnTo>
                    <a:pt x="1686" y="1245"/>
                  </a:lnTo>
                  <a:lnTo>
                    <a:pt x="1685" y="1250"/>
                  </a:lnTo>
                  <a:lnTo>
                    <a:pt x="1684" y="1257"/>
                  </a:lnTo>
                  <a:lnTo>
                    <a:pt x="1685" y="1264"/>
                  </a:lnTo>
                  <a:lnTo>
                    <a:pt x="1686" y="1270"/>
                  </a:lnTo>
                  <a:lnTo>
                    <a:pt x="1688" y="1278"/>
                  </a:lnTo>
                  <a:lnTo>
                    <a:pt x="1692" y="1292"/>
                  </a:lnTo>
                  <a:lnTo>
                    <a:pt x="1696" y="1306"/>
                  </a:lnTo>
                  <a:lnTo>
                    <a:pt x="1697" y="1313"/>
                  </a:lnTo>
                  <a:lnTo>
                    <a:pt x="1699" y="1319"/>
                  </a:lnTo>
                  <a:lnTo>
                    <a:pt x="1699" y="1326"/>
                  </a:lnTo>
                  <a:lnTo>
                    <a:pt x="1699" y="1331"/>
                  </a:lnTo>
                  <a:lnTo>
                    <a:pt x="1695" y="1335"/>
                  </a:lnTo>
                  <a:lnTo>
                    <a:pt x="1690" y="1338"/>
                  </a:lnTo>
                  <a:lnTo>
                    <a:pt x="1686" y="1341"/>
                  </a:lnTo>
                  <a:lnTo>
                    <a:pt x="1681" y="1343"/>
                  </a:lnTo>
                  <a:lnTo>
                    <a:pt x="1672" y="1345"/>
                  </a:lnTo>
                  <a:lnTo>
                    <a:pt x="1664" y="1345"/>
                  </a:lnTo>
                  <a:lnTo>
                    <a:pt x="1654" y="1344"/>
                  </a:lnTo>
                  <a:lnTo>
                    <a:pt x="1645" y="1342"/>
                  </a:lnTo>
                  <a:lnTo>
                    <a:pt x="1636" y="1338"/>
                  </a:lnTo>
                  <a:lnTo>
                    <a:pt x="1625" y="1335"/>
                  </a:lnTo>
                  <a:lnTo>
                    <a:pt x="1609" y="1310"/>
                  </a:lnTo>
                  <a:lnTo>
                    <a:pt x="1587" y="1279"/>
                  </a:lnTo>
                  <a:lnTo>
                    <a:pt x="1561" y="1242"/>
                  </a:lnTo>
                  <a:lnTo>
                    <a:pt x="1531" y="1206"/>
                  </a:lnTo>
                  <a:lnTo>
                    <a:pt x="1517" y="1188"/>
                  </a:lnTo>
                  <a:lnTo>
                    <a:pt x="1501" y="1172"/>
                  </a:lnTo>
                  <a:lnTo>
                    <a:pt x="1485" y="1158"/>
                  </a:lnTo>
                  <a:lnTo>
                    <a:pt x="1470" y="1145"/>
                  </a:lnTo>
                  <a:lnTo>
                    <a:pt x="1463" y="1139"/>
                  </a:lnTo>
                  <a:lnTo>
                    <a:pt x="1454" y="1135"/>
                  </a:lnTo>
                  <a:lnTo>
                    <a:pt x="1447" y="1131"/>
                  </a:lnTo>
                  <a:lnTo>
                    <a:pt x="1440" y="1127"/>
                  </a:lnTo>
                  <a:lnTo>
                    <a:pt x="1432" y="1124"/>
                  </a:lnTo>
                  <a:lnTo>
                    <a:pt x="1424" y="1123"/>
                  </a:lnTo>
                  <a:lnTo>
                    <a:pt x="1418" y="1122"/>
                  </a:lnTo>
                  <a:lnTo>
                    <a:pt x="1410" y="1123"/>
                  </a:lnTo>
                  <a:lnTo>
                    <a:pt x="1403" y="1124"/>
                  </a:lnTo>
                  <a:lnTo>
                    <a:pt x="1397" y="1126"/>
                  </a:lnTo>
                  <a:lnTo>
                    <a:pt x="1393" y="1129"/>
                  </a:lnTo>
                  <a:lnTo>
                    <a:pt x="1387" y="1134"/>
                  </a:lnTo>
                  <a:lnTo>
                    <a:pt x="1384" y="1138"/>
                  </a:lnTo>
                  <a:lnTo>
                    <a:pt x="1381" y="1143"/>
                  </a:lnTo>
                  <a:lnTo>
                    <a:pt x="1378" y="1148"/>
                  </a:lnTo>
                  <a:lnTo>
                    <a:pt x="1376" y="1155"/>
                  </a:lnTo>
                  <a:lnTo>
                    <a:pt x="1372" y="1166"/>
                  </a:lnTo>
                  <a:lnTo>
                    <a:pt x="1368" y="1179"/>
                  </a:lnTo>
                  <a:lnTo>
                    <a:pt x="1363" y="1190"/>
                  </a:lnTo>
                  <a:lnTo>
                    <a:pt x="1357" y="1199"/>
                  </a:lnTo>
                  <a:lnTo>
                    <a:pt x="1352" y="1206"/>
                  </a:lnTo>
                  <a:lnTo>
                    <a:pt x="1347" y="1209"/>
                  </a:lnTo>
                  <a:lnTo>
                    <a:pt x="1342" y="1211"/>
                  </a:lnTo>
                  <a:lnTo>
                    <a:pt x="1335" y="1212"/>
                  </a:lnTo>
                  <a:lnTo>
                    <a:pt x="1330" y="1211"/>
                  </a:lnTo>
                  <a:lnTo>
                    <a:pt x="1324" y="1210"/>
                  </a:lnTo>
                  <a:lnTo>
                    <a:pt x="1318" y="1207"/>
                  </a:lnTo>
                  <a:lnTo>
                    <a:pt x="1311" y="1204"/>
                  </a:lnTo>
                  <a:lnTo>
                    <a:pt x="1286" y="1188"/>
                  </a:lnTo>
                  <a:lnTo>
                    <a:pt x="1264" y="1175"/>
                  </a:lnTo>
                  <a:lnTo>
                    <a:pt x="1255" y="1173"/>
                  </a:lnTo>
                  <a:lnTo>
                    <a:pt x="1245" y="1173"/>
                  </a:lnTo>
                  <a:lnTo>
                    <a:pt x="1234" y="1176"/>
                  </a:lnTo>
                  <a:lnTo>
                    <a:pt x="1224" y="1181"/>
                  </a:lnTo>
                  <a:lnTo>
                    <a:pt x="1213" y="1188"/>
                  </a:lnTo>
                  <a:lnTo>
                    <a:pt x="1203" y="1197"/>
                  </a:lnTo>
                  <a:lnTo>
                    <a:pt x="1192" y="1208"/>
                  </a:lnTo>
                  <a:lnTo>
                    <a:pt x="1182" y="1220"/>
                  </a:lnTo>
                  <a:lnTo>
                    <a:pt x="1172" y="1234"/>
                  </a:lnTo>
                  <a:lnTo>
                    <a:pt x="1161" y="1248"/>
                  </a:lnTo>
                  <a:lnTo>
                    <a:pt x="1152" y="1265"/>
                  </a:lnTo>
                  <a:lnTo>
                    <a:pt x="1141" y="1282"/>
                  </a:lnTo>
                  <a:lnTo>
                    <a:pt x="1132" y="1300"/>
                  </a:lnTo>
                  <a:lnTo>
                    <a:pt x="1123" y="1318"/>
                  </a:lnTo>
                  <a:lnTo>
                    <a:pt x="1113" y="1338"/>
                  </a:lnTo>
                  <a:lnTo>
                    <a:pt x="1105" y="1358"/>
                  </a:lnTo>
                  <a:lnTo>
                    <a:pt x="1089" y="1398"/>
                  </a:lnTo>
                  <a:lnTo>
                    <a:pt x="1075" y="1437"/>
                  </a:lnTo>
                  <a:lnTo>
                    <a:pt x="1063" y="1476"/>
                  </a:lnTo>
                  <a:lnTo>
                    <a:pt x="1054" y="1511"/>
                  </a:lnTo>
                  <a:lnTo>
                    <a:pt x="1051" y="1527"/>
                  </a:lnTo>
                  <a:lnTo>
                    <a:pt x="1049" y="1543"/>
                  </a:lnTo>
                  <a:lnTo>
                    <a:pt x="1047" y="1556"/>
                  </a:lnTo>
                  <a:lnTo>
                    <a:pt x="1045" y="1569"/>
                  </a:lnTo>
                  <a:lnTo>
                    <a:pt x="1045" y="1580"/>
                  </a:lnTo>
                  <a:lnTo>
                    <a:pt x="1047" y="1589"/>
                  </a:lnTo>
                  <a:lnTo>
                    <a:pt x="1049" y="1596"/>
                  </a:lnTo>
                  <a:lnTo>
                    <a:pt x="1052" y="1601"/>
                  </a:lnTo>
                  <a:lnTo>
                    <a:pt x="1054" y="1607"/>
                  </a:lnTo>
                  <a:lnTo>
                    <a:pt x="1057" y="1615"/>
                  </a:lnTo>
                  <a:lnTo>
                    <a:pt x="1059" y="1619"/>
                  </a:lnTo>
                  <a:lnTo>
                    <a:pt x="1060" y="1623"/>
                  </a:lnTo>
                  <a:lnTo>
                    <a:pt x="1060" y="1626"/>
                  </a:lnTo>
                  <a:lnTo>
                    <a:pt x="1059" y="1628"/>
                  </a:lnTo>
                  <a:lnTo>
                    <a:pt x="1058" y="1635"/>
                  </a:lnTo>
                  <a:lnTo>
                    <a:pt x="1057" y="1642"/>
                  </a:lnTo>
                  <a:lnTo>
                    <a:pt x="1054" y="1648"/>
                  </a:lnTo>
                  <a:lnTo>
                    <a:pt x="1050" y="1652"/>
                  </a:lnTo>
                  <a:lnTo>
                    <a:pt x="1044" y="1657"/>
                  </a:lnTo>
                  <a:lnTo>
                    <a:pt x="1038" y="1660"/>
                  </a:lnTo>
                  <a:lnTo>
                    <a:pt x="1032" y="1665"/>
                  </a:lnTo>
                  <a:lnTo>
                    <a:pt x="1024" y="1667"/>
                  </a:lnTo>
                  <a:lnTo>
                    <a:pt x="1007" y="1672"/>
                  </a:lnTo>
                  <a:lnTo>
                    <a:pt x="987" y="1674"/>
                  </a:lnTo>
                  <a:lnTo>
                    <a:pt x="966" y="1675"/>
                  </a:lnTo>
                  <a:lnTo>
                    <a:pt x="944" y="1675"/>
                  </a:lnTo>
                  <a:lnTo>
                    <a:pt x="921" y="1674"/>
                  </a:lnTo>
                  <a:lnTo>
                    <a:pt x="898" y="1672"/>
                  </a:lnTo>
                  <a:lnTo>
                    <a:pt x="877" y="1670"/>
                  </a:lnTo>
                  <a:lnTo>
                    <a:pt x="856" y="1667"/>
                  </a:lnTo>
                  <a:lnTo>
                    <a:pt x="820" y="1660"/>
                  </a:lnTo>
                  <a:lnTo>
                    <a:pt x="796" y="1655"/>
                  </a:lnTo>
                  <a:lnTo>
                    <a:pt x="764" y="1656"/>
                  </a:lnTo>
                  <a:lnTo>
                    <a:pt x="729" y="1659"/>
                  </a:lnTo>
                  <a:lnTo>
                    <a:pt x="691" y="1663"/>
                  </a:lnTo>
                  <a:lnTo>
                    <a:pt x="652" y="1665"/>
                  </a:lnTo>
                  <a:lnTo>
                    <a:pt x="633" y="1666"/>
                  </a:lnTo>
                  <a:lnTo>
                    <a:pt x="614" y="1666"/>
                  </a:lnTo>
                  <a:lnTo>
                    <a:pt x="595" y="1666"/>
                  </a:lnTo>
                  <a:lnTo>
                    <a:pt x="577" y="1665"/>
                  </a:lnTo>
                  <a:lnTo>
                    <a:pt x="560" y="1663"/>
                  </a:lnTo>
                  <a:lnTo>
                    <a:pt x="543" y="1659"/>
                  </a:lnTo>
                  <a:lnTo>
                    <a:pt x="527" y="1655"/>
                  </a:lnTo>
                  <a:lnTo>
                    <a:pt x="513" y="1650"/>
                  </a:lnTo>
                  <a:lnTo>
                    <a:pt x="504" y="1646"/>
                  </a:lnTo>
                  <a:lnTo>
                    <a:pt x="495" y="1640"/>
                  </a:lnTo>
                  <a:lnTo>
                    <a:pt x="486" y="1633"/>
                  </a:lnTo>
                  <a:lnTo>
                    <a:pt x="476" y="1626"/>
                  </a:lnTo>
                  <a:lnTo>
                    <a:pt x="457" y="1608"/>
                  </a:lnTo>
                  <a:lnTo>
                    <a:pt x="440" y="1589"/>
                  </a:lnTo>
                  <a:lnTo>
                    <a:pt x="424" y="1568"/>
                  </a:lnTo>
                  <a:lnTo>
                    <a:pt x="409" y="1546"/>
                  </a:lnTo>
                  <a:lnTo>
                    <a:pt x="397" y="1525"/>
                  </a:lnTo>
                  <a:lnTo>
                    <a:pt x="389" y="1506"/>
                  </a:lnTo>
                  <a:lnTo>
                    <a:pt x="378" y="1482"/>
                  </a:lnTo>
                  <a:lnTo>
                    <a:pt x="365" y="1453"/>
                  </a:lnTo>
                  <a:lnTo>
                    <a:pt x="358" y="1438"/>
                  </a:lnTo>
                  <a:lnTo>
                    <a:pt x="351" y="1425"/>
                  </a:lnTo>
                  <a:lnTo>
                    <a:pt x="344" y="1412"/>
                  </a:lnTo>
                  <a:lnTo>
                    <a:pt x="338" y="1403"/>
                  </a:lnTo>
                  <a:lnTo>
                    <a:pt x="330" y="1393"/>
                  </a:lnTo>
                  <a:lnTo>
                    <a:pt x="322" y="1387"/>
                  </a:lnTo>
                  <a:lnTo>
                    <a:pt x="314" y="1382"/>
                  </a:lnTo>
                  <a:lnTo>
                    <a:pt x="305" y="1379"/>
                  </a:lnTo>
                  <a:lnTo>
                    <a:pt x="296" y="1377"/>
                  </a:lnTo>
                  <a:lnTo>
                    <a:pt x="287" y="1377"/>
                  </a:lnTo>
                  <a:lnTo>
                    <a:pt x="278" y="1378"/>
                  </a:lnTo>
                  <a:lnTo>
                    <a:pt x="269" y="1380"/>
                  </a:lnTo>
                  <a:lnTo>
                    <a:pt x="232" y="1393"/>
                  </a:lnTo>
                  <a:lnTo>
                    <a:pt x="198" y="1408"/>
                  </a:lnTo>
                  <a:lnTo>
                    <a:pt x="187" y="1422"/>
                  </a:lnTo>
                  <a:lnTo>
                    <a:pt x="173" y="1438"/>
                  </a:lnTo>
                  <a:lnTo>
                    <a:pt x="164" y="1446"/>
                  </a:lnTo>
                  <a:lnTo>
                    <a:pt x="156" y="1453"/>
                  </a:lnTo>
                  <a:lnTo>
                    <a:pt x="149" y="1458"/>
                  </a:lnTo>
                  <a:lnTo>
                    <a:pt x="143" y="1462"/>
                  </a:lnTo>
                  <a:lnTo>
                    <a:pt x="143" y="1462"/>
                  </a:lnTo>
                  <a:lnTo>
                    <a:pt x="123" y="1461"/>
                  </a:lnTo>
                  <a:lnTo>
                    <a:pt x="106" y="1459"/>
                  </a:lnTo>
                  <a:lnTo>
                    <a:pt x="92" y="1456"/>
                  </a:lnTo>
                  <a:lnTo>
                    <a:pt x="81" y="1451"/>
                  </a:lnTo>
                  <a:lnTo>
                    <a:pt x="76" y="1449"/>
                  </a:lnTo>
                  <a:lnTo>
                    <a:pt x="72" y="1446"/>
                  </a:lnTo>
                  <a:lnTo>
                    <a:pt x="69" y="1442"/>
                  </a:lnTo>
                  <a:lnTo>
                    <a:pt x="65" y="1438"/>
                  </a:lnTo>
                  <a:lnTo>
                    <a:pt x="62" y="1434"/>
                  </a:lnTo>
                  <a:lnTo>
                    <a:pt x="60" y="1430"/>
                  </a:lnTo>
                  <a:lnTo>
                    <a:pt x="58" y="1426"/>
                  </a:lnTo>
                  <a:lnTo>
                    <a:pt x="57" y="1421"/>
                  </a:lnTo>
                  <a:lnTo>
                    <a:pt x="56" y="1410"/>
                  </a:lnTo>
                  <a:lnTo>
                    <a:pt x="56" y="1400"/>
                  </a:lnTo>
                  <a:lnTo>
                    <a:pt x="57" y="1387"/>
                  </a:lnTo>
                  <a:lnTo>
                    <a:pt x="59" y="1374"/>
                  </a:lnTo>
                  <a:lnTo>
                    <a:pt x="66" y="1345"/>
                  </a:lnTo>
                  <a:lnTo>
                    <a:pt x="76" y="1313"/>
                  </a:lnTo>
                  <a:lnTo>
                    <a:pt x="78" y="1307"/>
                  </a:lnTo>
                  <a:lnTo>
                    <a:pt x="78" y="1301"/>
                  </a:lnTo>
                  <a:lnTo>
                    <a:pt x="78" y="1294"/>
                  </a:lnTo>
                  <a:lnTo>
                    <a:pt x="76" y="1290"/>
                  </a:lnTo>
                  <a:lnTo>
                    <a:pt x="74" y="1286"/>
                  </a:lnTo>
                  <a:lnTo>
                    <a:pt x="71" y="1282"/>
                  </a:lnTo>
                  <a:lnTo>
                    <a:pt x="66" y="1279"/>
                  </a:lnTo>
                  <a:lnTo>
                    <a:pt x="62" y="1277"/>
                  </a:lnTo>
                  <a:lnTo>
                    <a:pt x="57" y="1273"/>
                  </a:lnTo>
                  <a:lnTo>
                    <a:pt x="51" y="1272"/>
                  </a:lnTo>
                  <a:lnTo>
                    <a:pt x="45" y="1271"/>
                  </a:lnTo>
                  <a:lnTo>
                    <a:pt x="37" y="1270"/>
                  </a:lnTo>
                  <a:lnTo>
                    <a:pt x="23" y="1269"/>
                  </a:lnTo>
                  <a:lnTo>
                    <a:pt x="6" y="1270"/>
                  </a:lnTo>
                  <a:lnTo>
                    <a:pt x="6" y="1270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0" name="Freeform 157">
              <a:extLst>
                <a:ext uri="{FF2B5EF4-FFF2-40B4-BE49-F238E27FC236}">
                  <a16:creationId xmlns:a16="http://schemas.microsoft.com/office/drawing/2014/main" id="{9A9129FB-0EB3-4E39-9C68-5B6FE5FB7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090" y="5831152"/>
              <a:ext cx="717474" cy="520197"/>
            </a:xfrm>
            <a:custGeom>
              <a:avLst/>
              <a:gdLst>
                <a:gd name="T0" fmla="*/ 2740 w 2857"/>
                <a:gd name="T1" fmla="*/ 1003 h 2143"/>
                <a:gd name="T2" fmla="*/ 2597 w 2857"/>
                <a:gd name="T3" fmla="*/ 987 h 2143"/>
                <a:gd name="T4" fmla="*/ 2567 w 2857"/>
                <a:gd name="T5" fmla="*/ 861 h 2143"/>
                <a:gd name="T6" fmla="*/ 2542 w 2857"/>
                <a:gd name="T7" fmla="*/ 741 h 2143"/>
                <a:gd name="T8" fmla="*/ 2491 w 2857"/>
                <a:gd name="T9" fmla="*/ 768 h 2143"/>
                <a:gd name="T10" fmla="*/ 2399 w 2857"/>
                <a:gd name="T11" fmla="*/ 770 h 2143"/>
                <a:gd name="T12" fmla="*/ 2446 w 2857"/>
                <a:gd name="T13" fmla="*/ 670 h 2143"/>
                <a:gd name="T14" fmla="*/ 2379 w 2857"/>
                <a:gd name="T15" fmla="*/ 572 h 2143"/>
                <a:gd name="T16" fmla="*/ 2179 w 2857"/>
                <a:gd name="T17" fmla="*/ 613 h 2143"/>
                <a:gd name="T18" fmla="*/ 2029 w 2857"/>
                <a:gd name="T19" fmla="*/ 767 h 2143"/>
                <a:gd name="T20" fmla="*/ 1959 w 2857"/>
                <a:gd name="T21" fmla="*/ 816 h 2143"/>
                <a:gd name="T22" fmla="*/ 1845 w 2857"/>
                <a:gd name="T23" fmla="*/ 668 h 2143"/>
                <a:gd name="T24" fmla="*/ 1734 w 2857"/>
                <a:gd name="T25" fmla="*/ 633 h 2143"/>
                <a:gd name="T26" fmla="*/ 1600 w 2857"/>
                <a:gd name="T27" fmla="*/ 716 h 2143"/>
                <a:gd name="T28" fmla="*/ 1487 w 2857"/>
                <a:gd name="T29" fmla="*/ 647 h 2143"/>
                <a:gd name="T30" fmla="*/ 1551 w 2857"/>
                <a:gd name="T31" fmla="*/ 609 h 2143"/>
                <a:gd name="T32" fmla="*/ 1489 w 2857"/>
                <a:gd name="T33" fmla="*/ 516 h 2143"/>
                <a:gd name="T34" fmla="*/ 1261 w 2857"/>
                <a:gd name="T35" fmla="*/ 351 h 2143"/>
                <a:gd name="T36" fmla="*/ 1088 w 2857"/>
                <a:gd name="T37" fmla="*/ 97 h 2143"/>
                <a:gd name="T38" fmla="*/ 944 w 2857"/>
                <a:gd name="T39" fmla="*/ 17 h 2143"/>
                <a:gd name="T40" fmla="*/ 773 w 2857"/>
                <a:gd name="T41" fmla="*/ 32 h 2143"/>
                <a:gd name="T42" fmla="*/ 740 w 2857"/>
                <a:gd name="T43" fmla="*/ 185 h 2143"/>
                <a:gd name="T44" fmla="*/ 625 w 2857"/>
                <a:gd name="T45" fmla="*/ 151 h 2143"/>
                <a:gd name="T46" fmla="*/ 583 w 2857"/>
                <a:gd name="T47" fmla="*/ 194 h 2143"/>
                <a:gd name="T48" fmla="*/ 552 w 2857"/>
                <a:gd name="T49" fmla="*/ 296 h 2143"/>
                <a:gd name="T50" fmla="*/ 416 w 2857"/>
                <a:gd name="T51" fmla="*/ 217 h 2143"/>
                <a:gd name="T52" fmla="*/ 216 w 2857"/>
                <a:gd name="T53" fmla="*/ 197 h 2143"/>
                <a:gd name="T54" fmla="*/ 186 w 2857"/>
                <a:gd name="T55" fmla="*/ 284 h 2143"/>
                <a:gd name="T56" fmla="*/ 129 w 2857"/>
                <a:gd name="T57" fmla="*/ 411 h 2143"/>
                <a:gd name="T58" fmla="*/ 37 w 2857"/>
                <a:gd name="T59" fmla="*/ 502 h 2143"/>
                <a:gd name="T60" fmla="*/ 58 w 2857"/>
                <a:gd name="T61" fmla="*/ 642 h 2143"/>
                <a:gd name="T62" fmla="*/ 231 w 2857"/>
                <a:gd name="T63" fmla="*/ 743 h 2143"/>
                <a:gd name="T64" fmla="*/ 284 w 2857"/>
                <a:gd name="T65" fmla="*/ 834 h 2143"/>
                <a:gd name="T66" fmla="*/ 330 w 2857"/>
                <a:gd name="T67" fmla="*/ 936 h 2143"/>
                <a:gd name="T68" fmla="*/ 465 w 2857"/>
                <a:gd name="T69" fmla="*/ 1044 h 2143"/>
                <a:gd name="T70" fmla="*/ 626 w 2857"/>
                <a:gd name="T71" fmla="*/ 1278 h 2143"/>
                <a:gd name="T72" fmla="*/ 504 w 2857"/>
                <a:gd name="T73" fmla="*/ 1581 h 2143"/>
                <a:gd name="T74" fmla="*/ 487 w 2857"/>
                <a:gd name="T75" fmla="*/ 1832 h 2143"/>
                <a:gd name="T76" fmla="*/ 602 w 2857"/>
                <a:gd name="T77" fmla="*/ 1863 h 2143"/>
                <a:gd name="T78" fmla="*/ 676 w 2857"/>
                <a:gd name="T79" fmla="*/ 1886 h 2143"/>
                <a:gd name="T80" fmla="*/ 730 w 2857"/>
                <a:gd name="T81" fmla="*/ 1923 h 2143"/>
                <a:gd name="T82" fmla="*/ 791 w 2857"/>
                <a:gd name="T83" fmla="*/ 1988 h 2143"/>
                <a:gd name="T84" fmla="*/ 898 w 2857"/>
                <a:gd name="T85" fmla="*/ 2022 h 2143"/>
                <a:gd name="T86" fmla="*/ 1022 w 2857"/>
                <a:gd name="T87" fmla="*/ 2143 h 2143"/>
                <a:gd name="T88" fmla="*/ 1161 w 2857"/>
                <a:gd name="T89" fmla="*/ 2041 h 2143"/>
                <a:gd name="T90" fmla="*/ 1312 w 2857"/>
                <a:gd name="T91" fmla="*/ 1938 h 2143"/>
                <a:gd name="T92" fmla="*/ 1363 w 2857"/>
                <a:gd name="T93" fmla="*/ 1826 h 2143"/>
                <a:gd name="T94" fmla="*/ 1496 w 2857"/>
                <a:gd name="T95" fmla="*/ 1785 h 2143"/>
                <a:gd name="T96" fmla="*/ 1618 w 2857"/>
                <a:gd name="T97" fmla="*/ 1614 h 2143"/>
                <a:gd name="T98" fmla="*/ 1734 w 2857"/>
                <a:gd name="T99" fmla="*/ 1601 h 2143"/>
                <a:gd name="T100" fmla="*/ 1888 w 2857"/>
                <a:gd name="T101" fmla="*/ 1561 h 2143"/>
                <a:gd name="T102" fmla="*/ 2031 w 2857"/>
                <a:gd name="T103" fmla="*/ 1579 h 2143"/>
                <a:gd name="T104" fmla="*/ 2151 w 2857"/>
                <a:gd name="T105" fmla="*/ 1599 h 2143"/>
                <a:gd name="T106" fmla="*/ 2234 w 2857"/>
                <a:gd name="T107" fmla="*/ 1562 h 2143"/>
                <a:gd name="T108" fmla="*/ 2320 w 2857"/>
                <a:gd name="T109" fmla="*/ 1546 h 2143"/>
                <a:gd name="T110" fmla="*/ 2270 w 2857"/>
                <a:gd name="T111" fmla="*/ 1455 h 2143"/>
                <a:gd name="T112" fmla="*/ 2220 w 2857"/>
                <a:gd name="T113" fmla="*/ 1348 h 2143"/>
                <a:gd name="T114" fmla="*/ 2371 w 2857"/>
                <a:gd name="T115" fmla="*/ 1351 h 2143"/>
                <a:gd name="T116" fmla="*/ 2533 w 2857"/>
                <a:gd name="T117" fmla="*/ 1251 h 2143"/>
                <a:gd name="T118" fmla="*/ 2668 w 2857"/>
                <a:gd name="T119" fmla="*/ 1318 h 2143"/>
                <a:gd name="T120" fmla="*/ 2705 w 2857"/>
                <a:gd name="T121" fmla="*/ 1262 h 2143"/>
                <a:gd name="T122" fmla="*/ 2731 w 2857"/>
                <a:gd name="T123" fmla="*/ 1151 h 2143"/>
                <a:gd name="T124" fmla="*/ 2817 w 2857"/>
                <a:gd name="T125" fmla="*/ 1112 h 2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57" h="2143">
                  <a:moveTo>
                    <a:pt x="2857" y="1004"/>
                  </a:moveTo>
                  <a:lnTo>
                    <a:pt x="2841" y="1004"/>
                  </a:lnTo>
                  <a:lnTo>
                    <a:pt x="2824" y="1005"/>
                  </a:lnTo>
                  <a:lnTo>
                    <a:pt x="2816" y="1006"/>
                  </a:lnTo>
                  <a:lnTo>
                    <a:pt x="2808" y="1006"/>
                  </a:lnTo>
                  <a:lnTo>
                    <a:pt x="2800" y="1005"/>
                  </a:lnTo>
                  <a:lnTo>
                    <a:pt x="2793" y="1003"/>
                  </a:lnTo>
                  <a:lnTo>
                    <a:pt x="2785" y="1001"/>
                  </a:lnTo>
                  <a:lnTo>
                    <a:pt x="2779" y="999"/>
                  </a:lnTo>
                  <a:lnTo>
                    <a:pt x="2773" y="999"/>
                  </a:lnTo>
                  <a:lnTo>
                    <a:pt x="2766" y="999"/>
                  </a:lnTo>
                  <a:lnTo>
                    <a:pt x="2753" y="1000"/>
                  </a:lnTo>
                  <a:lnTo>
                    <a:pt x="2740" y="1003"/>
                  </a:lnTo>
                  <a:lnTo>
                    <a:pt x="2727" y="1006"/>
                  </a:lnTo>
                  <a:lnTo>
                    <a:pt x="2714" y="1010"/>
                  </a:lnTo>
                  <a:lnTo>
                    <a:pt x="2700" y="1012"/>
                  </a:lnTo>
                  <a:lnTo>
                    <a:pt x="2685" y="1013"/>
                  </a:lnTo>
                  <a:lnTo>
                    <a:pt x="2677" y="1013"/>
                  </a:lnTo>
                  <a:lnTo>
                    <a:pt x="2667" y="1012"/>
                  </a:lnTo>
                  <a:lnTo>
                    <a:pt x="2657" y="1010"/>
                  </a:lnTo>
                  <a:lnTo>
                    <a:pt x="2647" y="1008"/>
                  </a:lnTo>
                  <a:lnTo>
                    <a:pt x="2635" y="1005"/>
                  </a:lnTo>
                  <a:lnTo>
                    <a:pt x="2625" y="1002"/>
                  </a:lnTo>
                  <a:lnTo>
                    <a:pt x="2616" y="998"/>
                  </a:lnTo>
                  <a:lnTo>
                    <a:pt x="2605" y="992"/>
                  </a:lnTo>
                  <a:lnTo>
                    <a:pt x="2597" y="987"/>
                  </a:lnTo>
                  <a:lnTo>
                    <a:pt x="2588" y="980"/>
                  </a:lnTo>
                  <a:lnTo>
                    <a:pt x="2581" y="974"/>
                  </a:lnTo>
                  <a:lnTo>
                    <a:pt x="2575" y="965"/>
                  </a:lnTo>
                  <a:lnTo>
                    <a:pt x="2571" y="957"/>
                  </a:lnTo>
                  <a:lnTo>
                    <a:pt x="2568" y="948"/>
                  </a:lnTo>
                  <a:lnTo>
                    <a:pt x="2567" y="938"/>
                  </a:lnTo>
                  <a:lnTo>
                    <a:pt x="2567" y="928"/>
                  </a:lnTo>
                  <a:lnTo>
                    <a:pt x="2571" y="910"/>
                  </a:lnTo>
                  <a:lnTo>
                    <a:pt x="2574" y="894"/>
                  </a:lnTo>
                  <a:lnTo>
                    <a:pt x="2574" y="886"/>
                  </a:lnTo>
                  <a:lnTo>
                    <a:pt x="2573" y="879"/>
                  </a:lnTo>
                  <a:lnTo>
                    <a:pt x="2571" y="870"/>
                  </a:lnTo>
                  <a:lnTo>
                    <a:pt x="2567" y="861"/>
                  </a:lnTo>
                  <a:lnTo>
                    <a:pt x="2557" y="850"/>
                  </a:lnTo>
                  <a:lnTo>
                    <a:pt x="2548" y="839"/>
                  </a:lnTo>
                  <a:lnTo>
                    <a:pt x="2544" y="834"/>
                  </a:lnTo>
                  <a:lnTo>
                    <a:pt x="2540" y="829"/>
                  </a:lnTo>
                  <a:lnTo>
                    <a:pt x="2538" y="821"/>
                  </a:lnTo>
                  <a:lnTo>
                    <a:pt x="2537" y="813"/>
                  </a:lnTo>
                  <a:lnTo>
                    <a:pt x="2543" y="805"/>
                  </a:lnTo>
                  <a:lnTo>
                    <a:pt x="2547" y="797"/>
                  </a:lnTo>
                  <a:lnTo>
                    <a:pt x="2549" y="790"/>
                  </a:lnTo>
                  <a:lnTo>
                    <a:pt x="2550" y="783"/>
                  </a:lnTo>
                  <a:lnTo>
                    <a:pt x="2550" y="768"/>
                  </a:lnTo>
                  <a:lnTo>
                    <a:pt x="2550" y="750"/>
                  </a:lnTo>
                  <a:lnTo>
                    <a:pt x="2542" y="741"/>
                  </a:lnTo>
                  <a:lnTo>
                    <a:pt x="2531" y="732"/>
                  </a:lnTo>
                  <a:lnTo>
                    <a:pt x="2528" y="731"/>
                  </a:lnTo>
                  <a:lnTo>
                    <a:pt x="2525" y="728"/>
                  </a:lnTo>
                  <a:lnTo>
                    <a:pt x="2522" y="728"/>
                  </a:lnTo>
                  <a:lnTo>
                    <a:pt x="2519" y="728"/>
                  </a:lnTo>
                  <a:lnTo>
                    <a:pt x="2516" y="730"/>
                  </a:lnTo>
                  <a:lnTo>
                    <a:pt x="2513" y="732"/>
                  </a:lnTo>
                  <a:lnTo>
                    <a:pt x="2511" y="735"/>
                  </a:lnTo>
                  <a:lnTo>
                    <a:pt x="2509" y="739"/>
                  </a:lnTo>
                  <a:lnTo>
                    <a:pt x="2505" y="748"/>
                  </a:lnTo>
                  <a:lnTo>
                    <a:pt x="2501" y="756"/>
                  </a:lnTo>
                  <a:lnTo>
                    <a:pt x="2497" y="763"/>
                  </a:lnTo>
                  <a:lnTo>
                    <a:pt x="2491" y="768"/>
                  </a:lnTo>
                  <a:lnTo>
                    <a:pt x="2486" y="774"/>
                  </a:lnTo>
                  <a:lnTo>
                    <a:pt x="2480" y="780"/>
                  </a:lnTo>
                  <a:lnTo>
                    <a:pt x="2473" y="785"/>
                  </a:lnTo>
                  <a:lnTo>
                    <a:pt x="2463" y="791"/>
                  </a:lnTo>
                  <a:lnTo>
                    <a:pt x="2452" y="795"/>
                  </a:lnTo>
                  <a:lnTo>
                    <a:pt x="2441" y="797"/>
                  </a:lnTo>
                  <a:lnTo>
                    <a:pt x="2432" y="797"/>
                  </a:lnTo>
                  <a:lnTo>
                    <a:pt x="2424" y="795"/>
                  </a:lnTo>
                  <a:lnTo>
                    <a:pt x="2416" y="793"/>
                  </a:lnTo>
                  <a:lnTo>
                    <a:pt x="2410" y="789"/>
                  </a:lnTo>
                  <a:lnTo>
                    <a:pt x="2405" y="784"/>
                  </a:lnTo>
                  <a:lnTo>
                    <a:pt x="2401" y="778"/>
                  </a:lnTo>
                  <a:lnTo>
                    <a:pt x="2399" y="770"/>
                  </a:lnTo>
                  <a:lnTo>
                    <a:pt x="2398" y="763"/>
                  </a:lnTo>
                  <a:lnTo>
                    <a:pt x="2397" y="756"/>
                  </a:lnTo>
                  <a:lnTo>
                    <a:pt x="2398" y="748"/>
                  </a:lnTo>
                  <a:lnTo>
                    <a:pt x="2400" y="741"/>
                  </a:lnTo>
                  <a:lnTo>
                    <a:pt x="2403" y="734"/>
                  </a:lnTo>
                  <a:lnTo>
                    <a:pt x="2408" y="726"/>
                  </a:lnTo>
                  <a:lnTo>
                    <a:pt x="2413" y="720"/>
                  </a:lnTo>
                  <a:lnTo>
                    <a:pt x="2423" y="712"/>
                  </a:lnTo>
                  <a:lnTo>
                    <a:pt x="2430" y="703"/>
                  </a:lnTo>
                  <a:lnTo>
                    <a:pt x="2436" y="695"/>
                  </a:lnTo>
                  <a:lnTo>
                    <a:pt x="2440" y="687"/>
                  </a:lnTo>
                  <a:lnTo>
                    <a:pt x="2444" y="678"/>
                  </a:lnTo>
                  <a:lnTo>
                    <a:pt x="2446" y="670"/>
                  </a:lnTo>
                  <a:lnTo>
                    <a:pt x="2447" y="663"/>
                  </a:lnTo>
                  <a:lnTo>
                    <a:pt x="2446" y="654"/>
                  </a:lnTo>
                  <a:lnTo>
                    <a:pt x="2445" y="646"/>
                  </a:lnTo>
                  <a:lnTo>
                    <a:pt x="2442" y="638"/>
                  </a:lnTo>
                  <a:lnTo>
                    <a:pt x="2438" y="630"/>
                  </a:lnTo>
                  <a:lnTo>
                    <a:pt x="2434" y="622"/>
                  </a:lnTo>
                  <a:lnTo>
                    <a:pt x="2428" y="615"/>
                  </a:lnTo>
                  <a:lnTo>
                    <a:pt x="2422" y="606"/>
                  </a:lnTo>
                  <a:lnTo>
                    <a:pt x="2415" y="599"/>
                  </a:lnTo>
                  <a:lnTo>
                    <a:pt x="2407" y="591"/>
                  </a:lnTo>
                  <a:lnTo>
                    <a:pt x="2398" y="583"/>
                  </a:lnTo>
                  <a:lnTo>
                    <a:pt x="2388" y="577"/>
                  </a:lnTo>
                  <a:lnTo>
                    <a:pt x="2379" y="572"/>
                  </a:lnTo>
                  <a:lnTo>
                    <a:pt x="2368" y="568"/>
                  </a:lnTo>
                  <a:lnTo>
                    <a:pt x="2358" y="565"/>
                  </a:lnTo>
                  <a:lnTo>
                    <a:pt x="2347" y="564"/>
                  </a:lnTo>
                  <a:lnTo>
                    <a:pt x="2336" y="563"/>
                  </a:lnTo>
                  <a:lnTo>
                    <a:pt x="2325" y="563"/>
                  </a:lnTo>
                  <a:lnTo>
                    <a:pt x="2312" y="564"/>
                  </a:lnTo>
                  <a:lnTo>
                    <a:pt x="2301" y="565"/>
                  </a:lnTo>
                  <a:lnTo>
                    <a:pt x="2288" y="567"/>
                  </a:lnTo>
                  <a:lnTo>
                    <a:pt x="2277" y="570"/>
                  </a:lnTo>
                  <a:lnTo>
                    <a:pt x="2252" y="578"/>
                  </a:lnTo>
                  <a:lnTo>
                    <a:pt x="2228" y="589"/>
                  </a:lnTo>
                  <a:lnTo>
                    <a:pt x="2203" y="600"/>
                  </a:lnTo>
                  <a:lnTo>
                    <a:pt x="2179" y="613"/>
                  </a:lnTo>
                  <a:lnTo>
                    <a:pt x="2156" y="626"/>
                  </a:lnTo>
                  <a:lnTo>
                    <a:pt x="2134" y="640"/>
                  </a:lnTo>
                  <a:lnTo>
                    <a:pt x="2093" y="665"/>
                  </a:lnTo>
                  <a:lnTo>
                    <a:pt x="2060" y="686"/>
                  </a:lnTo>
                  <a:lnTo>
                    <a:pt x="2056" y="689"/>
                  </a:lnTo>
                  <a:lnTo>
                    <a:pt x="2051" y="693"/>
                  </a:lnTo>
                  <a:lnTo>
                    <a:pt x="2047" y="697"/>
                  </a:lnTo>
                  <a:lnTo>
                    <a:pt x="2044" y="702"/>
                  </a:lnTo>
                  <a:lnTo>
                    <a:pt x="2039" y="713"/>
                  </a:lnTo>
                  <a:lnTo>
                    <a:pt x="2035" y="725"/>
                  </a:lnTo>
                  <a:lnTo>
                    <a:pt x="2032" y="739"/>
                  </a:lnTo>
                  <a:lnTo>
                    <a:pt x="2031" y="752"/>
                  </a:lnTo>
                  <a:lnTo>
                    <a:pt x="2029" y="767"/>
                  </a:lnTo>
                  <a:lnTo>
                    <a:pt x="2029" y="781"/>
                  </a:lnTo>
                  <a:lnTo>
                    <a:pt x="2027" y="807"/>
                  </a:lnTo>
                  <a:lnTo>
                    <a:pt x="2025" y="828"/>
                  </a:lnTo>
                  <a:lnTo>
                    <a:pt x="2023" y="836"/>
                  </a:lnTo>
                  <a:lnTo>
                    <a:pt x="2020" y="841"/>
                  </a:lnTo>
                  <a:lnTo>
                    <a:pt x="2018" y="843"/>
                  </a:lnTo>
                  <a:lnTo>
                    <a:pt x="2015" y="843"/>
                  </a:lnTo>
                  <a:lnTo>
                    <a:pt x="2013" y="844"/>
                  </a:lnTo>
                  <a:lnTo>
                    <a:pt x="2009" y="843"/>
                  </a:lnTo>
                  <a:lnTo>
                    <a:pt x="1998" y="839"/>
                  </a:lnTo>
                  <a:lnTo>
                    <a:pt x="1986" y="833"/>
                  </a:lnTo>
                  <a:lnTo>
                    <a:pt x="1972" y="826"/>
                  </a:lnTo>
                  <a:lnTo>
                    <a:pt x="1959" y="816"/>
                  </a:lnTo>
                  <a:lnTo>
                    <a:pt x="1944" y="806"/>
                  </a:lnTo>
                  <a:lnTo>
                    <a:pt x="1931" y="795"/>
                  </a:lnTo>
                  <a:lnTo>
                    <a:pt x="1916" y="783"/>
                  </a:lnTo>
                  <a:lnTo>
                    <a:pt x="1903" y="770"/>
                  </a:lnTo>
                  <a:lnTo>
                    <a:pt x="1891" y="757"/>
                  </a:lnTo>
                  <a:lnTo>
                    <a:pt x="1878" y="742"/>
                  </a:lnTo>
                  <a:lnTo>
                    <a:pt x="1869" y="728"/>
                  </a:lnTo>
                  <a:lnTo>
                    <a:pt x="1860" y="714"/>
                  </a:lnTo>
                  <a:lnTo>
                    <a:pt x="1853" y="700"/>
                  </a:lnTo>
                  <a:lnTo>
                    <a:pt x="1848" y="687"/>
                  </a:lnTo>
                  <a:lnTo>
                    <a:pt x="1846" y="681"/>
                  </a:lnTo>
                  <a:lnTo>
                    <a:pt x="1846" y="674"/>
                  </a:lnTo>
                  <a:lnTo>
                    <a:pt x="1845" y="668"/>
                  </a:lnTo>
                  <a:lnTo>
                    <a:pt x="1846" y="662"/>
                  </a:lnTo>
                  <a:lnTo>
                    <a:pt x="1846" y="653"/>
                  </a:lnTo>
                  <a:lnTo>
                    <a:pt x="1844" y="647"/>
                  </a:lnTo>
                  <a:lnTo>
                    <a:pt x="1841" y="642"/>
                  </a:lnTo>
                  <a:lnTo>
                    <a:pt x="1836" y="638"/>
                  </a:lnTo>
                  <a:lnTo>
                    <a:pt x="1828" y="635"/>
                  </a:lnTo>
                  <a:lnTo>
                    <a:pt x="1821" y="631"/>
                  </a:lnTo>
                  <a:lnTo>
                    <a:pt x="1813" y="629"/>
                  </a:lnTo>
                  <a:lnTo>
                    <a:pt x="1804" y="628"/>
                  </a:lnTo>
                  <a:lnTo>
                    <a:pt x="1785" y="627"/>
                  </a:lnTo>
                  <a:lnTo>
                    <a:pt x="1766" y="628"/>
                  </a:lnTo>
                  <a:lnTo>
                    <a:pt x="1748" y="630"/>
                  </a:lnTo>
                  <a:lnTo>
                    <a:pt x="1734" y="633"/>
                  </a:lnTo>
                  <a:lnTo>
                    <a:pt x="1725" y="635"/>
                  </a:lnTo>
                  <a:lnTo>
                    <a:pt x="1715" y="640"/>
                  </a:lnTo>
                  <a:lnTo>
                    <a:pt x="1705" y="645"/>
                  </a:lnTo>
                  <a:lnTo>
                    <a:pt x="1695" y="653"/>
                  </a:lnTo>
                  <a:lnTo>
                    <a:pt x="1674" y="670"/>
                  </a:lnTo>
                  <a:lnTo>
                    <a:pt x="1654" y="688"/>
                  </a:lnTo>
                  <a:lnTo>
                    <a:pt x="1644" y="696"/>
                  </a:lnTo>
                  <a:lnTo>
                    <a:pt x="1633" y="703"/>
                  </a:lnTo>
                  <a:lnTo>
                    <a:pt x="1624" y="710"/>
                  </a:lnTo>
                  <a:lnTo>
                    <a:pt x="1615" y="714"/>
                  </a:lnTo>
                  <a:lnTo>
                    <a:pt x="1609" y="715"/>
                  </a:lnTo>
                  <a:lnTo>
                    <a:pt x="1605" y="716"/>
                  </a:lnTo>
                  <a:lnTo>
                    <a:pt x="1600" y="716"/>
                  </a:lnTo>
                  <a:lnTo>
                    <a:pt x="1596" y="716"/>
                  </a:lnTo>
                  <a:lnTo>
                    <a:pt x="1592" y="715"/>
                  </a:lnTo>
                  <a:lnTo>
                    <a:pt x="1586" y="713"/>
                  </a:lnTo>
                  <a:lnTo>
                    <a:pt x="1582" y="711"/>
                  </a:lnTo>
                  <a:lnTo>
                    <a:pt x="1578" y="708"/>
                  </a:lnTo>
                  <a:lnTo>
                    <a:pt x="1569" y="699"/>
                  </a:lnTo>
                  <a:lnTo>
                    <a:pt x="1557" y="692"/>
                  </a:lnTo>
                  <a:lnTo>
                    <a:pt x="1546" y="686"/>
                  </a:lnTo>
                  <a:lnTo>
                    <a:pt x="1534" y="681"/>
                  </a:lnTo>
                  <a:lnTo>
                    <a:pt x="1511" y="669"/>
                  </a:lnTo>
                  <a:lnTo>
                    <a:pt x="1488" y="658"/>
                  </a:lnTo>
                  <a:lnTo>
                    <a:pt x="1487" y="651"/>
                  </a:lnTo>
                  <a:lnTo>
                    <a:pt x="1487" y="647"/>
                  </a:lnTo>
                  <a:lnTo>
                    <a:pt x="1488" y="642"/>
                  </a:lnTo>
                  <a:lnTo>
                    <a:pt x="1489" y="638"/>
                  </a:lnTo>
                  <a:lnTo>
                    <a:pt x="1491" y="635"/>
                  </a:lnTo>
                  <a:lnTo>
                    <a:pt x="1493" y="631"/>
                  </a:lnTo>
                  <a:lnTo>
                    <a:pt x="1495" y="629"/>
                  </a:lnTo>
                  <a:lnTo>
                    <a:pt x="1498" y="626"/>
                  </a:lnTo>
                  <a:lnTo>
                    <a:pt x="1504" y="623"/>
                  </a:lnTo>
                  <a:lnTo>
                    <a:pt x="1511" y="620"/>
                  </a:lnTo>
                  <a:lnTo>
                    <a:pt x="1519" y="618"/>
                  </a:lnTo>
                  <a:lnTo>
                    <a:pt x="1527" y="616"/>
                  </a:lnTo>
                  <a:lnTo>
                    <a:pt x="1535" y="614"/>
                  </a:lnTo>
                  <a:lnTo>
                    <a:pt x="1544" y="612"/>
                  </a:lnTo>
                  <a:lnTo>
                    <a:pt x="1551" y="609"/>
                  </a:lnTo>
                  <a:lnTo>
                    <a:pt x="1557" y="605"/>
                  </a:lnTo>
                  <a:lnTo>
                    <a:pt x="1560" y="602"/>
                  </a:lnTo>
                  <a:lnTo>
                    <a:pt x="1562" y="600"/>
                  </a:lnTo>
                  <a:lnTo>
                    <a:pt x="1565" y="597"/>
                  </a:lnTo>
                  <a:lnTo>
                    <a:pt x="1567" y="593"/>
                  </a:lnTo>
                  <a:lnTo>
                    <a:pt x="1568" y="589"/>
                  </a:lnTo>
                  <a:lnTo>
                    <a:pt x="1569" y="585"/>
                  </a:lnTo>
                  <a:lnTo>
                    <a:pt x="1569" y="579"/>
                  </a:lnTo>
                  <a:lnTo>
                    <a:pt x="1569" y="573"/>
                  </a:lnTo>
                  <a:lnTo>
                    <a:pt x="1551" y="556"/>
                  </a:lnTo>
                  <a:lnTo>
                    <a:pt x="1531" y="542"/>
                  </a:lnTo>
                  <a:lnTo>
                    <a:pt x="1511" y="528"/>
                  </a:lnTo>
                  <a:lnTo>
                    <a:pt x="1489" y="516"/>
                  </a:lnTo>
                  <a:lnTo>
                    <a:pt x="1446" y="493"/>
                  </a:lnTo>
                  <a:lnTo>
                    <a:pt x="1401" y="470"/>
                  </a:lnTo>
                  <a:lnTo>
                    <a:pt x="1379" y="457"/>
                  </a:lnTo>
                  <a:lnTo>
                    <a:pt x="1357" y="445"/>
                  </a:lnTo>
                  <a:lnTo>
                    <a:pt x="1336" y="431"/>
                  </a:lnTo>
                  <a:lnTo>
                    <a:pt x="1317" y="417"/>
                  </a:lnTo>
                  <a:lnTo>
                    <a:pt x="1308" y="408"/>
                  </a:lnTo>
                  <a:lnTo>
                    <a:pt x="1299" y="400"/>
                  </a:lnTo>
                  <a:lnTo>
                    <a:pt x="1290" y="392"/>
                  </a:lnTo>
                  <a:lnTo>
                    <a:pt x="1282" y="382"/>
                  </a:lnTo>
                  <a:lnTo>
                    <a:pt x="1275" y="372"/>
                  </a:lnTo>
                  <a:lnTo>
                    <a:pt x="1267" y="361"/>
                  </a:lnTo>
                  <a:lnTo>
                    <a:pt x="1261" y="351"/>
                  </a:lnTo>
                  <a:lnTo>
                    <a:pt x="1255" y="339"/>
                  </a:lnTo>
                  <a:lnTo>
                    <a:pt x="1210" y="244"/>
                  </a:lnTo>
                  <a:lnTo>
                    <a:pt x="1203" y="231"/>
                  </a:lnTo>
                  <a:lnTo>
                    <a:pt x="1192" y="217"/>
                  </a:lnTo>
                  <a:lnTo>
                    <a:pt x="1180" y="203"/>
                  </a:lnTo>
                  <a:lnTo>
                    <a:pt x="1166" y="188"/>
                  </a:lnTo>
                  <a:lnTo>
                    <a:pt x="1152" y="175"/>
                  </a:lnTo>
                  <a:lnTo>
                    <a:pt x="1137" y="162"/>
                  </a:lnTo>
                  <a:lnTo>
                    <a:pt x="1122" y="153"/>
                  </a:lnTo>
                  <a:lnTo>
                    <a:pt x="1110" y="145"/>
                  </a:lnTo>
                  <a:lnTo>
                    <a:pt x="1100" y="128"/>
                  </a:lnTo>
                  <a:lnTo>
                    <a:pt x="1093" y="112"/>
                  </a:lnTo>
                  <a:lnTo>
                    <a:pt x="1088" y="97"/>
                  </a:lnTo>
                  <a:lnTo>
                    <a:pt x="1085" y="84"/>
                  </a:lnTo>
                  <a:lnTo>
                    <a:pt x="1080" y="55"/>
                  </a:lnTo>
                  <a:lnTo>
                    <a:pt x="1072" y="19"/>
                  </a:lnTo>
                  <a:lnTo>
                    <a:pt x="1072" y="19"/>
                  </a:lnTo>
                  <a:lnTo>
                    <a:pt x="1044" y="12"/>
                  </a:lnTo>
                  <a:lnTo>
                    <a:pt x="1033" y="10"/>
                  </a:lnTo>
                  <a:lnTo>
                    <a:pt x="1020" y="8"/>
                  </a:lnTo>
                  <a:lnTo>
                    <a:pt x="1008" y="8"/>
                  </a:lnTo>
                  <a:lnTo>
                    <a:pt x="994" y="8"/>
                  </a:lnTo>
                  <a:lnTo>
                    <a:pt x="981" y="10"/>
                  </a:lnTo>
                  <a:lnTo>
                    <a:pt x="968" y="11"/>
                  </a:lnTo>
                  <a:lnTo>
                    <a:pt x="956" y="14"/>
                  </a:lnTo>
                  <a:lnTo>
                    <a:pt x="944" y="17"/>
                  </a:lnTo>
                  <a:lnTo>
                    <a:pt x="936" y="18"/>
                  </a:lnTo>
                  <a:lnTo>
                    <a:pt x="926" y="20"/>
                  </a:lnTo>
                  <a:lnTo>
                    <a:pt x="918" y="21"/>
                  </a:lnTo>
                  <a:lnTo>
                    <a:pt x="910" y="22"/>
                  </a:lnTo>
                  <a:lnTo>
                    <a:pt x="884" y="17"/>
                  </a:lnTo>
                  <a:lnTo>
                    <a:pt x="858" y="12"/>
                  </a:lnTo>
                  <a:lnTo>
                    <a:pt x="832" y="7"/>
                  </a:lnTo>
                  <a:lnTo>
                    <a:pt x="807" y="0"/>
                  </a:lnTo>
                  <a:lnTo>
                    <a:pt x="800" y="4"/>
                  </a:lnTo>
                  <a:lnTo>
                    <a:pt x="794" y="9"/>
                  </a:lnTo>
                  <a:lnTo>
                    <a:pt x="789" y="14"/>
                  </a:lnTo>
                  <a:lnTo>
                    <a:pt x="783" y="19"/>
                  </a:lnTo>
                  <a:lnTo>
                    <a:pt x="773" y="32"/>
                  </a:lnTo>
                  <a:lnTo>
                    <a:pt x="765" y="45"/>
                  </a:lnTo>
                  <a:lnTo>
                    <a:pt x="756" y="60"/>
                  </a:lnTo>
                  <a:lnTo>
                    <a:pt x="750" y="73"/>
                  </a:lnTo>
                  <a:lnTo>
                    <a:pt x="744" y="88"/>
                  </a:lnTo>
                  <a:lnTo>
                    <a:pt x="739" y="101"/>
                  </a:lnTo>
                  <a:lnTo>
                    <a:pt x="737" y="110"/>
                  </a:lnTo>
                  <a:lnTo>
                    <a:pt x="737" y="121"/>
                  </a:lnTo>
                  <a:lnTo>
                    <a:pt x="737" y="135"/>
                  </a:lnTo>
                  <a:lnTo>
                    <a:pt x="738" y="148"/>
                  </a:lnTo>
                  <a:lnTo>
                    <a:pt x="740" y="162"/>
                  </a:lnTo>
                  <a:lnTo>
                    <a:pt x="741" y="173"/>
                  </a:lnTo>
                  <a:lnTo>
                    <a:pt x="741" y="182"/>
                  </a:lnTo>
                  <a:lnTo>
                    <a:pt x="740" y="185"/>
                  </a:lnTo>
                  <a:lnTo>
                    <a:pt x="737" y="188"/>
                  </a:lnTo>
                  <a:lnTo>
                    <a:pt x="733" y="191"/>
                  </a:lnTo>
                  <a:lnTo>
                    <a:pt x="728" y="192"/>
                  </a:lnTo>
                  <a:lnTo>
                    <a:pt x="723" y="193"/>
                  </a:lnTo>
                  <a:lnTo>
                    <a:pt x="714" y="192"/>
                  </a:lnTo>
                  <a:lnTo>
                    <a:pt x="703" y="190"/>
                  </a:lnTo>
                  <a:lnTo>
                    <a:pt x="692" y="185"/>
                  </a:lnTo>
                  <a:lnTo>
                    <a:pt x="680" y="180"/>
                  </a:lnTo>
                  <a:lnTo>
                    <a:pt x="669" y="173"/>
                  </a:lnTo>
                  <a:lnTo>
                    <a:pt x="657" y="167"/>
                  </a:lnTo>
                  <a:lnTo>
                    <a:pt x="646" y="161"/>
                  </a:lnTo>
                  <a:lnTo>
                    <a:pt x="636" y="155"/>
                  </a:lnTo>
                  <a:lnTo>
                    <a:pt x="625" y="151"/>
                  </a:lnTo>
                  <a:lnTo>
                    <a:pt x="616" y="148"/>
                  </a:lnTo>
                  <a:lnTo>
                    <a:pt x="611" y="147"/>
                  </a:lnTo>
                  <a:lnTo>
                    <a:pt x="606" y="148"/>
                  </a:lnTo>
                  <a:lnTo>
                    <a:pt x="602" y="148"/>
                  </a:lnTo>
                  <a:lnTo>
                    <a:pt x="599" y="151"/>
                  </a:lnTo>
                  <a:lnTo>
                    <a:pt x="595" y="153"/>
                  </a:lnTo>
                  <a:lnTo>
                    <a:pt x="593" y="156"/>
                  </a:lnTo>
                  <a:lnTo>
                    <a:pt x="590" y="160"/>
                  </a:lnTo>
                  <a:lnTo>
                    <a:pt x="588" y="165"/>
                  </a:lnTo>
                  <a:lnTo>
                    <a:pt x="586" y="171"/>
                  </a:lnTo>
                  <a:lnTo>
                    <a:pt x="583" y="179"/>
                  </a:lnTo>
                  <a:lnTo>
                    <a:pt x="583" y="186"/>
                  </a:lnTo>
                  <a:lnTo>
                    <a:pt x="583" y="194"/>
                  </a:lnTo>
                  <a:lnTo>
                    <a:pt x="583" y="210"/>
                  </a:lnTo>
                  <a:lnTo>
                    <a:pt x="583" y="226"/>
                  </a:lnTo>
                  <a:lnTo>
                    <a:pt x="583" y="234"/>
                  </a:lnTo>
                  <a:lnTo>
                    <a:pt x="582" y="241"/>
                  </a:lnTo>
                  <a:lnTo>
                    <a:pt x="581" y="249"/>
                  </a:lnTo>
                  <a:lnTo>
                    <a:pt x="579" y="256"/>
                  </a:lnTo>
                  <a:lnTo>
                    <a:pt x="577" y="263"/>
                  </a:lnTo>
                  <a:lnTo>
                    <a:pt x="573" y="269"/>
                  </a:lnTo>
                  <a:lnTo>
                    <a:pt x="568" y="275"/>
                  </a:lnTo>
                  <a:lnTo>
                    <a:pt x="563" y="280"/>
                  </a:lnTo>
                  <a:lnTo>
                    <a:pt x="560" y="287"/>
                  </a:lnTo>
                  <a:lnTo>
                    <a:pt x="557" y="292"/>
                  </a:lnTo>
                  <a:lnTo>
                    <a:pt x="552" y="296"/>
                  </a:lnTo>
                  <a:lnTo>
                    <a:pt x="547" y="297"/>
                  </a:lnTo>
                  <a:lnTo>
                    <a:pt x="541" y="298"/>
                  </a:lnTo>
                  <a:lnTo>
                    <a:pt x="533" y="297"/>
                  </a:lnTo>
                  <a:lnTo>
                    <a:pt x="526" y="294"/>
                  </a:lnTo>
                  <a:lnTo>
                    <a:pt x="519" y="291"/>
                  </a:lnTo>
                  <a:lnTo>
                    <a:pt x="503" y="284"/>
                  </a:lnTo>
                  <a:lnTo>
                    <a:pt x="489" y="275"/>
                  </a:lnTo>
                  <a:lnTo>
                    <a:pt x="477" y="267"/>
                  </a:lnTo>
                  <a:lnTo>
                    <a:pt x="470" y="261"/>
                  </a:lnTo>
                  <a:lnTo>
                    <a:pt x="456" y="249"/>
                  </a:lnTo>
                  <a:lnTo>
                    <a:pt x="443" y="237"/>
                  </a:lnTo>
                  <a:lnTo>
                    <a:pt x="429" y="227"/>
                  </a:lnTo>
                  <a:lnTo>
                    <a:pt x="416" y="217"/>
                  </a:lnTo>
                  <a:lnTo>
                    <a:pt x="401" y="209"/>
                  </a:lnTo>
                  <a:lnTo>
                    <a:pt x="385" y="201"/>
                  </a:lnTo>
                  <a:lnTo>
                    <a:pt x="369" y="194"/>
                  </a:lnTo>
                  <a:lnTo>
                    <a:pt x="352" y="187"/>
                  </a:lnTo>
                  <a:lnTo>
                    <a:pt x="333" y="180"/>
                  </a:lnTo>
                  <a:lnTo>
                    <a:pt x="314" y="171"/>
                  </a:lnTo>
                  <a:lnTo>
                    <a:pt x="296" y="162"/>
                  </a:lnTo>
                  <a:lnTo>
                    <a:pt x="278" y="153"/>
                  </a:lnTo>
                  <a:lnTo>
                    <a:pt x="278" y="153"/>
                  </a:lnTo>
                  <a:lnTo>
                    <a:pt x="269" y="161"/>
                  </a:lnTo>
                  <a:lnTo>
                    <a:pt x="249" y="173"/>
                  </a:lnTo>
                  <a:lnTo>
                    <a:pt x="227" y="189"/>
                  </a:lnTo>
                  <a:lnTo>
                    <a:pt x="216" y="197"/>
                  </a:lnTo>
                  <a:lnTo>
                    <a:pt x="207" y="206"/>
                  </a:lnTo>
                  <a:lnTo>
                    <a:pt x="203" y="211"/>
                  </a:lnTo>
                  <a:lnTo>
                    <a:pt x="199" y="215"/>
                  </a:lnTo>
                  <a:lnTo>
                    <a:pt x="197" y="220"/>
                  </a:lnTo>
                  <a:lnTo>
                    <a:pt x="193" y="226"/>
                  </a:lnTo>
                  <a:lnTo>
                    <a:pt x="192" y="231"/>
                  </a:lnTo>
                  <a:lnTo>
                    <a:pt x="191" y="236"/>
                  </a:lnTo>
                  <a:lnTo>
                    <a:pt x="191" y="242"/>
                  </a:lnTo>
                  <a:lnTo>
                    <a:pt x="191" y="249"/>
                  </a:lnTo>
                  <a:lnTo>
                    <a:pt x="192" y="260"/>
                  </a:lnTo>
                  <a:lnTo>
                    <a:pt x="191" y="272"/>
                  </a:lnTo>
                  <a:lnTo>
                    <a:pt x="189" y="278"/>
                  </a:lnTo>
                  <a:lnTo>
                    <a:pt x="186" y="284"/>
                  </a:lnTo>
                  <a:lnTo>
                    <a:pt x="183" y="289"/>
                  </a:lnTo>
                  <a:lnTo>
                    <a:pt x="180" y="294"/>
                  </a:lnTo>
                  <a:lnTo>
                    <a:pt x="172" y="305"/>
                  </a:lnTo>
                  <a:lnTo>
                    <a:pt x="163" y="314"/>
                  </a:lnTo>
                  <a:lnTo>
                    <a:pt x="155" y="324"/>
                  </a:lnTo>
                  <a:lnTo>
                    <a:pt x="147" y="333"/>
                  </a:lnTo>
                  <a:lnTo>
                    <a:pt x="143" y="338"/>
                  </a:lnTo>
                  <a:lnTo>
                    <a:pt x="141" y="344"/>
                  </a:lnTo>
                  <a:lnTo>
                    <a:pt x="138" y="350"/>
                  </a:lnTo>
                  <a:lnTo>
                    <a:pt x="137" y="356"/>
                  </a:lnTo>
                  <a:lnTo>
                    <a:pt x="135" y="379"/>
                  </a:lnTo>
                  <a:lnTo>
                    <a:pt x="131" y="401"/>
                  </a:lnTo>
                  <a:lnTo>
                    <a:pt x="129" y="411"/>
                  </a:lnTo>
                  <a:lnTo>
                    <a:pt x="126" y="421"/>
                  </a:lnTo>
                  <a:lnTo>
                    <a:pt x="123" y="430"/>
                  </a:lnTo>
                  <a:lnTo>
                    <a:pt x="118" y="440"/>
                  </a:lnTo>
                  <a:lnTo>
                    <a:pt x="113" y="448"/>
                  </a:lnTo>
                  <a:lnTo>
                    <a:pt x="108" y="455"/>
                  </a:lnTo>
                  <a:lnTo>
                    <a:pt x="101" y="462"/>
                  </a:lnTo>
                  <a:lnTo>
                    <a:pt x="93" y="470"/>
                  </a:lnTo>
                  <a:lnTo>
                    <a:pt x="85" y="476"/>
                  </a:lnTo>
                  <a:lnTo>
                    <a:pt x="76" y="482"/>
                  </a:lnTo>
                  <a:lnTo>
                    <a:pt x="64" y="489"/>
                  </a:lnTo>
                  <a:lnTo>
                    <a:pt x="53" y="494"/>
                  </a:lnTo>
                  <a:lnTo>
                    <a:pt x="44" y="497"/>
                  </a:lnTo>
                  <a:lnTo>
                    <a:pt x="37" y="502"/>
                  </a:lnTo>
                  <a:lnTo>
                    <a:pt x="31" y="506"/>
                  </a:lnTo>
                  <a:lnTo>
                    <a:pt x="26" y="513"/>
                  </a:lnTo>
                  <a:lnTo>
                    <a:pt x="20" y="518"/>
                  </a:lnTo>
                  <a:lnTo>
                    <a:pt x="16" y="525"/>
                  </a:lnTo>
                  <a:lnTo>
                    <a:pt x="12" y="531"/>
                  </a:lnTo>
                  <a:lnTo>
                    <a:pt x="9" y="539"/>
                  </a:lnTo>
                  <a:lnTo>
                    <a:pt x="5" y="553"/>
                  </a:lnTo>
                  <a:lnTo>
                    <a:pt x="2" y="569"/>
                  </a:lnTo>
                  <a:lnTo>
                    <a:pt x="0" y="585"/>
                  </a:lnTo>
                  <a:lnTo>
                    <a:pt x="0" y="600"/>
                  </a:lnTo>
                  <a:lnTo>
                    <a:pt x="19" y="614"/>
                  </a:lnTo>
                  <a:lnTo>
                    <a:pt x="38" y="628"/>
                  </a:lnTo>
                  <a:lnTo>
                    <a:pt x="58" y="642"/>
                  </a:lnTo>
                  <a:lnTo>
                    <a:pt x="77" y="655"/>
                  </a:lnTo>
                  <a:lnTo>
                    <a:pt x="96" y="668"/>
                  </a:lnTo>
                  <a:lnTo>
                    <a:pt x="117" y="679"/>
                  </a:lnTo>
                  <a:lnTo>
                    <a:pt x="139" y="689"/>
                  </a:lnTo>
                  <a:lnTo>
                    <a:pt x="163" y="698"/>
                  </a:lnTo>
                  <a:lnTo>
                    <a:pt x="188" y="707"/>
                  </a:lnTo>
                  <a:lnTo>
                    <a:pt x="207" y="715"/>
                  </a:lnTo>
                  <a:lnTo>
                    <a:pt x="213" y="719"/>
                  </a:lnTo>
                  <a:lnTo>
                    <a:pt x="220" y="723"/>
                  </a:lnTo>
                  <a:lnTo>
                    <a:pt x="224" y="727"/>
                  </a:lnTo>
                  <a:lnTo>
                    <a:pt x="227" y="732"/>
                  </a:lnTo>
                  <a:lnTo>
                    <a:pt x="229" y="737"/>
                  </a:lnTo>
                  <a:lnTo>
                    <a:pt x="231" y="743"/>
                  </a:lnTo>
                  <a:lnTo>
                    <a:pt x="232" y="750"/>
                  </a:lnTo>
                  <a:lnTo>
                    <a:pt x="232" y="758"/>
                  </a:lnTo>
                  <a:lnTo>
                    <a:pt x="233" y="778"/>
                  </a:lnTo>
                  <a:lnTo>
                    <a:pt x="232" y="803"/>
                  </a:lnTo>
                  <a:lnTo>
                    <a:pt x="233" y="807"/>
                  </a:lnTo>
                  <a:lnTo>
                    <a:pt x="235" y="811"/>
                  </a:lnTo>
                  <a:lnTo>
                    <a:pt x="237" y="814"/>
                  </a:lnTo>
                  <a:lnTo>
                    <a:pt x="241" y="816"/>
                  </a:lnTo>
                  <a:lnTo>
                    <a:pt x="250" y="820"/>
                  </a:lnTo>
                  <a:lnTo>
                    <a:pt x="260" y="823"/>
                  </a:lnTo>
                  <a:lnTo>
                    <a:pt x="271" y="827"/>
                  </a:lnTo>
                  <a:lnTo>
                    <a:pt x="280" y="831"/>
                  </a:lnTo>
                  <a:lnTo>
                    <a:pt x="284" y="834"/>
                  </a:lnTo>
                  <a:lnTo>
                    <a:pt x="287" y="837"/>
                  </a:lnTo>
                  <a:lnTo>
                    <a:pt x="289" y="841"/>
                  </a:lnTo>
                  <a:lnTo>
                    <a:pt x="291" y="846"/>
                  </a:lnTo>
                  <a:lnTo>
                    <a:pt x="291" y="875"/>
                  </a:lnTo>
                  <a:lnTo>
                    <a:pt x="293" y="907"/>
                  </a:lnTo>
                  <a:lnTo>
                    <a:pt x="294" y="914"/>
                  </a:lnTo>
                  <a:lnTo>
                    <a:pt x="296" y="920"/>
                  </a:lnTo>
                  <a:lnTo>
                    <a:pt x="298" y="926"/>
                  </a:lnTo>
                  <a:lnTo>
                    <a:pt x="302" y="931"/>
                  </a:lnTo>
                  <a:lnTo>
                    <a:pt x="307" y="934"/>
                  </a:lnTo>
                  <a:lnTo>
                    <a:pt x="313" y="936"/>
                  </a:lnTo>
                  <a:lnTo>
                    <a:pt x="321" y="937"/>
                  </a:lnTo>
                  <a:lnTo>
                    <a:pt x="330" y="936"/>
                  </a:lnTo>
                  <a:lnTo>
                    <a:pt x="345" y="936"/>
                  </a:lnTo>
                  <a:lnTo>
                    <a:pt x="358" y="937"/>
                  </a:lnTo>
                  <a:lnTo>
                    <a:pt x="369" y="938"/>
                  </a:lnTo>
                  <a:lnTo>
                    <a:pt x="379" y="940"/>
                  </a:lnTo>
                  <a:lnTo>
                    <a:pt x="386" y="943"/>
                  </a:lnTo>
                  <a:lnTo>
                    <a:pt x="394" y="947"/>
                  </a:lnTo>
                  <a:lnTo>
                    <a:pt x="400" y="951"/>
                  </a:lnTo>
                  <a:lnTo>
                    <a:pt x="406" y="956"/>
                  </a:lnTo>
                  <a:lnTo>
                    <a:pt x="416" y="968"/>
                  </a:lnTo>
                  <a:lnTo>
                    <a:pt x="425" y="983"/>
                  </a:lnTo>
                  <a:lnTo>
                    <a:pt x="436" y="1002"/>
                  </a:lnTo>
                  <a:lnTo>
                    <a:pt x="450" y="1025"/>
                  </a:lnTo>
                  <a:lnTo>
                    <a:pt x="465" y="1044"/>
                  </a:lnTo>
                  <a:lnTo>
                    <a:pt x="479" y="1061"/>
                  </a:lnTo>
                  <a:lnTo>
                    <a:pt x="495" y="1078"/>
                  </a:lnTo>
                  <a:lnTo>
                    <a:pt x="509" y="1095"/>
                  </a:lnTo>
                  <a:lnTo>
                    <a:pt x="542" y="1126"/>
                  </a:lnTo>
                  <a:lnTo>
                    <a:pt x="573" y="1160"/>
                  </a:lnTo>
                  <a:lnTo>
                    <a:pt x="583" y="1174"/>
                  </a:lnTo>
                  <a:lnTo>
                    <a:pt x="592" y="1188"/>
                  </a:lnTo>
                  <a:lnTo>
                    <a:pt x="600" y="1201"/>
                  </a:lnTo>
                  <a:lnTo>
                    <a:pt x="606" y="1216"/>
                  </a:lnTo>
                  <a:lnTo>
                    <a:pt x="612" y="1230"/>
                  </a:lnTo>
                  <a:lnTo>
                    <a:pt x="617" y="1245"/>
                  </a:lnTo>
                  <a:lnTo>
                    <a:pt x="622" y="1262"/>
                  </a:lnTo>
                  <a:lnTo>
                    <a:pt x="626" y="1278"/>
                  </a:lnTo>
                  <a:lnTo>
                    <a:pt x="631" y="1299"/>
                  </a:lnTo>
                  <a:lnTo>
                    <a:pt x="637" y="1319"/>
                  </a:lnTo>
                  <a:lnTo>
                    <a:pt x="641" y="1338"/>
                  </a:lnTo>
                  <a:lnTo>
                    <a:pt x="644" y="1357"/>
                  </a:lnTo>
                  <a:lnTo>
                    <a:pt x="647" y="1376"/>
                  </a:lnTo>
                  <a:lnTo>
                    <a:pt x="648" y="1395"/>
                  </a:lnTo>
                  <a:lnTo>
                    <a:pt x="648" y="1415"/>
                  </a:lnTo>
                  <a:lnTo>
                    <a:pt x="646" y="1437"/>
                  </a:lnTo>
                  <a:lnTo>
                    <a:pt x="637" y="1447"/>
                  </a:lnTo>
                  <a:lnTo>
                    <a:pt x="624" y="1458"/>
                  </a:lnTo>
                  <a:lnTo>
                    <a:pt x="505" y="1567"/>
                  </a:lnTo>
                  <a:lnTo>
                    <a:pt x="505" y="1567"/>
                  </a:lnTo>
                  <a:lnTo>
                    <a:pt x="504" y="1581"/>
                  </a:lnTo>
                  <a:lnTo>
                    <a:pt x="502" y="1596"/>
                  </a:lnTo>
                  <a:lnTo>
                    <a:pt x="500" y="1614"/>
                  </a:lnTo>
                  <a:lnTo>
                    <a:pt x="496" y="1633"/>
                  </a:lnTo>
                  <a:lnTo>
                    <a:pt x="489" y="1675"/>
                  </a:lnTo>
                  <a:lnTo>
                    <a:pt x="481" y="1719"/>
                  </a:lnTo>
                  <a:lnTo>
                    <a:pt x="479" y="1739"/>
                  </a:lnTo>
                  <a:lnTo>
                    <a:pt x="478" y="1760"/>
                  </a:lnTo>
                  <a:lnTo>
                    <a:pt x="477" y="1781"/>
                  </a:lnTo>
                  <a:lnTo>
                    <a:pt x="479" y="1800"/>
                  </a:lnTo>
                  <a:lnTo>
                    <a:pt x="480" y="1808"/>
                  </a:lnTo>
                  <a:lnTo>
                    <a:pt x="482" y="1818"/>
                  </a:lnTo>
                  <a:lnTo>
                    <a:pt x="484" y="1825"/>
                  </a:lnTo>
                  <a:lnTo>
                    <a:pt x="487" y="1832"/>
                  </a:lnTo>
                  <a:lnTo>
                    <a:pt x="491" y="1840"/>
                  </a:lnTo>
                  <a:lnTo>
                    <a:pt x="495" y="1846"/>
                  </a:lnTo>
                  <a:lnTo>
                    <a:pt x="500" y="1851"/>
                  </a:lnTo>
                  <a:lnTo>
                    <a:pt x="505" y="1856"/>
                  </a:lnTo>
                  <a:lnTo>
                    <a:pt x="511" y="1860"/>
                  </a:lnTo>
                  <a:lnTo>
                    <a:pt x="517" y="1864"/>
                  </a:lnTo>
                  <a:lnTo>
                    <a:pt x="522" y="1866"/>
                  </a:lnTo>
                  <a:lnTo>
                    <a:pt x="528" y="1867"/>
                  </a:lnTo>
                  <a:lnTo>
                    <a:pt x="539" y="1868"/>
                  </a:lnTo>
                  <a:lnTo>
                    <a:pt x="549" y="1868"/>
                  </a:lnTo>
                  <a:lnTo>
                    <a:pt x="571" y="1865"/>
                  </a:lnTo>
                  <a:lnTo>
                    <a:pt x="595" y="1861"/>
                  </a:lnTo>
                  <a:lnTo>
                    <a:pt x="602" y="1863"/>
                  </a:lnTo>
                  <a:lnTo>
                    <a:pt x="608" y="1865"/>
                  </a:lnTo>
                  <a:lnTo>
                    <a:pt x="614" y="1868"/>
                  </a:lnTo>
                  <a:lnTo>
                    <a:pt x="619" y="1872"/>
                  </a:lnTo>
                  <a:lnTo>
                    <a:pt x="626" y="1881"/>
                  </a:lnTo>
                  <a:lnTo>
                    <a:pt x="633" y="1890"/>
                  </a:lnTo>
                  <a:lnTo>
                    <a:pt x="638" y="1894"/>
                  </a:lnTo>
                  <a:lnTo>
                    <a:pt x="641" y="1897"/>
                  </a:lnTo>
                  <a:lnTo>
                    <a:pt x="645" y="1900"/>
                  </a:lnTo>
                  <a:lnTo>
                    <a:pt x="650" y="1901"/>
                  </a:lnTo>
                  <a:lnTo>
                    <a:pt x="655" y="1900"/>
                  </a:lnTo>
                  <a:lnTo>
                    <a:pt x="662" y="1898"/>
                  </a:lnTo>
                  <a:lnTo>
                    <a:pt x="668" y="1894"/>
                  </a:lnTo>
                  <a:lnTo>
                    <a:pt x="676" y="1886"/>
                  </a:lnTo>
                  <a:lnTo>
                    <a:pt x="684" y="1880"/>
                  </a:lnTo>
                  <a:lnTo>
                    <a:pt x="691" y="1876"/>
                  </a:lnTo>
                  <a:lnTo>
                    <a:pt x="697" y="1873"/>
                  </a:lnTo>
                  <a:lnTo>
                    <a:pt x="703" y="1872"/>
                  </a:lnTo>
                  <a:lnTo>
                    <a:pt x="709" y="1873"/>
                  </a:lnTo>
                  <a:lnTo>
                    <a:pt x="713" y="1875"/>
                  </a:lnTo>
                  <a:lnTo>
                    <a:pt x="717" y="1878"/>
                  </a:lnTo>
                  <a:lnTo>
                    <a:pt x="720" y="1882"/>
                  </a:lnTo>
                  <a:lnTo>
                    <a:pt x="723" y="1888"/>
                  </a:lnTo>
                  <a:lnTo>
                    <a:pt x="725" y="1894"/>
                  </a:lnTo>
                  <a:lnTo>
                    <a:pt x="727" y="1900"/>
                  </a:lnTo>
                  <a:lnTo>
                    <a:pt x="728" y="1907"/>
                  </a:lnTo>
                  <a:lnTo>
                    <a:pt x="730" y="1923"/>
                  </a:lnTo>
                  <a:lnTo>
                    <a:pt x="731" y="1939"/>
                  </a:lnTo>
                  <a:lnTo>
                    <a:pt x="735" y="1947"/>
                  </a:lnTo>
                  <a:lnTo>
                    <a:pt x="738" y="1954"/>
                  </a:lnTo>
                  <a:lnTo>
                    <a:pt x="742" y="1961"/>
                  </a:lnTo>
                  <a:lnTo>
                    <a:pt x="745" y="1966"/>
                  </a:lnTo>
                  <a:lnTo>
                    <a:pt x="750" y="1971"/>
                  </a:lnTo>
                  <a:lnTo>
                    <a:pt x="754" y="1975"/>
                  </a:lnTo>
                  <a:lnTo>
                    <a:pt x="760" y="1979"/>
                  </a:lnTo>
                  <a:lnTo>
                    <a:pt x="766" y="1982"/>
                  </a:lnTo>
                  <a:lnTo>
                    <a:pt x="771" y="1985"/>
                  </a:lnTo>
                  <a:lnTo>
                    <a:pt x="777" y="1987"/>
                  </a:lnTo>
                  <a:lnTo>
                    <a:pt x="785" y="1988"/>
                  </a:lnTo>
                  <a:lnTo>
                    <a:pt x="791" y="1988"/>
                  </a:lnTo>
                  <a:lnTo>
                    <a:pt x="805" y="1988"/>
                  </a:lnTo>
                  <a:lnTo>
                    <a:pt x="821" y="1985"/>
                  </a:lnTo>
                  <a:lnTo>
                    <a:pt x="847" y="1977"/>
                  </a:lnTo>
                  <a:lnTo>
                    <a:pt x="865" y="1974"/>
                  </a:lnTo>
                  <a:lnTo>
                    <a:pt x="868" y="1974"/>
                  </a:lnTo>
                  <a:lnTo>
                    <a:pt x="872" y="1975"/>
                  </a:lnTo>
                  <a:lnTo>
                    <a:pt x="875" y="1977"/>
                  </a:lnTo>
                  <a:lnTo>
                    <a:pt x="878" y="1980"/>
                  </a:lnTo>
                  <a:lnTo>
                    <a:pt x="882" y="1984"/>
                  </a:lnTo>
                  <a:lnTo>
                    <a:pt x="884" y="1988"/>
                  </a:lnTo>
                  <a:lnTo>
                    <a:pt x="887" y="1994"/>
                  </a:lnTo>
                  <a:lnTo>
                    <a:pt x="890" y="2000"/>
                  </a:lnTo>
                  <a:lnTo>
                    <a:pt x="898" y="2022"/>
                  </a:lnTo>
                  <a:lnTo>
                    <a:pt x="910" y="2046"/>
                  </a:lnTo>
                  <a:lnTo>
                    <a:pt x="916" y="2058"/>
                  </a:lnTo>
                  <a:lnTo>
                    <a:pt x="922" y="2070"/>
                  </a:lnTo>
                  <a:lnTo>
                    <a:pt x="930" y="2082"/>
                  </a:lnTo>
                  <a:lnTo>
                    <a:pt x="938" y="2092"/>
                  </a:lnTo>
                  <a:lnTo>
                    <a:pt x="946" y="2102"/>
                  </a:lnTo>
                  <a:lnTo>
                    <a:pt x="956" y="2113"/>
                  </a:lnTo>
                  <a:lnTo>
                    <a:pt x="965" y="2121"/>
                  </a:lnTo>
                  <a:lnTo>
                    <a:pt x="975" y="2129"/>
                  </a:lnTo>
                  <a:lnTo>
                    <a:pt x="986" y="2135"/>
                  </a:lnTo>
                  <a:lnTo>
                    <a:pt x="997" y="2139"/>
                  </a:lnTo>
                  <a:lnTo>
                    <a:pt x="1010" y="2142"/>
                  </a:lnTo>
                  <a:lnTo>
                    <a:pt x="1022" y="2143"/>
                  </a:lnTo>
                  <a:lnTo>
                    <a:pt x="1045" y="2141"/>
                  </a:lnTo>
                  <a:lnTo>
                    <a:pt x="1079" y="2135"/>
                  </a:lnTo>
                  <a:lnTo>
                    <a:pt x="1098" y="2131"/>
                  </a:lnTo>
                  <a:lnTo>
                    <a:pt x="1118" y="2127"/>
                  </a:lnTo>
                  <a:lnTo>
                    <a:pt x="1139" y="2125"/>
                  </a:lnTo>
                  <a:lnTo>
                    <a:pt x="1159" y="2123"/>
                  </a:lnTo>
                  <a:lnTo>
                    <a:pt x="1159" y="2123"/>
                  </a:lnTo>
                  <a:lnTo>
                    <a:pt x="1155" y="2105"/>
                  </a:lnTo>
                  <a:lnTo>
                    <a:pt x="1153" y="2089"/>
                  </a:lnTo>
                  <a:lnTo>
                    <a:pt x="1153" y="2074"/>
                  </a:lnTo>
                  <a:lnTo>
                    <a:pt x="1154" y="2062"/>
                  </a:lnTo>
                  <a:lnTo>
                    <a:pt x="1157" y="2050"/>
                  </a:lnTo>
                  <a:lnTo>
                    <a:pt x="1161" y="2041"/>
                  </a:lnTo>
                  <a:lnTo>
                    <a:pt x="1166" y="2032"/>
                  </a:lnTo>
                  <a:lnTo>
                    <a:pt x="1174" y="2024"/>
                  </a:lnTo>
                  <a:lnTo>
                    <a:pt x="1182" y="2017"/>
                  </a:lnTo>
                  <a:lnTo>
                    <a:pt x="1192" y="2011"/>
                  </a:lnTo>
                  <a:lnTo>
                    <a:pt x="1203" y="2004"/>
                  </a:lnTo>
                  <a:lnTo>
                    <a:pt x="1216" y="1998"/>
                  </a:lnTo>
                  <a:lnTo>
                    <a:pt x="1245" y="1986"/>
                  </a:lnTo>
                  <a:lnTo>
                    <a:pt x="1280" y="1971"/>
                  </a:lnTo>
                  <a:lnTo>
                    <a:pt x="1289" y="1966"/>
                  </a:lnTo>
                  <a:lnTo>
                    <a:pt x="1297" y="1960"/>
                  </a:lnTo>
                  <a:lnTo>
                    <a:pt x="1303" y="1953"/>
                  </a:lnTo>
                  <a:lnTo>
                    <a:pt x="1308" y="1946"/>
                  </a:lnTo>
                  <a:lnTo>
                    <a:pt x="1312" y="1938"/>
                  </a:lnTo>
                  <a:lnTo>
                    <a:pt x="1315" y="1929"/>
                  </a:lnTo>
                  <a:lnTo>
                    <a:pt x="1318" y="1920"/>
                  </a:lnTo>
                  <a:lnTo>
                    <a:pt x="1321" y="1910"/>
                  </a:lnTo>
                  <a:lnTo>
                    <a:pt x="1324" y="1892"/>
                  </a:lnTo>
                  <a:lnTo>
                    <a:pt x="1328" y="1872"/>
                  </a:lnTo>
                  <a:lnTo>
                    <a:pt x="1330" y="1863"/>
                  </a:lnTo>
                  <a:lnTo>
                    <a:pt x="1333" y="1853"/>
                  </a:lnTo>
                  <a:lnTo>
                    <a:pt x="1337" y="1845"/>
                  </a:lnTo>
                  <a:lnTo>
                    <a:pt x="1342" y="1836"/>
                  </a:lnTo>
                  <a:lnTo>
                    <a:pt x="1346" y="1831"/>
                  </a:lnTo>
                  <a:lnTo>
                    <a:pt x="1351" y="1829"/>
                  </a:lnTo>
                  <a:lnTo>
                    <a:pt x="1357" y="1827"/>
                  </a:lnTo>
                  <a:lnTo>
                    <a:pt x="1363" y="1826"/>
                  </a:lnTo>
                  <a:lnTo>
                    <a:pt x="1379" y="1825"/>
                  </a:lnTo>
                  <a:lnTo>
                    <a:pt x="1397" y="1827"/>
                  </a:lnTo>
                  <a:lnTo>
                    <a:pt x="1413" y="1829"/>
                  </a:lnTo>
                  <a:lnTo>
                    <a:pt x="1430" y="1832"/>
                  </a:lnTo>
                  <a:lnTo>
                    <a:pt x="1438" y="1832"/>
                  </a:lnTo>
                  <a:lnTo>
                    <a:pt x="1446" y="1833"/>
                  </a:lnTo>
                  <a:lnTo>
                    <a:pt x="1451" y="1832"/>
                  </a:lnTo>
                  <a:lnTo>
                    <a:pt x="1456" y="1831"/>
                  </a:lnTo>
                  <a:lnTo>
                    <a:pt x="1463" y="1828"/>
                  </a:lnTo>
                  <a:lnTo>
                    <a:pt x="1471" y="1823"/>
                  </a:lnTo>
                  <a:lnTo>
                    <a:pt x="1477" y="1816"/>
                  </a:lnTo>
                  <a:lnTo>
                    <a:pt x="1483" y="1807"/>
                  </a:lnTo>
                  <a:lnTo>
                    <a:pt x="1496" y="1785"/>
                  </a:lnTo>
                  <a:lnTo>
                    <a:pt x="1507" y="1760"/>
                  </a:lnTo>
                  <a:lnTo>
                    <a:pt x="1519" y="1735"/>
                  </a:lnTo>
                  <a:lnTo>
                    <a:pt x="1529" y="1710"/>
                  </a:lnTo>
                  <a:lnTo>
                    <a:pt x="1535" y="1699"/>
                  </a:lnTo>
                  <a:lnTo>
                    <a:pt x="1541" y="1688"/>
                  </a:lnTo>
                  <a:lnTo>
                    <a:pt x="1546" y="1679"/>
                  </a:lnTo>
                  <a:lnTo>
                    <a:pt x="1552" y="1672"/>
                  </a:lnTo>
                  <a:lnTo>
                    <a:pt x="1568" y="1653"/>
                  </a:lnTo>
                  <a:lnTo>
                    <a:pt x="1585" y="1633"/>
                  </a:lnTo>
                  <a:lnTo>
                    <a:pt x="1596" y="1625"/>
                  </a:lnTo>
                  <a:lnTo>
                    <a:pt x="1606" y="1617"/>
                  </a:lnTo>
                  <a:lnTo>
                    <a:pt x="1611" y="1615"/>
                  </a:lnTo>
                  <a:lnTo>
                    <a:pt x="1618" y="1614"/>
                  </a:lnTo>
                  <a:lnTo>
                    <a:pt x="1623" y="1613"/>
                  </a:lnTo>
                  <a:lnTo>
                    <a:pt x="1629" y="1613"/>
                  </a:lnTo>
                  <a:lnTo>
                    <a:pt x="1644" y="1615"/>
                  </a:lnTo>
                  <a:lnTo>
                    <a:pt x="1658" y="1616"/>
                  </a:lnTo>
                  <a:lnTo>
                    <a:pt x="1673" y="1617"/>
                  </a:lnTo>
                  <a:lnTo>
                    <a:pt x="1688" y="1617"/>
                  </a:lnTo>
                  <a:lnTo>
                    <a:pt x="1694" y="1616"/>
                  </a:lnTo>
                  <a:lnTo>
                    <a:pt x="1701" y="1615"/>
                  </a:lnTo>
                  <a:lnTo>
                    <a:pt x="1708" y="1614"/>
                  </a:lnTo>
                  <a:lnTo>
                    <a:pt x="1715" y="1612"/>
                  </a:lnTo>
                  <a:lnTo>
                    <a:pt x="1722" y="1609"/>
                  </a:lnTo>
                  <a:lnTo>
                    <a:pt x="1728" y="1606"/>
                  </a:lnTo>
                  <a:lnTo>
                    <a:pt x="1734" y="1601"/>
                  </a:lnTo>
                  <a:lnTo>
                    <a:pt x="1741" y="1596"/>
                  </a:lnTo>
                  <a:lnTo>
                    <a:pt x="1755" y="1588"/>
                  </a:lnTo>
                  <a:lnTo>
                    <a:pt x="1768" y="1582"/>
                  </a:lnTo>
                  <a:lnTo>
                    <a:pt x="1780" y="1577"/>
                  </a:lnTo>
                  <a:lnTo>
                    <a:pt x="1792" y="1574"/>
                  </a:lnTo>
                  <a:lnTo>
                    <a:pt x="1804" y="1570"/>
                  </a:lnTo>
                  <a:lnTo>
                    <a:pt x="1818" y="1568"/>
                  </a:lnTo>
                  <a:lnTo>
                    <a:pt x="1833" y="1567"/>
                  </a:lnTo>
                  <a:lnTo>
                    <a:pt x="1849" y="1566"/>
                  </a:lnTo>
                  <a:lnTo>
                    <a:pt x="1858" y="1566"/>
                  </a:lnTo>
                  <a:lnTo>
                    <a:pt x="1868" y="1565"/>
                  </a:lnTo>
                  <a:lnTo>
                    <a:pt x="1877" y="1563"/>
                  </a:lnTo>
                  <a:lnTo>
                    <a:pt x="1888" y="1561"/>
                  </a:lnTo>
                  <a:lnTo>
                    <a:pt x="1907" y="1556"/>
                  </a:lnTo>
                  <a:lnTo>
                    <a:pt x="1924" y="1550"/>
                  </a:lnTo>
                  <a:lnTo>
                    <a:pt x="1940" y="1543"/>
                  </a:lnTo>
                  <a:lnTo>
                    <a:pt x="1957" y="1535"/>
                  </a:lnTo>
                  <a:lnTo>
                    <a:pt x="1965" y="1532"/>
                  </a:lnTo>
                  <a:lnTo>
                    <a:pt x="1973" y="1529"/>
                  </a:lnTo>
                  <a:lnTo>
                    <a:pt x="1981" y="1527"/>
                  </a:lnTo>
                  <a:lnTo>
                    <a:pt x="1989" y="1527"/>
                  </a:lnTo>
                  <a:lnTo>
                    <a:pt x="1995" y="1533"/>
                  </a:lnTo>
                  <a:lnTo>
                    <a:pt x="2002" y="1541"/>
                  </a:lnTo>
                  <a:lnTo>
                    <a:pt x="2010" y="1550"/>
                  </a:lnTo>
                  <a:lnTo>
                    <a:pt x="2017" y="1559"/>
                  </a:lnTo>
                  <a:lnTo>
                    <a:pt x="2031" y="1579"/>
                  </a:lnTo>
                  <a:lnTo>
                    <a:pt x="2043" y="1595"/>
                  </a:lnTo>
                  <a:lnTo>
                    <a:pt x="2057" y="1608"/>
                  </a:lnTo>
                  <a:lnTo>
                    <a:pt x="2067" y="1616"/>
                  </a:lnTo>
                  <a:lnTo>
                    <a:pt x="2071" y="1619"/>
                  </a:lnTo>
                  <a:lnTo>
                    <a:pt x="2076" y="1620"/>
                  </a:lnTo>
                  <a:lnTo>
                    <a:pt x="2081" y="1622"/>
                  </a:lnTo>
                  <a:lnTo>
                    <a:pt x="2086" y="1622"/>
                  </a:lnTo>
                  <a:lnTo>
                    <a:pt x="2095" y="1620"/>
                  </a:lnTo>
                  <a:lnTo>
                    <a:pt x="2107" y="1616"/>
                  </a:lnTo>
                  <a:lnTo>
                    <a:pt x="2120" y="1612"/>
                  </a:lnTo>
                  <a:lnTo>
                    <a:pt x="2138" y="1606"/>
                  </a:lnTo>
                  <a:lnTo>
                    <a:pt x="2144" y="1603"/>
                  </a:lnTo>
                  <a:lnTo>
                    <a:pt x="2151" y="1599"/>
                  </a:lnTo>
                  <a:lnTo>
                    <a:pt x="2157" y="1594"/>
                  </a:lnTo>
                  <a:lnTo>
                    <a:pt x="2162" y="1590"/>
                  </a:lnTo>
                  <a:lnTo>
                    <a:pt x="2172" y="1580"/>
                  </a:lnTo>
                  <a:lnTo>
                    <a:pt x="2182" y="1571"/>
                  </a:lnTo>
                  <a:lnTo>
                    <a:pt x="2187" y="1566"/>
                  </a:lnTo>
                  <a:lnTo>
                    <a:pt x="2192" y="1563"/>
                  </a:lnTo>
                  <a:lnTo>
                    <a:pt x="2197" y="1560"/>
                  </a:lnTo>
                  <a:lnTo>
                    <a:pt x="2203" y="1557"/>
                  </a:lnTo>
                  <a:lnTo>
                    <a:pt x="2209" y="1556"/>
                  </a:lnTo>
                  <a:lnTo>
                    <a:pt x="2215" y="1555"/>
                  </a:lnTo>
                  <a:lnTo>
                    <a:pt x="2222" y="1555"/>
                  </a:lnTo>
                  <a:lnTo>
                    <a:pt x="2231" y="1557"/>
                  </a:lnTo>
                  <a:lnTo>
                    <a:pt x="2234" y="1562"/>
                  </a:lnTo>
                  <a:lnTo>
                    <a:pt x="2238" y="1566"/>
                  </a:lnTo>
                  <a:lnTo>
                    <a:pt x="2241" y="1569"/>
                  </a:lnTo>
                  <a:lnTo>
                    <a:pt x="2245" y="1572"/>
                  </a:lnTo>
                  <a:lnTo>
                    <a:pt x="2250" y="1575"/>
                  </a:lnTo>
                  <a:lnTo>
                    <a:pt x="2255" y="1576"/>
                  </a:lnTo>
                  <a:lnTo>
                    <a:pt x="2259" y="1577"/>
                  </a:lnTo>
                  <a:lnTo>
                    <a:pt x="2264" y="1577"/>
                  </a:lnTo>
                  <a:lnTo>
                    <a:pt x="2274" y="1576"/>
                  </a:lnTo>
                  <a:lnTo>
                    <a:pt x="2284" y="1572"/>
                  </a:lnTo>
                  <a:lnTo>
                    <a:pt x="2293" y="1567"/>
                  </a:lnTo>
                  <a:lnTo>
                    <a:pt x="2303" y="1561"/>
                  </a:lnTo>
                  <a:lnTo>
                    <a:pt x="2312" y="1554"/>
                  </a:lnTo>
                  <a:lnTo>
                    <a:pt x="2320" y="1546"/>
                  </a:lnTo>
                  <a:lnTo>
                    <a:pt x="2328" y="1537"/>
                  </a:lnTo>
                  <a:lnTo>
                    <a:pt x="2334" y="1529"/>
                  </a:lnTo>
                  <a:lnTo>
                    <a:pt x="2339" y="1520"/>
                  </a:lnTo>
                  <a:lnTo>
                    <a:pt x="2342" y="1512"/>
                  </a:lnTo>
                  <a:lnTo>
                    <a:pt x="2343" y="1505"/>
                  </a:lnTo>
                  <a:lnTo>
                    <a:pt x="2343" y="1497"/>
                  </a:lnTo>
                  <a:lnTo>
                    <a:pt x="2340" y="1492"/>
                  </a:lnTo>
                  <a:lnTo>
                    <a:pt x="2336" y="1487"/>
                  </a:lnTo>
                  <a:lnTo>
                    <a:pt x="2331" y="1482"/>
                  </a:lnTo>
                  <a:lnTo>
                    <a:pt x="2325" y="1478"/>
                  </a:lnTo>
                  <a:lnTo>
                    <a:pt x="2308" y="1469"/>
                  </a:lnTo>
                  <a:lnTo>
                    <a:pt x="2289" y="1462"/>
                  </a:lnTo>
                  <a:lnTo>
                    <a:pt x="2270" y="1455"/>
                  </a:lnTo>
                  <a:lnTo>
                    <a:pt x="2252" y="1445"/>
                  </a:lnTo>
                  <a:lnTo>
                    <a:pt x="2243" y="1441"/>
                  </a:lnTo>
                  <a:lnTo>
                    <a:pt x="2236" y="1436"/>
                  </a:lnTo>
                  <a:lnTo>
                    <a:pt x="2230" y="1431"/>
                  </a:lnTo>
                  <a:lnTo>
                    <a:pt x="2225" y="1424"/>
                  </a:lnTo>
                  <a:lnTo>
                    <a:pt x="2222" y="1420"/>
                  </a:lnTo>
                  <a:lnTo>
                    <a:pt x="2220" y="1415"/>
                  </a:lnTo>
                  <a:lnTo>
                    <a:pt x="2218" y="1410"/>
                  </a:lnTo>
                  <a:lnTo>
                    <a:pt x="2217" y="1403"/>
                  </a:lnTo>
                  <a:lnTo>
                    <a:pt x="2216" y="1390"/>
                  </a:lnTo>
                  <a:lnTo>
                    <a:pt x="2216" y="1375"/>
                  </a:lnTo>
                  <a:lnTo>
                    <a:pt x="2217" y="1362"/>
                  </a:lnTo>
                  <a:lnTo>
                    <a:pt x="2220" y="1348"/>
                  </a:lnTo>
                  <a:lnTo>
                    <a:pt x="2222" y="1343"/>
                  </a:lnTo>
                  <a:lnTo>
                    <a:pt x="2226" y="1338"/>
                  </a:lnTo>
                  <a:lnTo>
                    <a:pt x="2228" y="1333"/>
                  </a:lnTo>
                  <a:lnTo>
                    <a:pt x="2232" y="1328"/>
                  </a:lnTo>
                  <a:lnTo>
                    <a:pt x="2236" y="1326"/>
                  </a:lnTo>
                  <a:lnTo>
                    <a:pt x="2242" y="1324"/>
                  </a:lnTo>
                  <a:lnTo>
                    <a:pt x="2251" y="1324"/>
                  </a:lnTo>
                  <a:lnTo>
                    <a:pt x="2260" y="1325"/>
                  </a:lnTo>
                  <a:lnTo>
                    <a:pt x="2283" y="1329"/>
                  </a:lnTo>
                  <a:lnTo>
                    <a:pt x="2307" y="1336"/>
                  </a:lnTo>
                  <a:lnTo>
                    <a:pt x="2333" y="1343"/>
                  </a:lnTo>
                  <a:lnTo>
                    <a:pt x="2359" y="1349"/>
                  </a:lnTo>
                  <a:lnTo>
                    <a:pt x="2371" y="1351"/>
                  </a:lnTo>
                  <a:lnTo>
                    <a:pt x="2382" y="1352"/>
                  </a:lnTo>
                  <a:lnTo>
                    <a:pt x="2392" y="1352"/>
                  </a:lnTo>
                  <a:lnTo>
                    <a:pt x="2401" y="1351"/>
                  </a:lnTo>
                  <a:lnTo>
                    <a:pt x="2411" y="1349"/>
                  </a:lnTo>
                  <a:lnTo>
                    <a:pt x="2422" y="1344"/>
                  </a:lnTo>
                  <a:lnTo>
                    <a:pt x="2432" y="1338"/>
                  </a:lnTo>
                  <a:lnTo>
                    <a:pt x="2441" y="1330"/>
                  </a:lnTo>
                  <a:lnTo>
                    <a:pt x="2460" y="1314"/>
                  </a:lnTo>
                  <a:lnTo>
                    <a:pt x="2479" y="1295"/>
                  </a:lnTo>
                  <a:lnTo>
                    <a:pt x="2498" y="1277"/>
                  </a:lnTo>
                  <a:lnTo>
                    <a:pt x="2515" y="1263"/>
                  </a:lnTo>
                  <a:lnTo>
                    <a:pt x="2524" y="1256"/>
                  </a:lnTo>
                  <a:lnTo>
                    <a:pt x="2533" y="1251"/>
                  </a:lnTo>
                  <a:lnTo>
                    <a:pt x="2542" y="1249"/>
                  </a:lnTo>
                  <a:lnTo>
                    <a:pt x="2550" y="1248"/>
                  </a:lnTo>
                  <a:lnTo>
                    <a:pt x="2557" y="1253"/>
                  </a:lnTo>
                  <a:lnTo>
                    <a:pt x="2564" y="1258"/>
                  </a:lnTo>
                  <a:lnTo>
                    <a:pt x="2572" y="1264"/>
                  </a:lnTo>
                  <a:lnTo>
                    <a:pt x="2580" y="1269"/>
                  </a:lnTo>
                  <a:lnTo>
                    <a:pt x="2597" y="1277"/>
                  </a:lnTo>
                  <a:lnTo>
                    <a:pt x="2614" y="1286"/>
                  </a:lnTo>
                  <a:lnTo>
                    <a:pt x="2632" y="1293"/>
                  </a:lnTo>
                  <a:lnTo>
                    <a:pt x="2648" y="1302"/>
                  </a:lnTo>
                  <a:lnTo>
                    <a:pt x="2655" y="1306"/>
                  </a:lnTo>
                  <a:lnTo>
                    <a:pt x="2662" y="1312"/>
                  </a:lnTo>
                  <a:lnTo>
                    <a:pt x="2668" y="1318"/>
                  </a:lnTo>
                  <a:lnTo>
                    <a:pt x="2673" y="1324"/>
                  </a:lnTo>
                  <a:lnTo>
                    <a:pt x="2680" y="1324"/>
                  </a:lnTo>
                  <a:lnTo>
                    <a:pt x="2685" y="1324"/>
                  </a:lnTo>
                  <a:lnTo>
                    <a:pt x="2691" y="1323"/>
                  </a:lnTo>
                  <a:lnTo>
                    <a:pt x="2695" y="1321"/>
                  </a:lnTo>
                  <a:lnTo>
                    <a:pt x="2699" y="1319"/>
                  </a:lnTo>
                  <a:lnTo>
                    <a:pt x="2702" y="1316"/>
                  </a:lnTo>
                  <a:lnTo>
                    <a:pt x="2704" y="1313"/>
                  </a:lnTo>
                  <a:lnTo>
                    <a:pt x="2706" y="1309"/>
                  </a:lnTo>
                  <a:lnTo>
                    <a:pt x="2707" y="1298"/>
                  </a:lnTo>
                  <a:lnTo>
                    <a:pt x="2708" y="1288"/>
                  </a:lnTo>
                  <a:lnTo>
                    <a:pt x="2707" y="1275"/>
                  </a:lnTo>
                  <a:lnTo>
                    <a:pt x="2705" y="1262"/>
                  </a:lnTo>
                  <a:lnTo>
                    <a:pt x="2700" y="1232"/>
                  </a:lnTo>
                  <a:lnTo>
                    <a:pt x="2696" y="1204"/>
                  </a:lnTo>
                  <a:lnTo>
                    <a:pt x="2695" y="1191"/>
                  </a:lnTo>
                  <a:lnTo>
                    <a:pt x="2695" y="1178"/>
                  </a:lnTo>
                  <a:lnTo>
                    <a:pt x="2696" y="1172"/>
                  </a:lnTo>
                  <a:lnTo>
                    <a:pt x="2698" y="1167"/>
                  </a:lnTo>
                  <a:lnTo>
                    <a:pt x="2700" y="1161"/>
                  </a:lnTo>
                  <a:lnTo>
                    <a:pt x="2702" y="1157"/>
                  </a:lnTo>
                  <a:lnTo>
                    <a:pt x="2705" y="1154"/>
                  </a:lnTo>
                  <a:lnTo>
                    <a:pt x="2709" y="1152"/>
                  </a:lnTo>
                  <a:lnTo>
                    <a:pt x="2714" y="1151"/>
                  </a:lnTo>
                  <a:lnTo>
                    <a:pt x="2719" y="1151"/>
                  </a:lnTo>
                  <a:lnTo>
                    <a:pt x="2731" y="1151"/>
                  </a:lnTo>
                  <a:lnTo>
                    <a:pt x="2745" y="1152"/>
                  </a:lnTo>
                  <a:lnTo>
                    <a:pt x="2759" y="1153"/>
                  </a:lnTo>
                  <a:lnTo>
                    <a:pt x="2774" y="1153"/>
                  </a:lnTo>
                  <a:lnTo>
                    <a:pt x="2780" y="1153"/>
                  </a:lnTo>
                  <a:lnTo>
                    <a:pt x="2787" y="1152"/>
                  </a:lnTo>
                  <a:lnTo>
                    <a:pt x="2792" y="1150"/>
                  </a:lnTo>
                  <a:lnTo>
                    <a:pt x="2797" y="1147"/>
                  </a:lnTo>
                  <a:lnTo>
                    <a:pt x="2804" y="1142"/>
                  </a:lnTo>
                  <a:lnTo>
                    <a:pt x="2808" y="1135"/>
                  </a:lnTo>
                  <a:lnTo>
                    <a:pt x="2813" y="1130"/>
                  </a:lnTo>
                  <a:lnTo>
                    <a:pt x="2815" y="1124"/>
                  </a:lnTo>
                  <a:lnTo>
                    <a:pt x="2816" y="1118"/>
                  </a:lnTo>
                  <a:lnTo>
                    <a:pt x="2817" y="1112"/>
                  </a:lnTo>
                  <a:lnTo>
                    <a:pt x="2817" y="1106"/>
                  </a:lnTo>
                  <a:lnTo>
                    <a:pt x="2816" y="1100"/>
                  </a:lnTo>
                  <a:lnTo>
                    <a:pt x="2815" y="1088"/>
                  </a:lnTo>
                  <a:lnTo>
                    <a:pt x="2814" y="1076"/>
                  </a:lnTo>
                  <a:lnTo>
                    <a:pt x="2815" y="1071"/>
                  </a:lnTo>
                  <a:lnTo>
                    <a:pt x="2816" y="1064"/>
                  </a:lnTo>
                  <a:lnTo>
                    <a:pt x="2818" y="1059"/>
                  </a:lnTo>
                  <a:lnTo>
                    <a:pt x="2822" y="1054"/>
                  </a:lnTo>
                  <a:lnTo>
                    <a:pt x="2857" y="1004"/>
                  </a:lnTo>
                  <a:lnTo>
                    <a:pt x="2857" y="10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1" name="Freeform 158">
              <a:extLst>
                <a:ext uri="{FF2B5EF4-FFF2-40B4-BE49-F238E27FC236}">
                  <a16:creationId xmlns:a16="http://schemas.microsoft.com/office/drawing/2014/main" id="{94891250-2555-4EA3-8B24-FFF312E0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090" y="5831152"/>
              <a:ext cx="717474" cy="520197"/>
            </a:xfrm>
            <a:custGeom>
              <a:avLst/>
              <a:gdLst>
                <a:gd name="T0" fmla="*/ 2740 w 2857"/>
                <a:gd name="T1" fmla="*/ 1003 h 2143"/>
                <a:gd name="T2" fmla="*/ 2597 w 2857"/>
                <a:gd name="T3" fmla="*/ 987 h 2143"/>
                <a:gd name="T4" fmla="*/ 2567 w 2857"/>
                <a:gd name="T5" fmla="*/ 861 h 2143"/>
                <a:gd name="T6" fmla="*/ 2542 w 2857"/>
                <a:gd name="T7" fmla="*/ 741 h 2143"/>
                <a:gd name="T8" fmla="*/ 2491 w 2857"/>
                <a:gd name="T9" fmla="*/ 768 h 2143"/>
                <a:gd name="T10" fmla="*/ 2399 w 2857"/>
                <a:gd name="T11" fmla="*/ 770 h 2143"/>
                <a:gd name="T12" fmla="*/ 2446 w 2857"/>
                <a:gd name="T13" fmla="*/ 670 h 2143"/>
                <a:gd name="T14" fmla="*/ 2379 w 2857"/>
                <a:gd name="T15" fmla="*/ 572 h 2143"/>
                <a:gd name="T16" fmla="*/ 2179 w 2857"/>
                <a:gd name="T17" fmla="*/ 613 h 2143"/>
                <a:gd name="T18" fmla="*/ 2029 w 2857"/>
                <a:gd name="T19" fmla="*/ 767 h 2143"/>
                <a:gd name="T20" fmla="*/ 1959 w 2857"/>
                <a:gd name="T21" fmla="*/ 816 h 2143"/>
                <a:gd name="T22" fmla="*/ 1845 w 2857"/>
                <a:gd name="T23" fmla="*/ 668 h 2143"/>
                <a:gd name="T24" fmla="*/ 1734 w 2857"/>
                <a:gd name="T25" fmla="*/ 633 h 2143"/>
                <a:gd name="T26" fmla="*/ 1600 w 2857"/>
                <a:gd name="T27" fmla="*/ 716 h 2143"/>
                <a:gd name="T28" fmla="*/ 1487 w 2857"/>
                <a:gd name="T29" fmla="*/ 647 h 2143"/>
                <a:gd name="T30" fmla="*/ 1551 w 2857"/>
                <a:gd name="T31" fmla="*/ 609 h 2143"/>
                <a:gd name="T32" fmla="*/ 1489 w 2857"/>
                <a:gd name="T33" fmla="*/ 516 h 2143"/>
                <a:gd name="T34" fmla="*/ 1261 w 2857"/>
                <a:gd name="T35" fmla="*/ 351 h 2143"/>
                <a:gd name="T36" fmla="*/ 1088 w 2857"/>
                <a:gd name="T37" fmla="*/ 97 h 2143"/>
                <a:gd name="T38" fmla="*/ 944 w 2857"/>
                <a:gd name="T39" fmla="*/ 17 h 2143"/>
                <a:gd name="T40" fmla="*/ 773 w 2857"/>
                <a:gd name="T41" fmla="*/ 32 h 2143"/>
                <a:gd name="T42" fmla="*/ 740 w 2857"/>
                <a:gd name="T43" fmla="*/ 185 h 2143"/>
                <a:gd name="T44" fmla="*/ 625 w 2857"/>
                <a:gd name="T45" fmla="*/ 151 h 2143"/>
                <a:gd name="T46" fmla="*/ 583 w 2857"/>
                <a:gd name="T47" fmla="*/ 194 h 2143"/>
                <a:gd name="T48" fmla="*/ 552 w 2857"/>
                <a:gd name="T49" fmla="*/ 296 h 2143"/>
                <a:gd name="T50" fmla="*/ 416 w 2857"/>
                <a:gd name="T51" fmla="*/ 217 h 2143"/>
                <a:gd name="T52" fmla="*/ 216 w 2857"/>
                <a:gd name="T53" fmla="*/ 197 h 2143"/>
                <a:gd name="T54" fmla="*/ 186 w 2857"/>
                <a:gd name="T55" fmla="*/ 284 h 2143"/>
                <a:gd name="T56" fmla="*/ 129 w 2857"/>
                <a:gd name="T57" fmla="*/ 411 h 2143"/>
                <a:gd name="T58" fmla="*/ 37 w 2857"/>
                <a:gd name="T59" fmla="*/ 502 h 2143"/>
                <a:gd name="T60" fmla="*/ 58 w 2857"/>
                <a:gd name="T61" fmla="*/ 642 h 2143"/>
                <a:gd name="T62" fmla="*/ 231 w 2857"/>
                <a:gd name="T63" fmla="*/ 743 h 2143"/>
                <a:gd name="T64" fmla="*/ 284 w 2857"/>
                <a:gd name="T65" fmla="*/ 834 h 2143"/>
                <a:gd name="T66" fmla="*/ 330 w 2857"/>
                <a:gd name="T67" fmla="*/ 936 h 2143"/>
                <a:gd name="T68" fmla="*/ 465 w 2857"/>
                <a:gd name="T69" fmla="*/ 1044 h 2143"/>
                <a:gd name="T70" fmla="*/ 626 w 2857"/>
                <a:gd name="T71" fmla="*/ 1278 h 2143"/>
                <a:gd name="T72" fmla="*/ 504 w 2857"/>
                <a:gd name="T73" fmla="*/ 1581 h 2143"/>
                <a:gd name="T74" fmla="*/ 487 w 2857"/>
                <a:gd name="T75" fmla="*/ 1832 h 2143"/>
                <a:gd name="T76" fmla="*/ 602 w 2857"/>
                <a:gd name="T77" fmla="*/ 1863 h 2143"/>
                <a:gd name="T78" fmla="*/ 676 w 2857"/>
                <a:gd name="T79" fmla="*/ 1886 h 2143"/>
                <a:gd name="T80" fmla="*/ 730 w 2857"/>
                <a:gd name="T81" fmla="*/ 1923 h 2143"/>
                <a:gd name="T82" fmla="*/ 791 w 2857"/>
                <a:gd name="T83" fmla="*/ 1988 h 2143"/>
                <a:gd name="T84" fmla="*/ 898 w 2857"/>
                <a:gd name="T85" fmla="*/ 2022 h 2143"/>
                <a:gd name="T86" fmla="*/ 1022 w 2857"/>
                <a:gd name="T87" fmla="*/ 2143 h 2143"/>
                <a:gd name="T88" fmla="*/ 1161 w 2857"/>
                <a:gd name="T89" fmla="*/ 2041 h 2143"/>
                <a:gd name="T90" fmla="*/ 1312 w 2857"/>
                <a:gd name="T91" fmla="*/ 1938 h 2143"/>
                <a:gd name="T92" fmla="*/ 1363 w 2857"/>
                <a:gd name="T93" fmla="*/ 1826 h 2143"/>
                <a:gd name="T94" fmla="*/ 1496 w 2857"/>
                <a:gd name="T95" fmla="*/ 1785 h 2143"/>
                <a:gd name="T96" fmla="*/ 1618 w 2857"/>
                <a:gd name="T97" fmla="*/ 1614 h 2143"/>
                <a:gd name="T98" fmla="*/ 1734 w 2857"/>
                <a:gd name="T99" fmla="*/ 1601 h 2143"/>
                <a:gd name="T100" fmla="*/ 1888 w 2857"/>
                <a:gd name="T101" fmla="*/ 1561 h 2143"/>
                <a:gd name="T102" fmla="*/ 2031 w 2857"/>
                <a:gd name="T103" fmla="*/ 1579 h 2143"/>
                <a:gd name="T104" fmla="*/ 2151 w 2857"/>
                <a:gd name="T105" fmla="*/ 1599 h 2143"/>
                <a:gd name="T106" fmla="*/ 2234 w 2857"/>
                <a:gd name="T107" fmla="*/ 1562 h 2143"/>
                <a:gd name="T108" fmla="*/ 2320 w 2857"/>
                <a:gd name="T109" fmla="*/ 1546 h 2143"/>
                <a:gd name="T110" fmla="*/ 2270 w 2857"/>
                <a:gd name="T111" fmla="*/ 1455 h 2143"/>
                <a:gd name="T112" fmla="*/ 2220 w 2857"/>
                <a:gd name="T113" fmla="*/ 1348 h 2143"/>
                <a:gd name="T114" fmla="*/ 2371 w 2857"/>
                <a:gd name="T115" fmla="*/ 1351 h 2143"/>
                <a:gd name="T116" fmla="*/ 2533 w 2857"/>
                <a:gd name="T117" fmla="*/ 1251 h 2143"/>
                <a:gd name="T118" fmla="*/ 2668 w 2857"/>
                <a:gd name="T119" fmla="*/ 1318 h 2143"/>
                <a:gd name="T120" fmla="*/ 2705 w 2857"/>
                <a:gd name="T121" fmla="*/ 1262 h 2143"/>
                <a:gd name="T122" fmla="*/ 2731 w 2857"/>
                <a:gd name="T123" fmla="*/ 1151 h 2143"/>
                <a:gd name="T124" fmla="*/ 2817 w 2857"/>
                <a:gd name="T125" fmla="*/ 1112 h 2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57" h="2143">
                  <a:moveTo>
                    <a:pt x="2857" y="1004"/>
                  </a:moveTo>
                  <a:lnTo>
                    <a:pt x="2841" y="1004"/>
                  </a:lnTo>
                  <a:lnTo>
                    <a:pt x="2824" y="1005"/>
                  </a:lnTo>
                  <a:lnTo>
                    <a:pt x="2816" y="1006"/>
                  </a:lnTo>
                  <a:lnTo>
                    <a:pt x="2808" y="1006"/>
                  </a:lnTo>
                  <a:lnTo>
                    <a:pt x="2800" y="1005"/>
                  </a:lnTo>
                  <a:lnTo>
                    <a:pt x="2793" y="1003"/>
                  </a:lnTo>
                  <a:lnTo>
                    <a:pt x="2785" y="1001"/>
                  </a:lnTo>
                  <a:lnTo>
                    <a:pt x="2779" y="999"/>
                  </a:lnTo>
                  <a:lnTo>
                    <a:pt x="2773" y="999"/>
                  </a:lnTo>
                  <a:lnTo>
                    <a:pt x="2766" y="999"/>
                  </a:lnTo>
                  <a:lnTo>
                    <a:pt x="2753" y="1000"/>
                  </a:lnTo>
                  <a:lnTo>
                    <a:pt x="2740" y="1003"/>
                  </a:lnTo>
                  <a:lnTo>
                    <a:pt x="2727" y="1006"/>
                  </a:lnTo>
                  <a:lnTo>
                    <a:pt x="2714" y="1010"/>
                  </a:lnTo>
                  <a:lnTo>
                    <a:pt x="2700" y="1012"/>
                  </a:lnTo>
                  <a:lnTo>
                    <a:pt x="2685" y="1013"/>
                  </a:lnTo>
                  <a:lnTo>
                    <a:pt x="2677" y="1013"/>
                  </a:lnTo>
                  <a:lnTo>
                    <a:pt x="2667" y="1012"/>
                  </a:lnTo>
                  <a:lnTo>
                    <a:pt x="2657" y="1010"/>
                  </a:lnTo>
                  <a:lnTo>
                    <a:pt x="2647" y="1008"/>
                  </a:lnTo>
                  <a:lnTo>
                    <a:pt x="2635" y="1005"/>
                  </a:lnTo>
                  <a:lnTo>
                    <a:pt x="2625" y="1002"/>
                  </a:lnTo>
                  <a:lnTo>
                    <a:pt x="2616" y="998"/>
                  </a:lnTo>
                  <a:lnTo>
                    <a:pt x="2605" y="992"/>
                  </a:lnTo>
                  <a:lnTo>
                    <a:pt x="2597" y="987"/>
                  </a:lnTo>
                  <a:lnTo>
                    <a:pt x="2588" y="980"/>
                  </a:lnTo>
                  <a:lnTo>
                    <a:pt x="2581" y="974"/>
                  </a:lnTo>
                  <a:lnTo>
                    <a:pt x="2575" y="965"/>
                  </a:lnTo>
                  <a:lnTo>
                    <a:pt x="2571" y="957"/>
                  </a:lnTo>
                  <a:lnTo>
                    <a:pt x="2568" y="948"/>
                  </a:lnTo>
                  <a:lnTo>
                    <a:pt x="2567" y="938"/>
                  </a:lnTo>
                  <a:lnTo>
                    <a:pt x="2567" y="928"/>
                  </a:lnTo>
                  <a:lnTo>
                    <a:pt x="2571" y="910"/>
                  </a:lnTo>
                  <a:lnTo>
                    <a:pt x="2574" y="894"/>
                  </a:lnTo>
                  <a:lnTo>
                    <a:pt x="2574" y="886"/>
                  </a:lnTo>
                  <a:lnTo>
                    <a:pt x="2573" y="879"/>
                  </a:lnTo>
                  <a:lnTo>
                    <a:pt x="2571" y="870"/>
                  </a:lnTo>
                  <a:lnTo>
                    <a:pt x="2567" y="861"/>
                  </a:lnTo>
                  <a:lnTo>
                    <a:pt x="2557" y="850"/>
                  </a:lnTo>
                  <a:lnTo>
                    <a:pt x="2548" y="839"/>
                  </a:lnTo>
                  <a:lnTo>
                    <a:pt x="2544" y="834"/>
                  </a:lnTo>
                  <a:lnTo>
                    <a:pt x="2540" y="829"/>
                  </a:lnTo>
                  <a:lnTo>
                    <a:pt x="2538" y="821"/>
                  </a:lnTo>
                  <a:lnTo>
                    <a:pt x="2537" y="813"/>
                  </a:lnTo>
                  <a:lnTo>
                    <a:pt x="2543" y="805"/>
                  </a:lnTo>
                  <a:lnTo>
                    <a:pt x="2547" y="797"/>
                  </a:lnTo>
                  <a:lnTo>
                    <a:pt x="2549" y="790"/>
                  </a:lnTo>
                  <a:lnTo>
                    <a:pt x="2550" y="783"/>
                  </a:lnTo>
                  <a:lnTo>
                    <a:pt x="2550" y="768"/>
                  </a:lnTo>
                  <a:lnTo>
                    <a:pt x="2550" y="750"/>
                  </a:lnTo>
                  <a:lnTo>
                    <a:pt x="2542" y="741"/>
                  </a:lnTo>
                  <a:lnTo>
                    <a:pt x="2531" y="732"/>
                  </a:lnTo>
                  <a:lnTo>
                    <a:pt x="2528" y="731"/>
                  </a:lnTo>
                  <a:lnTo>
                    <a:pt x="2525" y="728"/>
                  </a:lnTo>
                  <a:lnTo>
                    <a:pt x="2522" y="728"/>
                  </a:lnTo>
                  <a:lnTo>
                    <a:pt x="2519" y="728"/>
                  </a:lnTo>
                  <a:lnTo>
                    <a:pt x="2516" y="730"/>
                  </a:lnTo>
                  <a:lnTo>
                    <a:pt x="2513" y="732"/>
                  </a:lnTo>
                  <a:lnTo>
                    <a:pt x="2511" y="735"/>
                  </a:lnTo>
                  <a:lnTo>
                    <a:pt x="2509" y="739"/>
                  </a:lnTo>
                  <a:lnTo>
                    <a:pt x="2505" y="748"/>
                  </a:lnTo>
                  <a:lnTo>
                    <a:pt x="2501" y="756"/>
                  </a:lnTo>
                  <a:lnTo>
                    <a:pt x="2497" y="763"/>
                  </a:lnTo>
                  <a:lnTo>
                    <a:pt x="2491" y="768"/>
                  </a:lnTo>
                  <a:lnTo>
                    <a:pt x="2486" y="774"/>
                  </a:lnTo>
                  <a:lnTo>
                    <a:pt x="2480" y="780"/>
                  </a:lnTo>
                  <a:lnTo>
                    <a:pt x="2473" y="785"/>
                  </a:lnTo>
                  <a:lnTo>
                    <a:pt x="2463" y="791"/>
                  </a:lnTo>
                  <a:lnTo>
                    <a:pt x="2452" y="795"/>
                  </a:lnTo>
                  <a:lnTo>
                    <a:pt x="2441" y="797"/>
                  </a:lnTo>
                  <a:lnTo>
                    <a:pt x="2432" y="797"/>
                  </a:lnTo>
                  <a:lnTo>
                    <a:pt x="2424" y="795"/>
                  </a:lnTo>
                  <a:lnTo>
                    <a:pt x="2416" y="793"/>
                  </a:lnTo>
                  <a:lnTo>
                    <a:pt x="2410" y="789"/>
                  </a:lnTo>
                  <a:lnTo>
                    <a:pt x="2405" y="784"/>
                  </a:lnTo>
                  <a:lnTo>
                    <a:pt x="2401" y="778"/>
                  </a:lnTo>
                  <a:lnTo>
                    <a:pt x="2399" y="770"/>
                  </a:lnTo>
                  <a:lnTo>
                    <a:pt x="2398" y="763"/>
                  </a:lnTo>
                  <a:lnTo>
                    <a:pt x="2397" y="756"/>
                  </a:lnTo>
                  <a:lnTo>
                    <a:pt x="2398" y="748"/>
                  </a:lnTo>
                  <a:lnTo>
                    <a:pt x="2400" y="741"/>
                  </a:lnTo>
                  <a:lnTo>
                    <a:pt x="2403" y="734"/>
                  </a:lnTo>
                  <a:lnTo>
                    <a:pt x="2408" y="726"/>
                  </a:lnTo>
                  <a:lnTo>
                    <a:pt x="2413" y="720"/>
                  </a:lnTo>
                  <a:lnTo>
                    <a:pt x="2423" y="712"/>
                  </a:lnTo>
                  <a:lnTo>
                    <a:pt x="2430" y="703"/>
                  </a:lnTo>
                  <a:lnTo>
                    <a:pt x="2436" y="695"/>
                  </a:lnTo>
                  <a:lnTo>
                    <a:pt x="2440" y="687"/>
                  </a:lnTo>
                  <a:lnTo>
                    <a:pt x="2444" y="678"/>
                  </a:lnTo>
                  <a:lnTo>
                    <a:pt x="2446" y="670"/>
                  </a:lnTo>
                  <a:lnTo>
                    <a:pt x="2447" y="663"/>
                  </a:lnTo>
                  <a:lnTo>
                    <a:pt x="2446" y="654"/>
                  </a:lnTo>
                  <a:lnTo>
                    <a:pt x="2445" y="646"/>
                  </a:lnTo>
                  <a:lnTo>
                    <a:pt x="2442" y="638"/>
                  </a:lnTo>
                  <a:lnTo>
                    <a:pt x="2438" y="630"/>
                  </a:lnTo>
                  <a:lnTo>
                    <a:pt x="2434" y="622"/>
                  </a:lnTo>
                  <a:lnTo>
                    <a:pt x="2428" y="615"/>
                  </a:lnTo>
                  <a:lnTo>
                    <a:pt x="2422" y="606"/>
                  </a:lnTo>
                  <a:lnTo>
                    <a:pt x="2415" y="599"/>
                  </a:lnTo>
                  <a:lnTo>
                    <a:pt x="2407" y="591"/>
                  </a:lnTo>
                  <a:lnTo>
                    <a:pt x="2398" y="583"/>
                  </a:lnTo>
                  <a:lnTo>
                    <a:pt x="2388" y="577"/>
                  </a:lnTo>
                  <a:lnTo>
                    <a:pt x="2379" y="572"/>
                  </a:lnTo>
                  <a:lnTo>
                    <a:pt x="2368" y="568"/>
                  </a:lnTo>
                  <a:lnTo>
                    <a:pt x="2358" y="565"/>
                  </a:lnTo>
                  <a:lnTo>
                    <a:pt x="2347" y="564"/>
                  </a:lnTo>
                  <a:lnTo>
                    <a:pt x="2336" y="563"/>
                  </a:lnTo>
                  <a:lnTo>
                    <a:pt x="2325" y="563"/>
                  </a:lnTo>
                  <a:lnTo>
                    <a:pt x="2312" y="564"/>
                  </a:lnTo>
                  <a:lnTo>
                    <a:pt x="2301" y="565"/>
                  </a:lnTo>
                  <a:lnTo>
                    <a:pt x="2288" y="567"/>
                  </a:lnTo>
                  <a:lnTo>
                    <a:pt x="2277" y="570"/>
                  </a:lnTo>
                  <a:lnTo>
                    <a:pt x="2252" y="578"/>
                  </a:lnTo>
                  <a:lnTo>
                    <a:pt x="2228" y="589"/>
                  </a:lnTo>
                  <a:lnTo>
                    <a:pt x="2203" y="600"/>
                  </a:lnTo>
                  <a:lnTo>
                    <a:pt x="2179" y="613"/>
                  </a:lnTo>
                  <a:lnTo>
                    <a:pt x="2156" y="626"/>
                  </a:lnTo>
                  <a:lnTo>
                    <a:pt x="2134" y="640"/>
                  </a:lnTo>
                  <a:lnTo>
                    <a:pt x="2093" y="665"/>
                  </a:lnTo>
                  <a:lnTo>
                    <a:pt x="2060" y="686"/>
                  </a:lnTo>
                  <a:lnTo>
                    <a:pt x="2056" y="689"/>
                  </a:lnTo>
                  <a:lnTo>
                    <a:pt x="2051" y="693"/>
                  </a:lnTo>
                  <a:lnTo>
                    <a:pt x="2047" y="697"/>
                  </a:lnTo>
                  <a:lnTo>
                    <a:pt x="2044" y="702"/>
                  </a:lnTo>
                  <a:lnTo>
                    <a:pt x="2039" y="713"/>
                  </a:lnTo>
                  <a:lnTo>
                    <a:pt x="2035" y="725"/>
                  </a:lnTo>
                  <a:lnTo>
                    <a:pt x="2032" y="739"/>
                  </a:lnTo>
                  <a:lnTo>
                    <a:pt x="2031" y="752"/>
                  </a:lnTo>
                  <a:lnTo>
                    <a:pt x="2029" y="767"/>
                  </a:lnTo>
                  <a:lnTo>
                    <a:pt x="2029" y="781"/>
                  </a:lnTo>
                  <a:lnTo>
                    <a:pt x="2027" y="807"/>
                  </a:lnTo>
                  <a:lnTo>
                    <a:pt x="2025" y="828"/>
                  </a:lnTo>
                  <a:lnTo>
                    <a:pt x="2023" y="836"/>
                  </a:lnTo>
                  <a:lnTo>
                    <a:pt x="2020" y="841"/>
                  </a:lnTo>
                  <a:lnTo>
                    <a:pt x="2018" y="843"/>
                  </a:lnTo>
                  <a:lnTo>
                    <a:pt x="2015" y="843"/>
                  </a:lnTo>
                  <a:lnTo>
                    <a:pt x="2013" y="844"/>
                  </a:lnTo>
                  <a:lnTo>
                    <a:pt x="2009" y="843"/>
                  </a:lnTo>
                  <a:lnTo>
                    <a:pt x="1998" y="839"/>
                  </a:lnTo>
                  <a:lnTo>
                    <a:pt x="1986" y="833"/>
                  </a:lnTo>
                  <a:lnTo>
                    <a:pt x="1972" y="826"/>
                  </a:lnTo>
                  <a:lnTo>
                    <a:pt x="1959" y="816"/>
                  </a:lnTo>
                  <a:lnTo>
                    <a:pt x="1944" y="806"/>
                  </a:lnTo>
                  <a:lnTo>
                    <a:pt x="1931" y="795"/>
                  </a:lnTo>
                  <a:lnTo>
                    <a:pt x="1916" y="783"/>
                  </a:lnTo>
                  <a:lnTo>
                    <a:pt x="1903" y="770"/>
                  </a:lnTo>
                  <a:lnTo>
                    <a:pt x="1891" y="757"/>
                  </a:lnTo>
                  <a:lnTo>
                    <a:pt x="1878" y="742"/>
                  </a:lnTo>
                  <a:lnTo>
                    <a:pt x="1869" y="728"/>
                  </a:lnTo>
                  <a:lnTo>
                    <a:pt x="1860" y="714"/>
                  </a:lnTo>
                  <a:lnTo>
                    <a:pt x="1853" y="700"/>
                  </a:lnTo>
                  <a:lnTo>
                    <a:pt x="1848" y="687"/>
                  </a:lnTo>
                  <a:lnTo>
                    <a:pt x="1846" y="681"/>
                  </a:lnTo>
                  <a:lnTo>
                    <a:pt x="1846" y="674"/>
                  </a:lnTo>
                  <a:lnTo>
                    <a:pt x="1845" y="668"/>
                  </a:lnTo>
                  <a:lnTo>
                    <a:pt x="1846" y="662"/>
                  </a:lnTo>
                  <a:lnTo>
                    <a:pt x="1846" y="653"/>
                  </a:lnTo>
                  <a:lnTo>
                    <a:pt x="1844" y="647"/>
                  </a:lnTo>
                  <a:lnTo>
                    <a:pt x="1841" y="642"/>
                  </a:lnTo>
                  <a:lnTo>
                    <a:pt x="1836" y="638"/>
                  </a:lnTo>
                  <a:lnTo>
                    <a:pt x="1828" y="635"/>
                  </a:lnTo>
                  <a:lnTo>
                    <a:pt x="1821" y="631"/>
                  </a:lnTo>
                  <a:lnTo>
                    <a:pt x="1813" y="629"/>
                  </a:lnTo>
                  <a:lnTo>
                    <a:pt x="1804" y="628"/>
                  </a:lnTo>
                  <a:lnTo>
                    <a:pt x="1785" y="627"/>
                  </a:lnTo>
                  <a:lnTo>
                    <a:pt x="1766" y="628"/>
                  </a:lnTo>
                  <a:lnTo>
                    <a:pt x="1748" y="630"/>
                  </a:lnTo>
                  <a:lnTo>
                    <a:pt x="1734" y="633"/>
                  </a:lnTo>
                  <a:lnTo>
                    <a:pt x="1725" y="635"/>
                  </a:lnTo>
                  <a:lnTo>
                    <a:pt x="1715" y="640"/>
                  </a:lnTo>
                  <a:lnTo>
                    <a:pt x="1705" y="645"/>
                  </a:lnTo>
                  <a:lnTo>
                    <a:pt x="1695" y="653"/>
                  </a:lnTo>
                  <a:lnTo>
                    <a:pt x="1674" y="670"/>
                  </a:lnTo>
                  <a:lnTo>
                    <a:pt x="1654" y="688"/>
                  </a:lnTo>
                  <a:lnTo>
                    <a:pt x="1644" y="696"/>
                  </a:lnTo>
                  <a:lnTo>
                    <a:pt x="1633" y="703"/>
                  </a:lnTo>
                  <a:lnTo>
                    <a:pt x="1624" y="710"/>
                  </a:lnTo>
                  <a:lnTo>
                    <a:pt x="1615" y="714"/>
                  </a:lnTo>
                  <a:lnTo>
                    <a:pt x="1609" y="715"/>
                  </a:lnTo>
                  <a:lnTo>
                    <a:pt x="1605" y="716"/>
                  </a:lnTo>
                  <a:lnTo>
                    <a:pt x="1600" y="716"/>
                  </a:lnTo>
                  <a:lnTo>
                    <a:pt x="1596" y="716"/>
                  </a:lnTo>
                  <a:lnTo>
                    <a:pt x="1592" y="715"/>
                  </a:lnTo>
                  <a:lnTo>
                    <a:pt x="1586" y="713"/>
                  </a:lnTo>
                  <a:lnTo>
                    <a:pt x="1582" y="711"/>
                  </a:lnTo>
                  <a:lnTo>
                    <a:pt x="1578" y="708"/>
                  </a:lnTo>
                  <a:lnTo>
                    <a:pt x="1569" y="699"/>
                  </a:lnTo>
                  <a:lnTo>
                    <a:pt x="1557" y="692"/>
                  </a:lnTo>
                  <a:lnTo>
                    <a:pt x="1546" y="686"/>
                  </a:lnTo>
                  <a:lnTo>
                    <a:pt x="1534" y="681"/>
                  </a:lnTo>
                  <a:lnTo>
                    <a:pt x="1511" y="669"/>
                  </a:lnTo>
                  <a:lnTo>
                    <a:pt x="1488" y="658"/>
                  </a:lnTo>
                  <a:lnTo>
                    <a:pt x="1487" y="651"/>
                  </a:lnTo>
                  <a:lnTo>
                    <a:pt x="1487" y="647"/>
                  </a:lnTo>
                  <a:lnTo>
                    <a:pt x="1488" y="642"/>
                  </a:lnTo>
                  <a:lnTo>
                    <a:pt x="1489" y="638"/>
                  </a:lnTo>
                  <a:lnTo>
                    <a:pt x="1491" y="635"/>
                  </a:lnTo>
                  <a:lnTo>
                    <a:pt x="1493" y="631"/>
                  </a:lnTo>
                  <a:lnTo>
                    <a:pt x="1495" y="629"/>
                  </a:lnTo>
                  <a:lnTo>
                    <a:pt x="1498" y="626"/>
                  </a:lnTo>
                  <a:lnTo>
                    <a:pt x="1504" y="623"/>
                  </a:lnTo>
                  <a:lnTo>
                    <a:pt x="1511" y="620"/>
                  </a:lnTo>
                  <a:lnTo>
                    <a:pt x="1519" y="618"/>
                  </a:lnTo>
                  <a:lnTo>
                    <a:pt x="1527" y="616"/>
                  </a:lnTo>
                  <a:lnTo>
                    <a:pt x="1535" y="614"/>
                  </a:lnTo>
                  <a:lnTo>
                    <a:pt x="1544" y="612"/>
                  </a:lnTo>
                  <a:lnTo>
                    <a:pt x="1551" y="609"/>
                  </a:lnTo>
                  <a:lnTo>
                    <a:pt x="1557" y="605"/>
                  </a:lnTo>
                  <a:lnTo>
                    <a:pt x="1560" y="602"/>
                  </a:lnTo>
                  <a:lnTo>
                    <a:pt x="1562" y="600"/>
                  </a:lnTo>
                  <a:lnTo>
                    <a:pt x="1565" y="597"/>
                  </a:lnTo>
                  <a:lnTo>
                    <a:pt x="1567" y="593"/>
                  </a:lnTo>
                  <a:lnTo>
                    <a:pt x="1568" y="589"/>
                  </a:lnTo>
                  <a:lnTo>
                    <a:pt x="1569" y="585"/>
                  </a:lnTo>
                  <a:lnTo>
                    <a:pt x="1569" y="579"/>
                  </a:lnTo>
                  <a:lnTo>
                    <a:pt x="1569" y="573"/>
                  </a:lnTo>
                  <a:lnTo>
                    <a:pt x="1551" y="556"/>
                  </a:lnTo>
                  <a:lnTo>
                    <a:pt x="1531" y="542"/>
                  </a:lnTo>
                  <a:lnTo>
                    <a:pt x="1511" y="528"/>
                  </a:lnTo>
                  <a:lnTo>
                    <a:pt x="1489" y="516"/>
                  </a:lnTo>
                  <a:lnTo>
                    <a:pt x="1446" y="493"/>
                  </a:lnTo>
                  <a:lnTo>
                    <a:pt x="1401" y="470"/>
                  </a:lnTo>
                  <a:lnTo>
                    <a:pt x="1379" y="457"/>
                  </a:lnTo>
                  <a:lnTo>
                    <a:pt x="1357" y="445"/>
                  </a:lnTo>
                  <a:lnTo>
                    <a:pt x="1336" y="431"/>
                  </a:lnTo>
                  <a:lnTo>
                    <a:pt x="1317" y="417"/>
                  </a:lnTo>
                  <a:lnTo>
                    <a:pt x="1308" y="408"/>
                  </a:lnTo>
                  <a:lnTo>
                    <a:pt x="1299" y="400"/>
                  </a:lnTo>
                  <a:lnTo>
                    <a:pt x="1290" y="392"/>
                  </a:lnTo>
                  <a:lnTo>
                    <a:pt x="1282" y="382"/>
                  </a:lnTo>
                  <a:lnTo>
                    <a:pt x="1275" y="372"/>
                  </a:lnTo>
                  <a:lnTo>
                    <a:pt x="1267" y="361"/>
                  </a:lnTo>
                  <a:lnTo>
                    <a:pt x="1261" y="351"/>
                  </a:lnTo>
                  <a:lnTo>
                    <a:pt x="1255" y="339"/>
                  </a:lnTo>
                  <a:lnTo>
                    <a:pt x="1210" y="244"/>
                  </a:lnTo>
                  <a:lnTo>
                    <a:pt x="1203" y="231"/>
                  </a:lnTo>
                  <a:lnTo>
                    <a:pt x="1192" y="217"/>
                  </a:lnTo>
                  <a:lnTo>
                    <a:pt x="1180" y="203"/>
                  </a:lnTo>
                  <a:lnTo>
                    <a:pt x="1166" y="188"/>
                  </a:lnTo>
                  <a:lnTo>
                    <a:pt x="1152" y="175"/>
                  </a:lnTo>
                  <a:lnTo>
                    <a:pt x="1137" y="162"/>
                  </a:lnTo>
                  <a:lnTo>
                    <a:pt x="1122" y="153"/>
                  </a:lnTo>
                  <a:lnTo>
                    <a:pt x="1110" y="145"/>
                  </a:lnTo>
                  <a:lnTo>
                    <a:pt x="1100" y="128"/>
                  </a:lnTo>
                  <a:lnTo>
                    <a:pt x="1093" y="112"/>
                  </a:lnTo>
                  <a:lnTo>
                    <a:pt x="1088" y="97"/>
                  </a:lnTo>
                  <a:lnTo>
                    <a:pt x="1085" y="84"/>
                  </a:lnTo>
                  <a:lnTo>
                    <a:pt x="1080" y="55"/>
                  </a:lnTo>
                  <a:lnTo>
                    <a:pt x="1072" y="19"/>
                  </a:lnTo>
                  <a:lnTo>
                    <a:pt x="1072" y="19"/>
                  </a:lnTo>
                  <a:lnTo>
                    <a:pt x="1044" y="12"/>
                  </a:lnTo>
                  <a:lnTo>
                    <a:pt x="1033" y="10"/>
                  </a:lnTo>
                  <a:lnTo>
                    <a:pt x="1020" y="8"/>
                  </a:lnTo>
                  <a:lnTo>
                    <a:pt x="1008" y="8"/>
                  </a:lnTo>
                  <a:lnTo>
                    <a:pt x="994" y="8"/>
                  </a:lnTo>
                  <a:lnTo>
                    <a:pt x="981" y="10"/>
                  </a:lnTo>
                  <a:lnTo>
                    <a:pt x="968" y="11"/>
                  </a:lnTo>
                  <a:lnTo>
                    <a:pt x="956" y="14"/>
                  </a:lnTo>
                  <a:lnTo>
                    <a:pt x="944" y="17"/>
                  </a:lnTo>
                  <a:lnTo>
                    <a:pt x="936" y="18"/>
                  </a:lnTo>
                  <a:lnTo>
                    <a:pt x="926" y="20"/>
                  </a:lnTo>
                  <a:lnTo>
                    <a:pt x="918" y="21"/>
                  </a:lnTo>
                  <a:lnTo>
                    <a:pt x="910" y="22"/>
                  </a:lnTo>
                  <a:lnTo>
                    <a:pt x="884" y="17"/>
                  </a:lnTo>
                  <a:lnTo>
                    <a:pt x="858" y="12"/>
                  </a:lnTo>
                  <a:lnTo>
                    <a:pt x="832" y="7"/>
                  </a:lnTo>
                  <a:lnTo>
                    <a:pt x="807" y="0"/>
                  </a:lnTo>
                  <a:lnTo>
                    <a:pt x="800" y="4"/>
                  </a:lnTo>
                  <a:lnTo>
                    <a:pt x="794" y="9"/>
                  </a:lnTo>
                  <a:lnTo>
                    <a:pt x="789" y="14"/>
                  </a:lnTo>
                  <a:lnTo>
                    <a:pt x="783" y="19"/>
                  </a:lnTo>
                  <a:lnTo>
                    <a:pt x="773" y="32"/>
                  </a:lnTo>
                  <a:lnTo>
                    <a:pt x="765" y="45"/>
                  </a:lnTo>
                  <a:lnTo>
                    <a:pt x="756" y="60"/>
                  </a:lnTo>
                  <a:lnTo>
                    <a:pt x="750" y="73"/>
                  </a:lnTo>
                  <a:lnTo>
                    <a:pt x="744" y="88"/>
                  </a:lnTo>
                  <a:lnTo>
                    <a:pt x="739" y="101"/>
                  </a:lnTo>
                  <a:lnTo>
                    <a:pt x="737" y="110"/>
                  </a:lnTo>
                  <a:lnTo>
                    <a:pt x="737" y="121"/>
                  </a:lnTo>
                  <a:lnTo>
                    <a:pt x="737" y="135"/>
                  </a:lnTo>
                  <a:lnTo>
                    <a:pt x="738" y="148"/>
                  </a:lnTo>
                  <a:lnTo>
                    <a:pt x="740" y="162"/>
                  </a:lnTo>
                  <a:lnTo>
                    <a:pt x="741" y="173"/>
                  </a:lnTo>
                  <a:lnTo>
                    <a:pt x="741" y="182"/>
                  </a:lnTo>
                  <a:lnTo>
                    <a:pt x="740" y="185"/>
                  </a:lnTo>
                  <a:lnTo>
                    <a:pt x="737" y="188"/>
                  </a:lnTo>
                  <a:lnTo>
                    <a:pt x="733" y="191"/>
                  </a:lnTo>
                  <a:lnTo>
                    <a:pt x="728" y="192"/>
                  </a:lnTo>
                  <a:lnTo>
                    <a:pt x="723" y="193"/>
                  </a:lnTo>
                  <a:lnTo>
                    <a:pt x="714" y="192"/>
                  </a:lnTo>
                  <a:lnTo>
                    <a:pt x="703" y="190"/>
                  </a:lnTo>
                  <a:lnTo>
                    <a:pt x="692" y="185"/>
                  </a:lnTo>
                  <a:lnTo>
                    <a:pt x="680" y="180"/>
                  </a:lnTo>
                  <a:lnTo>
                    <a:pt x="669" y="173"/>
                  </a:lnTo>
                  <a:lnTo>
                    <a:pt x="657" y="167"/>
                  </a:lnTo>
                  <a:lnTo>
                    <a:pt x="646" y="161"/>
                  </a:lnTo>
                  <a:lnTo>
                    <a:pt x="636" y="155"/>
                  </a:lnTo>
                  <a:lnTo>
                    <a:pt x="625" y="151"/>
                  </a:lnTo>
                  <a:lnTo>
                    <a:pt x="616" y="148"/>
                  </a:lnTo>
                  <a:lnTo>
                    <a:pt x="611" y="147"/>
                  </a:lnTo>
                  <a:lnTo>
                    <a:pt x="606" y="148"/>
                  </a:lnTo>
                  <a:lnTo>
                    <a:pt x="602" y="148"/>
                  </a:lnTo>
                  <a:lnTo>
                    <a:pt x="599" y="151"/>
                  </a:lnTo>
                  <a:lnTo>
                    <a:pt x="595" y="153"/>
                  </a:lnTo>
                  <a:lnTo>
                    <a:pt x="593" y="156"/>
                  </a:lnTo>
                  <a:lnTo>
                    <a:pt x="590" y="160"/>
                  </a:lnTo>
                  <a:lnTo>
                    <a:pt x="588" y="165"/>
                  </a:lnTo>
                  <a:lnTo>
                    <a:pt x="586" y="171"/>
                  </a:lnTo>
                  <a:lnTo>
                    <a:pt x="583" y="179"/>
                  </a:lnTo>
                  <a:lnTo>
                    <a:pt x="583" y="186"/>
                  </a:lnTo>
                  <a:lnTo>
                    <a:pt x="583" y="194"/>
                  </a:lnTo>
                  <a:lnTo>
                    <a:pt x="583" y="210"/>
                  </a:lnTo>
                  <a:lnTo>
                    <a:pt x="583" y="226"/>
                  </a:lnTo>
                  <a:lnTo>
                    <a:pt x="583" y="234"/>
                  </a:lnTo>
                  <a:lnTo>
                    <a:pt x="582" y="241"/>
                  </a:lnTo>
                  <a:lnTo>
                    <a:pt x="581" y="249"/>
                  </a:lnTo>
                  <a:lnTo>
                    <a:pt x="579" y="256"/>
                  </a:lnTo>
                  <a:lnTo>
                    <a:pt x="577" y="263"/>
                  </a:lnTo>
                  <a:lnTo>
                    <a:pt x="573" y="269"/>
                  </a:lnTo>
                  <a:lnTo>
                    <a:pt x="568" y="275"/>
                  </a:lnTo>
                  <a:lnTo>
                    <a:pt x="563" y="280"/>
                  </a:lnTo>
                  <a:lnTo>
                    <a:pt x="560" y="287"/>
                  </a:lnTo>
                  <a:lnTo>
                    <a:pt x="557" y="292"/>
                  </a:lnTo>
                  <a:lnTo>
                    <a:pt x="552" y="296"/>
                  </a:lnTo>
                  <a:lnTo>
                    <a:pt x="547" y="297"/>
                  </a:lnTo>
                  <a:lnTo>
                    <a:pt x="541" y="298"/>
                  </a:lnTo>
                  <a:lnTo>
                    <a:pt x="533" y="297"/>
                  </a:lnTo>
                  <a:lnTo>
                    <a:pt x="526" y="294"/>
                  </a:lnTo>
                  <a:lnTo>
                    <a:pt x="519" y="291"/>
                  </a:lnTo>
                  <a:lnTo>
                    <a:pt x="503" y="284"/>
                  </a:lnTo>
                  <a:lnTo>
                    <a:pt x="489" y="275"/>
                  </a:lnTo>
                  <a:lnTo>
                    <a:pt x="477" y="267"/>
                  </a:lnTo>
                  <a:lnTo>
                    <a:pt x="470" y="261"/>
                  </a:lnTo>
                  <a:lnTo>
                    <a:pt x="456" y="249"/>
                  </a:lnTo>
                  <a:lnTo>
                    <a:pt x="443" y="237"/>
                  </a:lnTo>
                  <a:lnTo>
                    <a:pt x="429" y="227"/>
                  </a:lnTo>
                  <a:lnTo>
                    <a:pt x="416" y="217"/>
                  </a:lnTo>
                  <a:lnTo>
                    <a:pt x="401" y="209"/>
                  </a:lnTo>
                  <a:lnTo>
                    <a:pt x="385" y="201"/>
                  </a:lnTo>
                  <a:lnTo>
                    <a:pt x="369" y="194"/>
                  </a:lnTo>
                  <a:lnTo>
                    <a:pt x="352" y="187"/>
                  </a:lnTo>
                  <a:lnTo>
                    <a:pt x="333" y="180"/>
                  </a:lnTo>
                  <a:lnTo>
                    <a:pt x="314" y="171"/>
                  </a:lnTo>
                  <a:lnTo>
                    <a:pt x="296" y="162"/>
                  </a:lnTo>
                  <a:lnTo>
                    <a:pt x="278" y="153"/>
                  </a:lnTo>
                  <a:lnTo>
                    <a:pt x="278" y="153"/>
                  </a:lnTo>
                  <a:lnTo>
                    <a:pt x="269" y="161"/>
                  </a:lnTo>
                  <a:lnTo>
                    <a:pt x="249" y="173"/>
                  </a:lnTo>
                  <a:lnTo>
                    <a:pt x="227" y="189"/>
                  </a:lnTo>
                  <a:lnTo>
                    <a:pt x="216" y="197"/>
                  </a:lnTo>
                  <a:lnTo>
                    <a:pt x="207" y="206"/>
                  </a:lnTo>
                  <a:lnTo>
                    <a:pt x="203" y="211"/>
                  </a:lnTo>
                  <a:lnTo>
                    <a:pt x="199" y="215"/>
                  </a:lnTo>
                  <a:lnTo>
                    <a:pt x="197" y="220"/>
                  </a:lnTo>
                  <a:lnTo>
                    <a:pt x="193" y="226"/>
                  </a:lnTo>
                  <a:lnTo>
                    <a:pt x="192" y="231"/>
                  </a:lnTo>
                  <a:lnTo>
                    <a:pt x="191" y="236"/>
                  </a:lnTo>
                  <a:lnTo>
                    <a:pt x="191" y="242"/>
                  </a:lnTo>
                  <a:lnTo>
                    <a:pt x="191" y="249"/>
                  </a:lnTo>
                  <a:lnTo>
                    <a:pt x="192" y="260"/>
                  </a:lnTo>
                  <a:lnTo>
                    <a:pt x="191" y="272"/>
                  </a:lnTo>
                  <a:lnTo>
                    <a:pt x="189" y="278"/>
                  </a:lnTo>
                  <a:lnTo>
                    <a:pt x="186" y="284"/>
                  </a:lnTo>
                  <a:lnTo>
                    <a:pt x="183" y="289"/>
                  </a:lnTo>
                  <a:lnTo>
                    <a:pt x="180" y="294"/>
                  </a:lnTo>
                  <a:lnTo>
                    <a:pt x="172" y="305"/>
                  </a:lnTo>
                  <a:lnTo>
                    <a:pt x="163" y="314"/>
                  </a:lnTo>
                  <a:lnTo>
                    <a:pt x="155" y="324"/>
                  </a:lnTo>
                  <a:lnTo>
                    <a:pt x="147" y="333"/>
                  </a:lnTo>
                  <a:lnTo>
                    <a:pt x="143" y="338"/>
                  </a:lnTo>
                  <a:lnTo>
                    <a:pt x="141" y="344"/>
                  </a:lnTo>
                  <a:lnTo>
                    <a:pt x="138" y="350"/>
                  </a:lnTo>
                  <a:lnTo>
                    <a:pt x="137" y="356"/>
                  </a:lnTo>
                  <a:lnTo>
                    <a:pt x="135" y="379"/>
                  </a:lnTo>
                  <a:lnTo>
                    <a:pt x="131" y="401"/>
                  </a:lnTo>
                  <a:lnTo>
                    <a:pt x="129" y="411"/>
                  </a:lnTo>
                  <a:lnTo>
                    <a:pt x="126" y="421"/>
                  </a:lnTo>
                  <a:lnTo>
                    <a:pt x="123" y="430"/>
                  </a:lnTo>
                  <a:lnTo>
                    <a:pt x="118" y="440"/>
                  </a:lnTo>
                  <a:lnTo>
                    <a:pt x="113" y="448"/>
                  </a:lnTo>
                  <a:lnTo>
                    <a:pt x="108" y="455"/>
                  </a:lnTo>
                  <a:lnTo>
                    <a:pt x="101" y="462"/>
                  </a:lnTo>
                  <a:lnTo>
                    <a:pt x="93" y="470"/>
                  </a:lnTo>
                  <a:lnTo>
                    <a:pt x="85" y="476"/>
                  </a:lnTo>
                  <a:lnTo>
                    <a:pt x="76" y="482"/>
                  </a:lnTo>
                  <a:lnTo>
                    <a:pt x="64" y="489"/>
                  </a:lnTo>
                  <a:lnTo>
                    <a:pt x="53" y="494"/>
                  </a:lnTo>
                  <a:lnTo>
                    <a:pt x="44" y="497"/>
                  </a:lnTo>
                  <a:lnTo>
                    <a:pt x="37" y="502"/>
                  </a:lnTo>
                  <a:lnTo>
                    <a:pt x="31" y="506"/>
                  </a:lnTo>
                  <a:lnTo>
                    <a:pt x="26" y="513"/>
                  </a:lnTo>
                  <a:lnTo>
                    <a:pt x="20" y="518"/>
                  </a:lnTo>
                  <a:lnTo>
                    <a:pt x="16" y="525"/>
                  </a:lnTo>
                  <a:lnTo>
                    <a:pt x="12" y="531"/>
                  </a:lnTo>
                  <a:lnTo>
                    <a:pt x="9" y="539"/>
                  </a:lnTo>
                  <a:lnTo>
                    <a:pt x="5" y="553"/>
                  </a:lnTo>
                  <a:lnTo>
                    <a:pt x="2" y="569"/>
                  </a:lnTo>
                  <a:lnTo>
                    <a:pt x="0" y="585"/>
                  </a:lnTo>
                  <a:lnTo>
                    <a:pt x="0" y="600"/>
                  </a:lnTo>
                  <a:lnTo>
                    <a:pt x="19" y="614"/>
                  </a:lnTo>
                  <a:lnTo>
                    <a:pt x="38" y="628"/>
                  </a:lnTo>
                  <a:lnTo>
                    <a:pt x="58" y="642"/>
                  </a:lnTo>
                  <a:lnTo>
                    <a:pt x="77" y="655"/>
                  </a:lnTo>
                  <a:lnTo>
                    <a:pt x="96" y="668"/>
                  </a:lnTo>
                  <a:lnTo>
                    <a:pt x="117" y="679"/>
                  </a:lnTo>
                  <a:lnTo>
                    <a:pt x="139" y="689"/>
                  </a:lnTo>
                  <a:lnTo>
                    <a:pt x="163" y="698"/>
                  </a:lnTo>
                  <a:lnTo>
                    <a:pt x="188" y="707"/>
                  </a:lnTo>
                  <a:lnTo>
                    <a:pt x="207" y="715"/>
                  </a:lnTo>
                  <a:lnTo>
                    <a:pt x="213" y="719"/>
                  </a:lnTo>
                  <a:lnTo>
                    <a:pt x="220" y="723"/>
                  </a:lnTo>
                  <a:lnTo>
                    <a:pt x="224" y="727"/>
                  </a:lnTo>
                  <a:lnTo>
                    <a:pt x="227" y="732"/>
                  </a:lnTo>
                  <a:lnTo>
                    <a:pt x="229" y="737"/>
                  </a:lnTo>
                  <a:lnTo>
                    <a:pt x="231" y="743"/>
                  </a:lnTo>
                  <a:lnTo>
                    <a:pt x="232" y="750"/>
                  </a:lnTo>
                  <a:lnTo>
                    <a:pt x="232" y="758"/>
                  </a:lnTo>
                  <a:lnTo>
                    <a:pt x="233" y="778"/>
                  </a:lnTo>
                  <a:lnTo>
                    <a:pt x="232" y="803"/>
                  </a:lnTo>
                  <a:lnTo>
                    <a:pt x="233" y="807"/>
                  </a:lnTo>
                  <a:lnTo>
                    <a:pt x="235" y="811"/>
                  </a:lnTo>
                  <a:lnTo>
                    <a:pt x="237" y="814"/>
                  </a:lnTo>
                  <a:lnTo>
                    <a:pt x="241" y="816"/>
                  </a:lnTo>
                  <a:lnTo>
                    <a:pt x="250" y="820"/>
                  </a:lnTo>
                  <a:lnTo>
                    <a:pt x="260" y="823"/>
                  </a:lnTo>
                  <a:lnTo>
                    <a:pt x="271" y="827"/>
                  </a:lnTo>
                  <a:lnTo>
                    <a:pt x="280" y="831"/>
                  </a:lnTo>
                  <a:lnTo>
                    <a:pt x="284" y="834"/>
                  </a:lnTo>
                  <a:lnTo>
                    <a:pt x="287" y="837"/>
                  </a:lnTo>
                  <a:lnTo>
                    <a:pt x="289" y="841"/>
                  </a:lnTo>
                  <a:lnTo>
                    <a:pt x="291" y="846"/>
                  </a:lnTo>
                  <a:lnTo>
                    <a:pt x="291" y="875"/>
                  </a:lnTo>
                  <a:lnTo>
                    <a:pt x="293" y="907"/>
                  </a:lnTo>
                  <a:lnTo>
                    <a:pt x="294" y="914"/>
                  </a:lnTo>
                  <a:lnTo>
                    <a:pt x="296" y="920"/>
                  </a:lnTo>
                  <a:lnTo>
                    <a:pt x="298" y="926"/>
                  </a:lnTo>
                  <a:lnTo>
                    <a:pt x="302" y="931"/>
                  </a:lnTo>
                  <a:lnTo>
                    <a:pt x="307" y="934"/>
                  </a:lnTo>
                  <a:lnTo>
                    <a:pt x="313" y="936"/>
                  </a:lnTo>
                  <a:lnTo>
                    <a:pt x="321" y="937"/>
                  </a:lnTo>
                  <a:lnTo>
                    <a:pt x="330" y="936"/>
                  </a:lnTo>
                  <a:lnTo>
                    <a:pt x="345" y="936"/>
                  </a:lnTo>
                  <a:lnTo>
                    <a:pt x="358" y="937"/>
                  </a:lnTo>
                  <a:lnTo>
                    <a:pt x="369" y="938"/>
                  </a:lnTo>
                  <a:lnTo>
                    <a:pt x="379" y="940"/>
                  </a:lnTo>
                  <a:lnTo>
                    <a:pt x="386" y="943"/>
                  </a:lnTo>
                  <a:lnTo>
                    <a:pt x="394" y="947"/>
                  </a:lnTo>
                  <a:lnTo>
                    <a:pt x="400" y="951"/>
                  </a:lnTo>
                  <a:lnTo>
                    <a:pt x="406" y="956"/>
                  </a:lnTo>
                  <a:lnTo>
                    <a:pt x="416" y="968"/>
                  </a:lnTo>
                  <a:lnTo>
                    <a:pt x="425" y="983"/>
                  </a:lnTo>
                  <a:lnTo>
                    <a:pt x="436" y="1002"/>
                  </a:lnTo>
                  <a:lnTo>
                    <a:pt x="450" y="1025"/>
                  </a:lnTo>
                  <a:lnTo>
                    <a:pt x="465" y="1044"/>
                  </a:lnTo>
                  <a:lnTo>
                    <a:pt x="479" y="1061"/>
                  </a:lnTo>
                  <a:lnTo>
                    <a:pt x="495" y="1078"/>
                  </a:lnTo>
                  <a:lnTo>
                    <a:pt x="509" y="1095"/>
                  </a:lnTo>
                  <a:lnTo>
                    <a:pt x="542" y="1126"/>
                  </a:lnTo>
                  <a:lnTo>
                    <a:pt x="573" y="1160"/>
                  </a:lnTo>
                  <a:lnTo>
                    <a:pt x="583" y="1174"/>
                  </a:lnTo>
                  <a:lnTo>
                    <a:pt x="592" y="1188"/>
                  </a:lnTo>
                  <a:lnTo>
                    <a:pt x="600" y="1201"/>
                  </a:lnTo>
                  <a:lnTo>
                    <a:pt x="606" y="1216"/>
                  </a:lnTo>
                  <a:lnTo>
                    <a:pt x="612" y="1230"/>
                  </a:lnTo>
                  <a:lnTo>
                    <a:pt x="617" y="1245"/>
                  </a:lnTo>
                  <a:lnTo>
                    <a:pt x="622" y="1262"/>
                  </a:lnTo>
                  <a:lnTo>
                    <a:pt x="626" y="1278"/>
                  </a:lnTo>
                  <a:lnTo>
                    <a:pt x="631" y="1299"/>
                  </a:lnTo>
                  <a:lnTo>
                    <a:pt x="637" y="1319"/>
                  </a:lnTo>
                  <a:lnTo>
                    <a:pt x="641" y="1338"/>
                  </a:lnTo>
                  <a:lnTo>
                    <a:pt x="644" y="1357"/>
                  </a:lnTo>
                  <a:lnTo>
                    <a:pt x="647" y="1376"/>
                  </a:lnTo>
                  <a:lnTo>
                    <a:pt x="648" y="1395"/>
                  </a:lnTo>
                  <a:lnTo>
                    <a:pt x="648" y="1415"/>
                  </a:lnTo>
                  <a:lnTo>
                    <a:pt x="646" y="1437"/>
                  </a:lnTo>
                  <a:lnTo>
                    <a:pt x="637" y="1447"/>
                  </a:lnTo>
                  <a:lnTo>
                    <a:pt x="624" y="1458"/>
                  </a:lnTo>
                  <a:lnTo>
                    <a:pt x="505" y="1567"/>
                  </a:lnTo>
                  <a:lnTo>
                    <a:pt x="505" y="1567"/>
                  </a:lnTo>
                  <a:lnTo>
                    <a:pt x="504" y="1581"/>
                  </a:lnTo>
                  <a:lnTo>
                    <a:pt x="502" y="1596"/>
                  </a:lnTo>
                  <a:lnTo>
                    <a:pt x="500" y="1614"/>
                  </a:lnTo>
                  <a:lnTo>
                    <a:pt x="496" y="1633"/>
                  </a:lnTo>
                  <a:lnTo>
                    <a:pt x="489" y="1675"/>
                  </a:lnTo>
                  <a:lnTo>
                    <a:pt x="481" y="1719"/>
                  </a:lnTo>
                  <a:lnTo>
                    <a:pt x="479" y="1739"/>
                  </a:lnTo>
                  <a:lnTo>
                    <a:pt x="478" y="1760"/>
                  </a:lnTo>
                  <a:lnTo>
                    <a:pt x="477" y="1781"/>
                  </a:lnTo>
                  <a:lnTo>
                    <a:pt x="479" y="1800"/>
                  </a:lnTo>
                  <a:lnTo>
                    <a:pt x="480" y="1808"/>
                  </a:lnTo>
                  <a:lnTo>
                    <a:pt x="482" y="1818"/>
                  </a:lnTo>
                  <a:lnTo>
                    <a:pt x="484" y="1825"/>
                  </a:lnTo>
                  <a:lnTo>
                    <a:pt x="487" y="1832"/>
                  </a:lnTo>
                  <a:lnTo>
                    <a:pt x="491" y="1840"/>
                  </a:lnTo>
                  <a:lnTo>
                    <a:pt x="495" y="1846"/>
                  </a:lnTo>
                  <a:lnTo>
                    <a:pt x="500" y="1851"/>
                  </a:lnTo>
                  <a:lnTo>
                    <a:pt x="505" y="1856"/>
                  </a:lnTo>
                  <a:lnTo>
                    <a:pt x="511" y="1860"/>
                  </a:lnTo>
                  <a:lnTo>
                    <a:pt x="517" y="1864"/>
                  </a:lnTo>
                  <a:lnTo>
                    <a:pt x="522" y="1866"/>
                  </a:lnTo>
                  <a:lnTo>
                    <a:pt x="528" y="1867"/>
                  </a:lnTo>
                  <a:lnTo>
                    <a:pt x="539" y="1868"/>
                  </a:lnTo>
                  <a:lnTo>
                    <a:pt x="549" y="1868"/>
                  </a:lnTo>
                  <a:lnTo>
                    <a:pt x="571" y="1865"/>
                  </a:lnTo>
                  <a:lnTo>
                    <a:pt x="595" y="1861"/>
                  </a:lnTo>
                  <a:lnTo>
                    <a:pt x="602" y="1863"/>
                  </a:lnTo>
                  <a:lnTo>
                    <a:pt x="608" y="1865"/>
                  </a:lnTo>
                  <a:lnTo>
                    <a:pt x="614" y="1868"/>
                  </a:lnTo>
                  <a:lnTo>
                    <a:pt x="619" y="1872"/>
                  </a:lnTo>
                  <a:lnTo>
                    <a:pt x="626" y="1881"/>
                  </a:lnTo>
                  <a:lnTo>
                    <a:pt x="633" y="1890"/>
                  </a:lnTo>
                  <a:lnTo>
                    <a:pt x="638" y="1894"/>
                  </a:lnTo>
                  <a:lnTo>
                    <a:pt x="641" y="1897"/>
                  </a:lnTo>
                  <a:lnTo>
                    <a:pt x="645" y="1900"/>
                  </a:lnTo>
                  <a:lnTo>
                    <a:pt x="650" y="1901"/>
                  </a:lnTo>
                  <a:lnTo>
                    <a:pt x="655" y="1900"/>
                  </a:lnTo>
                  <a:lnTo>
                    <a:pt x="662" y="1898"/>
                  </a:lnTo>
                  <a:lnTo>
                    <a:pt x="668" y="1894"/>
                  </a:lnTo>
                  <a:lnTo>
                    <a:pt x="676" y="1886"/>
                  </a:lnTo>
                  <a:lnTo>
                    <a:pt x="684" y="1880"/>
                  </a:lnTo>
                  <a:lnTo>
                    <a:pt x="691" y="1876"/>
                  </a:lnTo>
                  <a:lnTo>
                    <a:pt x="697" y="1873"/>
                  </a:lnTo>
                  <a:lnTo>
                    <a:pt x="703" y="1872"/>
                  </a:lnTo>
                  <a:lnTo>
                    <a:pt x="709" y="1873"/>
                  </a:lnTo>
                  <a:lnTo>
                    <a:pt x="713" y="1875"/>
                  </a:lnTo>
                  <a:lnTo>
                    <a:pt x="717" y="1878"/>
                  </a:lnTo>
                  <a:lnTo>
                    <a:pt x="720" y="1882"/>
                  </a:lnTo>
                  <a:lnTo>
                    <a:pt x="723" y="1888"/>
                  </a:lnTo>
                  <a:lnTo>
                    <a:pt x="725" y="1894"/>
                  </a:lnTo>
                  <a:lnTo>
                    <a:pt x="727" y="1900"/>
                  </a:lnTo>
                  <a:lnTo>
                    <a:pt x="728" y="1907"/>
                  </a:lnTo>
                  <a:lnTo>
                    <a:pt x="730" y="1923"/>
                  </a:lnTo>
                  <a:lnTo>
                    <a:pt x="731" y="1939"/>
                  </a:lnTo>
                  <a:lnTo>
                    <a:pt x="735" y="1947"/>
                  </a:lnTo>
                  <a:lnTo>
                    <a:pt x="738" y="1954"/>
                  </a:lnTo>
                  <a:lnTo>
                    <a:pt x="742" y="1961"/>
                  </a:lnTo>
                  <a:lnTo>
                    <a:pt x="745" y="1966"/>
                  </a:lnTo>
                  <a:lnTo>
                    <a:pt x="750" y="1971"/>
                  </a:lnTo>
                  <a:lnTo>
                    <a:pt x="754" y="1975"/>
                  </a:lnTo>
                  <a:lnTo>
                    <a:pt x="760" y="1979"/>
                  </a:lnTo>
                  <a:lnTo>
                    <a:pt x="766" y="1982"/>
                  </a:lnTo>
                  <a:lnTo>
                    <a:pt x="771" y="1985"/>
                  </a:lnTo>
                  <a:lnTo>
                    <a:pt x="777" y="1987"/>
                  </a:lnTo>
                  <a:lnTo>
                    <a:pt x="785" y="1988"/>
                  </a:lnTo>
                  <a:lnTo>
                    <a:pt x="791" y="1988"/>
                  </a:lnTo>
                  <a:lnTo>
                    <a:pt x="805" y="1988"/>
                  </a:lnTo>
                  <a:lnTo>
                    <a:pt x="821" y="1985"/>
                  </a:lnTo>
                  <a:lnTo>
                    <a:pt x="847" y="1977"/>
                  </a:lnTo>
                  <a:lnTo>
                    <a:pt x="865" y="1974"/>
                  </a:lnTo>
                  <a:lnTo>
                    <a:pt x="868" y="1974"/>
                  </a:lnTo>
                  <a:lnTo>
                    <a:pt x="872" y="1975"/>
                  </a:lnTo>
                  <a:lnTo>
                    <a:pt x="875" y="1977"/>
                  </a:lnTo>
                  <a:lnTo>
                    <a:pt x="878" y="1980"/>
                  </a:lnTo>
                  <a:lnTo>
                    <a:pt x="882" y="1984"/>
                  </a:lnTo>
                  <a:lnTo>
                    <a:pt x="884" y="1988"/>
                  </a:lnTo>
                  <a:lnTo>
                    <a:pt x="887" y="1994"/>
                  </a:lnTo>
                  <a:lnTo>
                    <a:pt x="890" y="2000"/>
                  </a:lnTo>
                  <a:lnTo>
                    <a:pt x="898" y="2022"/>
                  </a:lnTo>
                  <a:lnTo>
                    <a:pt x="910" y="2046"/>
                  </a:lnTo>
                  <a:lnTo>
                    <a:pt x="916" y="2058"/>
                  </a:lnTo>
                  <a:lnTo>
                    <a:pt x="922" y="2070"/>
                  </a:lnTo>
                  <a:lnTo>
                    <a:pt x="930" y="2082"/>
                  </a:lnTo>
                  <a:lnTo>
                    <a:pt x="938" y="2092"/>
                  </a:lnTo>
                  <a:lnTo>
                    <a:pt x="946" y="2102"/>
                  </a:lnTo>
                  <a:lnTo>
                    <a:pt x="956" y="2113"/>
                  </a:lnTo>
                  <a:lnTo>
                    <a:pt x="965" y="2121"/>
                  </a:lnTo>
                  <a:lnTo>
                    <a:pt x="975" y="2129"/>
                  </a:lnTo>
                  <a:lnTo>
                    <a:pt x="986" y="2135"/>
                  </a:lnTo>
                  <a:lnTo>
                    <a:pt x="997" y="2139"/>
                  </a:lnTo>
                  <a:lnTo>
                    <a:pt x="1010" y="2142"/>
                  </a:lnTo>
                  <a:lnTo>
                    <a:pt x="1022" y="2143"/>
                  </a:lnTo>
                  <a:lnTo>
                    <a:pt x="1045" y="2141"/>
                  </a:lnTo>
                  <a:lnTo>
                    <a:pt x="1079" y="2135"/>
                  </a:lnTo>
                  <a:lnTo>
                    <a:pt x="1098" y="2131"/>
                  </a:lnTo>
                  <a:lnTo>
                    <a:pt x="1118" y="2127"/>
                  </a:lnTo>
                  <a:lnTo>
                    <a:pt x="1139" y="2125"/>
                  </a:lnTo>
                  <a:lnTo>
                    <a:pt x="1159" y="2123"/>
                  </a:lnTo>
                  <a:lnTo>
                    <a:pt x="1159" y="2123"/>
                  </a:lnTo>
                  <a:lnTo>
                    <a:pt x="1155" y="2105"/>
                  </a:lnTo>
                  <a:lnTo>
                    <a:pt x="1153" y="2089"/>
                  </a:lnTo>
                  <a:lnTo>
                    <a:pt x="1153" y="2074"/>
                  </a:lnTo>
                  <a:lnTo>
                    <a:pt x="1154" y="2062"/>
                  </a:lnTo>
                  <a:lnTo>
                    <a:pt x="1157" y="2050"/>
                  </a:lnTo>
                  <a:lnTo>
                    <a:pt x="1161" y="2041"/>
                  </a:lnTo>
                  <a:lnTo>
                    <a:pt x="1166" y="2032"/>
                  </a:lnTo>
                  <a:lnTo>
                    <a:pt x="1174" y="2024"/>
                  </a:lnTo>
                  <a:lnTo>
                    <a:pt x="1182" y="2017"/>
                  </a:lnTo>
                  <a:lnTo>
                    <a:pt x="1192" y="2011"/>
                  </a:lnTo>
                  <a:lnTo>
                    <a:pt x="1203" y="2004"/>
                  </a:lnTo>
                  <a:lnTo>
                    <a:pt x="1216" y="1998"/>
                  </a:lnTo>
                  <a:lnTo>
                    <a:pt x="1245" y="1986"/>
                  </a:lnTo>
                  <a:lnTo>
                    <a:pt x="1280" y="1971"/>
                  </a:lnTo>
                  <a:lnTo>
                    <a:pt x="1289" y="1966"/>
                  </a:lnTo>
                  <a:lnTo>
                    <a:pt x="1297" y="1960"/>
                  </a:lnTo>
                  <a:lnTo>
                    <a:pt x="1303" y="1953"/>
                  </a:lnTo>
                  <a:lnTo>
                    <a:pt x="1308" y="1946"/>
                  </a:lnTo>
                  <a:lnTo>
                    <a:pt x="1312" y="1938"/>
                  </a:lnTo>
                  <a:lnTo>
                    <a:pt x="1315" y="1929"/>
                  </a:lnTo>
                  <a:lnTo>
                    <a:pt x="1318" y="1920"/>
                  </a:lnTo>
                  <a:lnTo>
                    <a:pt x="1321" y="1910"/>
                  </a:lnTo>
                  <a:lnTo>
                    <a:pt x="1324" y="1892"/>
                  </a:lnTo>
                  <a:lnTo>
                    <a:pt x="1328" y="1872"/>
                  </a:lnTo>
                  <a:lnTo>
                    <a:pt x="1330" y="1863"/>
                  </a:lnTo>
                  <a:lnTo>
                    <a:pt x="1333" y="1853"/>
                  </a:lnTo>
                  <a:lnTo>
                    <a:pt x="1337" y="1845"/>
                  </a:lnTo>
                  <a:lnTo>
                    <a:pt x="1342" y="1836"/>
                  </a:lnTo>
                  <a:lnTo>
                    <a:pt x="1346" y="1831"/>
                  </a:lnTo>
                  <a:lnTo>
                    <a:pt x="1351" y="1829"/>
                  </a:lnTo>
                  <a:lnTo>
                    <a:pt x="1357" y="1827"/>
                  </a:lnTo>
                  <a:lnTo>
                    <a:pt x="1363" y="1826"/>
                  </a:lnTo>
                  <a:lnTo>
                    <a:pt x="1379" y="1825"/>
                  </a:lnTo>
                  <a:lnTo>
                    <a:pt x="1397" y="1827"/>
                  </a:lnTo>
                  <a:lnTo>
                    <a:pt x="1413" y="1829"/>
                  </a:lnTo>
                  <a:lnTo>
                    <a:pt x="1430" y="1832"/>
                  </a:lnTo>
                  <a:lnTo>
                    <a:pt x="1438" y="1832"/>
                  </a:lnTo>
                  <a:lnTo>
                    <a:pt x="1446" y="1833"/>
                  </a:lnTo>
                  <a:lnTo>
                    <a:pt x="1451" y="1832"/>
                  </a:lnTo>
                  <a:lnTo>
                    <a:pt x="1456" y="1831"/>
                  </a:lnTo>
                  <a:lnTo>
                    <a:pt x="1463" y="1828"/>
                  </a:lnTo>
                  <a:lnTo>
                    <a:pt x="1471" y="1823"/>
                  </a:lnTo>
                  <a:lnTo>
                    <a:pt x="1477" y="1816"/>
                  </a:lnTo>
                  <a:lnTo>
                    <a:pt x="1483" y="1807"/>
                  </a:lnTo>
                  <a:lnTo>
                    <a:pt x="1496" y="1785"/>
                  </a:lnTo>
                  <a:lnTo>
                    <a:pt x="1507" y="1760"/>
                  </a:lnTo>
                  <a:lnTo>
                    <a:pt x="1519" y="1735"/>
                  </a:lnTo>
                  <a:lnTo>
                    <a:pt x="1529" y="1710"/>
                  </a:lnTo>
                  <a:lnTo>
                    <a:pt x="1535" y="1699"/>
                  </a:lnTo>
                  <a:lnTo>
                    <a:pt x="1541" y="1688"/>
                  </a:lnTo>
                  <a:lnTo>
                    <a:pt x="1546" y="1679"/>
                  </a:lnTo>
                  <a:lnTo>
                    <a:pt x="1552" y="1672"/>
                  </a:lnTo>
                  <a:lnTo>
                    <a:pt x="1568" y="1653"/>
                  </a:lnTo>
                  <a:lnTo>
                    <a:pt x="1585" y="1633"/>
                  </a:lnTo>
                  <a:lnTo>
                    <a:pt x="1596" y="1625"/>
                  </a:lnTo>
                  <a:lnTo>
                    <a:pt x="1606" y="1617"/>
                  </a:lnTo>
                  <a:lnTo>
                    <a:pt x="1611" y="1615"/>
                  </a:lnTo>
                  <a:lnTo>
                    <a:pt x="1618" y="1614"/>
                  </a:lnTo>
                  <a:lnTo>
                    <a:pt x="1623" y="1613"/>
                  </a:lnTo>
                  <a:lnTo>
                    <a:pt x="1629" y="1613"/>
                  </a:lnTo>
                  <a:lnTo>
                    <a:pt x="1644" y="1615"/>
                  </a:lnTo>
                  <a:lnTo>
                    <a:pt x="1658" y="1616"/>
                  </a:lnTo>
                  <a:lnTo>
                    <a:pt x="1673" y="1617"/>
                  </a:lnTo>
                  <a:lnTo>
                    <a:pt x="1688" y="1617"/>
                  </a:lnTo>
                  <a:lnTo>
                    <a:pt x="1694" y="1616"/>
                  </a:lnTo>
                  <a:lnTo>
                    <a:pt x="1701" y="1615"/>
                  </a:lnTo>
                  <a:lnTo>
                    <a:pt x="1708" y="1614"/>
                  </a:lnTo>
                  <a:lnTo>
                    <a:pt x="1715" y="1612"/>
                  </a:lnTo>
                  <a:lnTo>
                    <a:pt x="1722" y="1609"/>
                  </a:lnTo>
                  <a:lnTo>
                    <a:pt x="1728" y="1606"/>
                  </a:lnTo>
                  <a:lnTo>
                    <a:pt x="1734" y="1601"/>
                  </a:lnTo>
                  <a:lnTo>
                    <a:pt x="1741" y="1596"/>
                  </a:lnTo>
                  <a:lnTo>
                    <a:pt x="1755" y="1588"/>
                  </a:lnTo>
                  <a:lnTo>
                    <a:pt x="1768" y="1582"/>
                  </a:lnTo>
                  <a:lnTo>
                    <a:pt x="1780" y="1577"/>
                  </a:lnTo>
                  <a:lnTo>
                    <a:pt x="1792" y="1574"/>
                  </a:lnTo>
                  <a:lnTo>
                    <a:pt x="1804" y="1570"/>
                  </a:lnTo>
                  <a:lnTo>
                    <a:pt x="1818" y="1568"/>
                  </a:lnTo>
                  <a:lnTo>
                    <a:pt x="1833" y="1567"/>
                  </a:lnTo>
                  <a:lnTo>
                    <a:pt x="1849" y="1566"/>
                  </a:lnTo>
                  <a:lnTo>
                    <a:pt x="1858" y="1566"/>
                  </a:lnTo>
                  <a:lnTo>
                    <a:pt x="1868" y="1565"/>
                  </a:lnTo>
                  <a:lnTo>
                    <a:pt x="1877" y="1563"/>
                  </a:lnTo>
                  <a:lnTo>
                    <a:pt x="1888" y="1561"/>
                  </a:lnTo>
                  <a:lnTo>
                    <a:pt x="1907" y="1556"/>
                  </a:lnTo>
                  <a:lnTo>
                    <a:pt x="1924" y="1550"/>
                  </a:lnTo>
                  <a:lnTo>
                    <a:pt x="1940" y="1543"/>
                  </a:lnTo>
                  <a:lnTo>
                    <a:pt x="1957" y="1535"/>
                  </a:lnTo>
                  <a:lnTo>
                    <a:pt x="1965" y="1532"/>
                  </a:lnTo>
                  <a:lnTo>
                    <a:pt x="1973" y="1529"/>
                  </a:lnTo>
                  <a:lnTo>
                    <a:pt x="1981" y="1527"/>
                  </a:lnTo>
                  <a:lnTo>
                    <a:pt x="1989" y="1527"/>
                  </a:lnTo>
                  <a:lnTo>
                    <a:pt x="1995" y="1533"/>
                  </a:lnTo>
                  <a:lnTo>
                    <a:pt x="2002" y="1541"/>
                  </a:lnTo>
                  <a:lnTo>
                    <a:pt x="2010" y="1550"/>
                  </a:lnTo>
                  <a:lnTo>
                    <a:pt x="2017" y="1559"/>
                  </a:lnTo>
                  <a:lnTo>
                    <a:pt x="2031" y="1579"/>
                  </a:lnTo>
                  <a:lnTo>
                    <a:pt x="2043" y="1595"/>
                  </a:lnTo>
                  <a:lnTo>
                    <a:pt x="2057" y="1608"/>
                  </a:lnTo>
                  <a:lnTo>
                    <a:pt x="2067" y="1616"/>
                  </a:lnTo>
                  <a:lnTo>
                    <a:pt x="2071" y="1619"/>
                  </a:lnTo>
                  <a:lnTo>
                    <a:pt x="2076" y="1620"/>
                  </a:lnTo>
                  <a:lnTo>
                    <a:pt x="2081" y="1622"/>
                  </a:lnTo>
                  <a:lnTo>
                    <a:pt x="2086" y="1622"/>
                  </a:lnTo>
                  <a:lnTo>
                    <a:pt x="2095" y="1620"/>
                  </a:lnTo>
                  <a:lnTo>
                    <a:pt x="2107" y="1616"/>
                  </a:lnTo>
                  <a:lnTo>
                    <a:pt x="2120" y="1612"/>
                  </a:lnTo>
                  <a:lnTo>
                    <a:pt x="2138" y="1606"/>
                  </a:lnTo>
                  <a:lnTo>
                    <a:pt x="2144" y="1603"/>
                  </a:lnTo>
                  <a:lnTo>
                    <a:pt x="2151" y="1599"/>
                  </a:lnTo>
                  <a:lnTo>
                    <a:pt x="2157" y="1594"/>
                  </a:lnTo>
                  <a:lnTo>
                    <a:pt x="2162" y="1590"/>
                  </a:lnTo>
                  <a:lnTo>
                    <a:pt x="2172" y="1580"/>
                  </a:lnTo>
                  <a:lnTo>
                    <a:pt x="2182" y="1571"/>
                  </a:lnTo>
                  <a:lnTo>
                    <a:pt x="2187" y="1566"/>
                  </a:lnTo>
                  <a:lnTo>
                    <a:pt x="2192" y="1563"/>
                  </a:lnTo>
                  <a:lnTo>
                    <a:pt x="2197" y="1560"/>
                  </a:lnTo>
                  <a:lnTo>
                    <a:pt x="2203" y="1557"/>
                  </a:lnTo>
                  <a:lnTo>
                    <a:pt x="2209" y="1556"/>
                  </a:lnTo>
                  <a:lnTo>
                    <a:pt x="2215" y="1555"/>
                  </a:lnTo>
                  <a:lnTo>
                    <a:pt x="2222" y="1555"/>
                  </a:lnTo>
                  <a:lnTo>
                    <a:pt x="2231" y="1557"/>
                  </a:lnTo>
                  <a:lnTo>
                    <a:pt x="2234" y="1562"/>
                  </a:lnTo>
                  <a:lnTo>
                    <a:pt x="2238" y="1566"/>
                  </a:lnTo>
                  <a:lnTo>
                    <a:pt x="2241" y="1569"/>
                  </a:lnTo>
                  <a:lnTo>
                    <a:pt x="2245" y="1572"/>
                  </a:lnTo>
                  <a:lnTo>
                    <a:pt x="2250" y="1575"/>
                  </a:lnTo>
                  <a:lnTo>
                    <a:pt x="2255" y="1576"/>
                  </a:lnTo>
                  <a:lnTo>
                    <a:pt x="2259" y="1577"/>
                  </a:lnTo>
                  <a:lnTo>
                    <a:pt x="2264" y="1577"/>
                  </a:lnTo>
                  <a:lnTo>
                    <a:pt x="2274" y="1576"/>
                  </a:lnTo>
                  <a:lnTo>
                    <a:pt x="2284" y="1572"/>
                  </a:lnTo>
                  <a:lnTo>
                    <a:pt x="2293" y="1567"/>
                  </a:lnTo>
                  <a:lnTo>
                    <a:pt x="2303" y="1561"/>
                  </a:lnTo>
                  <a:lnTo>
                    <a:pt x="2312" y="1554"/>
                  </a:lnTo>
                  <a:lnTo>
                    <a:pt x="2320" y="1546"/>
                  </a:lnTo>
                  <a:lnTo>
                    <a:pt x="2328" y="1537"/>
                  </a:lnTo>
                  <a:lnTo>
                    <a:pt x="2334" y="1529"/>
                  </a:lnTo>
                  <a:lnTo>
                    <a:pt x="2339" y="1520"/>
                  </a:lnTo>
                  <a:lnTo>
                    <a:pt x="2342" y="1512"/>
                  </a:lnTo>
                  <a:lnTo>
                    <a:pt x="2343" y="1505"/>
                  </a:lnTo>
                  <a:lnTo>
                    <a:pt x="2343" y="1497"/>
                  </a:lnTo>
                  <a:lnTo>
                    <a:pt x="2340" y="1492"/>
                  </a:lnTo>
                  <a:lnTo>
                    <a:pt x="2336" y="1487"/>
                  </a:lnTo>
                  <a:lnTo>
                    <a:pt x="2331" y="1482"/>
                  </a:lnTo>
                  <a:lnTo>
                    <a:pt x="2325" y="1478"/>
                  </a:lnTo>
                  <a:lnTo>
                    <a:pt x="2308" y="1469"/>
                  </a:lnTo>
                  <a:lnTo>
                    <a:pt x="2289" y="1462"/>
                  </a:lnTo>
                  <a:lnTo>
                    <a:pt x="2270" y="1455"/>
                  </a:lnTo>
                  <a:lnTo>
                    <a:pt x="2252" y="1445"/>
                  </a:lnTo>
                  <a:lnTo>
                    <a:pt x="2243" y="1441"/>
                  </a:lnTo>
                  <a:lnTo>
                    <a:pt x="2236" y="1436"/>
                  </a:lnTo>
                  <a:lnTo>
                    <a:pt x="2230" y="1431"/>
                  </a:lnTo>
                  <a:lnTo>
                    <a:pt x="2225" y="1424"/>
                  </a:lnTo>
                  <a:lnTo>
                    <a:pt x="2222" y="1420"/>
                  </a:lnTo>
                  <a:lnTo>
                    <a:pt x="2220" y="1415"/>
                  </a:lnTo>
                  <a:lnTo>
                    <a:pt x="2218" y="1410"/>
                  </a:lnTo>
                  <a:lnTo>
                    <a:pt x="2217" y="1403"/>
                  </a:lnTo>
                  <a:lnTo>
                    <a:pt x="2216" y="1390"/>
                  </a:lnTo>
                  <a:lnTo>
                    <a:pt x="2216" y="1375"/>
                  </a:lnTo>
                  <a:lnTo>
                    <a:pt x="2217" y="1362"/>
                  </a:lnTo>
                  <a:lnTo>
                    <a:pt x="2220" y="1348"/>
                  </a:lnTo>
                  <a:lnTo>
                    <a:pt x="2222" y="1343"/>
                  </a:lnTo>
                  <a:lnTo>
                    <a:pt x="2226" y="1338"/>
                  </a:lnTo>
                  <a:lnTo>
                    <a:pt x="2228" y="1333"/>
                  </a:lnTo>
                  <a:lnTo>
                    <a:pt x="2232" y="1328"/>
                  </a:lnTo>
                  <a:lnTo>
                    <a:pt x="2236" y="1326"/>
                  </a:lnTo>
                  <a:lnTo>
                    <a:pt x="2242" y="1324"/>
                  </a:lnTo>
                  <a:lnTo>
                    <a:pt x="2251" y="1324"/>
                  </a:lnTo>
                  <a:lnTo>
                    <a:pt x="2260" y="1325"/>
                  </a:lnTo>
                  <a:lnTo>
                    <a:pt x="2283" y="1329"/>
                  </a:lnTo>
                  <a:lnTo>
                    <a:pt x="2307" y="1336"/>
                  </a:lnTo>
                  <a:lnTo>
                    <a:pt x="2333" y="1343"/>
                  </a:lnTo>
                  <a:lnTo>
                    <a:pt x="2359" y="1349"/>
                  </a:lnTo>
                  <a:lnTo>
                    <a:pt x="2371" y="1351"/>
                  </a:lnTo>
                  <a:lnTo>
                    <a:pt x="2382" y="1352"/>
                  </a:lnTo>
                  <a:lnTo>
                    <a:pt x="2392" y="1352"/>
                  </a:lnTo>
                  <a:lnTo>
                    <a:pt x="2401" y="1351"/>
                  </a:lnTo>
                  <a:lnTo>
                    <a:pt x="2411" y="1349"/>
                  </a:lnTo>
                  <a:lnTo>
                    <a:pt x="2422" y="1344"/>
                  </a:lnTo>
                  <a:lnTo>
                    <a:pt x="2432" y="1338"/>
                  </a:lnTo>
                  <a:lnTo>
                    <a:pt x="2441" y="1330"/>
                  </a:lnTo>
                  <a:lnTo>
                    <a:pt x="2460" y="1314"/>
                  </a:lnTo>
                  <a:lnTo>
                    <a:pt x="2479" y="1295"/>
                  </a:lnTo>
                  <a:lnTo>
                    <a:pt x="2498" y="1277"/>
                  </a:lnTo>
                  <a:lnTo>
                    <a:pt x="2515" y="1263"/>
                  </a:lnTo>
                  <a:lnTo>
                    <a:pt x="2524" y="1256"/>
                  </a:lnTo>
                  <a:lnTo>
                    <a:pt x="2533" y="1251"/>
                  </a:lnTo>
                  <a:lnTo>
                    <a:pt x="2542" y="1249"/>
                  </a:lnTo>
                  <a:lnTo>
                    <a:pt x="2550" y="1248"/>
                  </a:lnTo>
                  <a:lnTo>
                    <a:pt x="2557" y="1253"/>
                  </a:lnTo>
                  <a:lnTo>
                    <a:pt x="2564" y="1258"/>
                  </a:lnTo>
                  <a:lnTo>
                    <a:pt x="2572" y="1264"/>
                  </a:lnTo>
                  <a:lnTo>
                    <a:pt x="2580" y="1269"/>
                  </a:lnTo>
                  <a:lnTo>
                    <a:pt x="2597" y="1277"/>
                  </a:lnTo>
                  <a:lnTo>
                    <a:pt x="2614" y="1286"/>
                  </a:lnTo>
                  <a:lnTo>
                    <a:pt x="2632" y="1293"/>
                  </a:lnTo>
                  <a:lnTo>
                    <a:pt x="2648" y="1302"/>
                  </a:lnTo>
                  <a:lnTo>
                    <a:pt x="2655" y="1306"/>
                  </a:lnTo>
                  <a:lnTo>
                    <a:pt x="2662" y="1312"/>
                  </a:lnTo>
                  <a:lnTo>
                    <a:pt x="2668" y="1318"/>
                  </a:lnTo>
                  <a:lnTo>
                    <a:pt x="2673" y="1324"/>
                  </a:lnTo>
                  <a:lnTo>
                    <a:pt x="2680" y="1324"/>
                  </a:lnTo>
                  <a:lnTo>
                    <a:pt x="2685" y="1324"/>
                  </a:lnTo>
                  <a:lnTo>
                    <a:pt x="2691" y="1323"/>
                  </a:lnTo>
                  <a:lnTo>
                    <a:pt x="2695" y="1321"/>
                  </a:lnTo>
                  <a:lnTo>
                    <a:pt x="2699" y="1319"/>
                  </a:lnTo>
                  <a:lnTo>
                    <a:pt x="2702" y="1316"/>
                  </a:lnTo>
                  <a:lnTo>
                    <a:pt x="2704" y="1313"/>
                  </a:lnTo>
                  <a:lnTo>
                    <a:pt x="2706" y="1309"/>
                  </a:lnTo>
                  <a:lnTo>
                    <a:pt x="2707" y="1298"/>
                  </a:lnTo>
                  <a:lnTo>
                    <a:pt x="2708" y="1288"/>
                  </a:lnTo>
                  <a:lnTo>
                    <a:pt x="2707" y="1275"/>
                  </a:lnTo>
                  <a:lnTo>
                    <a:pt x="2705" y="1262"/>
                  </a:lnTo>
                  <a:lnTo>
                    <a:pt x="2700" y="1232"/>
                  </a:lnTo>
                  <a:lnTo>
                    <a:pt x="2696" y="1204"/>
                  </a:lnTo>
                  <a:lnTo>
                    <a:pt x="2695" y="1191"/>
                  </a:lnTo>
                  <a:lnTo>
                    <a:pt x="2695" y="1178"/>
                  </a:lnTo>
                  <a:lnTo>
                    <a:pt x="2696" y="1172"/>
                  </a:lnTo>
                  <a:lnTo>
                    <a:pt x="2698" y="1167"/>
                  </a:lnTo>
                  <a:lnTo>
                    <a:pt x="2700" y="1161"/>
                  </a:lnTo>
                  <a:lnTo>
                    <a:pt x="2702" y="1157"/>
                  </a:lnTo>
                  <a:lnTo>
                    <a:pt x="2705" y="1154"/>
                  </a:lnTo>
                  <a:lnTo>
                    <a:pt x="2709" y="1152"/>
                  </a:lnTo>
                  <a:lnTo>
                    <a:pt x="2714" y="1151"/>
                  </a:lnTo>
                  <a:lnTo>
                    <a:pt x="2719" y="1151"/>
                  </a:lnTo>
                  <a:lnTo>
                    <a:pt x="2731" y="1151"/>
                  </a:lnTo>
                  <a:lnTo>
                    <a:pt x="2745" y="1152"/>
                  </a:lnTo>
                  <a:lnTo>
                    <a:pt x="2759" y="1153"/>
                  </a:lnTo>
                  <a:lnTo>
                    <a:pt x="2774" y="1153"/>
                  </a:lnTo>
                  <a:lnTo>
                    <a:pt x="2780" y="1153"/>
                  </a:lnTo>
                  <a:lnTo>
                    <a:pt x="2787" y="1152"/>
                  </a:lnTo>
                  <a:lnTo>
                    <a:pt x="2792" y="1150"/>
                  </a:lnTo>
                  <a:lnTo>
                    <a:pt x="2797" y="1147"/>
                  </a:lnTo>
                  <a:lnTo>
                    <a:pt x="2804" y="1142"/>
                  </a:lnTo>
                  <a:lnTo>
                    <a:pt x="2808" y="1135"/>
                  </a:lnTo>
                  <a:lnTo>
                    <a:pt x="2813" y="1130"/>
                  </a:lnTo>
                  <a:lnTo>
                    <a:pt x="2815" y="1124"/>
                  </a:lnTo>
                  <a:lnTo>
                    <a:pt x="2816" y="1118"/>
                  </a:lnTo>
                  <a:lnTo>
                    <a:pt x="2817" y="1112"/>
                  </a:lnTo>
                  <a:lnTo>
                    <a:pt x="2817" y="1106"/>
                  </a:lnTo>
                  <a:lnTo>
                    <a:pt x="2816" y="1100"/>
                  </a:lnTo>
                  <a:lnTo>
                    <a:pt x="2815" y="1088"/>
                  </a:lnTo>
                  <a:lnTo>
                    <a:pt x="2814" y="1076"/>
                  </a:lnTo>
                  <a:lnTo>
                    <a:pt x="2815" y="1071"/>
                  </a:lnTo>
                  <a:lnTo>
                    <a:pt x="2816" y="1064"/>
                  </a:lnTo>
                  <a:lnTo>
                    <a:pt x="2818" y="1059"/>
                  </a:lnTo>
                  <a:lnTo>
                    <a:pt x="2822" y="1054"/>
                  </a:lnTo>
                  <a:lnTo>
                    <a:pt x="2857" y="1004"/>
                  </a:lnTo>
                  <a:lnTo>
                    <a:pt x="2857" y="1004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2" name="Freeform 159">
              <a:extLst>
                <a:ext uri="{FF2B5EF4-FFF2-40B4-BE49-F238E27FC236}">
                  <a16:creationId xmlns:a16="http://schemas.microsoft.com/office/drawing/2014/main" id="{9CB1A6D2-1BAC-4B2D-961B-6FC347CE7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7287" y="5595097"/>
              <a:ext cx="596890" cy="482311"/>
            </a:xfrm>
            <a:custGeom>
              <a:avLst/>
              <a:gdLst>
                <a:gd name="T0" fmla="*/ 1929 w 2373"/>
                <a:gd name="T1" fmla="*/ 1866 h 1982"/>
                <a:gd name="T2" fmla="*/ 1986 w 2373"/>
                <a:gd name="T3" fmla="*/ 1865 h 1982"/>
                <a:gd name="T4" fmla="*/ 2052 w 2373"/>
                <a:gd name="T5" fmla="*/ 1822 h 1982"/>
                <a:gd name="T6" fmla="*/ 2326 w 2373"/>
                <a:gd name="T7" fmla="*/ 1826 h 1982"/>
                <a:gd name="T8" fmla="*/ 2371 w 2373"/>
                <a:gd name="T9" fmla="*/ 1662 h 1982"/>
                <a:gd name="T10" fmla="*/ 2268 w 2373"/>
                <a:gd name="T11" fmla="*/ 1592 h 1982"/>
                <a:gd name="T12" fmla="*/ 2243 w 2373"/>
                <a:gd name="T13" fmla="*/ 1453 h 1982"/>
                <a:gd name="T14" fmla="*/ 2135 w 2373"/>
                <a:gd name="T15" fmla="*/ 1413 h 1982"/>
                <a:gd name="T16" fmla="*/ 2136 w 2373"/>
                <a:gd name="T17" fmla="*/ 1362 h 1982"/>
                <a:gd name="T18" fmla="*/ 2050 w 2373"/>
                <a:gd name="T19" fmla="*/ 1393 h 1982"/>
                <a:gd name="T20" fmla="*/ 1951 w 2373"/>
                <a:gd name="T21" fmla="*/ 1380 h 1982"/>
                <a:gd name="T22" fmla="*/ 1892 w 2373"/>
                <a:gd name="T23" fmla="*/ 1391 h 1982"/>
                <a:gd name="T24" fmla="*/ 1880 w 2373"/>
                <a:gd name="T25" fmla="*/ 1269 h 1982"/>
                <a:gd name="T26" fmla="*/ 1907 w 2373"/>
                <a:gd name="T27" fmla="*/ 1205 h 1982"/>
                <a:gd name="T28" fmla="*/ 1875 w 2373"/>
                <a:gd name="T29" fmla="*/ 1076 h 1982"/>
                <a:gd name="T30" fmla="*/ 1875 w 2373"/>
                <a:gd name="T31" fmla="*/ 996 h 1982"/>
                <a:gd name="T32" fmla="*/ 1800 w 2373"/>
                <a:gd name="T33" fmla="*/ 920 h 1982"/>
                <a:gd name="T34" fmla="*/ 1762 w 2373"/>
                <a:gd name="T35" fmla="*/ 803 h 1982"/>
                <a:gd name="T36" fmla="*/ 1784 w 2373"/>
                <a:gd name="T37" fmla="*/ 726 h 1982"/>
                <a:gd name="T38" fmla="*/ 1710 w 2373"/>
                <a:gd name="T39" fmla="*/ 703 h 1982"/>
                <a:gd name="T40" fmla="*/ 1643 w 2373"/>
                <a:gd name="T41" fmla="*/ 692 h 1982"/>
                <a:gd name="T42" fmla="*/ 1570 w 2373"/>
                <a:gd name="T43" fmla="*/ 650 h 1982"/>
                <a:gd name="T44" fmla="*/ 1417 w 2373"/>
                <a:gd name="T45" fmla="*/ 599 h 1982"/>
                <a:gd name="T46" fmla="*/ 1352 w 2373"/>
                <a:gd name="T47" fmla="*/ 454 h 1982"/>
                <a:gd name="T48" fmla="*/ 1288 w 2373"/>
                <a:gd name="T49" fmla="*/ 368 h 1982"/>
                <a:gd name="T50" fmla="*/ 1284 w 2373"/>
                <a:gd name="T51" fmla="*/ 290 h 1982"/>
                <a:gd name="T52" fmla="*/ 1197 w 2373"/>
                <a:gd name="T53" fmla="*/ 199 h 1982"/>
                <a:gd name="T54" fmla="*/ 1038 w 2373"/>
                <a:gd name="T55" fmla="*/ 63 h 1982"/>
                <a:gd name="T56" fmla="*/ 868 w 2373"/>
                <a:gd name="T57" fmla="*/ 26 h 1982"/>
                <a:gd name="T58" fmla="*/ 817 w 2373"/>
                <a:gd name="T59" fmla="*/ 70 h 1982"/>
                <a:gd name="T60" fmla="*/ 780 w 2373"/>
                <a:gd name="T61" fmla="*/ 167 h 1982"/>
                <a:gd name="T62" fmla="*/ 715 w 2373"/>
                <a:gd name="T63" fmla="*/ 256 h 1982"/>
                <a:gd name="T64" fmla="*/ 635 w 2373"/>
                <a:gd name="T65" fmla="*/ 384 h 1982"/>
                <a:gd name="T66" fmla="*/ 473 w 2373"/>
                <a:gd name="T67" fmla="*/ 511 h 1982"/>
                <a:gd name="T68" fmla="*/ 425 w 2373"/>
                <a:gd name="T69" fmla="*/ 589 h 1982"/>
                <a:gd name="T70" fmla="*/ 339 w 2373"/>
                <a:gd name="T71" fmla="*/ 609 h 1982"/>
                <a:gd name="T72" fmla="*/ 257 w 2373"/>
                <a:gd name="T73" fmla="*/ 534 h 1982"/>
                <a:gd name="T74" fmla="*/ 230 w 2373"/>
                <a:gd name="T75" fmla="*/ 466 h 1982"/>
                <a:gd name="T76" fmla="*/ 147 w 2373"/>
                <a:gd name="T77" fmla="*/ 518 h 1982"/>
                <a:gd name="T78" fmla="*/ 44 w 2373"/>
                <a:gd name="T79" fmla="*/ 565 h 1982"/>
                <a:gd name="T80" fmla="*/ 49 w 2373"/>
                <a:gd name="T81" fmla="*/ 682 h 1982"/>
                <a:gd name="T82" fmla="*/ 36 w 2373"/>
                <a:gd name="T83" fmla="*/ 790 h 1982"/>
                <a:gd name="T84" fmla="*/ 85 w 2373"/>
                <a:gd name="T85" fmla="*/ 988 h 1982"/>
                <a:gd name="T86" fmla="*/ 193 w 2373"/>
                <a:gd name="T87" fmla="*/ 1172 h 1982"/>
                <a:gd name="T88" fmla="*/ 330 w 2373"/>
                <a:gd name="T89" fmla="*/ 1386 h 1982"/>
                <a:gd name="T90" fmla="*/ 582 w 2373"/>
                <a:gd name="T91" fmla="*/ 1554 h 1982"/>
                <a:gd name="T92" fmla="*/ 524 w 2373"/>
                <a:gd name="T93" fmla="*/ 1589 h 1982"/>
                <a:gd name="T94" fmla="*/ 547 w 2373"/>
                <a:gd name="T95" fmla="*/ 1650 h 1982"/>
                <a:gd name="T96" fmla="*/ 628 w 2373"/>
                <a:gd name="T97" fmla="*/ 1683 h 1982"/>
                <a:gd name="T98" fmla="*/ 779 w 2373"/>
                <a:gd name="T99" fmla="*/ 1597 h 1982"/>
                <a:gd name="T100" fmla="*/ 859 w 2373"/>
                <a:gd name="T101" fmla="*/ 1643 h 1982"/>
                <a:gd name="T102" fmla="*/ 972 w 2373"/>
                <a:gd name="T103" fmla="*/ 1785 h 1982"/>
                <a:gd name="T104" fmla="*/ 1042 w 2373"/>
                <a:gd name="T105" fmla="*/ 1750 h 1982"/>
                <a:gd name="T106" fmla="*/ 1147 w 2373"/>
                <a:gd name="T107" fmla="*/ 1609 h 1982"/>
                <a:gd name="T108" fmla="*/ 1360 w 2373"/>
                <a:gd name="T109" fmla="*/ 1533 h 1982"/>
                <a:gd name="T110" fmla="*/ 1455 w 2373"/>
                <a:gd name="T111" fmla="*/ 1607 h 1982"/>
                <a:gd name="T112" fmla="*/ 1416 w 2373"/>
                <a:gd name="T113" fmla="*/ 1703 h 1982"/>
                <a:gd name="T114" fmla="*/ 1454 w 2373"/>
                <a:gd name="T115" fmla="*/ 1766 h 1982"/>
                <a:gd name="T116" fmla="*/ 1526 w 2373"/>
                <a:gd name="T117" fmla="*/ 1701 h 1982"/>
                <a:gd name="T118" fmla="*/ 1560 w 2373"/>
                <a:gd name="T119" fmla="*/ 1766 h 1982"/>
                <a:gd name="T120" fmla="*/ 1587 w 2373"/>
                <a:gd name="T121" fmla="*/ 1863 h 1982"/>
                <a:gd name="T122" fmla="*/ 1638 w 2373"/>
                <a:gd name="T123" fmla="*/ 1971 h 1982"/>
                <a:gd name="T124" fmla="*/ 1779 w 2373"/>
                <a:gd name="T125" fmla="*/ 1968 h 1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73" h="1982">
                  <a:moveTo>
                    <a:pt x="1870" y="1973"/>
                  </a:moveTo>
                  <a:lnTo>
                    <a:pt x="1877" y="1964"/>
                  </a:lnTo>
                  <a:lnTo>
                    <a:pt x="1884" y="1953"/>
                  </a:lnTo>
                  <a:lnTo>
                    <a:pt x="1891" y="1943"/>
                  </a:lnTo>
                  <a:lnTo>
                    <a:pt x="1898" y="1931"/>
                  </a:lnTo>
                  <a:lnTo>
                    <a:pt x="1903" y="1920"/>
                  </a:lnTo>
                  <a:lnTo>
                    <a:pt x="1908" y="1907"/>
                  </a:lnTo>
                  <a:lnTo>
                    <a:pt x="1912" y="1896"/>
                  </a:lnTo>
                  <a:lnTo>
                    <a:pt x="1914" y="1885"/>
                  </a:lnTo>
                  <a:lnTo>
                    <a:pt x="1920" y="1880"/>
                  </a:lnTo>
                  <a:lnTo>
                    <a:pt x="1925" y="1874"/>
                  </a:lnTo>
                  <a:lnTo>
                    <a:pt x="1929" y="1866"/>
                  </a:lnTo>
                  <a:lnTo>
                    <a:pt x="1934" y="1860"/>
                  </a:lnTo>
                  <a:lnTo>
                    <a:pt x="1936" y="1857"/>
                  </a:lnTo>
                  <a:lnTo>
                    <a:pt x="1939" y="1855"/>
                  </a:lnTo>
                  <a:lnTo>
                    <a:pt x="1941" y="1853"/>
                  </a:lnTo>
                  <a:lnTo>
                    <a:pt x="1946" y="1852"/>
                  </a:lnTo>
                  <a:lnTo>
                    <a:pt x="1949" y="1852"/>
                  </a:lnTo>
                  <a:lnTo>
                    <a:pt x="1954" y="1853"/>
                  </a:lnTo>
                  <a:lnTo>
                    <a:pt x="1958" y="1855"/>
                  </a:lnTo>
                  <a:lnTo>
                    <a:pt x="1964" y="1857"/>
                  </a:lnTo>
                  <a:lnTo>
                    <a:pt x="1972" y="1861"/>
                  </a:lnTo>
                  <a:lnTo>
                    <a:pt x="1979" y="1864"/>
                  </a:lnTo>
                  <a:lnTo>
                    <a:pt x="1986" y="1865"/>
                  </a:lnTo>
                  <a:lnTo>
                    <a:pt x="1992" y="1864"/>
                  </a:lnTo>
                  <a:lnTo>
                    <a:pt x="1996" y="1863"/>
                  </a:lnTo>
                  <a:lnTo>
                    <a:pt x="1998" y="1861"/>
                  </a:lnTo>
                  <a:lnTo>
                    <a:pt x="2000" y="1859"/>
                  </a:lnTo>
                  <a:lnTo>
                    <a:pt x="2003" y="1857"/>
                  </a:lnTo>
                  <a:lnTo>
                    <a:pt x="2006" y="1850"/>
                  </a:lnTo>
                  <a:lnTo>
                    <a:pt x="2008" y="1840"/>
                  </a:lnTo>
                  <a:lnTo>
                    <a:pt x="2017" y="1833"/>
                  </a:lnTo>
                  <a:lnTo>
                    <a:pt x="2026" y="1828"/>
                  </a:lnTo>
                  <a:lnTo>
                    <a:pt x="2035" y="1824"/>
                  </a:lnTo>
                  <a:lnTo>
                    <a:pt x="2044" y="1822"/>
                  </a:lnTo>
                  <a:lnTo>
                    <a:pt x="2052" y="1822"/>
                  </a:lnTo>
                  <a:lnTo>
                    <a:pt x="2060" y="1822"/>
                  </a:lnTo>
                  <a:lnTo>
                    <a:pt x="2069" y="1823"/>
                  </a:lnTo>
                  <a:lnTo>
                    <a:pt x="2077" y="1825"/>
                  </a:lnTo>
                  <a:lnTo>
                    <a:pt x="2094" y="1830"/>
                  </a:lnTo>
                  <a:lnTo>
                    <a:pt x="2110" y="1835"/>
                  </a:lnTo>
                  <a:lnTo>
                    <a:pt x="2120" y="1837"/>
                  </a:lnTo>
                  <a:lnTo>
                    <a:pt x="2129" y="1839"/>
                  </a:lnTo>
                  <a:lnTo>
                    <a:pt x="2139" y="1840"/>
                  </a:lnTo>
                  <a:lnTo>
                    <a:pt x="2150" y="1841"/>
                  </a:lnTo>
                  <a:lnTo>
                    <a:pt x="2321" y="1836"/>
                  </a:lnTo>
                  <a:lnTo>
                    <a:pt x="2321" y="1836"/>
                  </a:lnTo>
                  <a:lnTo>
                    <a:pt x="2326" y="1826"/>
                  </a:lnTo>
                  <a:lnTo>
                    <a:pt x="2331" y="1814"/>
                  </a:lnTo>
                  <a:lnTo>
                    <a:pt x="2335" y="1802"/>
                  </a:lnTo>
                  <a:lnTo>
                    <a:pt x="2341" y="1788"/>
                  </a:lnTo>
                  <a:lnTo>
                    <a:pt x="2345" y="1776"/>
                  </a:lnTo>
                  <a:lnTo>
                    <a:pt x="2350" y="1764"/>
                  </a:lnTo>
                  <a:lnTo>
                    <a:pt x="2356" y="1754"/>
                  </a:lnTo>
                  <a:lnTo>
                    <a:pt x="2363" y="1747"/>
                  </a:lnTo>
                  <a:lnTo>
                    <a:pt x="2368" y="1715"/>
                  </a:lnTo>
                  <a:lnTo>
                    <a:pt x="2373" y="1684"/>
                  </a:lnTo>
                  <a:lnTo>
                    <a:pt x="2373" y="1677"/>
                  </a:lnTo>
                  <a:lnTo>
                    <a:pt x="2372" y="1669"/>
                  </a:lnTo>
                  <a:lnTo>
                    <a:pt x="2371" y="1662"/>
                  </a:lnTo>
                  <a:lnTo>
                    <a:pt x="2369" y="1656"/>
                  </a:lnTo>
                  <a:lnTo>
                    <a:pt x="2365" y="1650"/>
                  </a:lnTo>
                  <a:lnTo>
                    <a:pt x="2360" y="1643"/>
                  </a:lnTo>
                  <a:lnTo>
                    <a:pt x="2354" y="1637"/>
                  </a:lnTo>
                  <a:lnTo>
                    <a:pt x="2346" y="1632"/>
                  </a:lnTo>
                  <a:lnTo>
                    <a:pt x="2318" y="1613"/>
                  </a:lnTo>
                  <a:lnTo>
                    <a:pt x="2305" y="1608"/>
                  </a:lnTo>
                  <a:lnTo>
                    <a:pt x="2292" y="1605"/>
                  </a:lnTo>
                  <a:lnTo>
                    <a:pt x="2284" y="1603"/>
                  </a:lnTo>
                  <a:lnTo>
                    <a:pt x="2278" y="1600"/>
                  </a:lnTo>
                  <a:lnTo>
                    <a:pt x="2273" y="1597"/>
                  </a:lnTo>
                  <a:lnTo>
                    <a:pt x="2268" y="1592"/>
                  </a:lnTo>
                  <a:lnTo>
                    <a:pt x="2265" y="1587"/>
                  </a:lnTo>
                  <a:lnTo>
                    <a:pt x="2261" y="1581"/>
                  </a:lnTo>
                  <a:lnTo>
                    <a:pt x="2259" y="1573"/>
                  </a:lnTo>
                  <a:lnTo>
                    <a:pt x="2257" y="1566"/>
                  </a:lnTo>
                  <a:lnTo>
                    <a:pt x="2255" y="1550"/>
                  </a:lnTo>
                  <a:lnTo>
                    <a:pt x="2254" y="1537"/>
                  </a:lnTo>
                  <a:lnTo>
                    <a:pt x="2251" y="1524"/>
                  </a:lnTo>
                  <a:lnTo>
                    <a:pt x="2250" y="1511"/>
                  </a:lnTo>
                  <a:lnTo>
                    <a:pt x="2249" y="1496"/>
                  </a:lnTo>
                  <a:lnTo>
                    <a:pt x="2248" y="1482"/>
                  </a:lnTo>
                  <a:lnTo>
                    <a:pt x="2246" y="1467"/>
                  </a:lnTo>
                  <a:lnTo>
                    <a:pt x="2243" y="1453"/>
                  </a:lnTo>
                  <a:lnTo>
                    <a:pt x="2241" y="1447"/>
                  </a:lnTo>
                  <a:lnTo>
                    <a:pt x="2237" y="1441"/>
                  </a:lnTo>
                  <a:lnTo>
                    <a:pt x="2233" y="1436"/>
                  </a:lnTo>
                  <a:lnTo>
                    <a:pt x="2229" y="1430"/>
                  </a:lnTo>
                  <a:lnTo>
                    <a:pt x="2224" y="1427"/>
                  </a:lnTo>
                  <a:lnTo>
                    <a:pt x="2218" y="1424"/>
                  </a:lnTo>
                  <a:lnTo>
                    <a:pt x="2210" y="1422"/>
                  </a:lnTo>
                  <a:lnTo>
                    <a:pt x="2203" y="1420"/>
                  </a:lnTo>
                  <a:lnTo>
                    <a:pt x="2185" y="1417"/>
                  </a:lnTo>
                  <a:lnTo>
                    <a:pt x="2168" y="1416"/>
                  </a:lnTo>
                  <a:lnTo>
                    <a:pt x="2150" y="1414"/>
                  </a:lnTo>
                  <a:lnTo>
                    <a:pt x="2135" y="1413"/>
                  </a:lnTo>
                  <a:lnTo>
                    <a:pt x="2129" y="1412"/>
                  </a:lnTo>
                  <a:lnTo>
                    <a:pt x="2125" y="1410"/>
                  </a:lnTo>
                  <a:lnTo>
                    <a:pt x="2122" y="1409"/>
                  </a:lnTo>
                  <a:lnTo>
                    <a:pt x="2120" y="1405"/>
                  </a:lnTo>
                  <a:lnTo>
                    <a:pt x="2119" y="1402"/>
                  </a:lnTo>
                  <a:lnTo>
                    <a:pt x="2119" y="1399"/>
                  </a:lnTo>
                  <a:lnTo>
                    <a:pt x="2120" y="1395"/>
                  </a:lnTo>
                  <a:lnTo>
                    <a:pt x="2121" y="1392"/>
                  </a:lnTo>
                  <a:lnTo>
                    <a:pt x="2124" y="1385"/>
                  </a:lnTo>
                  <a:lnTo>
                    <a:pt x="2128" y="1376"/>
                  </a:lnTo>
                  <a:lnTo>
                    <a:pt x="2133" y="1369"/>
                  </a:lnTo>
                  <a:lnTo>
                    <a:pt x="2136" y="1362"/>
                  </a:lnTo>
                  <a:lnTo>
                    <a:pt x="2137" y="1357"/>
                  </a:lnTo>
                  <a:lnTo>
                    <a:pt x="2138" y="1353"/>
                  </a:lnTo>
                  <a:lnTo>
                    <a:pt x="2138" y="1349"/>
                  </a:lnTo>
                  <a:lnTo>
                    <a:pt x="2138" y="1345"/>
                  </a:lnTo>
                  <a:lnTo>
                    <a:pt x="2133" y="1344"/>
                  </a:lnTo>
                  <a:lnTo>
                    <a:pt x="2128" y="1344"/>
                  </a:lnTo>
                  <a:lnTo>
                    <a:pt x="2123" y="1345"/>
                  </a:lnTo>
                  <a:lnTo>
                    <a:pt x="2118" y="1347"/>
                  </a:lnTo>
                  <a:lnTo>
                    <a:pt x="2105" y="1353"/>
                  </a:lnTo>
                  <a:lnTo>
                    <a:pt x="2093" y="1362"/>
                  </a:lnTo>
                  <a:lnTo>
                    <a:pt x="2069" y="1379"/>
                  </a:lnTo>
                  <a:lnTo>
                    <a:pt x="2050" y="1393"/>
                  </a:lnTo>
                  <a:lnTo>
                    <a:pt x="2045" y="1395"/>
                  </a:lnTo>
                  <a:lnTo>
                    <a:pt x="2038" y="1397"/>
                  </a:lnTo>
                  <a:lnTo>
                    <a:pt x="2033" y="1397"/>
                  </a:lnTo>
                  <a:lnTo>
                    <a:pt x="2027" y="1396"/>
                  </a:lnTo>
                  <a:lnTo>
                    <a:pt x="2014" y="1393"/>
                  </a:lnTo>
                  <a:lnTo>
                    <a:pt x="2002" y="1389"/>
                  </a:lnTo>
                  <a:lnTo>
                    <a:pt x="1989" y="1383"/>
                  </a:lnTo>
                  <a:lnTo>
                    <a:pt x="1977" y="1380"/>
                  </a:lnTo>
                  <a:lnTo>
                    <a:pt x="1969" y="1378"/>
                  </a:lnTo>
                  <a:lnTo>
                    <a:pt x="1963" y="1378"/>
                  </a:lnTo>
                  <a:lnTo>
                    <a:pt x="1957" y="1379"/>
                  </a:lnTo>
                  <a:lnTo>
                    <a:pt x="1951" y="1380"/>
                  </a:lnTo>
                  <a:lnTo>
                    <a:pt x="1939" y="1388"/>
                  </a:lnTo>
                  <a:lnTo>
                    <a:pt x="1924" y="1399"/>
                  </a:lnTo>
                  <a:lnTo>
                    <a:pt x="1915" y="1404"/>
                  </a:lnTo>
                  <a:lnTo>
                    <a:pt x="1908" y="1407"/>
                  </a:lnTo>
                  <a:lnTo>
                    <a:pt x="1905" y="1409"/>
                  </a:lnTo>
                  <a:lnTo>
                    <a:pt x="1902" y="1409"/>
                  </a:lnTo>
                  <a:lnTo>
                    <a:pt x="1899" y="1407"/>
                  </a:lnTo>
                  <a:lnTo>
                    <a:pt x="1895" y="1405"/>
                  </a:lnTo>
                  <a:lnTo>
                    <a:pt x="1894" y="1402"/>
                  </a:lnTo>
                  <a:lnTo>
                    <a:pt x="1892" y="1398"/>
                  </a:lnTo>
                  <a:lnTo>
                    <a:pt x="1892" y="1395"/>
                  </a:lnTo>
                  <a:lnTo>
                    <a:pt x="1892" y="1391"/>
                  </a:lnTo>
                  <a:lnTo>
                    <a:pt x="1895" y="1381"/>
                  </a:lnTo>
                  <a:lnTo>
                    <a:pt x="1899" y="1371"/>
                  </a:lnTo>
                  <a:lnTo>
                    <a:pt x="1908" y="1351"/>
                  </a:lnTo>
                  <a:lnTo>
                    <a:pt x="1914" y="1335"/>
                  </a:lnTo>
                  <a:lnTo>
                    <a:pt x="1914" y="1329"/>
                  </a:lnTo>
                  <a:lnTo>
                    <a:pt x="1914" y="1323"/>
                  </a:lnTo>
                  <a:lnTo>
                    <a:pt x="1912" y="1317"/>
                  </a:lnTo>
                  <a:lnTo>
                    <a:pt x="1910" y="1311"/>
                  </a:lnTo>
                  <a:lnTo>
                    <a:pt x="1903" y="1300"/>
                  </a:lnTo>
                  <a:lnTo>
                    <a:pt x="1894" y="1289"/>
                  </a:lnTo>
                  <a:lnTo>
                    <a:pt x="1886" y="1278"/>
                  </a:lnTo>
                  <a:lnTo>
                    <a:pt x="1880" y="1269"/>
                  </a:lnTo>
                  <a:lnTo>
                    <a:pt x="1878" y="1263"/>
                  </a:lnTo>
                  <a:lnTo>
                    <a:pt x="1877" y="1259"/>
                  </a:lnTo>
                  <a:lnTo>
                    <a:pt x="1876" y="1255"/>
                  </a:lnTo>
                  <a:lnTo>
                    <a:pt x="1878" y="1251"/>
                  </a:lnTo>
                  <a:lnTo>
                    <a:pt x="1881" y="1245"/>
                  </a:lnTo>
                  <a:lnTo>
                    <a:pt x="1885" y="1238"/>
                  </a:lnTo>
                  <a:lnTo>
                    <a:pt x="1890" y="1234"/>
                  </a:lnTo>
                  <a:lnTo>
                    <a:pt x="1895" y="1229"/>
                  </a:lnTo>
                  <a:lnTo>
                    <a:pt x="1900" y="1224"/>
                  </a:lnTo>
                  <a:lnTo>
                    <a:pt x="1903" y="1219"/>
                  </a:lnTo>
                  <a:lnTo>
                    <a:pt x="1906" y="1212"/>
                  </a:lnTo>
                  <a:lnTo>
                    <a:pt x="1907" y="1205"/>
                  </a:lnTo>
                  <a:lnTo>
                    <a:pt x="1906" y="1193"/>
                  </a:lnTo>
                  <a:lnTo>
                    <a:pt x="1904" y="1181"/>
                  </a:lnTo>
                  <a:lnTo>
                    <a:pt x="1902" y="1172"/>
                  </a:lnTo>
                  <a:lnTo>
                    <a:pt x="1898" y="1161"/>
                  </a:lnTo>
                  <a:lnTo>
                    <a:pt x="1890" y="1144"/>
                  </a:lnTo>
                  <a:lnTo>
                    <a:pt x="1882" y="1127"/>
                  </a:lnTo>
                  <a:lnTo>
                    <a:pt x="1878" y="1118"/>
                  </a:lnTo>
                  <a:lnTo>
                    <a:pt x="1875" y="1111"/>
                  </a:lnTo>
                  <a:lnTo>
                    <a:pt x="1873" y="1103"/>
                  </a:lnTo>
                  <a:lnTo>
                    <a:pt x="1871" y="1093"/>
                  </a:lnTo>
                  <a:lnTo>
                    <a:pt x="1873" y="1085"/>
                  </a:lnTo>
                  <a:lnTo>
                    <a:pt x="1875" y="1076"/>
                  </a:lnTo>
                  <a:lnTo>
                    <a:pt x="1878" y="1065"/>
                  </a:lnTo>
                  <a:lnTo>
                    <a:pt x="1884" y="1055"/>
                  </a:lnTo>
                  <a:lnTo>
                    <a:pt x="1886" y="1048"/>
                  </a:lnTo>
                  <a:lnTo>
                    <a:pt x="1887" y="1040"/>
                  </a:lnTo>
                  <a:lnTo>
                    <a:pt x="1887" y="1033"/>
                  </a:lnTo>
                  <a:lnTo>
                    <a:pt x="1887" y="1027"/>
                  </a:lnTo>
                  <a:lnTo>
                    <a:pt x="1887" y="1020"/>
                  </a:lnTo>
                  <a:lnTo>
                    <a:pt x="1886" y="1015"/>
                  </a:lnTo>
                  <a:lnTo>
                    <a:pt x="1884" y="1010"/>
                  </a:lnTo>
                  <a:lnTo>
                    <a:pt x="1882" y="1005"/>
                  </a:lnTo>
                  <a:lnTo>
                    <a:pt x="1879" y="1001"/>
                  </a:lnTo>
                  <a:lnTo>
                    <a:pt x="1875" y="996"/>
                  </a:lnTo>
                  <a:lnTo>
                    <a:pt x="1870" y="992"/>
                  </a:lnTo>
                  <a:lnTo>
                    <a:pt x="1866" y="989"/>
                  </a:lnTo>
                  <a:lnTo>
                    <a:pt x="1855" y="982"/>
                  </a:lnTo>
                  <a:lnTo>
                    <a:pt x="1841" y="976"/>
                  </a:lnTo>
                  <a:lnTo>
                    <a:pt x="1836" y="972"/>
                  </a:lnTo>
                  <a:lnTo>
                    <a:pt x="1831" y="969"/>
                  </a:lnTo>
                  <a:lnTo>
                    <a:pt x="1826" y="966"/>
                  </a:lnTo>
                  <a:lnTo>
                    <a:pt x="1821" y="962"/>
                  </a:lnTo>
                  <a:lnTo>
                    <a:pt x="1813" y="953"/>
                  </a:lnTo>
                  <a:lnTo>
                    <a:pt x="1808" y="943"/>
                  </a:lnTo>
                  <a:lnTo>
                    <a:pt x="1803" y="932"/>
                  </a:lnTo>
                  <a:lnTo>
                    <a:pt x="1800" y="920"/>
                  </a:lnTo>
                  <a:lnTo>
                    <a:pt x="1797" y="909"/>
                  </a:lnTo>
                  <a:lnTo>
                    <a:pt x="1796" y="895"/>
                  </a:lnTo>
                  <a:lnTo>
                    <a:pt x="1795" y="882"/>
                  </a:lnTo>
                  <a:lnTo>
                    <a:pt x="1792" y="869"/>
                  </a:lnTo>
                  <a:lnTo>
                    <a:pt x="1790" y="856"/>
                  </a:lnTo>
                  <a:lnTo>
                    <a:pt x="1788" y="843"/>
                  </a:lnTo>
                  <a:lnTo>
                    <a:pt x="1781" y="837"/>
                  </a:lnTo>
                  <a:lnTo>
                    <a:pt x="1776" y="832"/>
                  </a:lnTo>
                  <a:lnTo>
                    <a:pt x="1770" y="824"/>
                  </a:lnTo>
                  <a:lnTo>
                    <a:pt x="1767" y="818"/>
                  </a:lnTo>
                  <a:lnTo>
                    <a:pt x="1764" y="811"/>
                  </a:lnTo>
                  <a:lnTo>
                    <a:pt x="1762" y="803"/>
                  </a:lnTo>
                  <a:lnTo>
                    <a:pt x="1761" y="795"/>
                  </a:lnTo>
                  <a:lnTo>
                    <a:pt x="1761" y="788"/>
                  </a:lnTo>
                  <a:lnTo>
                    <a:pt x="1762" y="780"/>
                  </a:lnTo>
                  <a:lnTo>
                    <a:pt x="1764" y="772"/>
                  </a:lnTo>
                  <a:lnTo>
                    <a:pt x="1766" y="765"/>
                  </a:lnTo>
                  <a:lnTo>
                    <a:pt x="1769" y="758"/>
                  </a:lnTo>
                  <a:lnTo>
                    <a:pt x="1773" y="751"/>
                  </a:lnTo>
                  <a:lnTo>
                    <a:pt x="1779" y="745"/>
                  </a:lnTo>
                  <a:lnTo>
                    <a:pt x="1785" y="739"/>
                  </a:lnTo>
                  <a:lnTo>
                    <a:pt x="1792" y="734"/>
                  </a:lnTo>
                  <a:lnTo>
                    <a:pt x="1792" y="734"/>
                  </a:lnTo>
                  <a:lnTo>
                    <a:pt x="1784" y="726"/>
                  </a:lnTo>
                  <a:lnTo>
                    <a:pt x="1778" y="719"/>
                  </a:lnTo>
                  <a:lnTo>
                    <a:pt x="1769" y="713"/>
                  </a:lnTo>
                  <a:lnTo>
                    <a:pt x="1761" y="706"/>
                  </a:lnTo>
                  <a:lnTo>
                    <a:pt x="1755" y="705"/>
                  </a:lnTo>
                  <a:lnTo>
                    <a:pt x="1747" y="705"/>
                  </a:lnTo>
                  <a:lnTo>
                    <a:pt x="1740" y="705"/>
                  </a:lnTo>
                  <a:lnTo>
                    <a:pt x="1733" y="706"/>
                  </a:lnTo>
                  <a:lnTo>
                    <a:pt x="1726" y="707"/>
                  </a:lnTo>
                  <a:lnTo>
                    <a:pt x="1718" y="706"/>
                  </a:lnTo>
                  <a:lnTo>
                    <a:pt x="1715" y="706"/>
                  </a:lnTo>
                  <a:lnTo>
                    <a:pt x="1712" y="704"/>
                  </a:lnTo>
                  <a:lnTo>
                    <a:pt x="1710" y="703"/>
                  </a:lnTo>
                  <a:lnTo>
                    <a:pt x="1708" y="700"/>
                  </a:lnTo>
                  <a:lnTo>
                    <a:pt x="1704" y="694"/>
                  </a:lnTo>
                  <a:lnTo>
                    <a:pt x="1699" y="690"/>
                  </a:lnTo>
                  <a:lnTo>
                    <a:pt x="1697" y="688"/>
                  </a:lnTo>
                  <a:lnTo>
                    <a:pt x="1694" y="687"/>
                  </a:lnTo>
                  <a:lnTo>
                    <a:pt x="1691" y="686"/>
                  </a:lnTo>
                  <a:lnTo>
                    <a:pt x="1686" y="686"/>
                  </a:lnTo>
                  <a:lnTo>
                    <a:pt x="1674" y="688"/>
                  </a:lnTo>
                  <a:lnTo>
                    <a:pt x="1661" y="691"/>
                  </a:lnTo>
                  <a:lnTo>
                    <a:pt x="1655" y="693"/>
                  </a:lnTo>
                  <a:lnTo>
                    <a:pt x="1648" y="693"/>
                  </a:lnTo>
                  <a:lnTo>
                    <a:pt x="1643" y="692"/>
                  </a:lnTo>
                  <a:lnTo>
                    <a:pt x="1639" y="690"/>
                  </a:lnTo>
                  <a:lnTo>
                    <a:pt x="1636" y="684"/>
                  </a:lnTo>
                  <a:lnTo>
                    <a:pt x="1634" y="679"/>
                  </a:lnTo>
                  <a:lnTo>
                    <a:pt x="1633" y="673"/>
                  </a:lnTo>
                  <a:lnTo>
                    <a:pt x="1633" y="667"/>
                  </a:lnTo>
                  <a:lnTo>
                    <a:pt x="1634" y="660"/>
                  </a:lnTo>
                  <a:lnTo>
                    <a:pt x="1633" y="654"/>
                  </a:lnTo>
                  <a:lnTo>
                    <a:pt x="1633" y="649"/>
                  </a:lnTo>
                  <a:lnTo>
                    <a:pt x="1630" y="645"/>
                  </a:lnTo>
                  <a:lnTo>
                    <a:pt x="1611" y="646"/>
                  </a:lnTo>
                  <a:lnTo>
                    <a:pt x="1591" y="648"/>
                  </a:lnTo>
                  <a:lnTo>
                    <a:pt x="1570" y="650"/>
                  </a:lnTo>
                  <a:lnTo>
                    <a:pt x="1549" y="651"/>
                  </a:lnTo>
                  <a:lnTo>
                    <a:pt x="1539" y="651"/>
                  </a:lnTo>
                  <a:lnTo>
                    <a:pt x="1527" y="650"/>
                  </a:lnTo>
                  <a:lnTo>
                    <a:pt x="1516" y="648"/>
                  </a:lnTo>
                  <a:lnTo>
                    <a:pt x="1504" y="646"/>
                  </a:lnTo>
                  <a:lnTo>
                    <a:pt x="1482" y="639"/>
                  </a:lnTo>
                  <a:lnTo>
                    <a:pt x="1460" y="631"/>
                  </a:lnTo>
                  <a:lnTo>
                    <a:pt x="1453" y="628"/>
                  </a:lnTo>
                  <a:lnTo>
                    <a:pt x="1447" y="624"/>
                  </a:lnTo>
                  <a:lnTo>
                    <a:pt x="1440" y="619"/>
                  </a:lnTo>
                  <a:lnTo>
                    <a:pt x="1433" y="614"/>
                  </a:lnTo>
                  <a:lnTo>
                    <a:pt x="1417" y="599"/>
                  </a:lnTo>
                  <a:lnTo>
                    <a:pt x="1401" y="582"/>
                  </a:lnTo>
                  <a:lnTo>
                    <a:pt x="1387" y="565"/>
                  </a:lnTo>
                  <a:lnTo>
                    <a:pt x="1374" y="548"/>
                  </a:lnTo>
                  <a:lnTo>
                    <a:pt x="1369" y="539"/>
                  </a:lnTo>
                  <a:lnTo>
                    <a:pt x="1364" y="531"/>
                  </a:lnTo>
                  <a:lnTo>
                    <a:pt x="1361" y="524"/>
                  </a:lnTo>
                  <a:lnTo>
                    <a:pt x="1358" y="518"/>
                  </a:lnTo>
                  <a:lnTo>
                    <a:pt x="1355" y="505"/>
                  </a:lnTo>
                  <a:lnTo>
                    <a:pt x="1353" y="493"/>
                  </a:lnTo>
                  <a:lnTo>
                    <a:pt x="1353" y="479"/>
                  </a:lnTo>
                  <a:lnTo>
                    <a:pt x="1353" y="466"/>
                  </a:lnTo>
                  <a:lnTo>
                    <a:pt x="1352" y="454"/>
                  </a:lnTo>
                  <a:lnTo>
                    <a:pt x="1351" y="440"/>
                  </a:lnTo>
                  <a:lnTo>
                    <a:pt x="1349" y="429"/>
                  </a:lnTo>
                  <a:lnTo>
                    <a:pt x="1345" y="416"/>
                  </a:lnTo>
                  <a:lnTo>
                    <a:pt x="1342" y="412"/>
                  </a:lnTo>
                  <a:lnTo>
                    <a:pt x="1339" y="408"/>
                  </a:lnTo>
                  <a:lnTo>
                    <a:pt x="1335" y="404"/>
                  </a:lnTo>
                  <a:lnTo>
                    <a:pt x="1330" y="400"/>
                  </a:lnTo>
                  <a:lnTo>
                    <a:pt x="1320" y="392"/>
                  </a:lnTo>
                  <a:lnTo>
                    <a:pt x="1309" y="386"/>
                  </a:lnTo>
                  <a:lnTo>
                    <a:pt x="1299" y="379"/>
                  </a:lnTo>
                  <a:lnTo>
                    <a:pt x="1291" y="373"/>
                  </a:lnTo>
                  <a:lnTo>
                    <a:pt x="1288" y="368"/>
                  </a:lnTo>
                  <a:lnTo>
                    <a:pt x="1286" y="364"/>
                  </a:lnTo>
                  <a:lnTo>
                    <a:pt x="1283" y="360"/>
                  </a:lnTo>
                  <a:lnTo>
                    <a:pt x="1283" y="356"/>
                  </a:lnTo>
                  <a:lnTo>
                    <a:pt x="1284" y="342"/>
                  </a:lnTo>
                  <a:lnTo>
                    <a:pt x="1288" y="329"/>
                  </a:lnTo>
                  <a:lnTo>
                    <a:pt x="1290" y="322"/>
                  </a:lnTo>
                  <a:lnTo>
                    <a:pt x="1291" y="315"/>
                  </a:lnTo>
                  <a:lnTo>
                    <a:pt x="1291" y="309"/>
                  </a:lnTo>
                  <a:lnTo>
                    <a:pt x="1291" y="302"/>
                  </a:lnTo>
                  <a:lnTo>
                    <a:pt x="1289" y="297"/>
                  </a:lnTo>
                  <a:lnTo>
                    <a:pt x="1288" y="294"/>
                  </a:lnTo>
                  <a:lnTo>
                    <a:pt x="1284" y="290"/>
                  </a:lnTo>
                  <a:lnTo>
                    <a:pt x="1281" y="287"/>
                  </a:lnTo>
                  <a:lnTo>
                    <a:pt x="1274" y="280"/>
                  </a:lnTo>
                  <a:lnTo>
                    <a:pt x="1265" y="273"/>
                  </a:lnTo>
                  <a:lnTo>
                    <a:pt x="1245" y="263"/>
                  </a:lnTo>
                  <a:lnTo>
                    <a:pt x="1228" y="255"/>
                  </a:lnTo>
                  <a:lnTo>
                    <a:pt x="1222" y="252"/>
                  </a:lnTo>
                  <a:lnTo>
                    <a:pt x="1218" y="248"/>
                  </a:lnTo>
                  <a:lnTo>
                    <a:pt x="1214" y="243"/>
                  </a:lnTo>
                  <a:lnTo>
                    <a:pt x="1210" y="238"/>
                  </a:lnTo>
                  <a:lnTo>
                    <a:pt x="1205" y="227"/>
                  </a:lnTo>
                  <a:lnTo>
                    <a:pt x="1201" y="214"/>
                  </a:lnTo>
                  <a:lnTo>
                    <a:pt x="1197" y="199"/>
                  </a:lnTo>
                  <a:lnTo>
                    <a:pt x="1192" y="186"/>
                  </a:lnTo>
                  <a:lnTo>
                    <a:pt x="1189" y="180"/>
                  </a:lnTo>
                  <a:lnTo>
                    <a:pt x="1184" y="173"/>
                  </a:lnTo>
                  <a:lnTo>
                    <a:pt x="1179" y="168"/>
                  </a:lnTo>
                  <a:lnTo>
                    <a:pt x="1174" y="163"/>
                  </a:lnTo>
                  <a:lnTo>
                    <a:pt x="1145" y="139"/>
                  </a:lnTo>
                  <a:lnTo>
                    <a:pt x="1103" y="105"/>
                  </a:lnTo>
                  <a:lnTo>
                    <a:pt x="1081" y="89"/>
                  </a:lnTo>
                  <a:lnTo>
                    <a:pt x="1061" y="75"/>
                  </a:lnTo>
                  <a:lnTo>
                    <a:pt x="1053" y="70"/>
                  </a:lnTo>
                  <a:lnTo>
                    <a:pt x="1045" y="66"/>
                  </a:lnTo>
                  <a:lnTo>
                    <a:pt x="1038" y="63"/>
                  </a:lnTo>
                  <a:lnTo>
                    <a:pt x="1033" y="62"/>
                  </a:lnTo>
                  <a:lnTo>
                    <a:pt x="1003" y="64"/>
                  </a:lnTo>
                  <a:lnTo>
                    <a:pt x="974" y="67"/>
                  </a:lnTo>
                  <a:lnTo>
                    <a:pt x="959" y="68"/>
                  </a:lnTo>
                  <a:lnTo>
                    <a:pt x="945" y="69"/>
                  </a:lnTo>
                  <a:lnTo>
                    <a:pt x="930" y="69"/>
                  </a:lnTo>
                  <a:lnTo>
                    <a:pt x="914" y="67"/>
                  </a:lnTo>
                  <a:lnTo>
                    <a:pt x="908" y="64"/>
                  </a:lnTo>
                  <a:lnTo>
                    <a:pt x="900" y="58"/>
                  </a:lnTo>
                  <a:lnTo>
                    <a:pt x="889" y="48"/>
                  </a:lnTo>
                  <a:lnTo>
                    <a:pt x="879" y="37"/>
                  </a:lnTo>
                  <a:lnTo>
                    <a:pt x="868" y="26"/>
                  </a:lnTo>
                  <a:lnTo>
                    <a:pt x="860" y="15"/>
                  </a:lnTo>
                  <a:lnTo>
                    <a:pt x="855" y="6"/>
                  </a:lnTo>
                  <a:lnTo>
                    <a:pt x="853" y="0"/>
                  </a:lnTo>
                  <a:lnTo>
                    <a:pt x="851" y="0"/>
                  </a:lnTo>
                  <a:lnTo>
                    <a:pt x="849" y="2"/>
                  </a:lnTo>
                  <a:lnTo>
                    <a:pt x="847" y="4"/>
                  </a:lnTo>
                  <a:lnTo>
                    <a:pt x="844" y="8"/>
                  </a:lnTo>
                  <a:lnTo>
                    <a:pt x="840" y="17"/>
                  </a:lnTo>
                  <a:lnTo>
                    <a:pt x="835" y="26"/>
                  </a:lnTo>
                  <a:lnTo>
                    <a:pt x="827" y="47"/>
                  </a:lnTo>
                  <a:lnTo>
                    <a:pt x="822" y="61"/>
                  </a:lnTo>
                  <a:lnTo>
                    <a:pt x="817" y="70"/>
                  </a:lnTo>
                  <a:lnTo>
                    <a:pt x="813" y="77"/>
                  </a:lnTo>
                  <a:lnTo>
                    <a:pt x="809" y="86"/>
                  </a:lnTo>
                  <a:lnTo>
                    <a:pt x="804" y="92"/>
                  </a:lnTo>
                  <a:lnTo>
                    <a:pt x="791" y="105"/>
                  </a:lnTo>
                  <a:lnTo>
                    <a:pt x="777" y="119"/>
                  </a:lnTo>
                  <a:lnTo>
                    <a:pt x="777" y="119"/>
                  </a:lnTo>
                  <a:lnTo>
                    <a:pt x="779" y="126"/>
                  </a:lnTo>
                  <a:lnTo>
                    <a:pt x="780" y="135"/>
                  </a:lnTo>
                  <a:lnTo>
                    <a:pt x="781" y="143"/>
                  </a:lnTo>
                  <a:lnTo>
                    <a:pt x="781" y="150"/>
                  </a:lnTo>
                  <a:lnTo>
                    <a:pt x="781" y="159"/>
                  </a:lnTo>
                  <a:lnTo>
                    <a:pt x="780" y="167"/>
                  </a:lnTo>
                  <a:lnTo>
                    <a:pt x="778" y="174"/>
                  </a:lnTo>
                  <a:lnTo>
                    <a:pt x="776" y="183"/>
                  </a:lnTo>
                  <a:lnTo>
                    <a:pt x="774" y="190"/>
                  </a:lnTo>
                  <a:lnTo>
                    <a:pt x="769" y="197"/>
                  </a:lnTo>
                  <a:lnTo>
                    <a:pt x="766" y="205"/>
                  </a:lnTo>
                  <a:lnTo>
                    <a:pt x="761" y="212"/>
                  </a:lnTo>
                  <a:lnTo>
                    <a:pt x="757" y="218"/>
                  </a:lnTo>
                  <a:lnTo>
                    <a:pt x="751" y="224"/>
                  </a:lnTo>
                  <a:lnTo>
                    <a:pt x="745" y="230"/>
                  </a:lnTo>
                  <a:lnTo>
                    <a:pt x="738" y="235"/>
                  </a:lnTo>
                  <a:lnTo>
                    <a:pt x="727" y="244"/>
                  </a:lnTo>
                  <a:lnTo>
                    <a:pt x="715" y="256"/>
                  </a:lnTo>
                  <a:lnTo>
                    <a:pt x="703" y="266"/>
                  </a:lnTo>
                  <a:lnTo>
                    <a:pt x="691" y="276"/>
                  </a:lnTo>
                  <a:lnTo>
                    <a:pt x="680" y="286"/>
                  </a:lnTo>
                  <a:lnTo>
                    <a:pt x="669" y="295"/>
                  </a:lnTo>
                  <a:lnTo>
                    <a:pt x="660" y="306"/>
                  </a:lnTo>
                  <a:lnTo>
                    <a:pt x="651" y="315"/>
                  </a:lnTo>
                  <a:lnTo>
                    <a:pt x="649" y="327"/>
                  </a:lnTo>
                  <a:lnTo>
                    <a:pt x="648" y="338"/>
                  </a:lnTo>
                  <a:lnTo>
                    <a:pt x="646" y="351"/>
                  </a:lnTo>
                  <a:lnTo>
                    <a:pt x="643" y="362"/>
                  </a:lnTo>
                  <a:lnTo>
                    <a:pt x="640" y="374"/>
                  </a:lnTo>
                  <a:lnTo>
                    <a:pt x="635" y="384"/>
                  </a:lnTo>
                  <a:lnTo>
                    <a:pt x="629" y="394"/>
                  </a:lnTo>
                  <a:lnTo>
                    <a:pt x="622" y="405"/>
                  </a:lnTo>
                  <a:lnTo>
                    <a:pt x="610" y="424"/>
                  </a:lnTo>
                  <a:lnTo>
                    <a:pt x="599" y="445"/>
                  </a:lnTo>
                  <a:lnTo>
                    <a:pt x="594" y="454"/>
                  </a:lnTo>
                  <a:lnTo>
                    <a:pt x="588" y="464"/>
                  </a:lnTo>
                  <a:lnTo>
                    <a:pt x="581" y="473"/>
                  </a:lnTo>
                  <a:lnTo>
                    <a:pt x="572" y="481"/>
                  </a:lnTo>
                  <a:lnTo>
                    <a:pt x="538" y="488"/>
                  </a:lnTo>
                  <a:lnTo>
                    <a:pt x="505" y="498"/>
                  </a:lnTo>
                  <a:lnTo>
                    <a:pt x="488" y="503"/>
                  </a:lnTo>
                  <a:lnTo>
                    <a:pt x="473" y="511"/>
                  </a:lnTo>
                  <a:lnTo>
                    <a:pt x="466" y="515"/>
                  </a:lnTo>
                  <a:lnTo>
                    <a:pt x="460" y="521"/>
                  </a:lnTo>
                  <a:lnTo>
                    <a:pt x="453" y="527"/>
                  </a:lnTo>
                  <a:lnTo>
                    <a:pt x="447" y="533"/>
                  </a:lnTo>
                  <a:lnTo>
                    <a:pt x="441" y="543"/>
                  </a:lnTo>
                  <a:lnTo>
                    <a:pt x="436" y="550"/>
                  </a:lnTo>
                  <a:lnTo>
                    <a:pt x="433" y="557"/>
                  </a:lnTo>
                  <a:lnTo>
                    <a:pt x="429" y="565"/>
                  </a:lnTo>
                  <a:lnTo>
                    <a:pt x="427" y="571"/>
                  </a:lnTo>
                  <a:lnTo>
                    <a:pt x="426" y="577"/>
                  </a:lnTo>
                  <a:lnTo>
                    <a:pt x="425" y="583"/>
                  </a:lnTo>
                  <a:lnTo>
                    <a:pt x="425" y="589"/>
                  </a:lnTo>
                  <a:lnTo>
                    <a:pt x="425" y="601"/>
                  </a:lnTo>
                  <a:lnTo>
                    <a:pt x="425" y="615"/>
                  </a:lnTo>
                  <a:lnTo>
                    <a:pt x="424" y="629"/>
                  </a:lnTo>
                  <a:lnTo>
                    <a:pt x="421" y="646"/>
                  </a:lnTo>
                  <a:lnTo>
                    <a:pt x="348" y="655"/>
                  </a:lnTo>
                  <a:lnTo>
                    <a:pt x="344" y="655"/>
                  </a:lnTo>
                  <a:lnTo>
                    <a:pt x="342" y="653"/>
                  </a:lnTo>
                  <a:lnTo>
                    <a:pt x="340" y="649"/>
                  </a:lnTo>
                  <a:lnTo>
                    <a:pt x="339" y="645"/>
                  </a:lnTo>
                  <a:lnTo>
                    <a:pt x="338" y="632"/>
                  </a:lnTo>
                  <a:lnTo>
                    <a:pt x="339" y="617"/>
                  </a:lnTo>
                  <a:lnTo>
                    <a:pt x="339" y="609"/>
                  </a:lnTo>
                  <a:lnTo>
                    <a:pt x="339" y="601"/>
                  </a:lnTo>
                  <a:lnTo>
                    <a:pt x="338" y="593"/>
                  </a:lnTo>
                  <a:lnTo>
                    <a:pt x="336" y="585"/>
                  </a:lnTo>
                  <a:lnTo>
                    <a:pt x="334" y="578"/>
                  </a:lnTo>
                  <a:lnTo>
                    <a:pt x="330" y="572"/>
                  </a:lnTo>
                  <a:lnTo>
                    <a:pt x="325" y="567"/>
                  </a:lnTo>
                  <a:lnTo>
                    <a:pt x="319" y="561"/>
                  </a:lnTo>
                  <a:lnTo>
                    <a:pt x="297" y="553"/>
                  </a:lnTo>
                  <a:lnTo>
                    <a:pt x="273" y="544"/>
                  </a:lnTo>
                  <a:lnTo>
                    <a:pt x="267" y="541"/>
                  </a:lnTo>
                  <a:lnTo>
                    <a:pt x="262" y="537"/>
                  </a:lnTo>
                  <a:lnTo>
                    <a:pt x="257" y="534"/>
                  </a:lnTo>
                  <a:lnTo>
                    <a:pt x="253" y="530"/>
                  </a:lnTo>
                  <a:lnTo>
                    <a:pt x="250" y="526"/>
                  </a:lnTo>
                  <a:lnTo>
                    <a:pt x="247" y="521"/>
                  </a:lnTo>
                  <a:lnTo>
                    <a:pt x="246" y="515"/>
                  </a:lnTo>
                  <a:lnTo>
                    <a:pt x="245" y="510"/>
                  </a:lnTo>
                  <a:lnTo>
                    <a:pt x="245" y="496"/>
                  </a:lnTo>
                  <a:lnTo>
                    <a:pt x="244" y="482"/>
                  </a:lnTo>
                  <a:lnTo>
                    <a:pt x="242" y="476"/>
                  </a:lnTo>
                  <a:lnTo>
                    <a:pt x="239" y="472"/>
                  </a:lnTo>
                  <a:lnTo>
                    <a:pt x="237" y="470"/>
                  </a:lnTo>
                  <a:lnTo>
                    <a:pt x="233" y="467"/>
                  </a:lnTo>
                  <a:lnTo>
                    <a:pt x="230" y="466"/>
                  </a:lnTo>
                  <a:lnTo>
                    <a:pt x="226" y="465"/>
                  </a:lnTo>
                  <a:lnTo>
                    <a:pt x="215" y="461"/>
                  </a:lnTo>
                  <a:lnTo>
                    <a:pt x="202" y="454"/>
                  </a:lnTo>
                  <a:lnTo>
                    <a:pt x="196" y="451"/>
                  </a:lnTo>
                  <a:lnTo>
                    <a:pt x="190" y="448"/>
                  </a:lnTo>
                  <a:lnTo>
                    <a:pt x="183" y="446"/>
                  </a:lnTo>
                  <a:lnTo>
                    <a:pt x="178" y="445"/>
                  </a:lnTo>
                  <a:lnTo>
                    <a:pt x="174" y="455"/>
                  </a:lnTo>
                  <a:lnTo>
                    <a:pt x="165" y="480"/>
                  </a:lnTo>
                  <a:lnTo>
                    <a:pt x="158" y="494"/>
                  </a:lnTo>
                  <a:lnTo>
                    <a:pt x="153" y="507"/>
                  </a:lnTo>
                  <a:lnTo>
                    <a:pt x="147" y="518"/>
                  </a:lnTo>
                  <a:lnTo>
                    <a:pt x="142" y="525"/>
                  </a:lnTo>
                  <a:lnTo>
                    <a:pt x="133" y="532"/>
                  </a:lnTo>
                  <a:lnTo>
                    <a:pt x="124" y="538"/>
                  </a:lnTo>
                  <a:lnTo>
                    <a:pt x="116" y="543"/>
                  </a:lnTo>
                  <a:lnTo>
                    <a:pt x="106" y="547"/>
                  </a:lnTo>
                  <a:lnTo>
                    <a:pt x="96" y="549"/>
                  </a:lnTo>
                  <a:lnTo>
                    <a:pt x="85" y="551"/>
                  </a:lnTo>
                  <a:lnTo>
                    <a:pt x="75" y="552"/>
                  </a:lnTo>
                  <a:lnTo>
                    <a:pt x="65" y="552"/>
                  </a:lnTo>
                  <a:lnTo>
                    <a:pt x="60" y="556"/>
                  </a:lnTo>
                  <a:lnTo>
                    <a:pt x="53" y="560"/>
                  </a:lnTo>
                  <a:lnTo>
                    <a:pt x="44" y="565"/>
                  </a:lnTo>
                  <a:lnTo>
                    <a:pt x="33" y="569"/>
                  </a:lnTo>
                  <a:lnTo>
                    <a:pt x="13" y="576"/>
                  </a:lnTo>
                  <a:lnTo>
                    <a:pt x="0" y="580"/>
                  </a:lnTo>
                  <a:lnTo>
                    <a:pt x="0" y="590"/>
                  </a:lnTo>
                  <a:lnTo>
                    <a:pt x="1" y="598"/>
                  </a:lnTo>
                  <a:lnTo>
                    <a:pt x="2" y="605"/>
                  </a:lnTo>
                  <a:lnTo>
                    <a:pt x="4" y="611"/>
                  </a:lnTo>
                  <a:lnTo>
                    <a:pt x="9" y="623"/>
                  </a:lnTo>
                  <a:lnTo>
                    <a:pt x="16" y="633"/>
                  </a:lnTo>
                  <a:lnTo>
                    <a:pt x="30" y="653"/>
                  </a:lnTo>
                  <a:lnTo>
                    <a:pt x="47" y="677"/>
                  </a:lnTo>
                  <a:lnTo>
                    <a:pt x="49" y="682"/>
                  </a:lnTo>
                  <a:lnTo>
                    <a:pt x="51" y="689"/>
                  </a:lnTo>
                  <a:lnTo>
                    <a:pt x="51" y="694"/>
                  </a:lnTo>
                  <a:lnTo>
                    <a:pt x="51" y="699"/>
                  </a:lnTo>
                  <a:lnTo>
                    <a:pt x="49" y="711"/>
                  </a:lnTo>
                  <a:lnTo>
                    <a:pt x="46" y="721"/>
                  </a:lnTo>
                  <a:lnTo>
                    <a:pt x="41" y="731"/>
                  </a:lnTo>
                  <a:lnTo>
                    <a:pt x="36" y="743"/>
                  </a:lnTo>
                  <a:lnTo>
                    <a:pt x="32" y="753"/>
                  </a:lnTo>
                  <a:lnTo>
                    <a:pt x="31" y="765"/>
                  </a:lnTo>
                  <a:lnTo>
                    <a:pt x="31" y="774"/>
                  </a:lnTo>
                  <a:lnTo>
                    <a:pt x="33" y="783"/>
                  </a:lnTo>
                  <a:lnTo>
                    <a:pt x="36" y="790"/>
                  </a:lnTo>
                  <a:lnTo>
                    <a:pt x="41" y="796"/>
                  </a:lnTo>
                  <a:lnTo>
                    <a:pt x="45" y="802"/>
                  </a:lnTo>
                  <a:lnTo>
                    <a:pt x="51" y="809"/>
                  </a:lnTo>
                  <a:lnTo>
                    <a:pt x="56" y="814"/>
                  </a:lnTo>
                  <a:lnTo>
                    <a:pt x="62" y="818"/>
                  </a:lnTo>
                  <a:lnTo>
                    <a:pt x="74" y="828"/>
                  </a:lnTo>
                  <a:lnTo>
                    <a:pt x="84" y="840"/>
                  </a:lnTo>
                  <a:lnTo>
                    <a:pt x="89" y="846"/>
                  </a:lnTo>
                  <a:lnTo>
                    <a:pt x="92" y="854"/>
                  </a:lnTo>
                  <a:lnTo>
                    <a:pt x="93" y="861"/>
                  </a:lnTo>
                  <a:lnTo>
                    <a:pt x="94" y="870"/>
                  </a:lnTo>
                  <a:lnTo>
                    <a:pt x="85" y="988"/>
                  </a:lnTo>
                  <a:lnTo>
                    <a:pt x="85" y="988"/>
                  </a:lnTo>
                  <a:lnTo>
                    <a:pt x="93" y="1024"/>
                  </a:lnTo>
                  <a:lnTo>
                    <a:pt x="98" y="1053"/>
                  </a:lnTo>
                  <a:lnTo>
                    <a:pt x="101" y="1066"/>
                  </a:lnTo>
                  <a:lnTo>
                    <a:pt x="106" y="1081"/>
                  </a:lnTo>
                  <a:lnTo>
                    <a:pt x="113" y="1097"/>
                  </a:lnTo>
                  <a:lnTo>
                    <a:pt x="123" y="1114"/>
                  </a:lnTo>
                  <a:lnTo>
                    <a:pt x="135" y="1122"/>
                  </a:lnTo>
                  <a:lnTo>
                    <a:pt x="150" y="1131"/>
                  </a:lnTo>
                  <a:lnTo>
                    <a:pt x="165" y="1144"/>
                  </a:lnTo>
                  <a:lnTo>
                    <a:pt x="179" y="1157"/>
                  </a:lnTo>
                  <a:lnTo>
                    <a:pt x="193" y="1172"/>
                  </a:lnTo>
                  <a:lnTo>
                    <a:pt x="205" y="1186"/>
                  </a:lnTo>
                  <a:lnTo>
                    <a:pt x="216" y="1200"/>
                  </a:lnTo>
                  <a:lnTo>
                    <a:pt x="223" y="1213"/>
                  </a:lnTo>
                  <a:lnTo>
                    <a:pt x="268" y="1308"/>
                  </a:lnTo>
                  <a:lnTo>
                    <a:pt x="274" y="1320"/>
                  </a:lnTo>
                  <a:lnTo>
                    <a:pt x="280" y="1330"/>
                  </a:lnTo>
                  <a:lnTo>
                    <a:pt x="288" y="1341"/>
                  </a:lnTo>
                  <a:lnTo>
                    <a:pt x="295" y="1351"/>
                  </a:lnTo>
                  <a:lnTo>
                    <a:pt x="303" y="1361"/>
                  </a:lnTo>
                  <a:lnTo>
                    <a:pt x="312" y="1369"/>
                  </a:lnTo>
                  <a:lnTo>
                    <a:pt x="321" y="1377"/>
                  </a:lnTo>
                  <a:lnTo>
                    <a:pt x="330" y="1386"/>
                  </a:lnTo>
                  <a:lnTo>
                    <a:pt x="349" y="1400"/>
                  </a:lnTo>
                  <a:lnTo>
                    <a:pt x="370" y="1414"/>
                  </a:lnTo>
                  <a:lnTo>
                    <a:pt x="392" y="1426"/>
                  </a:lnTo>
                  <a:lnTo>
                    <a:pt x="414" y="1439"/>
                  </a:lnTo>
                  <a:lnTo>
                    <a:pt x="459" y="1462"/>
                  </a:lnTo>
                  <a:lnTo>
                    <a:pt x="502" y="1485"/>
                  </a:lnTo>
                  <a:lnTo>
                    <a:pt x="524" y="1497"/>
                  </a:lnTo>
                  <a:lnTo>
                    <a:pt x="544" y="1511"/>
                  </a:lnTo>
                  <a:lnTo>
                    <a:pt x="564" y="1525"/>
                  </a:lnTo>
                  <a:lnTo>
                    <a:pt x="582" y="1542"/>
                  </a:lnTo>
                  <a:lnTo>
                    <a:pt x="582" y="1548"/>
                  </a:lnTo>
                  <a:lnTo>
                    <a:pt x="582" y="1554"/>
                  </a:lnTo>
                  <a:lnTo>
                    <a:pt x="581" y="1558"/>
                  </a:lnTo>
                  <a:lnTo>
                    <a:pt x="580" y="1562"/>
                  </a:lnTo>
                  <a:lnTo>
                    <a:pt x="578" y="1566"/>
                  </a:lnTo>
                  <a:lnTo>
                    <a:pt x="575" y="1569"/>
                  </a:lnTo>
                  <a:lnTo>
                    <a:pt x="573" y="1571"/>
                  </a:lnTo>
                  <a:lnTo>
                    <a:pt x="570" y="1574"/>
                  </a:lnTo>
                  <a:lnTo>
                    <a:pt x="564" y="1578"/>
                  </a:lnTo>
                  <a:lnTo>
                    <a:pt x="557" y="1581"/>
                  </a:lnTo>
                  <a:lnTo>
                    <a:pt x="548" y="1583"/>
                  </a:lnTo>
                  <a:lnTo>
                    <a:pt x="540" y="1585"/>
                  </a:lnTo>
                  <a:lnTo>
                    <a:pt x="532" y="1587"/>
                  </a:lnTo>
                  <a:lnTo>
                    <a:pt x="524" y="1589"/>
                  </a:lnTo>
                  <a:lnTo>
                    <a:pt x="517" y="1592"/>
                  </a:lnTo>
                  <a:lnTo>
                    <a:pt x="511" y="1595"/>
                  </a:lnTo>
                  <a:lnTo>
                    <a:pt x="508" y="1598"/>
                  </a:lnTo>
                  <a:lnTo>
                    <a:pt x="506" y="1600"/>
                  </a:lnTo>
                  <a:lnTo>
                    <a:pt x="504" y="1604"/>
                  </a:lnTo>
                  <a:lnTo>
                    <a:pt x="502" y="1607"/>
                  </a:lnTo>
                  <a:lnTo>
                    <a:pt x="501" y="1611"/>
                  </a:lnTo>
                  <a:lnTo>
                    <a:pt x="500" y="1616"/>
                  </a:lnTo>
                  <a:lnTo>
                    <a:pt x="500" y="1620"/>
                  </a:lnTo>
                  <a:lnTo>
                    <a:pt x="501" y="1627"/>
                  </a:lnTo>
                  <a:lnTo>
                    <a:pt x="524" y="1638"/>
                  </a:lnTo>
                  <a:lnTo>
                    <a:pt x="547" y="1650"/>
                  </a:lnTo>
                  <a:lnTo>
                    <a:pt x="559" y="1655"/>
                  </a:lnTo>
                  <a:lnTo>
                    <a:pt x="570" y="1661"/>
                  </a:lnTo>
                  <a:lnTo>
                    <a:pt x="582" y="1668"/>
                  </a:lnTo>
                  <a:lnTo>
                    <a:pt x="591" y="1677"/>
                  </a:lnTo>
                  <a:lnTo>
                    <a:pt x="595" y="1680"/>
                  </a:lnTo>
                  <a:lnTo>
                    <a:pt x="599" y="1682"/>
                  </a:lnTo>
                  <a:lnTo>
                    <a:pt x="605" y="1684"/>
                  </a:lnTo>
                  <a:lnTo>
                    <a:pt x="609" y="1685"/>
                  </a:lnTo>
                  <a:lnTo>
                    <a:pt x="613" y="1685"/>
                  </a:lnTo>
                  <a:lnTo>
                    <a:pt x="618" y="1685"/>
                  </a:lnTo>
                  <a:lnTo>
                    <a:pt x="622" y="1684"/>
                  </a:lnTo>
                  <a:lnTo>
                    <a:pt x="628" y="1683"/>
                  </a:lnTo>
                  <a:lnTo>
                    <a:pt x="637" y="1679"/>
                  </a:lnTo>
                  <a:lnTo>
                    <a:pt x="646" y="1672"/>
                  </a:lnTo>
                  <a:lnTo>
                    <a:pt x="657" y="1665"/>
                  </a:lnTo>
                  <a:lnTo>
                    <a:pt x="667" y="1657"/>
                  </a:lnTo>
                  <a:lnTo>
                    <a:pt x="687" y="1639"/>
                  </a:lnTo>
                  <a:lnTo>
                    <a:pt x="708" y="1622"/>
                  </a:lnTo>
                  <a:lnTo>
                    <a:pt x="718" y="1614"/>
                  </a:lnTo>
                  <a:lnTo>
                    <a:pt x="728" y="1609"/>
                  </a:lnTo>
                  <a:lnTo>
                    <a:pt x="738" y="1604"/>
                  </a:lnTo>
                  <a:lnTo>
                    <a:pt x="747" y="1602"/>
                  </a:lnTo>
                  <a:lnTo>
                    <a:pt x="761" y="1599"/>
                  </a:lnTo>
                  <a:lnTo>
                    <a:pt x="779" y="1597"/>
                  </a:lnTo>
                  <a:lnTo>
                    <a:pt x="798" y="1596"/>
                  </a:lnTo>
                  <a:lnTo>
                    <a:pt x="817" y="1597"/>
                  </a:lnTo>
                  <a:lnTo>
                    <a:pt x="826" y="1598"/>
                  </a:lnTo>
                  <a:lnTo>
                    <a:pt x="834" y="1600"/>
                  </a:lnTo>
                  <a:lnTo>
                    <a:pt x="841" y="1604"/>
                  </a:lnTo>
                  <a:lnTo>
                    <a:pt x="849" y="1607"/>
                  </a:lnTo>
                  <a:lnTo>
                    <a:pt x="854" y="1611"/>
                  </a:lnTo>
                  <a:lnTo>
                    <a:pt x="857" y="1616"/>
                  </a:lnTo>
                  <a:lnTo>
                    <a:pt x="859" y="1622"/>
                  </a:lnTo>
                  <a:lnTo>
                    <a:pt x="859" y="1631"/>
                  </a:lnTo>
                  <a:lnTo>
                    <a:pt x="858" y="1637"/>
                  </a:lnTo>
                  <a:lnTo>
                    <a:pt x="859" y="1643"/>
                  </a:lnTo>
                  <a:lnTo>
                    <a:pt x="859" y="1650"/>
                  </a:lnTo>
                  <a:lnTo>
                    <a:pt x="861" y="1656"/>
                  </a:lnTo>
                  <a:lnTo>
                    <a:pt x="866" y="1669"/>
                  </a:lnTo>
                  <a:lnTo>
                    <a:pt x="873" y="1683"/>
                  </a:lnTo>
                  <a:lnTo>
                    <a:pt x="882" y="1697"/>
                  </a:lnTo>
                  <a:lnTo>
                    <a:pt x="891" y="1711"/>
                  </a:lnTo>
                  <a:lnTo>
                    <a:pt x="904" y="1726"/>
                  </a:lnTo>
                  <a:lnTo>
                    <a:pt x="916" y="1739"/>
                  </a:lnTo>
                  <a:lnTo>
                    <a:pt x="929" y="1752"/>
                  </a:lnTo>
                  <a:lnTo>
                    <a:pt x="944" y="1764"/>
                  </a:lnTo>
                  <a:lnTo>
                    <a:pt x="957" y="1775"/>
                  </a:lnTo>
                  <a:lnTo>
                    <a:pt x="972" y="1785"/>
                  </a:lnTo>
                  <a:lnTo>
                    <a:pt x="985" y="1795"/>
                  </a:lnTo>
                  <a:lnTo>
                    <a:pt x="999" y="1802"/>
                  </a:lnTo>
                  <a:lnTo>
                    <a:pt x="1011" y="1808"/>
                  </a:lnTo>
                  <a:lnTo>
                    <a:pt x="1022" y="1812"/>
                  </a:lnTo>
                  <a:lnTo>
                    <a:pt x="1026" y="1813"/>
                  </a:lnTo>
                  <a:lnTo>
                    <a:pt x="1028" y="1812"/>
                  </a:lnTo>
                  <a:lnTo>
                    <a:pt x="1031" y="1812"/>
                  </a:lnTo>
                  <a:lnTo>
                    <a:pt x="1033" y="1810"/>
                  </a:lnTo>
                  <a:lnTo>
                    <a:pt x="1036" y="1805"/>
                  </a:lnTo>
                  <a:lnTo>
                    <a:pt x="1038" y="1797"/>
                  </a:lnTo>
                  <a:lnTo>
                    <a:pt x="1040" y="1776"/>
                  </a:lnTo>
                  <a:lnTo>
                    <a:pt x="1042" y="1750"/>
                  </a:lnTo>
                  <a:lnTo>
                    <a:pt x="1042" y="1736"/>
                  </a:lnTo>
                  <a:lnTo>
                    <a:pt x="1044" y="1721"/>
                  </a:lnTo>
                  <a:lnTo>
                    <a:pt x="1045" y="1708"/>
                  </a:lnTo>
                  <a:lnTo>
                    <a:pt x="1048" y="1694"/>
                  </a:lnTo>
                  <a:lnTo>
                    <a:pt x="1052" y="1682"/>
                  </a:lnTo>
                  <a:lnTo>
                    <a:pt x="1057" y="1671"/>
                  </a:lnTo>
                  <a:lnTo>
                    <a:pt x="1060" y="1666"/>
                  </a:lnTo>
                  <a:lnTo>
                    <a:pt x="1064" y="1662"/>
                  </a:lnTo>
                  <a:lnTo>
                    <a:pt x="1069" y="1658"/>
                  </a:lnTo>
                  <a:lnTo>
                    <a:pt x="1073" y="1655"/>
                  </a:lnTo>
                  <a:lnTo>
                    <a:pt x="1106" y="1634"/>
                  </a:lnTo>
                  <a:lnTo>
                    <a:pt x="1147" y="1609"/>
                  </a:lnTo>
                  <a:lnTo>
                    <a:pt x="1169" y="1595"/>
                  </a:lnTo>
                  <a:lnTo>
                    <a:pt x="1192" y="1582"/>
                  </a:lnTo>
                  <a:lnTo>
                    <a:pt x="1216" y="1569"/>
                  </a:lnTo>
                  <a:lnTo>
                    <a:pt x="1241" y="1558"/>
                  </a:lnTo>
                  <a:lnTo>
                    <a:pt x="1265" y="1547"/>
                  </a:lnTo>
                  <a:lnTo>
                    <a:pt x="1290" y="1539"/>
                  </a:lnTo>
                  <a:lnTo>
                    <a:pt x="1301" y="1536"/>
                  </a:lnTo>
                  <a:lnTo>
                    <a:pt x="1314" y="1534"/>
                  </a:lnTo>
                  <a:lnTo>
                    <a:pt x="1325" y="1533"/>
                  </a:lnTo>
                  <a:lnTo>
                    <a:pt x="1338" y="1532"/>
                  </a:lnTo>
                  <a:lnTo>
                    <a:pt x="1349" y="1532"/>
                  </a:lnTo>
                  <a:lnTo>
                    <a:pt x="1360" y="1533"/>
                  </a:lnTo>
                  <a:lnTo>
                    <a:pt x="1371" y="1534"/>
                  </a:lnTo>
                  <a:lnTo>
                    <a:pt x="1381" y="1537"/>
                  </a:lnTo>
                  <a:lnTo>
                    <a:pt x="1392" y="1541"/>
                  </a:lnTo>
                  <a:lnTo>
                    <a:pt x="1401" y="1546"/>
                  </a:lnTo>
                  <a:lnTo>
                    <a:pt x="1411" y="1552"/>
                  </a:lnTo>
                  <a:lnTo>
                    <a:pt x="1420" y="1560"/>
                  </a:lnTo>
                  <a:lnTo>
                    <a:pt x="1428" y="1568"/>
                  </a:lnTo>
                  <a:lnTo>
                    <a:pt x="1435" y="1575"/>
                  </a:lnTo>
                  <a:lnTo>
                    <a:pt x="1441" y="1584"/>
                  </a:lnTo>
                  <a:lnTo>
                    <a:pt x="1447" y="1591"/>
                  </a:lnTo>
                  <a:lnTo>
                    <a:pt x="1451" y="1599"/>
                  </a:lnTo>
                  <a:lnTo>
                    <a:pt x="1455" y="1607"/>
                  </a:lnTo>
                  <a:lnTo>
                    <a:pt x="1458" y="1615"/>
                  </a:lnTo>
                  <a:lnTo>
                    <a:pt x="1459" y="1623"/>
                  </a:lnTo>
                  <a:lnTo>
                    <a:pt x="1460" y="1632"/>
                  </a:lnTo>
                  <a:lnTo>
                    <a:pt x="1459" y="1639"/>
                  </a:lnTo>
                  <a:lnTo>
                    <a:pt x="1457" y="1647"/>
                  </a:lnTo>
                  <a:lnTo>
                    <a:pt x="1453" y="1656"/>
                  </a:lnTo>
                  <a:lnTo>
                    <a:pt x="1449" y="1664"/>
                  </a:lnTo>
                  <a:lnTo>
                    <a:pt x="1443" y="1672"/>
                  </a:lnTo>
                  <a:lnTo>
                    <a:pt x="1436" y="1681"/>
                  </a:lnTo>
                  <a:lnTo>
                    <a:pt x="1426" y="1689"/>
                  </a:lnTo>
                  <a:lnTo>
                    <a:pt x="1421" y="1695"/>
                  </a:lnTo>
                  <a:lnTo>
                    <a:pt x="1416" y="1703"/>
                  </a:lnTo>
                  <a:lnTo>
                    <a:pt x="1413" y="1710"/>
                  </a:lnTo>
                  <a:lnTo>
                    <a:pt x="1411" y="1717"/>
                  </a:lnTo>
                  <a:lnTo>
                    <a:pt x="1410" y="1725"/>
                  </a:lnTo>
                  <a:lnTo>
                    <a:pt x="1411" y="1732"/>
                  </a:lnTo>
                  <a:lnTo>
                    <a:pt x="1412" y="1739"/>
                  </a:lnTo>
                  <a:lnTo>
                    <a:pt x="1414" y="1747"/>
                  </a:lnTo>
                  <a:lnTo>
                    <a:pt x="1418" y="1753"/>
                  </a:lnTo>
                  <a:lnTo>
                    <a:pt x="1423" y="1758"/>
                  </a:lnTo>
                  <a:lnTo>
                    <a:pt x="1429" y="1762"/>
                  </a:lnTo>
                  <a:lnTo>
                    <a:pt x="1437" y="1764"/>
                  </a:lnTo>
                  <a:lnTo>
                    <a:pt x="1445" y="1766"/>
                  </a:lnTo>
                  <a:lnTo>
                    <a:pt x="1454" y="1766"/>
                  </a:lnTo>
                  <a:lnTo>
                    <a:pt x="1465" y="1764"/>
                  </a:lnTo>
                  <a:lnTo>
                    <a:pt x="1476" y="1760"/>
                  </a:lnTo>
                  <a:lnTo>
                    <a:pt x="1486" y="1754"/>
                  </a:lnTo>
                  <a:lnTo>
                    <a:pt x="1493" y="1749"/>
                  </a:lnTo>
                  <a:lnTo>
                    <a:pt x="1499" y="1743"/>
                  </a:lnTo>
                  <a:lnTo>
                    <a:pt x="1504" y="1737"/>
                  </a:lnTo>
                  <a:lnTo>
                    <a:pt x="1510" y="1732"/>
                  </a:lnTo>
                  <a:lnTo>
                    <a:pt x="1514" y="1725"/>
                  </a:lnTo>
                  <a:lnTo>
                    <a:pt x="1518" y="1717"/>
                  </a:lnTo>
                  <a:lnTo>
                    <a:pt x="1522" y="1708"/>
                  </a:lnTo>
                  <a:lnTo>
                    <a:pt x="1524" y="1704"/>
                  </a:lnTo>
                  <a:lnTo>
                    <a:pt x="1526" y="1701"/>
                  </a:lnTo>
                  <a:lnTo>
                    <a:pt x="1529" y="1699"/>
                  </a:lnTo>
                  <a:lnTo>
                    <a:pt x="1532" y="1697"/>
                  </a:lnTo>
                  <a:lnTo>
                    <a:pt x="1535" y="1697"/>
                  </a:lnTo>
                  <a:lnTo>
                    <a:pt x="1538" y="1697"/>
                  </a:lnTo>
                  <a:lnTo>
                    <a:pt x="1541" y="1700"/>
                  </a:lnTo>
                  <a:lnTo>
                    <a:pt x="1544" y="1701"/>
                  </a:lnTo>
                  <a:lnTo>
                    <a:pt x="1555" y="1710"/>
                  </a:lnTo>
                  <a:lnTo>
                    <a:pt x="1563" y="1719"/>
                  </a:lnTo>
                  <a:lnTo>
                    <a:pt x="1563" y="1737"/>
                  </a:lnTo>
                  <a:lnTo>
                    <a:pt x="1563" y="1752"/>
                  </a:lnTo>
                  <a:lnTo>
                    <a:pt x="1562" y="1759"/>
                  </a:lnTo>
                  <a:lnTo>
                    <a:pt x="1560" y="1766"/>
                  </a:lnTo>
                  <a:lnTo>
                    <a:pt x="1556" y="1774"/>
                  </a:lnTo>
                  <a:lnTo>
                    <a:pt x="1550" y="1782"/>
                  </a:lnTo>
                  <a:lnTo>
                    <a:pt x="1551" y="1790"/>
                  </a:lnTo>
                  <a:lnTo>
                    <a:pt x="1553" y="1798"/>
                  </a:lnTo>
                  <a:lnTo>
                    <a:pt x="1557" y="1803"/>
                  </a:lnTo>
                  <a:lnTo>
                    <a:pt x="1561" y="1808"/>
                  </a:lnTo>
                  <a:lnTo>
                    <a:pt x="1570" y="1819"/>
                  </a:lnTo>
                  <a:lnTo>
                    <a:pt x="1580" y="1830"/>
                  </a:lnTo>
                  <a:lnTo>
                    <a:pt x="1584" y="1839"/>
                  </a:lnTo>
                  <a:lnTo>
                    <a:pt x="1586" y="1848"/>
                  </a:lnTo>
                  <a:lnTo>
                    <a:pt x="1587" y="1855"/>
                  </a:lnTo>
                  <a:lnTo>
                    <a:pt x="1587" y="1863"/>
                  </a:lnTo>
                  <a:lnTo>
                    <a:pt x="1584" y="1879"/>
                  </a:lnTo>
                  <a:lnTo>
                    <a:pt x="1580" y="1897"/>
                  </a:lnTo>
                  <a:lnTo>
                    <a:pt x="1580" y="1907"/>
                  </a:lnTo>
                  <a:lnTo>
                    <a:pt x="1581" y="1917"/>
                  </a:lnTo>
                  <a:lnTo>
                    <a:pt x="1584" y="1926"/>
                  </a:lnTo>
                  <a:lnTo>
                    <a:pt x="1588" y="1934"/>
                  </a:lnTo>
                  <a:lnTo>
                    <a:pt x="1594" y="1943"/>
                  </a:lnTo>
                  <a:lnTo>
                    <a:pt x="1601" y="1949"/>
                  </a:lnTo>
                  <a:lnTo>
                    <a:pt x="1610" y="1956"/>
                  </a:lnTo>
                  <a:lnTo>
                    <a:pt x="1618" y="1961"/>
                  </a:lnTo>
                  <a:lnTo>
                    <a:pt x="1629" y="1967"/>
                  </a:lnTo>
                  <a:lnTo>
                    <a:pt x="1638" y="1971"/>
                  </a:lnTo>
                  <a:lnTo>
                    <a:pt x="1648" y="1974"/>
                  </a:lnTo>
                  <a:lnTo>
                    <a:pt x="1660" y="1977"/>
                  </a:lnTo>
                  <a:lnTo>
                    <a:pt x="1670" y="1979"/>
                  </a:lnTo>
                  <a:lnTo>
                    <a:pt x="1680" y="1981"/>
                  </a:lnTo>
                  <a:lnTo>
                    <a:pt x="1690" y="1982"/>
                  </a:lnTo>
                  <a:lnTo>
                    <a:pt x="1698" y="1982"/>
                  </a:lnTo>
                  <a:lnTo>
                    <a:pt x="1713" y="1981"/>
                  </a:lnTo>
                  <a:lnTo>
                    <a:pt x="1727" y="1979"/>
                  </a:lnTo>
                  <a:lnTo>
                    <a:pt x="1740" y="1975"/>
                  </a:lnTo>
                  <a:lnTo>
                    <a:pt x="1753" y="1972"/>
                  </a:lnTo>
                  <a:lnTo>
                    <a:pt x="1766" y="1969"/>
                  </a:lnTo>
                  <a:lnTo>
                    <a:pt x="1779" y="1968"/>
                  </a:lnTo>
                  <a:lnTo>
                    <a:pt x="1786" y="1968"/>
                  </a:lnTo>
                  <a:lnTo>
                    <a:pt x="1792" y="1968"/>
                  </a:lnTo>
                  <a:lnTo>
                    <a:pt x="1798" y="1970"/>
                  </a:lnTo>
                  <a:lnTo>
                    <a:pt x="1806" y="1972"/>
                  </a:lnTo>
                  <a:lnTo>
                    <a:pt x="1813" y="1974"/>
                  </a:lnTo>
                  <a:lnTo>
                    <a:pt x="1821" y="1975"/>
                  </a:lnTo>
                  <a:lnTo>
                    <a:pt x="1829" y="1975"/>
                  </a:lnTo>
                  <a:lnTo>
                    <a:pt x="1837" y="1974"/>
                  </a:lnTo>
                  <a:lnTo>
                    <a:pt x="1854" y="1973"/>
                  </a:lnTo>
                  <a:lnTo>
                    <a:pt x="1870" y="1973"/>
                  </a:lnTo>
                  <a:lnTo>
                    <a:pt x="1870" y="1973"/>
                  </a:lnTo>
                  <a:close/>
                </a:path>
              </a:pathLst>
            </a:custGeom>
            <a:solidFill>
              <a:schemeClr val="bg1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3" name="Freeform 160">
              <a:extLst>
                <a:ext uri="{FF2B5EF4-FFF2-40B4-BE49-F238E27FC236}">
                  <a16:creationId xmlns:a16="http://schemas.microsoft.com/office/drawing/2014/main" id="{18F0EF09-FD78-4D49-A1BD-35B90E96D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7287" y="5595097"/>
              <a:ext cx="596890" cy="482311"/>
            </a:xfrm>
            <a:custGeom>
              <a:avLst/>
              <a:gdLst>
                <a:gd name="T0" fmla="*/ 1929 w 2373"/>
                <a:gd name="T1" fmla="*/ 1866 h 1982"/>
                <a:gd name="T2" fmla="*/ 1986 w 2373"/>
                <a:gd name="T3" fmla="*/ 1865 h 1982"/>
                <a:gd name="T4" fmla="*/ 2052 w 2373"/>
                <a:gd name="T5" fmla="*/ 1822 h 1982"/>
                <a:gd name="T6" fmla="*/ 2326 w 2373"/>
                <a:gd name="T7" fmla="*/ 1826 h 1982"/>
                <a:gd name="T8" fmla="*/ 2371 w 2373"/>
                <a:gd name="T9" fmla="*/ 1662 h 1982"/>
                <a:gd name="T10" fmla="*/ 2268 w 2373"/>
                <a:gd name="T11" fmla="*/ 1592 h 1982"/>
                <a:gd name="T12" fmla="*/ 2243 w 2373"/>
                <a:gd name="T13" fmla="*/ 1453 h 1982"/>
                <a:gd name="T14" fmla="*/ 2135 w 2373"/>
                <a:gd name="T15" fmla="*/ 1413 h 1982"/>
                <a:gd name="T16" fmla="*/ 2136 w 2373"/>
                <a:gd name="T17" fmla="*/ 1362 h 1982"/>
                <a:gd name="T18" fmla="*/ 2050 w 2373"/>
                <a:gd name="T19" fmla="*/ 1393 h 1982"/>
                <a:gd name="T20" fmla="*/ 1951 w 2373"/>
                <a:gd name="T21" fmla="*/ 1380 h 1982"/>
                <a:gd name="T22" fmla="*/ 1892 w 2373"/>
                <a:gd name="T23" fmla="*/ 1391 h 1982"/>
                <a:gd name="T24" fmla="*/ 1880 w 2373"/>
                <a:gd name="T25" fmla="*/ 1269 h 1982"/>
                <a:gd name="T26" fmla="*/ 1907 w 2373"/>
                <a:gd name="T27" fmla="*/ 1205 h 1982"/>
                <a:gd name="T28" fmla="*/ 1875 w 2373"/>
                <a:gd name="T29" fmla="*/ 1076 h 1982"/>
                <a:gd name="T30" fmla="*/ 1875 w 2373"/>
                <a:gd name="T31" fmla="*/ 996 h 1982"/>
                <a:gd name="T32" fmla="*/ 1800 w 2373"/>
                <a:gd name="T33" fmla="*/ 920 h 1982"/>
                <a:gd name="T34" fmla="*/ 1762 w 2373"/>
                <a:gd name="T35" fmla="*/ 803 h 1982"/>
                <a:gd name="T36" fmla="*/ 1784 w 2373"/>
                <a:gd name="T37" fmla="*/ 726 h 1982"/>
                <a:gd name="T38" fmla="*/ 1710 w 2373"/>
                <a:gd name="T39" fmla="*/ 703 h 1982"/>
                <a:gd name="T40" fmla="*/ 1643 w 2373"/>
                <a:gd name="T41" fmla="*/ 692 h 1982"/>
                <a:gd name="T42" fmla="*/ 1570 w 2373"/>
                <a:gd name="T43" fmla="*/ 650 h 1982"/>
                <a:gd name="T44" fmla="*/ 1417 w 2373"/>
                <a:gd name="T45" fmla="*/ 599 h 1982"/>
                <a:gd name="T46" fmla="*/ 1352 w 2373"/>
                <a:gd name="T47" fmla="*/ 454 h 1982"/>
                <a:gd name="T48" fmla="*/ 1288 w 2373"/>
                <a:gd name="T49" fmla="*/ 368 h 1982"/>
                <a:gd name="T50" fmla="*/ 1284 w 2373"/>
                <a:gd name="T51" fmla="*/ 290 h 1982"/>
                <a:gd name="T52" fmla="*/ 1197 w 2373"/>
                <a:gd name="T53" fmla="*/ 199 h 1982"/>
                <a:gd name="T54" fmla="*/ 1038 w 2373"/>
                <a:gd name="T55" fmla="*/ 63 h 1982"/>
                <a:gd name="T56" fmla="*/ 868 w 2373"/>
                <a:gd name="T57" fmla="*/ 26 h 1982"/>
                <a:gd name="T58" fmla="*/ 817 w 2373"/>
                <a:gd name="T59" fmla="*/ 70 h 1982"/>
                <a:gd name="T60" fmla="*/ 780 w 2373"/>
                <a:gd name="T61" fmla="*/ 167 h 1982"/>
                <a:gd name="T62" fmla="*/ 715 w 2373"/>
                <a:gd name="T63" fmla="*/ 256 h 1982"/>
                <a:gd name="T64" fmla="*/ 635 w 2373"/>
                <a:gd name="T65" fmla="*/ 384 h 1982"/>
                <a:gd name="T66" fmla="*/ 473 w 2373"/>
                <a:gd name="T67" fmla="*/ 511 h 1982"/>
                <a:gd name="T68" fmla="*/ 425 w 2373"/>
                <a:gd name="T69" fmla="*/ 589 h 1982"/>
                <a:gd name="T70" fmla="*/ 339 w 2373"/>
                <a:gd name="T71" fmla="*/ 609 h 1982"/>
                <a:gd name="T72" fmla="*/ 257 w 2373"/>
                <a:gd name="T73" fmla="*/ 534 h 1982"/>
                <a:gd name="T74" fmla="*/ 230 w 2373"/>
                <a:gd name="T75" fmla="*/ 466 h 1982"/>
                <a:gd name="T76" fmla="*/ 147 w 2373"/>
                <a:gd name="T77" fmla="*/ 518 h 1982"/>
                <a:gd name="T78" fmla="*/ 44 w 2373"/>
                <a:gd name="T79" fmla="*/ 565 h 1982"/>
                <a:gd name="T80" fmla="*/ 49 w 2373"/>
                <a:gd name="T81" fmla="*/ 682 h 1982"/>
                <a:gd name="T82" fmla="*/ 36 w 2373"/>
                <a:gd name="T83" fmla="*/ 790 h 1982"/>
                <a:gd name="T84" fmla="*/ 85 w 2373"/>
                <a:gd name="T85" fmla="*/ 988 h 1982"/>
                <a:gd name="T86" fmla="*/ 193 w 2373"/>
                <a:gd name="T87" fmla="*/ 1172 h 1982"/>
                <a:gd name="T88" fmla="*/ 330 w 2373"/>
                <a:gd name="T89" fmla="*/ 1386 h 1982"/>
                <a:gd name="T90" fmla="*/ 582 w 2373"/>
                <a:gd name="T91" fmla="*/ 1554 h 1982"/>
                <a:gd name="T92" fmla="*/ 524 w 2373"/>
                <a:gd name="T93" fmla="*/ 1589 h 1982"/>
                <a:gd name="T94" fmla="*/ 547 w 2373"/>
                <a:gd name="T95" fmla="*/ 1650 h 1982"/>
                <a:gd name="T96" fmla="*/ 628 w 2373"/>
                <a:gd name="T97" fmla="*/ 1683 h 1982"/>
                <a:gd name="T98" fmla="*/ 779 w 2373"/>
                <a:gd name="T99" fmla="*/ 1597 h 1982"/>
                <a:gd name="T100" fmla="*/ 859 w 2373"/>
                <a:gd name="T101" fmla="*/ 1643 h 1982"/>
                <a:gd name="T102" fmla="*/ 972 w 2373"/>
                <a:gd name="T103" fmla="*/ 1785 h 1982"/>
                <a:gd name="T104" fmla="*/ 1042 w 2373"/>
                <a:gd name="T105" fmla="*/ 1750 h 1982"/>
                <a:gd name="T106" fmla="*/ 1147 w 2373"/>
                <a:gd name="T107" fmla="*/ 1609 h 1982"/>
                <a:gd name="T108" fmla="*/ 1360 w 2373"/>
                <a:gd name="T109" fmla="*/ 1533 h 1982"/>
                <a:gd name="T110" fmla="*/ 1455 w 2373"/>
                <a:gd name="T111" fmla="*/ 1607 h 1982"/>
                <a:gd name="T112" fmla="*/ 1416 w 2373"/>
                <a:gd name="T113" fmla="*/ 1703 h 1982"/>
                <a:gd name="T114" fmla="*/ 1454 w 2373"/>
                <a:gd name="T115" fmla="*/ 1766 h 1982"/>
                <a:gd name="T116" fmla="*/ 1526 w 2373"/>
                <a:gd name="T117" fmla="*/ 1701 h 1982"/>
                <a:gd name="T118" fmla="*/ 1560 w 2373"/>
                <a:gd name="T119" fmla="*/ 1766 h 1982"/>
                <a:gd name="T120" fmla="*/ 1587 w 2373"/>
                <a:gd name="T121" fmla="*/ 1863 h 1982"/>
                <a:gd name="T122" fmla="*/ 1638 w 2373"/>
                <a:gd name="T123" fmla="*/ 1971 h 1982"/>
                <a:gd name="T124" fmla="*/ 1779 w 2373"/>
                <a:gd name="T125" fmla="*/ 1968 h 1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73" h="1982">
                  <a:moveTo>
                    <a:pt x="1870" y="1973"/>
                  </a:moveTo>
                  <a:lnTo>
                    <a:pt x="1877" y="1964"/>
                  </a:lnTo>
                  <a:lnTo>
                    <a:pt x="1884" y="1953"/>
                  </a:lnTo>
                  <a:lnTo>
                    <a:pt x="1891" y="1943"/>
                  </a:lnTo>
                  <a:lnTo>
                    <a:pt x="1898" y="1931"/>
                  </a:lnTo>
                  <a:lnTo>
                    <a:pt x="1903" y="1920"/>
                  </a:lnTo>
                  <a:lnTo>
                    <a:pt x="1908" y="1907"/>
                  </a:lnTo>
                  <a:lnTo>
                    <a:pt x="1912" y="1896"/>
                  </a:lnTo>
                  <a:lnTo>
                    <a:pt x="1914" y="1885"/>
                  </a:lnTo>
                  <a:lnTo>
                    <a:pt x="1920" y="1880"/>
                  </a:lnTo>
                  <a:lnTo>
                    <a:pt x="1925" y="1874"/>
                  </a:lnTo>
                  <a:lnTo>
                    <a:pt x="1929" y="1866"/>
                  </a:lnTo>
                  <a:lnTo>
                    <a:pt x="1934" y="1860"/>
                  </a:lnTo>
                  <a:lnTo>
                    <a:pt x="1936" y="1857"/>
                  </a:lnTo>
                  <a:lnTo>
                    <a:pt x="1939" y="1855"/>
                  </a:lnTo>
                  <a:lnTo>
                    <a:pt x="1941" y="1853"/>
                  </a:lnTo>
                  <a:lnTo>
                    <a:pt x="1946" y="1852"/>
                  </a:lnTo>
                  <a:lnTo>
                    <a:pt x="1949" y="1852"/>
                  </a:lnTo>
                  <a:lnTo>
                    <a:pt x="1954" y="1853"/>
                  </a:lnTo>
                  <a:lnTo>
                    <a:pt x="1958" y="1855"/>
                  </a:lnTo>
                  <a:lnTo>
                    <a:pt x="1964" y="1857"/>
                  </a:lnTo>
                  <a:lnTo>
                    <a:pt x="1972" y="1861"/>
                  </a:lnTo>
                  <a:lnTo>
                    <a:pt x="1979" y="1864"/>
                  </a:lnTo>
                  <a:lnTo>
                    <a:pt x="1986" y="1865"/>
                  </a:lnTo>
                  <a:lnTo>
                    <a:pt x="1992" y="1864"/>
                  </a:lnTo>
                  <a:lnTo>
                    <a:pt x="1996" y="1863"/>
                  </a:lnTo>
                  <a:lnTo>
                    <a:pt x="1998" y="1861"/>
                  </a:lnTo>
                  <a:lnTo>
                    <a:pt x="2000" y="1859"/>
                  </a:lnTo>
                  <a:lnTo>
                    <a:pt x="2003" y="1857"/>
                  </a:lnTo>
                  <a:lnTo>
                    <a:pt x="2006" y="1850"/>
                  </a:lnTo>
                  <a:lnTo>
                    <a:pt x="2008" y="1840"/>
                  </a:lnTo>
                  <a:lnTo>
                    <a:pt x="2017" y="1833"/>
                  </a:lnTo>
                  <a:lnTo>
                    <a:pt x="2026" y="1828"/>
                  </a:lnTo>
                  <a:lnTo>
                    <a:pt x="2035" y="1824"/>
                  </a:lnTo>
                  <a:lnTo>
                    <a:pt x="2044" y="1822"/>
                  </a:lnTo>
                  <a:lnTo>
                    <a:pt x="2052" y="1822"/>
                  </a:lnTo>
                  <a:lnTo>
                    <a:pt x="2060" y="1822"/>
                  </a:lnTo>
                  <a:lnTo>
                    <a:pt x="2069" y="1823"/>
                  </a:lnTo>
                  <a:lnTo>
                    <a:pt x="2077" y="1825"/>
                  </a:lnTo>
                  <a:lnTo>
                    <a:pt x="2094" y="1830"/>
                  </a:lnTo>
                  <a:lnTo>
                    <a:pt x="2110" y="1835"/>
                  </a:lnTo>
                  <a:lnTo>
                    <a:pt x="2120" y="1837"/>
                  </a:lnTo>
                  <a:lnTo>
                    <a:pt x="2129" y="1839"/>
                  </a:lnTo>
                  <a:lnTo>
                    <a:pt x="2139" y="1840"/>
                  </a:lnTo>
                  <a:lnTo>
                    <a:pt x="2150" y="1841"/>
                  </a:lnTo>
                  <a:lnTo>
                    <a:pt x="2321" y="1836"/>
                  </a:lnTo>
                  <a:lnTo>
                    <a:pt x="2321" y="1836"/>
                  </a:lnTo>
                  <a:lnTo>
                    <a:pt x="2326" y="1826"/>
                  </a:lnTo>
                  <a:lnTo>
                    <a:pt x="2331" y="1814"/>
                  </a:lnTo>
                  <a:lnTo>
                    <a:pt x="2335" y="1802"/>
                  </a:lnTo>
                  <a:lnTo>
                    <a:pt x="2341" y="1788"/>
                  </a:lnTo>
                  <a:lnTo>
                    <a:pt x="2345" y="1776"/>
                  </a:lnTo>
                  <a:lnTo>
                    <a:pt x="2350" y="1764"/>
                  </a:lnTo>
                  <a:lnTo>
                    <a:pt x="2356" y="1754"/>
                  </a:lnTo>
                  <a:lnTo>
                    <a:pt x="2363" y="1747"/>
                  </a:lnTo>
                  <a:lnTo>
                    <a:pt x="2368" y="1715"/>
                  </a:lnTo>
                  <a:lnTo>
                    <a:pt x="2373" y="1684"/>
                  </a:lnTo>
                  <a:lnTo>
                    <a:pt x="2373" y="1677"/>
                  </a:lnTo>
                  <a:lnTo>
                    <a:pt x="2372" y="1669"/>
                  </a:lnTo>
                  <a:lnTo>
                    <a:pt x="2371" y="1662"/>
                  </a:lnTo>
                  <a:lnTo>
                    <a:pt x="2369" y="1656"/>
                  </a:lnTo>
                  <a:lnTo>
                    <a:pt x="2365" y="1650"/>
                  </a:lnTo>
                  <a:lnTo>
                    <a:pt x="2360" y="1643"/>
                  </a:lnTo>
                  <a:lnTo>
                    <a:pt x="2354" y="1637"/>
                  </a:lnTo>
                  <a:lnTo>
                    <a:pt x="2346" y="1632"/>
                  </a:lnTo>
                  <a:lnTo>
                    <a:pt x="2318" y="1613"/>
                  </a:lnTo>
                  <a:lnTo>
                    <a:pt x="2305" y="1608"/>
                  </a:lnTo>
                  <a:lnTo>
                    <a:pt x="2292" y="1605"/>
                  </a:lnTo>
                  <a:lnTo>
                    <a:pt x="2284" y="1603"/>
                  </a:lnTo>
                  <a:lnTo>
                    <a:pt x="2278" y="1600"/>
                  </a:lnTo>
                  <a:lnTo>
                    <a:pt x="2273" y="1597"/>
                  </a:lnTo>
                  <a:lnTo>
                    <a:pt x="2268" y="1592"/>
                  </a:lnTo>
                  <a:lnTo>
                    <a:pt x="2265" y="1587"/>
                  </a:lnTo>
                  <a:lnTo>
                    <a:pt x="2261" y="1581"/>
                  </a:lnTo>
                  <a:lnTo>
                    <a:pt x="2259" y="1573"/>
                  </a:lnTo>
                  <a:lnTo>
                    <a:pt x="2257" y="1566"/>
                  </a:lnTo>
                  <a:lnTo>
                    <a:pt x="2255" y="1550"/>
                  </a:lnTo>
                  <a:lnTo>
                    <a:pt x="2254" y="1537"/>
                  </a:lnTo>
                  <a:lnTo>
                    <a:pt x="2251" y="1524"/>
                  </a:lnTo>
                  <a:lnTo>
                    <a:pt x="2250" y="1511"/>
                  </a:lnTo>
                  <a:lnTo>
                    <a:pt x="2249" y="1496"/>
                  </a:lnTo>
                  <a:lnTo>
                    <a:pt x="2248" y="1482"/>
                  </a:lnTo>
                  <a:lnTo>
                    <a:pt x="2246" y="1467"/>
                  </a:lnTo>
                  <a:lnTo>
                    <a:pt x="2243" y="1453"/>
                  </a:lnTo>
                  <a:lnTo>
                    <a:pt x="2241" y="1447"/>
                  </a:lnTo>
                  <a:lnTo>
                    <a:pt x="2237" y="1441"/>
                  </a:lnTo>
                  <a:lnTo>
                    <a:pt x="2233" y="1436"/>
                  </a:lnTo>
                  <a:lnTo>
                    <a:pt x="2229" y="1430"/>
                  </a:lnTo>
                  <a:lnTo>
                    <a:pt x="2224" y="1427"/>
                  </a:lnTo>
                  <a:lnTo>
                    <a:pt x="2218" y="1424"/>
                  </a:lnTo>
                  <a:lnTo>
                    <a:pt x="2210" y="1422"/>
                  </a:lnTo>
                  <a:lnTo>
                    <a:pt x="2203" y="1420"/>
                  </a:lnTo>
                  <a:lnTo>
                    <a:pt x="2185" y="1417"/>
                  </a:lnTo>
                  <a:lnTo>
                    <a:pt x="2168" y="1416"/>
                  </a:lnTo>
                  <a:lnTo>
                    <a:pt x="2150" y="1414"/>
                  </a:lnTo>
                  <a:lnTo>
                    <a:pt x="2135" y="1413"/>
                  </a:lnTo>
                  <a:lnTo>
                    <a:pt x="2129" y="1412"/>
                  </a:lnTo>
                  <a:lnTo>
                    <a:pt x="2125" y="1410"/>
                  </a:lnTo>
                  <a:lnTo>
                    <a:pt x="2122" y="1409"/>
                  </a:lnTo>
                  <a:lnTo>
                    <a:pt x="2120" y="1405"/>
                  </a:lnTo>
                  <a:lnTo>
                    <a:pt x="2119" y="1402"/>
                  </a:lnTo>
                  <a:lnTo>
                    <a:pt x="2119" y="1399"/>
                  </a:lnTo>
                  <a:lnTo>
                    <a:pt x="2120" y="1395"/>
                  </a:lnTo>
                  <a:lnTo>
                    <a:pt x="2121" y="1392"/>
                  </a:lnTo>
                  <a:lnTo>
                    <a:pt x="2124" y="1385"/>
                  </a:lnTo>
                  <a:lnTo>
                    <a:pt x="2128" y="1376"/>
                  </a:lnTo>
                  <a:lnTo>
                    <a:pt x="2133" y="1369"/>
                  </a:lnTo>
                  <a:lnTo>
                    <a:pt x="2136" y="1362"/>
                  </a:lnTo>
                  <a:lnTo>
                    <a:pt x="2137" y="1357"/>
                  </a:lnTo>
                  <a:lnTo>
                    <a:pt x="2138" y="1353"/>
                  </a:lnTo>
                  <a:lnTo>
                    <a:pt x="2138" y="1349"/>
                  </a:lnTo>
                  <a:lnTo>
                    <a:pt x="2138" y="1345"/>
                  </a:lnTo>
                  <a:lnTo>
                    <a:pt x="2133" y="1344"/>
                  </a:lnTo>
                  <a:lnTo>
                    <a:pt x="2128" y="1344"/>
                  </a:lnTo>
                  <a:lnTo>
                    <a:pt x="2123" y="1345"/>
                  </a:lnTo>
                  <a:lnTo>
                    <a:pt x="2118" y="1347"/>
                  </a:lnTo>
                  <a:lnTo>
                    <a:pt x="2105" y="1353"/>
                  </a:lnTo>
                  <a:lnTo>
                    <a:pt x="2093" y="1362"/>
                  </a:lnTo>
                  <a:lnTo>
                    <a:pt x="2069" y="1379"/>
                  </a:lnTo>
                  <a:lnTo>
                    <a:pt x="2050" y="1393"/>
                  </a:lnTo>
                  <a:lnTo>
                    <a:pt x="2045" y="1395"/>
                  </a:lnTo>
                  <a:lnTo>
                    <a:pt x="2038" y="1397"/>
                  </a:lnTo>
                  <a:lnTo>
                    <a:pt x="2033" y="1397"/>
                  </a:lnTo>
                  <a:lnTo>
                    <a:pt x="2027" y="1396"/>
                  </a:lnTo>
                  <a:lnTo>
                    <a:pt x="2014" y="1393"/>
                  </a:lnTo>
                  <a:lnTo>
                    <a:pt x="2002" y="1389"/>
                  </a:lnTo>
                  <a:lnTo>
                    <a:pt x="1989" y="1383"/>
                  </a:lnTo>
                  <a:lnTo>
                    <a:pt x="1977" y="1380"/>
                  </a:lnTo>
                  <a:lnTo>
                    <a:pt x="1969" y="1378"/>
                  </a:lnTo>
                  <a:lnTo>
                    <a:pt x="1963" y="1378"/>
                  </a:lnTo>
                  <a:lnTo>
                    <a:pt x="1957" y="1379"/>
                  </a:lnTo>
                  <a:lnTo>
                    <a:pt x="1951" y="1380"/>
                  </a:lnTo>
                  <a:lnTo>
                    <a:pt x="1939" y="1388"/>
                  </a:lnTo>
                  <a:lnTo>
                    <a:pt x="1924" y="1399"/>
                  </a:lnTo>
                  <a:lnTo>
                    <a:pt x="1915" y="1404"/>
                  </a:lnTo>
                  <a:lnTo>
                    <a:pt x="1908" y="1407"/>
                  </a:lnTo>
                  <a:lnTo>
                    <a:pt x="1905" y="1409"/>
                  </a:lnTo>
                  <a:lnTo>
                    <a:pt x="1902" y="1409"/>
                  </a:lnTo>
                  <a:lnTo>
                    <a:pt x="1899" y="1407"/>
                  </a:lnTo>
                  <a:lnTo>
                    <a:pt x="1895" y="1405"/>
                  </a:lnTo>
                  <a:lnTo>
                    <a:pt x="1894" y="1402"/>
                  </a:lnTo>
                  <a:lnTo>
                    <a:pt x="1892" y="1398"/>
                  </a:lnTo>
                  <a:lnTo>
                    <a:pt x="1892" y="1395"/>
                  </a:lnTo>
                  <a:lnTo>
                    <a:pt x="1892" y="1391"/>
                  </a:lnTo>
                  <a:lnTo>
                    <a:pt x="1895" y="1381"/>
                  </a:lnTo>
                  <a:lnTo>
                    <a:pt x="1899" y="1371"/>
                  </a:lnTo>
                  <a:lnTo>
                    <a:pt x="1908" y="1351"/>
                  </a:lnTo>
                  <a:lnTo>
                    <a:pt x="1914" y="1335"/>
                  </a:lnTo>
                  <a:lnTo>
                    <a:pt x="1914" y="1329"/>
                  </a:lnTo>
                  <a:lnTo>
                    <a:pt x="1914" y="1323"/>
                  </a:lnTo>
                  <a:lnTo>
                    <a:pt x="1912" y="1317"/>
                  </a:lnTo>
                  <a:lnTo>
                    <a:pt x="1910" y="1311"/>
                  </a:lnTo>
                  <a:lnTo>
                    <a:pt x="1903" y="1300"/>
                  </a:lnTo>
                  <a:lnTo>
                    <a:pt x="1894" y="1289"/>
                  </a:lnTo>
                  <a:lnTo>
                    <a:pt x="1886" y="1278"/>
                  </a:lnTo>
                  <a:lnTo>
                    <a:pt x="1880" y="1269"/>
                  </a:lnTo>
                  <a:lnTo>
                    <a:pt x="1878" y="1263"/>
                  </a:lnTo>
                  <a:lnTo>
                    <a:pt x="1877" y="1259"/>
                  </a:lnTo>
                  <a:lnTo>
                    <a:pt x="1876" y="1255"/>
                  </a:lnTo>
                  <a:lnTo>
                    <a:pt x="1878" y="1251"/>
                  </a:lnTo>
                  <a:lnTo>
                    <a:pt x="1881" y="1245"/>
                  </a:lnTo>
                  <a:lnTo>
                    <a:pt x="1885" y="1238"/>
                  </a:lnTo>
                  <a:lnTo>
                    <a:pt x="1890" y="1234"/>
                  </a:lnTo>
                  <a:lnTo>
                    <a:pt x="1895" y="1229"/>
                  </a:lnTo>
                  <a:lnTo>
                    <a:pt x="1900" y="1224"/>
                  </a:lnTo>
                  <a:lnTo>
                    <a:pt x="1903" y="1219"/>
                  </a:lnTo>
                  <a:lnTo>
                    <a:pt x="1906" y="1212"/>
                  </a:lnTo>
                  <a:lnTo>
                    <a:pt x="1907" y="1205"/>
                  </a:lnTo>
                  <a:lnTo>
                    <a:pt x="1906" y="1193"/>
                  </a:lnTo>
                  <a:lnTo>
                    <a:pt x="1904" y="1181"/>
                  </a:lnTo>
                  <a:lnTo>
                    <a:pt x="1902" y="1172"/>
                  </a:lnTo>
                  <a:lnTo>
                    <a:pt x="1898" y="1161"/>
                  </a:lnTo>
                  <a:lnTo>
                    <a:pt x="1890" y="1144"/>
                  </a:lnTo>
                  <a:lnTo>
                    <a:pt x="1882" y="1127"/>
                  </a:lnTo>
                  <a:lnTo>
                    <a:pt x="1878" y="1118"/>
                  </a:lnTo>
                  <a:lnTo>
                    <a:pt x="1875" y="1111"/>
                  </a:lnTo>
                  <a:lnTo>
                    <a:pt x="1873" y="1103"/>
                  </a:lnTo>
                  <a:lnTo>
                    <a:pt x="1871" y="1093"/>
                  </a:lnTo>
                  <a:lnTo>
                    <a:pt x="1873" y="1085"/>
                  </a:lnTo>
                  <a:lnTo>
                    <a:pt x="1875" y="1076"/>
                  </a:lnTo>
                  <a:lnTo>
                    <a:pt x="1878" y="1065"/>
                  </a:lnTo>
                  <a:lnTo>
                    <a:pt x="1884" y="1055"/>
                  </a:lnTo>
                  <a:lnTo>
                    <a:pt x="1886" y="1048"/>
                  </a:lnTo>
                  <a:lnTo>
                    <a:pt x="1887" y="1040"/>
                  </a:lnTo>
                  <a:lnTo>
                    <a:pt x="1887" y="1033"/>
                  </a:lnTo>
                  <a:lnTo>
                    <a:pt x="1887" y="1027"/>
                  </a:lnTo>
                  <a:lnTo>
                    <a:pt x="1887" y="1020"/>
                  </a:lnTo>
                  <a:lnTo>
                    <a:pt x="1886" y="1015"/>
                  </a:lnTo>
                  <a:lnTo>
                    <a:pt x="1884" y="1010"/>
                  </a:lnTo>
                  <a:lnTo>
                    <a:pt x="1882" y="1005"/>
                  </a:lnTo>
                  <a:lnTo>
                    <a:pt x="1879" y="1001"/>
                  </a:lnTo>
                  <a:lnTo>
                    <a:pt x="1875" y="996"/>
                  </a:lnTo>
                  <a:lnTo>
                    <a:pt x="1870" y="992"/>
                  </a:lnTo>
                  <a:lnTo>
                    <a:pt x="1866" y="989"/>
                  </a:lnTo>
                  <a:lnTo>
                    <a:pt x="1855" y="982"/>
                  </a:lnTo>
                  <a:lnTo>
                    <a:pt x="1841" y="976"/>
                  </a:lnTo>
                  <a:lnTo>
                    <a:pt x="1836" y="972"/>
                  </a:lnTo>
                  <a:lnTo>
                    <a:pt x="1831" y="969"/>
                  </a:lnTo>
                  <a:lnTo>
                    <a:pt x="1826" y="966"/>
                  </a:lnTo>
                  <a:lnTo>
                    <a:pt x="1821" y="962"/>
                  </a:lnTo>
                  <a:lnTo>
                    <a:pt x="1813" y="953"/>
                  </a:lnTo>
                  <a:lnTo>
                    <a:pt x="1808" y="943"/>
                  </a:lnTo>
                  <a:lnTo>
                    <a:pt x="1803" y="932"/>
                  </a:lnTo>
                  <a:lnTo>
                    <a:pt x="1800" y="920"/>
                  </a:lnTo>
                  <a:lnTo>
                    <a:pt x="1797" y="909"/>
                  </a:lnTo>
                  <a:lnTo>
                    <a:pt x="1796" y="895"/>
                  </a:lnTo>
                  <a:lnTo>
                    <a:pt x="1795" y="882"/>
                  </a:lnTo>
                  <a:lnTo>
                    <a:pt x="1792" y="869"/>
                  </a:lnTo>
                  <a:lnTo>
                    <a:pt x="1790" y="856"/>
                  </a:lnTo>
                  <a:lnTo>
                    <a:pt x="1788" y="843"/>
                  </a:lnTo>
                  <a:lnTo>
                    <a:pt x="1781" y="837"/>
                  </a:lnTo>
                  <a:lnTo>
                    <a:pt x="1776" y="832"/>
                  </a:lnTo>
                  <a:lnTo>
                    <a:pt x="1770" y="824"/>
                  </a:lnTo>
                  <a:lnTo>
                    <a:pt x="1767" y="818"/>
                  </a:lnTo>
                  <a:lnTo>
                    <a:pt x="1764" y="811"/>
                  </a:lnTo>
                  <a:lnTo>
                    <a:pt x="1762" y="803"/>
                  </a:lnTo>
                  <a:lnTo>
                    <a:pt x="1761" y="795"/>
                  </a:lnTo>
                  <a:lnTo>
                    <a:pt x="1761" y="788"/>
                  </a:lnTo>
                  <a:lnTo>
                    <a:pt x="1762" y="780"/>
                  </a:lnTo>
                  <a:lnTo>
                    <a:pt x="1764" y="772"/>
                  </a:lnTo>
                  <a:lnTo>
                    <a:pt x="1766" y="765"/>
                  </a:lnTo>
                  <a:lnTo>
                    <a:pt x="1769" y="758"/>
                  </a:lnTo>
                  <a:lnTo>
                    <a:pt x="1773" y="751"/>
                  </a:lnTo>
                  <a:lnTo>
                    <a:pt x="1779" y="745"/>
                  </a:lnTo>
                  <a:lnTo>
                    <a:pt x="1785" y="739"/>
                  </a:lnTo>
                  <a:lnTo>
                    <a:pt x="1792" y="734"/>
                  </a:lnTo>
                  <a:lnTo>
                    <a:pt x="1792" y="734"/>
                  </a:lnTo>
                  <a:lnTo>
                    <a:pt x="1784" y="726"/>
                  </a:lnTo>
                  <a:lnTo>
                    <a:pt x="1778" y="719"/>
                  </a:lnTo>
                  <a:lnTo>
                    <a:pt x="1769" y="713"/>
                  </a:lnTo>
                  <a:lnTo>
                    <a:pt x="1761" y="706"/>
                  </a:lnTo>
                  <a:lnTo>
                    <a:pt x="1755" y="705"/>
                  </a:lnTo>
                  <a:lnTo>
                    <a:pt x="1747" y="705"/>
                  </a:lnTo>
                  <a:lnTo>
                    <a:pt x="1740" y="705"/>
                  </a:lnTo>
                  <a:lnTo>
                    <a:pt x="1733" y="706"/>
                  </a:lnTo>
                  <a:lnTo>
                    <a:pt x="1726" y="707"/>
                  </a:lnTo>
                  <a:lnTo>
                    <a:pt x="1718" y="706"/>
                  </a:lnTo>
                  <a:lnTo>
                    <a:pt x="1715" y="706"/>
                  </a:lnTo>
                  <a:lnTo>
                    <a:pt x="1712" y="704"/>
                  </a:lnTo>
                  <a:lnTo>
                    <a:pt x="1710" y="703"/>
                  </a:lnTo>
                  <a:lnTo>
                    <a:pt x="1708" y="700"/>
                  </a:lnTo>
                  <a:lnTo>
                    <a:pt x="1704" y="694"/>
                  </a:lnTo>
                  <a:lnTo>
                    <a:pt x="1699" y="690"/>
                  </a:lnTo>
                  <a:lnTo>
                    <a:pt x="1697" y="688"/>
                  </a:lnTo>
                  <a:lnTo>
                    <a:pt x="1694" y="687"/>
                  </a:lnTo>
                  <a:lnTo>
                    <a:pt x="1691" y="686"/>
                  </a:lnTo>
                  <a:lnTo>
                    <a:pt x="1686" y="686"/>
                  </a:lnTo>
                  <a:lnTo>
                    <a:pt x="1674" y="688"/>
                  </a:lnTo>
                  <a:lnTo>
                    <a:pt x="1661" y="691"/>
                  </a:lnTo>
                  <a:lnTo>
                    <a:pt x="1655" y="693"/>
                  </a:lnTo>
                  <a:lnTo>
                    <a:pt x="1648" y="693"/>
                  </a:lnTo>
                  <a:lnTo>
                    <a:pt x="1643" y="692"/>
                  </a:lnTo>
                  <a:lnTo>
                    <a:pt x="1639" y="690"/>
                  </a:lnTo>
                  <a:lnTo>
                    <a:pt x="1636" y="684"/>
                  </a:lnTo>
                  <a:lnTo>
                    <a:pt x="1634" y="679"/>
                  </a:lnTo>
                  <a:lnTo>
                    <a:pt x="1633" y="673"/>
                  </a:lnTo>
                  <a:lnTo>
                    <a:pt x="1633" y="667"/>
                  </a:lnTo>
                  <a:lnTo>
                    <a:pt x="1634" y="660"/>
                  </a:lnTo>
                  <a:lnTo>
                    <a:pt x="1633" y="654"/>
                  </a:lnTo>
                  <a:lnTo>
                    <a:pt x="1633" y="649"/>
                  </a:lnTo>
                  <a:lnTo>
                    <a:pt x="1630" y="645"/>
                  </a:lnTo>
                  <a:lnTo>
                    <a:pt x="1611" y="646"/>
                  </a:lnTo>
                  <a:lnTo>
                    <a:pt x="1591" y="648"/>
                  </a:lnTo>
                  <a:lnTo>
                    <a:pt x="1570" y="650"/>
                  </a:lnTo>
                  <a:lnTo>
                    <a:pt x="1549" y="651"/>
                  </a:lnTo>
                  <a:lnTo>
                    <a:pt x="1539" y="651"/>
                  </a:lnTo>
                  <a:lnTo>
                    <a:pt x="1527" y="650"/>
                  </a:lnTo>
                  <a:lnTo>
                    <a:pt x="1516" y="648"/>
                  </a:lnTo>
                  <a:lnTo>
                    <a:pt x="1504" y="646"/>
                  </a:lnTo>
                  <a:lnTo>
                    <a:pt x="1482" y="639"/>
                  </a:lnTo>
                  <a:lnTo>
                    <a:pt x="1460" y="631"/>
                  </a:lnTo>
                  <a:lnTo>
                    <a:pt x="1453" y="628"/>
                  </a:lnTo>
                  <a:lnTo>
                    <a:pt x="1447" y="624"/>
                  </a:lnTo>
                  <a:lnTo>
                    <a:pt x="1440" y="619"/>
                  </a:lnTo>
                  <a:lnTo>
                    <a:pt x="1433" y="614"/>
                  </a:lnTo>
                  <a:lnTo>
                    <a:pt x="1417" y="599"/>
                  </a:lnTo>
                  <a:lnTo>
                    <a:pt x="1401" y="582"/>
                  </a:lnTo>
                  <a:lnTo>
                    <a:pt x="1387" y="565"/>
                  </a:lnTo>
                  <a:lnTo>
                    <a:pt x="1374" y="548"/>
                  </a:lnTo>
                  <a:lnTo>
                    <a:pt x="1369" y="539"/>
                  </a:lnTo>
                  <a:lnTo>
                    <a:pt x="1364" y="531"/>
                  </a:lnTo>
                  <a:lnTo>
                    <a:pt x="1361" y="524"/>
                  </a:lnTo>
                  <a:lnTo>
                    <a:pt x="1358" y="518"/>
                  </a:lnTo>
                  <a:lnTo>
                    <a:pt x="1355" y="505"/>
                  </a:lnTo>
                  <a:lnTo>
                    <a:pt x="1353" y="493"/>
                  </a:lnTo>
                  <a:lnTo>
                    <a:pt x="1353" y="479"/>
                  </a:lnTo>
                  <a:lnTo>
                    <a:pt x="1353" y="466"/>
                  </a:lnTo>
                  <a:lnTo>
                    <a:pt x="1352" y="454"/>
                  </a:lnTo>
                  <a:lnTo>
                    <a:pt x="1351" y="440"/>
                  </a:lnTo>
                  <a:lnTo>
                    <a:pt x="1349" y="429"/>
                  </a:lnTo>
                  <a:lnTo>
                    <a:pt x="1345" y="416"/>
                  </a:lnTo>
                  <a:lnTo>
                    <a:pt x="1342" y="412"/>
                  </a:lnTo>
                  <a:lnTo>
                    <a:pt x="1339" y="408"/>
                  </a:lnTo>
                  <a:lnTo>
                    <a:pt x="1335" y="404"/>
                  </a:lnTo>
                  <a:lnTo>
                    <a:pt x="1330" y="400"/>
                  </a:lnTo>
                  <a:lnTo>
                    <a:pt x="1320" y="392"/>
                  </a:lnTo>
                  <a:lnTo>
                    <a:pt x="1309" y="386"/>
                  </a:lnTo>
                  <a:lnTo>
                    <a:pt x="1299" y="379"/>
                  </a:lnTo>
                  <a:lnTo>
                    <a:pt x="1291" y="373"/>
                  </a:lnTo>
                  <a:lnTo>
                    <a:pt x="1288" y="368"/>
                  </a:lnTo>
                  <a:lnTo>
                    <a:pt x="1286" y="364"/>
                  </a:lnTo>
                  <a:lnTo>
                    <a:pt x="1283" y="360"/>
                  </a:lnTo>
                  <a:lnTo>
                    <a:pt x="1283" y="356"/>
                  </a:lnTo>
                  <a:lnTo>
                    <a:pt x="1284" y="342"/>
                  </a:lnTo>
                  <a:lnTo>
                    <a:pt x="1288" y="329"/>
                  </a:lnTo>
                  <a:lnTo>
                    <a:pt x="1290" y="322"/>
                  </a:lnTo>
                  <a:lnTo>
                    <a:pt x="1291" y="315"/>
                  </a:lnTo>
                  <a:lnTo>
                    <a:pt x="1291" y="309"/>
                  </a:lnTo>
                  <a:lnTo>
                    <a:pt x="1291" y="302"/>
                  </a:lnTo>
                  <a:lnTo>
                    <a:pt x="1289" y="297"/>
                  </a:lnTo>
                  <a:lnTo>
                    <a:pt x="1288" y="294"/>
                  </a:lnTo>
                  <a:lnTo>
                    <a:pt x="1284" y="290"/>
                  </a:lnTo>
                  <a:lnTo>
                    <a:pt x="1281" y="287"/>
                  </a:lnTo>
                  <a:lnTo>
                    <a:pt x="1274" y="280"/>
                  </a:lnTo>
                  <a:lnTo>
                    <a:pt x="1265" y="273"/>
                  </a:lnTo>
                  <a:lnTo>
                    <a:pt x="1245" y="263"/>
                  </a:lnTo>
                  <a:lnTo>
                    <a:pt x="1228" y="255"/>
                  </a:lnTo>
                  <a:lnTo>
                    <a:pt x="1222" y="252"/>
                  </a:lnTo>
                  <a:lnTo>
                    <a:pt x="1218" y="248"/>
                  </a:lnTo>
                  <a:lnTo>
                    <a:pt x="1214" y="243"/>
                  </a:lnTo>
                  <a:lnTo>
                    <a:pt x="1210" y="238"/>
                  </a:lnTo>
                  <a:lnTo>
                    <a:pt x="1205" y="227"/>
                  </a:lnTo>
                  <a:lnTo>
                    <a:pt x="1201" y="214"/>
                  </a:lnTo>
                  <a:lnTo>
                    <a:pt x="1197" y="199"/>
                  </a:lnTo>
                  <a:lnTo>
                    <a:pt x="1192" y="186"/>
                  </a:lnTo>
                  <a:lnTo>
                    <a:pt x="1189" y="180"/>
                  </a:lnTo>
                  <a:lnTo>
                    <a:pt x="1184" y="173"/>
                  </a:lnTo>
                  <a:lnTo>
                    <a:pt x="1179" y="168"/>
                  </a:lnTo>
                  <a:lnTo>
                    <a:pt x="1174" y="163"/>
                  </a:lnTo>
                  <a:lnTo>
                    <a:pt x="1145" y="139"/>
                  </a:lnTo>
                  <a:lnTo>
                    <a:pt x="1103" y="105"/>
                  </a:lnTo>
                  <a:lnTo>
                    <a:pt x="1081" y="89"/>
                  </a:lnTo>
                  <a:lnTo>
                    <a:pt x="1061" y="75"/>
                  </a:lnTo>
                  <a:lnTo>
                    <a:pt x="1053" y="70"/>
                  </a:lnTo>
                  <a:lnTo>
                    <a:pt x="1045" y="66"/>
                  </a:lnTo>
                  <a:lnTo>
                    <a:pt x="1038" y="63"/>
                  </a:lnTo>
                  <a:lnTo>
                    <a:pt x="1033" y="62"/>
                  </a:lnTo>
                  <a:lnTo>
                    <a:pt x="1003" y="64"/>
                  </a:lnTo>
                  <a:lnTo>
                    <a:pt x="974" y="67"/>
                  </a:lnTo>
                  <a:lnTo>
                    <a:pt x="959" y="68"/>
                  </a:lnTo>
                  <a:lnTo>
                    <a:pt x="945" y="69"/>
                  </a:lnTo>
                  <a:lnTo>
                    <a:pt x="930" y="69"/>
                  </a:lnTo>
                  <a:lnTo>
                    <a:pt x="914" y="67"/>
                  </a:lnTo>
                  <a:lnTo>
                    <a:pt x="908" y="64"/>
                  </a:lnTo>
                  <a:lnTo>
                    <a:pt x="900" y="58"/>
                  </a:lnTo>
                  <a:lnTo>
                    <a:pt x="889" y="48"/>
                  </a:lnTo>
                  <a:lnTo>
                    <a:pt x="879" y="37"/>
                  </a:lnTo>
                  <a:lnTo>
                    <a:pt x="868" y="26"/>
                  </a:lnTo>
                  <a:lnTo>
                    <a:pt x="860" y="15"/>
                  </a:lnTo>
                  <a:lnTo>
                    <a:pt x="855" y="6"/>
                  </a:lnTo>
                  <a:lnTo>
                    <a:pt x="853" y="0"/>
                  </a:lnTo>
                  <a:lnTo>
                    <a:pt x="851" y="0"/>
                  </a:lnTo>
                  <a:lnTo>
                    <a:pt x="849" y="2"/>
                  </a:lnTo>
                  <a:lnTo>
                    <a:pt x="847" y="4"/>
                  </a:lnTo>
                  <a:lnTo>
                    <a:pt x="844" y="8"/>
                  </a:lnTo>
                  <a:lnTo>
                    <a:pt x="840" y="17"/>
                  </a:lnTo>
                  <a:lnTo>
                    <a:pt x="835" y="26"/>
                  </a:lnTo>
                  <a:lnTo>
                    <a:pt x="827" y="47"/>
                  </a:lnTo>
                  <a:lnTo>
                    <a:pt x="822" y="61"/>
                  </a:lnTo>
                  <a:lnTo>
                    <a:pt x="817" y="70"/>
                  </a:lnTo>
                  <a:lnTo>
                    <a:pt x="813" y="77"/>
                  </a:lnTo>
                  <a:lnTo>
                    <a:pt x="809" y="86"/>
                  </a:lnTo>
                  <a:lnTo>
                    <a:pt x="804" y="92"/>
                  </a:lnTo>
                  <a:lnTo>
                    <a:pt x="791" y="105"/>
                  </a:lnTo>
                  <a:lnTo>
                    <a:pt x="777" y="119"/>
                  </a:lnTo>
                  <a:lnTo>
                    <a:pt x="777" y="119"/>
                  </a:lnTo>
                  <a:lnTo>
                    <a:pt x="779" y="126"/>
                  </a:lnTo>
                  <a:lnTo>
                    <a:pt x="780" y="135"/>
                  </a:lnTo>
                  <a:lnTo>
                    <a:pt x="781" y="143"/>
                  </a:lnTo>
                  <a:lnTo>
                    <a:pt x="781" y="150"/>
                  </a:lnTo>
                  <a:lnTo>
                    <a:pt x="781" y="159"/>
                  </a:lnTo>
                  <a:lnTo>
                    <a:pt x="780" y="167"/>
                  </a:lnTo>
                  <a:lnTo>
                    <a:pt x="778" y="174"/>
                  </a:lnTo>
                  <a:lnTo>
                    <a:pt x="776" y="183"/>
                  </a:lnTo>
                  <a:lnTo>
                    <a:pt x="774" y="190"/>
                  </a:lnTo>
                  <a:lnTo>
                    <a:pt x="769" y="197"/>
                  </a:lnTo>
                  <a:lnTo>
                    <a:pt x="766" y="205"/>
                  </a:lnTo>
                  <a:lnTo>
                    <a:pt x="761" y="212"/>
                  </a:lnTo>
                  <a:lnTo>
                    <a:pt x="757" y="218"/>
                  </a:lnTo>
                  <a:lnTo>
                    <a:pt x="751" y="224"/>
                  </a:lnTo>
                  <a:lnTo>
                    <a:pt x="745" y="230"/>
                  </a:lnTo>
                  <a:lnTo>
                    <a:pt x="738" y="235"/>
                  </a:lnTo>
                  <a:lnTo>
                    <a:pt x="727" y="244"/>
                  </a:lnTo>
                  <a:lnTo>
                    <a:pt x="715" y="256"/>
                  </a:lnTo>
                  <a:lnTo>
                    <a:pt x="703" y="266"/>
                  </a:lnTo>
                  <a:lnTo>
                    <a:pt x="691" y="276"/>
                  </a:lnTo>
                  <a:lnTo>
                    <a:pt x="680" y="286"/>
                  </a:lnTo>
                  <a:lnTo>
                    <a:pt x="669" y="295"/>
                  </a:lnTo>
                  <a:lnTo>
                    <a:pt x="660" y="306"/>
                  </a:lnTo>
                  <a:lnTo>
                    <a:pt x="651" y="315"/>
                  </a:lnTo>
                  <a:lnTo>
                    <a:pt x="649" y="327"/>
                  </a:lnTo>
                  <a:lnTo>
                    <a:pt x="648" y="338"/>
                  </a:lnTo>
                  <a:lnTo>
                    <a:pt x="646" y="351"/>
                  </a:lnTo>
                  <a:lnTo>
                    <a:pt x="643" y="362"/>
                  </a:lnTo>
                  <a:lnTo>
                    <a:pt x="640" y="374"/>
                  </a:lnTo>
                  <a:lnTo>
                    <a:pt x="635" y="384"/>
                  </a:lnTo>
                  <a:lnTo>
                    <a:pt x="629" y="394"/>
                  </a:lnTo>
                  <a:lnTo>
                    <a:pt x="622" y="405"/>
                  </a:lnTo>
                  <a:lnTo>
                    <a:pt x="610" y="424"/>
                  </a:lnTo>
                  <a:lnTo>
                    <a:pt x="599" y="445"/>
                  </a:lnTo>
                  <a:lnTo>
                    <a:pt x="594" y="454"/>
                  </a:lnTo>
                  <a:lnTo>
                    <a:pt x="588" y="464"/>
                  </a:lnTo>
                  <a:lnTo>
                    <a:pt x="581" y="473"/>
                  </a:lnTo>
                  <a:lnTo>
                    <a:pt x="572" y="481"/>
                  </a:lnTo>
                  <a:lnTo>
                    <a:pt x="538" y="488"/>
                  </a:lnTo>
                  <a:lnTo>
                    <a:pt x="505" y="498"/>
                  </a:lnTo>
                  <a:lnTo>
                    <a:pt x="488" y="503"/>
                  </a:lnTo>
                  <a:lnTo>
                    <a:pt x="473" y="511"/>
                  </a:lnTo>
                  <a:lnTo>
                    <a:pt x="466" y="515"/>
                  </a:lnTo>
                  <a:lnTo>
                    <a:pt x="460" y="521"/>
                  </a:lnTo>
                  <a:lnTo>
                    <a:pt x="453" y="527"/>
                  </a:lnTo>
                  <a:lnTo>
                    <a:pt x="447" y="533"/>
                  </a:lnTo>
                  <a:lnTo>
                    <a:pt x="441" y="543"/>
                  </a:lnTo>
                  <a:lnTo>
                    <a:pt x="436" y="550"/>
                  </a:lnTo>
                  <a:lnTo>
                    <a:pt x="433" y="557"/>
                  </a:lnTo>
                  <a:lnTo>
                    <a:pt x="429" y="565"/>
                  </a:lnTo>
                  <a:lnTo>
                    <a:pt x="427" y="571"/>
                  </a:lnTo>
                  <a:lnTo>
                    <a:pt x="426" y="577"/>
                  </a:lnTo>
                  <a:lnTo>
                    <a:pt x="425" y="583"/>
                  </a:lnTo>
                  <a:lnTo>
                    <a:pt x="425" y="589"/>
                  </a:lnTo>
                  <a:lnTo>
                    <a:pt x="425" y="601"/>
                  </a:lnTo>
                  <a:lnTo>
                    <a:pt x="425" y="615"/>
                  </a:lnTo>
                  <a:lnTo>
                    <a:pt x="424" y="629"/>
                  </a:lnTo>
                  <a:lnTo>
                    <a:pt x="421" y="646"/>
                  </a:lnTo>
                  <a:lnTo>
                    <a:pt x="348" y="655"/>
                  </a:lnTo>
                  <a:lnTo>
                    <a:pt x="344" y="655"/>
                  </a:lnTo>
                  <a:lnTo>
                    <a:pt x="342" y="653"/>
                  </a:lnTo>
                  <a:lnTo>
                    <a:pt x="340" y="649"/>
                  </a:lnTo>
                  <a:lnTo>
                    <a:pt x="339" y="645"/>
                  </a:lnTo>
                  <a:lnTo>
                    <a:pt x="338" y="632"/>
                  </a:lnTo>
                  <a:lnTo>
                    <a:pt x="339" y="617"/>
                  </a:lnTo>
                  <a:lnTo>
                    <a:pt x="339" y="609"/>
                  </a:lnTo>
                  <a:lnTo>
                    <a:pt x="339" y="601"/>
                  </a:lnTo>
                  <a:lnTo>
                    <a:pt x="338" y="593"/>
                  </a:lnTo>
                  <a:lnTo>
                    <a:pt x="336" y="585"/>
                  </a:lnTo>
                  <a:lnTo>
                    <a:pt x="334" y="578"/>
                  </a:lnTo>
                  <a:lnTo>
                    <a:pt x="330" y="572"/>
                  </a:lnTo>
                  <a:lnTo>
                    <a:pt x="325" y="567"/>
                  </a:lnTo>
                  <a:lnTo>
                    <a:pt x="319" y="561"/>
                  </a:lnTo>
                  <a:lnTo>
                    <a:pt x="297" y="553"/>
                  </a:lnTo>
                  <a:lnTo>
                    <a:pt x="273" y="544"/>
                  </a:lnTo>
                  <a:lnTo>
                    <a:pt x="267" y="541"/>
                  </a:lnTo>
                  <a:lnTo>
                    <a:pt x="262" y="537"/>
                  </a:lnTo>
                  <a:lnTo>
                    <a:pt x="257" y="534"/>
                  </a:lnTo>
                  <a:lnTo>
                    <a:pt x="253" y="530"/>
                  </a:lnTo>
                  <a:lnTo>
                    <a:pt x="250" y="526"/>
                  </a:lnTo>
                  <a:lnTo>
                    <a:pt x="247" y="521"/>
                  </a:lnTo>
                  <a:lnTo>
                    <a:pt x="246" y="515"/>
                  </a:lnTo>
                  <a:lnTo>
                    <a:pt x="245" y="510"/>
                  </a:lnTo>
                  <a:lnTo>
                    <a:pt x="245" y="496"/>
                  </a:lnTo>
                  <a:lnTo>
                    <a:pt x="244" y="482"/>
                  </a:lnTo>
                  <a:lnTo>
                    <a:pt x="242" y="476"/>
                  </a:lnTo>
                  <a:lnTo>
                    <a:pt x="239" y="472"/>
                  </a:lnTo>
                  <a:lnTo>
                    <a:pt x="237" y="470"/>
                  </a:lnTo>
                  <a:lnTo>
                    <a:pt x="233" y="467"/>
                  </a:lnTo>
                  <a:lnTo>
                    <a:pt x="230" y="466"/>
                  </a:lnTo>
                  <a:lnTo>
                    <a:pt x="226" y="465"/>
                  </a:lnTo>
                  <a:lnTo>
                    <a:pt x="215" y="461"/>
                  </a:lnTo>
                  <a:lnTo>
                    <a:pt x="202" y="454"/>
                  </a:lnTo>
                  <a:lnTo>
                    <a:pt x="196" y="451"/>
                  </a:lnTo>
                  <a:lnTo>
                    <a:pt x="190" y="448"/>
                  </a:lnTo>
                  <a:lnTo>
                    <a:pt x="183" y="446"/>
                  </a:lnTo>
                  <a:lnTo>
                    <a:pt x="178" y="445"/>
                  </a:lnTo>
                  <a:lnTo>
                    <a:pt x="174" y="455"/>
                  </a:lnTo>
                  <a:lnTo>
                    <a:pt x="165" y="480"/>
                  </a:lnTo>
                  <a:lnTo>
                    <a:pt x="158" y="494"/>
                  </a:lnTo>
                  <a:lnTo>
                    <a:pt x="153" y="507"/>
                  </a:lnTo>
                  <a:lnTo>
                    <a:pt x="147" y="518"/>
                  </a:lnTo>
                  <a:lnTo>
                    <a:pt x="142" y="525"/>
                  </a:lnTo>
                  <a:lnTo>
                    <a:pt x="133" y="532"/>
                  </a:lnTo>
                  <a:lnTo>
                    <a:pt x="124" y="538"/>
                  </a:lnTo>
                  <a:lnTo>
                    <a:pt x="116" y="543"/>
                  </a:lnTo>
                  <a:lnTo>
                    <a:pt x="106" y="547"/>
                  </a:lnTo>
                  <a:lnTo>
                    <a:pt x="96" y="549"/>
                  </a:lnTo>
                  <a:lnTo>
                    <a:pt x="85" y="551"/>
                  </a:lnTo>
                  <a:lnTo>
                    <a:pt x="75" y="552"/>
                  </a:lnTo>
                  <a:lnTo>
                    <a:pt x="65" y="552"/>
                  </a:lnTo>
                  <a:lnTo>
                    <a:pt x="60" y="556"/>
                  </a:lnTo>
                  <a:lnTo>
                    <a:pt x="53" y="560"/>
                  </a:lnTo>
                  <a:lnTo>
                    <a:pt x="44" y="565"/>
                  </a:lnTo>
                  <a:lnTo>
                    <a:pt x="33" y="569"/>
                  </a:lnTo>
                  <a:lnTo>
                    <a:pt x="13" y="576"/>
                  </a:lnTo>
                  <a:lnTo>
                    <a:pt x="0" y="580"/>
                  </a:lnTo>
                  <a:lnTo>
                    <a:pt x="0" y="590"/>
                  </a:lnTo>
                  <a:lnTo>
                    <a:pt x="1" y="598"/>
                  </a:lnTo>
                  <a:lnTo>
                    <a:pt x="2" y="605"/>
                  </a:lnTo>
                  <a:lnTo>
                    <a:pt x="4" y="611"/>
                  </a:lnTo>
                  <a:lnTo>
                    <a:pt x="9" y="623"/>
                  </a:lnTo>
                  <a:lnTo>
                    <a:pt x="16" y="633"/>
                  </a:lnTo>
                  <a:lnTo>
                    <a:pt x="30" y="653"/>
                  </a:lnTo>
                  <a:lnTo>
                    <a:pt x="47" y="677"/>
                  </a:lnTo>
                  <a:lnTo>
                    <a:pt x="49" y="682"/>
                  </a:lnTo>
                  <a:lnTo>
                    <a:pt x="51" y="689"/>
                  </a:lnTo>
                  <a:lnTo>
                    <a:pt x="51" y="694"/>
                  </a:lnTo>
                  <a:lnTo>
                    <a:pt x="51" y="699"/>
                  </a:lnTo>
                  <a:lnTo>
                    <a:pt x="49" y="711"/>
                  </a:lnTo>
                  <a:lnTo>
                    <a:pt x="46" y="721"/>
                  </a:lnTo>
                  <a:lnTo>
                    <a:pt x="41" y="731"/>
                  </a:lnTo>
                  <a:lnTo>
                    <a:pt x="36" y="743"/>
                  </a:lnTo>
                  <a:lnTo>
                    <a:pt x="32" y="753"/>
                  </a:lnTo>
                  <a:lnTo>
                    <a:pt x="31" y="765"/>
                  </a:lnTo>
                  <a:lnTo>
                    <a:pt x="31" y="774"/>
                  </a:lnTo>
                  <a:lnTo>
                    <a:pt x="33" y="783"/>
                  </a:lnTo>
                  <a:lnTo>
                    <a:pt x="36" y="790"/>
                  </a:lnTo>
                  <a:lnTo>
                    <a:pt x="41" y="796"/>
                  </a:lnTo>
                  <a:lnTo>
                    <a:pt x="45" y="802"/>
                  </a:lnTo>
                  <a:lnTo>
                    <a:pt x="51" y="809"/>
                  </a:lnTo>
                  <a:lnTo>
                    <a:pt x="56" y="814"/>
                  </a:lnTo>
                  <a:lnTo>
                    <a:pt x="62" y="818"/>
                  </a:lnTo>
                  <a:lnTo>
                    <a:pt x="74" y="828"/>
                  </a:lnTo>
                  <a:lnTo>
                    <a:pt x="84" y="840"/>
                  </a:lnTo>
                  <a:lnTo>
                    <a:pt x="89" y="846"/>
                  </a:lnTo>
                  <a:lnTo>
                    <a:pt x="92" y="854"/>
                  </a:lnTo>
                  <a:lnTo>
                    <a:pt x="93" y="861"/>
                  </a:lnTo>
                  <a:lnTo>
                    <a:pt x="94" y="870"/>
                  </a:lnTo>
                  <a:lnTo>
                    <a:pt x="85" y="988"/>
                  </a:lnTo>
                  <a:lnTo>
                    <a:pt x="85" y="988"/>
                  </a:lnTo>
                  <a:lnTo>
                    <a:pt x="93" y="1024"/>
                  </a:lnTo>
                  <a:lnTo>
                    <a:pt x="98" y="1053"/>
                  </a:lnTo>
                  <a:lnTo>
                    <a:pt x="101" y="1066"/>
                  </a:lnTo>
                  <a:lnTo>
                    <a:pt x="106" y="1081"/>
                  </a:lnTo>
                  <a:lnTo>
                    <a:pt x="113" y="1097"/>
                  </a:lnTo>
                  <a:lnTo>
                    <a:pt x="123" y="1114"/>
                  </a:lnTo>
                  <a:lnTo>
                    <a:pt x="135" y="1122"/>
                  </a:lnTo>
                  <a:lnTo>
                    <a:pt x="150" y="1131"/>
                  </a:lnTo>
                  <a:lnTo>
                    <a:pt x="165" y="1144"/>
                  </a:lnTo>
                  <a:lnTo>
                    <a:pt x="179" y="1157"/>
                  </a:lnTo>
                  <a:lnTo>
                    <a:pt x="193" y="1172"/>
                  </a:lnTo>
                  <a:lnTo>
                    <a:pt x="205" y="1186"/>
                  </a:lnTo>
                  <a:lnTo>
                    <a:pt x="216" y="1200"/>
                  </a:lnTo>
                  <a:lnTo>
                    <a:pt x="223" y="1213"/>
                  </a:lnTo>
                  <a:lnTo>
                    <a:pt x="268" y="1308"/>
                  </a:lnTo>
                  <a:lnTo>
                    <a:pt x="274" y="1320"/>
                  </a:lnTo>
                  <a:lnTo>
                    <a:pt x="280" y="1330"/>
                  </a:lnTo>
                  <a:lnTo>
                    <a:pt x="288" y="1341"/>
                  </a:lnTo>
                  <a:lnTo>
                    <a:pt x="295" y="1351"/>
                  </a:lnTo>
                  <a:lnTo>
                    <a:pt x="303" y="1361"/>
                  </a:lnTo>
                  <a:lnTo>
                    <a:pt x="312" y="1369"/>
                  </a:lnTo>
                  <a:lnTo>
                    <a:pt x="321" y="1377"/>
                  </a:lnTo>
                  <a:lnTo>
                    <a:pt x="330" y="1386"/>
                  </a:lnTo>
                  <a:lnTo>
                    <a:pt x="349" y="1400"/>
                  </a:lnTo>
                  <a:lnTo>
                    <a:pt x="370" y="1414"/>
                  </a:lnTo>
                  <a:lnTo>
                    <a:pt x="392" y="1426"/>
                  </a:lnTo>
                  <a:lnTo>
                    <a:pt x="414" y="1439"/>
                  </a:lnTo>
                  <a:lnTo>
                    <a:pt x="459" y="1462"/>
                  </a:lnTo>
                  <a:lnTo>
                    <a:pt x="502" y="1485"/>
                  </a:lnTo>
                  <a:lnTo>
                    <a:pt x="524" y="1497"/>
                  </a:lnTo>
                  <a:lnTo>
                    <a:pt x="544" y="1511"/>
                  </a:lnTo>
                  <a:lnTo>
                    <a:pt x="564" y="1525"/>
                  </a:lnTo>
                  <a:lnTo>
                    <a:pt x="582" y="1542"/>
                  </a:lnTo>
                  <a:lnTo>
                    <a:pt x="582" y="1548"/>
                  </a:lnTo>
                  <a:lnTo>
                    <a:pt x="582" y="1554"/>
                  </a:lnTo>
                  <a:lnTo>
                    <a:pt x="581" y="1558"/>
                  </a:lnTo>
                  <a:lnTo>
                    <a:pt x="580" y="1562"/>
                  </a:lnTo>
                  <a:lnTo>
                    <a:pt x="578" y="1566"/>
                  </a:lnTo>
                  <a:lnTo>
                    <a:pt x="575" y="1569"/>
                  </a:lnTo>
                  <a:lnTo>
                    <a:pt x="573" y="1571"/>
                  </a:lnTo>
                  <a:lnTo>
                    <a:pt x="570" y="1574"/>
                  </a:lnTo>
                  <a:lnTo>
                    <a:pt x="564" y="1578"/>
                  </a:lnTo>
                  <a:lnTo>
                    <a:pt x="557" y="1581"/>
                  </a:lnTo>
                  <a:lnTo>
                    <a:pt x="548" y="1583"/>
                  </a:lnTo>
                  <a:lnTo>
                    <a:pt x="540" y="1585"/>
                  </a:lnTo>
                  <a:lnTo>
                    <a:pt x="532" y="1587"/>
                  </a:lnTo>
                  <a:lnTo>
                    <a:pt x="524" y="1589"/>
                  </a:lnTo>
                  <a:lnTo>
                    <a:pt x="517" y="1592"/>
                  </a:lnTo>
                  <a:lnTo>
                    <a:pt x="511" y="1595"/>
                  </a:lnTo>
                  <a:lnTo>
                    <a:pt x="508" y="1598"/>
                  </a:lnTo>
                  <a:lnTo>
                    <a:pt x="506" y="1600"/>
                  </a:lnTo>
                  <a:lnTo>
                    <a:pt x="504" y="1604"/>
                  </a:lnTo>
                  <a:lnTo>
                    <a:pt x="502" y="1607"/>
                  </a:lnTo>
                  <a:lnTo>
                    <a:pt x="501" y="1611"/>
                  </a:lnTo>
                  <a:lnTo>
                    <a:pt x="500" y="1616"/>
                  </a:lnTo>
                  <a:lnTo>
                    <a:pt x="500" y="1620"/>
                  </a:lnTo>
                  <a:lnTo>
                    <a:pt x="501" y="1627"/>
                  </a:lnTo>
                  <a:lnTo>
                    <a:pt x="524" y="1638"/>
                  </a:lnTo>
                  <a:lnTo>
                    <a:pt x="547" y="1650"/>
                  </a:lnTo>
                  <a:lnTo>
                    <a:pt x="559" y="1655"/>
                  </a:lnTo>
                  <a:lnTo>
                    <a:pt x="570" y="1661"/>
                  </a:lnTo>
                  <a:lnTo>
                    <a:pt x="582" y="1668"/>
                  </a:lnTo>
                  <a:lnTo>
                    <a:pt x="591" y="1677"/>
                  </a:lnTo>
                  <a:lnTo>
                    <a:pt x="595" y="1680"/>
                  </a:lnTo>
                  <a:lnTo>
                    <a:pt x="599" y="1682"/>
                  </a:lnTo>
                  <a:lnTo>
                    <a:pt x="605" y="1684"/>
                  </a:lnTo>
                  <a:lnTo>
                    <a:pt x="609" y="1685"/>
                  </a:lnTo>
                  <a:lnTo>
                    <a:pt x="613" y="1685"/>
                  </a:lnTo>
                  <a:lnTo>
                    <a:pt x="618" y="1685"/>
                  </a:lnTo>
                  <a:lnTo>
                    <a:pt x="622" y="1684"/>
                  </a:lnTo>
                  <a:lnTo>
                    <a:pt x="628" y="1683"/>
                  </a:lnTo>
                  <a:lnTo>
                    <a:pt x="637" y="1679"/>
                  </a:lnTo>
                  <a:lnTo>
                    <a:pt x="646" y="1672"/>
                  </a:lnTo>
                  <a:lnTo>
                    <a:pt x="657" y="1665"/>
                  </a:lnTo>
                  <a:lnTo>
                    <a:pt x="667" y="1657"/>
                  </a:lnTo>
                  <a:lnTo>
                    <a:pt x="687" y="1639"/>
                  </a:lnTo>
                  <a:lnTo>
                    <a:pt x="708" y="1622"/>
                  </a:lnTo>
                  <a:lnTo>
                    <a:pt x="718" y="1614"/>
                  </a:lnTo>
                  <a:lnTo>
                    <a:pt x="728" y="1609"/>
                  </a:lnTo>
                  <a:lnTo>
                    <a:pt x="738" y="1604"/>
                  </a:lnTo>
                  <a:lnTo>
                    <a:pt x="747" y="1602"/>
                  </a:lnTo>
                  <a:lnTo>
                    <a:pt x="761" y="1599"/>
                  </a:lnTo>
                  <a:lnTo>
                    <a:pt x="779" y="1597"/>
                  </a:lnTo>
                  <a:lnTo>
                    <a:pt x="798" y="1596"/>
                  </a:lnTo>
                  <a:lnTo>
                    <a:pt x="817" y="1597"/>
                  </a:lnTo>
                  <a:lnTo>
                    <a:pt x="826" y="1598"/>
                  </a:lnTo>
                  <a:lnTo>
                    <a:pt x="834" y="1600"/>
                  </a:lnTo>
                  <a:lnTo>
                    <a:pt x="841" y="1604"/>
                  </a:lnTo>
                  <a:lnTo>
                    <a:pt x="849" y="1607"/>
                  </a:lnTo>
                  <a:lnTo>
                    <a:pt x="854" y="1611"/>
                  </a:lnTo>
                  <a:lnTo>
                    <a:pt x="857" y="1616"/>
                  </a:lnTo>
                  <a:lnTo>
                    <a:pt x="859" y="1622"/>
                  </a:lnTo>
                  <a:lnTo>
                    <a:pt x="859" y="1631"/>
                  </a:lnTo>
                  <a:lnTo>
                    <a:pt x="858" y="1637"/>
                  </a:lnTo>
                  <a:lnTo>
                    <a:pt x="859" y="1643"/>
                  </a:lnTo>
                  <a:lnTo>
                    <a:pt x="859" y="1650"/>
                  </a:lnTo>
                  <a:lnTo>
                    <a:pt x="861" y="1656"/>
                  </a:lnTo>
                  <a:lnTo>
                    <a:pt x="866" y="1669"/>
                  </a:lnTo>
                  <a:lnTo>
                    <a:pt x="873" y="1683"/>
                  </a:lnTo>
                  <a:lnTo>
                    <a:pt x="882" y="1697"/>
                  </a:lnTo>
                  <a:lnTo>
                    <a:pt x="891" y="1711"/>
                  </a:lnTo>
                  <a:lnTo>
                    <a:pt x="904" y="1726"/>
                  </a:lnTo>
                  <a:lnTo>
                    <a:pt x="916" y="1739"/>
                  </a:lnTo>
                  <a:lnTo>
                    <a:pt x="929" y="1752"/>
                  </a:lnTo>
                  <a:lnTo>
                    <a:pt x="944" y="1764"/>
                  </a:lnTo>
                  <a:lnTo>
                    <a:pt x="957" y="1775"/>
                  </a:lnTo>
                  <a:lnTo>
                    <a:pt x="972" y="1785"/>
                  </a:lnTo>
                  <a:lnTo>
                    <a:pt x="985" y="1795"/>
                  </a:lnTo>
                  <a:lnTo>
                    <a:pt x="999" y="1802"/>
                  </a:lnTo>
                  <a:lnTo>
                    <a:pt x="1011" y="1808"/>
                  </a:lnTo>
                  <a:lnTo>
                    <a:pt x="1022" y="1812"/>
                  </a:lnTo>
                  <a:lnTo>
                    <a:pt x="1026" y="1813"/>
                  </a:lnTo>
                  <a:lnTo>
                    <a:pt x="1028" y="1812"/>
                  </a:lnTo>
                  <a:lnTo>
                    <a:pt x="1031" y="1812"/>
                  </a:lnTo>
                  <a:lnTo>
                    <a:pt x="1033" y="1810"/>
                  </a:lnTo>
                  <a:lnTo>
                    <a:pt x="1036" y="1805"/>
                  </a:lnTo>
                  <a:lnTo>
                    <a:pt x="1038" y="1797"/>
                  </a:lnTo>
                  <a:lnTo>
                    <a:pt x="1040" y="1776"/>
                  </a:lnTo>
                  <a:lnTo>
                    <a:pt x="1042" y="1750"/>
                  </a:lnTo>
                  <a:lnTo>
                    <a:pt x="1042" y="1736"/>
                  </a:lnTo>
                  <a:lnTo>
                    <a:pt x="1044" y="1721"/>
                  </a:lnTo>
                  <a:lnTo>
                    <a:pt x="1045" y="1708"/>
                  </a:lnTo>
                  <a:lnTo>
                    <a:pt x="1048" y="1694"/>
                  </a:lnTo>
                  <a:lnTo>
                    <a:pt x="1052" y="1682"/>
                  </a:lnTo>
                  <a:lnTo>
                    <a:pt x="1057" y="1671"/>
                  </a:lnTo>
                  <a:lnTo>
                    <a:pt x="1060" y="1666"/>
                  </a:lnTo>
                  <a:lnTo>
                    <a:pt x="1064" y="1662"/>
                  </a:lnTo>
                  <a:lnTo>
                    <a:pt x="1069" y="1658"/>
                  </a:lnTo>
                  <a:lnTo>
                    <a:pt x="1073" y="1655"/>
                  </a:lnTo>
                  <a:lnTo>
                    <a:pt x="1106" y="1634"/>
                  </a:lnTo>
                  <a:lnTo>
                    <a:pt x="1147" y="1609"/>
                  </a:lnTo>
                  <a:lnTo>
                    <a:pt x="1169" y="1595"/>
                  </a:lnTo>
                  <a:lnTo>
                    <a:pt x="1192" y="1582"/>
                  </a:lnTo>
                  <a:lnTo>
                    <a:pt x="1216" y="1569"/>
                  </a:lnTo>
                  <a:lnTo>
                    <a:pt x="1241" y="1558"/>
                  </a:lnTo>
                  <a:lnTo>
                    <a:pt x="1265" y="1547"/>
                  </a:lnTo>
                  <a:lnTo>
                    <a:pt x="1290" y="1539"/>
                  </a:lnTo>
                  <a:lnTo>
                    <a:pt x="1301" y="1536"/>
                  </a:lnTo>
                  <a:lnTo>
                    <a:pt x="1314" y="1534"/>
                  </a:lnTo>
                  <a:lnTo>
                    <a:pt x="1325" y="1533"/>
                  </a:lnTo>
                  <a:lnTo>
                    <a:pt x="1338" y="1532"/>
                  </a:lnTo>
                  <a:lnTo>
                    <a:pt x="1349" y="1532"/>
                  </a:lnTo>
                  <a:lnTo>
                    <a:pt x="1360" y="1533"/>
                  </a:lnTo>
                  <a:lnTo>
                    <a:pt x="1371" y="1534"/>
                  </a:lnTo>
                  <a:lnTo>
                    <a:pt x="1381" y="1537"/>
                  </a:lnTo>
                  <a:lnTo>
                    <a:pt x="1392" y="1541"/>
                  </a:lnTo>
                  <a:lnTo>
                    <a:pt x="1401" y="1546"/>
                  </a:lnTo>
                  <a:lnTo>
                    <a:pt x="1411" y="1552"/>
                  </a:lnTo>
                  <a:lnTo>
                    <a:pt x="1420" y="1560"/>
                  </a:lnTo>
                  <a:lnTo>
                    <a:pt x="1428" y="1568"/>
                  </a:lnTo>
                  <a:lnTo>
                    <a:pt x="1435" y="1575"/>
                  </a:lnTo>
                  <a:lnTo>
                    <a:pt x="1441" y="1584"/>
                  </a:lnTo>
                  <a:lnTo>
                    <a:pt x="1447" y="1591"/>
                  </a:lnTo>
                  <a:lnTo>
                    <a:pt x="1451" y="1599"/>
                  </a:lnTo>
                  <a:lnTo>
                    <a:pt x="1455" y="1607"/>
                  </a:lnTo>
                  <a:lnTo>
                    <a:pt x="1458" y="1615"/>
                  </a:lnTo>
                  <a:lnTo>
                    <a:pt x="1459" y="1623"/>
                  </a:lnTo>
                  <a:lnTo>
                    <a:pt x="1460" y="1632"/>
                  </a:lnTo>
                  <a:lnTo>
                    <a:pt x="1459" y="1639"/>
                  </a:lnTo>
                  <a:lnTo>
                    <a:pt x="1457" y="1647"/>
                  </a:lnTo>
                  <a:lnTo>
                    <a:pt x="1453" y="1656"/>
                  </a:lnTo>
                  <a:lnTo>
                    <a:pt x="1449" y="1664"/>
                  </a:lnTo>
                  <a:lnTo>
                    <a:pt x="1443" y="1672"/>
                  </a:lnTo>
                  <a:lnTo>
                    <a:pt x="1436" y="1681"/>
                  </a:lnTo>
                  <a:lnTo>
                    <a:pt x="1426" y="1689"/>
                  </a:lnTo>
                  <a:lnTo>
                    <a:pt x="1421" y="1695"/>
                  </a:lnTo>
                  <a:lnTo>
                    <a:pt x="1416" y="1703"/>
                  </a:lnTo>
                  <a:lnTo>
                    <a:pt x="1413" y="1710"/>
                  </a:lnTo>
                  <a:lnTo>
                    <a:pt x="1411" y="1717"/>
                  </a:lnTo>
                  <a:lnTo>
                    <a:pt x="1410" y="1725"/>
                  </a:lnTo>
                  <a:lnTo>
                    <a:pt x="1411" y="1732"/>
                  </a:lnTo>
                  <a:lnTo>
                    <a:pt x="1412" y="1739"/>
                  </a:lnTo>
                  <a:lnTo>
                    <a:pt x="1414" y="1747"/>
                  </a:lnTo>
                  <a:lnTo>
                    <a:pt x="1418" y="1753"/>
                  </a:lnTo>
                  <a:lnTo>
                    <a:pt x="1423" y="1758"/>
                  </a:lnTo>
                  <a:lnTo>
                    <a:pt x="1429" y="1762"/>
                  </a:lnTo>
                  <a:lnTo>
                    <a:pt x="1437" y="1764"/>
                  </a:lnTo>
                  <a:lnTo>
                    <a:pt x="1445" y="1766"/>
                  </a:lnTo>
                  <a:lnTo>
                    <a:pt x="1454" y="1766"/>
                  </a:lnTo>
                  <a:lnTo>
                    <a:pt x="1465" y="1764"/>
                  </a:lnTo>
                  <a:lnTo>
                    <a:pt x="1476" y="1760"/>
                  </a:lnTo>
                  <a:lnTo>
                    <a:pt x="1486" y="1754"/>
                  </a:lnTo>
                  <a:lnTo>
                    <a:pt x="1493" y="1749"/>
                  </a:lnTo>
                  <a:lnTo>
                    <a:pt x="1499" y="1743"/>
                  </a:lnTo>
                  <a:lnTo>
                    <a:pt x="1504" y="1737"/>
                  </a:lnTo>
                  <a:lnTo>
                    <a:pt x="1510" y="1732"/>
                  </a:lnTo>
                  <a:lnTo>
                    <a:pt x="1514" y="1725"/>
                  </a:lnTo>
                  <a:lnTo>
                    <a:pt x="1518" y="1717"/>
                  </a:lnTo>
                  <a:lnTo>
                    <a:pt x="1522" y="1708"/>
                  </a:lnTo>
                  <a:lnTo>
                    <a:pt x="1524" y="1704"/>
                  </a:lnTo>
                  <a:lnTo>
                    <a:pt x="1526" y="1701"/>
                  </a:lnTo>
                  <a:lnTo>
                    <a:pt x="1529" y="1699"/>
                  </a:lnTo>
                  <a:lnTo>
                    <a:pt x="1532" y="1697"/>
                  </a:lnTo>
                  <a:lnTo>
                    <a:pt x="1535" y="1697"/>
                  </a:lnTo>
                  <a:lnTo>
                    <a:pt x="1538" y="1697"/>
                  </a:lnTo>
                  <a:lnTo>
                    <a:pt x="1541" y="1700"/>
                  </a:lnTo>
                  <a:lnTo>
                    <a:pt x="1544" y="1701"/>
                  </a:lnTo>
                  <a:lnTo>
                    <a:pt x="1555" y="1710"/>
                  </a:lnTo>
                  <a:lnTo>
                    <a:pt x="1563" y="1719"/>
                  </a:lnTo>
                  <a:lnTo>
                    <a:pt x="1563" y="1737"/>
                  </a:lnTo>
                  <a:lnTo>
                    <a:pt x="1563" y="1752"/>
                  </a:lnTo>
                  <a:lnTo>
                    <a:pt x="1562" y="1759"/>
                  </a:lnTo>
                  <a:lnTo>
                    <a:pt x="1560" y="1766"/>
                  </a:lnTo>
                  <a:lnTo>
                    <a:pt x="1556" y="1774"/>
                  </a:lnTo>
                  <a:lnTo>
                    <a:pt x="1550" y="1782"/>
                  </a:lnTo>
                  <a:lnTo>
                    <a:pt x="1551" y="1790"/>
                  </a:lnTo>
                  <a:lnTo>
                    <a:pt x="1553" y="1798"/>
                  </a:lnTo>
                  <a:lnTo>
                    <a:pt x="1557" y="1803"/>
                  </a:lnTo>
                  <a:lnTo>
                    <a:pt x="1561" y="1808"/>
                  </a:lnTo>
                  <a:lnTo>
                    <a:pt x="1570" y="1819"/>
                  </a:lnTo>
                  <a:lnTo>
                    <a:pt x="1580" y="1830"/>
                  </a:lnTo>
                  <a:lnTo>
                    <a:pt x="1584" y="1839"/>
                  </a:lnTo>
                  <a:lnTo>
                    <a:pt x="1586" y="1848"/>
                  </a:lnTo>
                  <a:lnTo>
                    <a:pt x="1587" y="1855"/>
                  </a:lnTo>
                  <a:lnTo>
                    <a:pt x="1587" y="1863"/>
                  </a:lnTo>
                  <a:lnTo>
                    <a:pt x="1584" y="1879"/>
                  </a:lnTo>
                  <a:lnTo>
                    <a:pt x="1580" y="1897"/>
                  </a:lnTo>
                  <a:lnTo>
                    <a:pt x="1580" y="1907"/>
                  </a:lnTo>
                  <a:lnTo>
                    <a:pt x="1581" y="1917"/>
                  </a:lnTo>
                  <a:lnTo>
                    <a:pt x="1584" y="1926"/>
                  </a:lnTo>
                  <a:lnTo>
                    <a:pt x="1588" y="1934"/>
                  </a:lnTo>
                  <a:lnTo>
                    <a:pt x="1594" y="1943"/>
                  </a:lnTo>
                  <a:lnTo>
                    <a:pt x="1601" y="1949"/>
                  </a:lnTo>
                  <a:lnTo>
                    <a:pt x="1610" y="1956"/>
                  </a:lnTo>
                  <a:lnTo>
                    <a:pt x="1618" y="1961"/>
                  </a:lnTo>
                  <a:lnTo>
                    <a:pt x="1629" y="1967"/>
                  </a:lnTo>
                  <a:lnTo>
                    <a:pt x="1638" y="1971"/>
                  </a:lnTo>
                  <a:lnTo>
                    <a:pt x="1648" y="1974"/>
                  </a:lnTo>
                  <a:lnTo>
                    <a:pt x="1660" y="1977"/>
                  </a:lnTo>
                  <a:lnTo>
                    <a:pt x="1670" y="1979"/>
                  </a:lnTo>
                  <a:lnTo>
                    <a:pt x="1680" y="1981"/>
                  </a:lnTo>
                  <a:lnTo>
                    <a:pt x="1690" y="1982"/>
                  </a:lnTo>
                  <a:lnTo>
                    <a:pt x="1698" y="1982"/>
                  </a:lnTo>
                  <a:lnTo>
                    <a:pt x="1713" y="1981"/>
                  </a:lnTo>
                  <a:lnTo>
                    <a:pt x="1727" y="1979"/>
                  </a:lnTo>
                  <a:lnTo>
                    <a:pt x="1740" y="1975"/>
                  </a:lnTo>
                  <a:lnTo>
                    <a:pt x="1753" y="1972"/>
                  </a:lnTo>
                  <a:lnTo>
                    <a:pt x="1766" y="1969"/>
                  </a:lnTo>
                  <a:lnTo>
                    <a:pt x="1779" y="1968"/>
                  </a:lnTo>
                  <a:lnTo>
                    <a:pt x="1786" y="1968"/>
                  </a:lnTo>
                  <a:lnTo>
                    <a:pt x="1792" y="1968"/>
                  </a:lnTo>
                  <a:lnTo>
                    <a:pt x="1798" y="1970"/>
                  </a:lnTo>
                  <a:lnTo>
                    <a:pt x="1806" y="1972"/>
                  </a:lnTo>
                  <a:lnTo>
                    <a:pt x="1813" y="1974"/>
                  </a:lnTo>
                  <a:lnTo>
                    <a:pt x="1821" y="1975"/>
                  </a:lnTo>
                  <a:lnTo>
                    <a:pt x="1829" y="1975"/>
                  </a:lnTo>
                  <a:lnTo>
                    <a:pt x="1837" y="1974"/>
                  </a:lnTo>
                  <a:lnTo>
                    <a:pt x="1854" y="1973"/>
                  </a:lnTo>
                  <a:lnTo>
                    <a:pt x="1870" y="1973"/>
                  </a:lnTo>
                  <a:lnTo>
                    <a:pt x="1870" y="1973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4" name="Freeform 161">
              <a:extLst>
                <a:ext uri="{FF2B5EF4-FFF2-40B4-BE49-F238E27FC236}">
                  <a16:creationId xmlns:a16="http://schemas.microsoft.com/office/drawing/2014/main" id="{1C84ACF5-723F-42BD-A160-29E150EDF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0206" y="5493098"/>
              <a:ext cx="295430" cy="338055"/>
            </a:xfrm>
            <a:custGeom>
              <a:avLst/>
              <a:gdLst>
                <a:gd name="T0" fmla="*/ 648 w 1178"/>
                <a:gd name="T1" fmla="*/ 1208 h 1393"/>
                <a:gd name="T2" fmla="*/ 618 w 1178"/>
                <a:gd name="T3" fmla="*/ 1211 h 1393"/>
                <a:gd name="T4" fmla="*/ 566 w 1178"/>
                <a:gd name="T5" fmla="*/ 1245 h 1393"/>
                <a:gd name="T6" fmla="*/ 552 w 1178"/>
                <a:gd name="T7" fmla="*/ 1172 h 1393"/>
                <a:gd name="T8" fmla="*/ 501 w 1178"/>
                <a:gd name="T9" fmla="*/ 1173 h 1393"/>
                <a:gd name="T10" fmla="*/ 437 w 1178"/>
                <a:gd name="T11" fmla="*/ 1160 h 1393"/>
                <a:gd name="T12" fmla="*/ 351 w 1178"/>
                <a:gd name="T13" fmla="*/ 1132 h 1393"/>
                <a:gd name="T14" fmla="*/ 348 w 1178"/>
                <a:gd name="T15" fmla="*/ 1028 h 1393"/>
                <a:gd name="T16" fmla="*/ 327 w 1178"/>
                <a:gd name="T17" fmla="*/ 991 h 1393"/>
                <a:gd name="T18" fmla="*/ 283 w 1178"/>
                <a:gd name="T19" fmla="*/ 1004 h 1393"/>
                <a:gd name="T20" fmla="*/ 246 w 1178"/>
                <a:gd name="T21" fmla="*/ 985 h 1393"/>
                <a:gd name="T22" fmla="*/ 218 w 1178"/>
                <a:gd name="T23" fmla="*/ 916 h 1393"/>
                <a:gd name="T24" fmla="*/ 76 w 1178"/>
                <a:gd name="T25" fmla="*/ 861 h 1393"/>
                <a:gd name="T26" fmla="*/ 39 w 1178"/>
                <a:gd name="T27" fmla="*/ 770 h 1393"/>
                <a:gd name="T28" fmla="*/ 0 w 1178"/>
                <a:gd name="T29" fmla="*/ 616 h 1393"/>
                <a:gd name="T30" fmla="*/ 10 w 1178"/>
                <a:gd name="T31" fmla="*/ 592 h 1393"/>
                <a:gd name="T32" fmla="*/ 81 w 1178"/>
                <a:gd name="T33" fmla="*/ 586 h 1393"/>
                <a:gd name="T34" fmla="*/ 130 w 1178"/>
                <a:gd name="T35" fmla="*/ 550 h 1393"/>
                <a:gd name="T36" fmla="*/ 127 w 1178"/>
                <a:gd name="T37" fmla="*/ 476 h 1393"/>
                <a:gd name="T38" fmla="*/ 172 w 1178"/>
                <a:gd name="T39" fmla="*/ 403 h 1393"/>
                <a:gd name="T40" fmla="*/ 232 w 1178"/>
                <a:gd name="T41" fmla="*/ 355 h 1393"/>
                <a:gd name="T42" fmla="*/ 227 w 1178"/>
                <a:gd name="T43" fmla="*/ 299 h 1393"/>
                <a:gd name="T44" fmla="*/ 192 w 1178"/>
                <a:gd name="T45" fmla="*/ 253 h 1393"/>
                <a:gd name="T46" fmla="*/ 202 w 1178"/>
                <a:gd name="T47" fmla="*/ 207 h 1393"/>
                <a:gd name="T48" fmla="*/ 290 w 1178"/>
                <a:gd name="T49" fmla="*/ 170 h 1393"/>
                <a:gd name="T50" fmla="*/ 321 w 1178"/>
                <a:gd name="T51" fmla="*/ 99 h 1393"/>
                <a:gd name="T52" fmla="*/ 345 w 1178"/>
                <a:gd name="T53" fmla="*/ 15 h 1393"/>
                <a:gd name="T54" fmla="*/ 393 w 1178"/>
                <a:gd name="T55" fmla="*/ 6 h 1393"/>
                <a:gd name="T56" fmla="*/ 410 w 1178"/>
                <a:gd name="T57" fmla="*/ 64 h 1393"/>
                <a:gd name="T58" fmla="*/ 452 w 1178"/>
                <a:gd name="T59" fmla="*/ 36 h 1393"/>
                <a:gd name="T60" fmla="*/ 511 w 1178"/>
                <a:gd name="T61" fmla="*/ 31 h 1393"/>
                <a:gd name="T62" fmla="*/ 588 w 1178"/>
                <a:gd name="T63" fmla="*/ 46 h 1393"/>
                <a:gd name="T64" fmla="*/ 617 w 1178"/>
                <a:gd name="T65" fmla="*/ 106 h 1393"/>
                <a:gd name="T66" fmla="*/ 681 w 1178"/>
                <a:gd name="T67" fmla="*/ 113 h 1393"/>
                <a:gd name="T68" fmla="*/ 729 w 1178"/>
                <a:gd name="T69" fmla="*/ 93 h 1393"/>
                <a:gd name="T70" fmla="*/ 780 w 1178"/>
                <a:gd name="T71" fmla="*/ 122 h 1393"/>
                <a:gd name="T72" fmla="*/ 880 w 1178"/>
                <a:gd name="T73" fmla="*/ 138 h 1393"/>
                <a:gd name="T74" fmla="*/ 963 w 1178"/>
                <a:gd name="T75" fmla="*/ 207 h 1393"/>
                <a:gd name="T76" fmla="*/ 969 w 1178"/>
                <a:gd name="T77" fmla="*/ 282 h 1393"/>
                <a:gd name="T78" fmla="*/ 1022 w 1178"/>
                <a:gd name="T79" fmla="*/ 352 h 1393"/>
                <a:gd name="T80" fmla="*/ 1042 w 1178"/>
                <a:gd name="T81" fmla="*/ 394 h 1393"/>
                <a:gd name="T82" fmla="*/ 1045 w 1178"/>
                <a:gd name="T83" fmla="*/ 564 h 1393"/>
                <a:gd name="T84" fmla="*/ 1011 w 1178"/>
                <a:gd name="T85" fmla="*/ 629 h 1393"/>
                <a:gd name="T86" fmla="*/ 931 w 1178"/>
                <a:gd name="T87" fmla="*/ 679 h 1393"/>
                <a:gd name="T88" fmla="*/ 1008 w 1178"/>
                <a:gd name="T89" fmla="*/ 737 h 1393"/>
                <a:gd name="T90" fmla="*/ 1052 w 1178"/>
                <a:gd name="T91" fmla="*/ 771 h 1393"/>
                <a:gd name="T92" fmla="*/ 1088 w 1178"/>
                <a:gd name="T93" fmla="*/ 753 h 1393"/>
                <a:gd name="T94" fmla="*/ 1134 w 1178"/>
                <a:gd name="T95" fmla="*/ 797 h 1393"/>
                <a:gd name="T96" fmla="*/ 1151 w 1178"/>
                <a:gd name="T97" fmla="*/ 924 h 1393"/>
                <a:gd name="T98" fmla="*/ 1056 w 1178"/>
                <a:gd name="T99" fmla="*/ 971 h 1393"/>
                <a:gd name="T100" fmla="*/ 1079 w 1178"/>
                <a:gd name="T101" fmla="*/ 1038 h 1393"/>
                <a:gd name="T102" fmla="*/ 1067 w 1178"/>
                <a:gd name="T103" fmla="*/ 1170 h 1393"/>
                <a:gd name="T104" fmla="*/ 1014 w 1178"/>
                <a:gd name="T105" fmla="*/ 1210 h 1393"/>
                <a:gd name="T106" fmla="*/ 987 w 1178"/>
                <a:gd name="T107" fmla="*/ 1265 h 1393"/>
                <a:gd name="T108" fmla="*/ 934 w 1178"/>
                <a:gd name="T109" fmla="*/ 1371 h 1393"/>
                <a:gd name="T110" fmla="*/ 870 w 1178"/>
                <a:gd name="T111" fmla="*/ 1351 h 1393"/>
                <a:gd name="T112" fmla="*/ 824 w 1178"/>
                <a:gd name="T113" fmla="*/ 1386 h 1393"/>
                <a:gd name="T114" fmla="*/ 790 w 1178"/>
                <a:gd name="T115" fmla="*/ 1387 h 1393"/>
                <a:gd name="T116" fmla="*/ 687 w 1178"/>
                <a:gd name="T117" fmla="*/ 1321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78" h="1393">
                  <a:moveTo>
                    <a:pt x="655" y="1338"/>
                  </a:moveTo>
                  <a:lnTo>
                    <a:pt x="655" y="1274"/>
                  </a:lnTo>
                  <a:lnTo>
                    <a:pt x="657" y="1266"/>
                  </a:lnTo>
                  <a:lnTo>
                    <a:pt x="658" y="1258"/>
                  </a:lnTo>
                  <a:lnTo>
                    <a:pt x="658" y="1249"/>
                  </a:lnTo>
                  <a:lnTo>
                    <a:pt x="657" y="1241"/>
                  </a:lnTo>
                  <a:lnTo>
                    <a:pt x="653" y="1223"/>
                  </a:lnTo>
                  <a:lnTo>
                    <a:pt x="648" y="1208"/>
                  </a:lnTo>
                  <a:lnTo>
                    <a:pt x="644" y="1202"/>
                  </a:lnTo>
                  <a:lnTo>
                    <a:pt x="642" y="1199"/>
                  </a:lnTo>
                  <a:lnTo>
                    <a:pt x="638" y="1198"/>
                  </a:lnTo>
                  <a:lnTo>
                    <a:pt x="635" y="1198"/>
                  </a:lnTo>
                  <a:lnTo>
                    <a:pt x="631" y="1200"/>
                  </a:lnTo>
                  <a:lnTo>
                    <a:pt x="628" y="1202"/>
                  </a:lnTo>
                  <a:lnTo>
                    <a:pt x="624" y="1207"/>
                  </a:lnTo>
                  <a:lnTo>
                    <a:pt x="618" y="1211"/>
                  </a:lnTo>
                  <a:lnTo>
                    <a:pt x="610" y="1220"/>
                  </a:lnTo>
                  <a:lnTo>
                    <a:pt x="601" y="1230"/>
                  </a:lnTo>
                  <a:lnTo>
                    <a:pt x="596" y="1234"/>
                  </a:lnTo>
                  <a:lnTo>
                    <a:pt x="591" y="1238"/>
                  </a:lnTo>
                  <a:lnTo>
                    <a:pt x="587" y="1240"/>
                  </a:lnTo>
                  <a:lnTo>
                    <a:pt x="583" y="1242"/>
                  </a:lnTo>
                  <a:lnTo>
                    <a:pt x="574" y="1244"/>
                  </a:lnTo>
                  <a:lnTo>
                    <a:pt x="566" y="1245"/>
                  </a:lnTo>
                  <a:lnTo>
                    <a:pt x="561" y="1244"/>
                  </a:lnTo>
                  <a:lnTo>
                    <a:pt x="556" y="1242"/>
                  </a:lnTo>
                  <a:lnTo>
                    <a:pt x="553" y="1238"/>
                  </a:lnTo>
                  <a:lnTo>
                    <a:pt x="550" y="1234"/>
                  </a:lnTo>
                  <a:lnTo>
                    <a:pt x="548" y="1229"/>
                  </a:lnTo>
                  <a:lnTo>
                    <a:pt x="547" y="1223"/>
                  </a:lnTo>
                  <a:lnTo>
                    <a:pt x="548" y="1196"/>
                  </a:lnTo>
                  <a:lnTo>
                    <a:pt x="552" y="1172"/>
                  </a:lnTo>
                  <a:lnTo>
                    <a:pt x="547" y="1171"/>
                  </a:lnTo>
                  <a:lnTo>
                    <a:pt x="542" y="1170"/>
                  </a:lnTo>
                  <a:lnTo>
                    <a:pt x="535" y="1171"/>
                  </a:lnTo>
                  <a:lnTo>
                    <a:pt x="528" y="1172"/>
                  </a:lnTo>
                  <a:lnTo>
                    <a:pt x="520" y="1173"/>
                  </a:lnTo>
                  <a:lnTo>
                    <a:pt x="512" y="1174"/>
                  </a:lnTo>
                  <a:lnTo>
                    <a:pt x="506" y="1174"/>
                  </a:lnTo>
                  <a:lnTo>
                    <a:pt x="501" y="1173"/>
                  </a:lnTo>
                  <a:lnTo>
                    <a:pt x="491" y="1161"/>
                  </a:lnTo>
                  <a:lnTo>
                    <a:pt x="482" y="1148"/>
                  </a:lnTo>
                  <a:lnTo>
                    <a:pt x="477" y="1148"/>
                  </a:lnTo>
                  <a:lnTo>
                    <a:pt x="470" y="1149"/>
                  </a:lnTo>
                  <a:lnTo>
                    <a:pt x="463" y="1151"/>
                  </a:lnTo>
                  <a:lnTo>
                    <a:pt x="455" y="1154"/>
                  </a:lnTo>
                  <a:lnTo>
                    <a:pt x="446" y="1157"/>
                  </a:lnTo>
                  <a:lnTo>
                    <a:pt x="437" y="1160"/>
                  </a:lnTo>
                  <a:lnTo>
                    <a:pt x="429" y="1161"/>
                  </a:lnTo>
                  <a:lnTo>
                    <a:pt x="420" y="1161"/>
                  </a:lnTo>
                  <a:lnTo>
                    <a:pt x="405" y="1161"/>
                  </a:lnTo>
                  <a:lnTo>
                    <a:pt x="390" y="1162"/>
                  </a:lnTo>
                  <a:lnTo>
                    <a:pt x="376" y="1162"/>
                  </a:lnTo>
                  <a:lnTo>
                    <a:pt x="361" y="1160"/>
                  </a:lnTo>
                  <a:lnTo>
                    <a:pt x="356" y="1144"/>
                  </a:lnTo>
                  <a:lnTo>
                    <a:pt x="351" y="1132"/>
                  </a:lnTo>
                  <a:lnTo>
                    <a:pt x="350" y="1124"/>
                  </a:lnTo>
                  <a:lnTo>
                    <a:pt x="348" y="1117"/>
                  </a:lnTo>
                  <a:lnTo>
                    <a:pt x="348" y="1109"/>
                  </a:lnTo>
                  <a:lnTo>
                    <a:pt x="347" y="1098"/>
                  </a:lnTo>
                  <a:lnTo>
                    <a:pt x="348" y="1086"/>
                  </a:lnTo>
                  <a:lnTo>
                    <a:pt x="349" y="1069"/>
                  </a:lnTo>
                  <a:lnTo>
                    <a:pt x="349" y="1048"/>
                  </a:lnTo>
                  <a:lnTo>
                    <a:pt x="348" y="1028"/>
                  </a:lnTo>
                  <a:lnTo>
                    <a:pt x="347" y="1019"/>
                  </a:lnTo>
                  <a:lnTo>
                    <a:pt x="345" y="1009"/>
                  </a:lnTo>
                  <a:lnTo>
                    <a:pt x="342" y="1002"/>
                  </a:lnTo>
                  <a:lnTo>
                    <a:pt x="339" y="997"/>
                  </a:lnTo>
                  <a:lnTo>
                    <a:pt x="336" y="994"/>
                  </a:lnTo>
                  <a:lnTo>
                    <a:pt x="334" y="993"/>
                  </a:lnTo>
                  <a:lnTo>
                    <a:pt x="331" y="991"/>
                  </a:lnTo>
                  <a:lnTo>
                    <a:pt x="327" y="991"/>
                  </a:lnTo>
                  <a:lnTo>
                    <a:pt x="324" y="991"/>
                  </a:lnTo>
                  <a:lnTo>
                    <a:pt x="320" y="991"/>
                  </a:lnTo>
                  <a:lnTo>
                    <a:pt x="316" y="993"/>
                  </a:lnTo>
                  <a:lnTo>
                    <a:pt x="311" y="995"/>
                  </a:lnTo>
                  <a:lnTo>
                    <a:pt x="303" y="998"/>
                  </a:lnTo>
                  <a:lnTo>
                    <a:pt x="295" y="1001"/>
                  </a:lnTo>
                  <a:lnTo>
                    <a:pt x="289" y="1003"/>
                  </a:lnTo>
                  <a:lnTo>
                    <a:pt x="283" y="1004"/>
                  </a:lnTo>
                  <a:lnTo>
                    <a:pt x="276" y="1004"/>
                  </a:lnTo>
                  <a:lnTo>
                    <a:pt x="270" y="1004"/>
                  </a:lnTo>
                  <a:lnTo>
                    <a:pt x="266" y="1003"/>
                  </a:lnTo>
                  <a:lnTo>
                    <a:pt x="261" y="1001"/>
                  </a:lnTo>
                  <a:lnTo>
                    <a:pt x="257" y="998"/>
                  </a:lnTo>
                  <a:lnTo>
                    <a:pt x="252" y="995"/>
                  </a:lnTo>
                  <a:lnTo>
                    <a:pt x="249" y="991"/>
                  </a:lnTo>
                  <a:lnTo>
                    <a:pt x="246" y="985"/>
                  </a:lnTo>
                  <a:lnTo>
                    <a:pt x="243" y="979"/>
                  </a:lnTo>
                  <a:lnTo>
                    <a:pt x="241" y="973"/>
                  </a:lnTo>
                  <a:lnTo>
                    <a:pt x="239" y="967"/>
                  </a:lnTo>
                  <a:lnTo>
                    <a:pt x="238" y="958"/>
                  </a:lnTo>
                  <a:lnTo>
                    <a:pt x="234" y="945"/>
                  </a:lnTo>
                  <a:lnTo>
                    <a:pt x="229" y="933"/>
                  </a:lnTo>
                  <a:lnTo>
                    <a:pt x="224" y="924"/>
                  </a:lnTo>
                  <a:lnTo>
                    <a:pt x="218" y="916"/>
                  </a:lnTo>
                  <a:lnTo>
                    <a:pt x="211" y="908"/>
                  </a:lnTo>
                  <a:lnTo>
                    <a:pt x="203" y="902"/>
                  </a:lnTo>
                  <a:lnTo>
                    <a:pt x="194" y="897"/>
                  </a:lnTo>
                  <a:lnTo>
                    <a:pt x="185" y="893"/>
                  </a:lnTo>
                  <a:lnTo>
                    <a:pt x="143" y="881"/>
                  </a:lnTo>
                  <a:lnTo>
                    <a:pt x="95" y="871"/>
                  </a:lnTo>
                  <a:lnTo>
                    <a:pt x="86" y="867"/>
                  </a:lnTo>
                  <a:lnTo>
                    <a:pt x="76" y="861"/>
                  </a:lnTo>
                  <a:lnTo>
                    <a:pt x="69" y="855"/>
                  </a:lnTo>
                  <a:lnTo>
                    <a:pt x="63" y="848"/>
                  </a:lnTo>
                  <a:lnTo>
                    <a:pt x="56" y="840"/>
                  </a:lnTo>
                  <a:lnTo>
                    <a:pt x="52" y="831"/>
                  </a:lnTo>
                  <a:lnTo>
                    <a:pt x="48" y="822"/>
                  </a:lnTo>
                  <a:lnTo>
                    <a:pt x="45" y="812"/>
                  </a:lnTo>
                  <a:lnTo>
                    <a:pt x="41" y="791"/>
                  </a:lnTo>
                  <a:lnTo>
                    <a:pt x="39" y="770"/>
                  </a:lnTo>
                  <a:lnTo>
                    <a:pt x="37" y="748"/>
                  </a:lnTo>
                  <a:lnTo>
                    <a:pt x="36" y="728"/>
                  </a:lnTo>
                  <a:lnTo>
                    <a:pt x="25" y="702"/>
                  </a:lnTo>
                  <a:lnTo>
                    <a:pt x="14" y="673"/>
                  </a:lnTo>
                  <a:lnTo>
                    <a:pt x="8" y="658"/>
                  </a:lnTo>
                  <a:lnTo>
                    <a:pt x="4" y="643"/>
                  </a:lnTo>
                  <a:lnTo>
                    <a:pt x="1" y="630"/>
                  </a:lnTo>
                  <a:lnTo>
                    <a:pt x="0" y="616"/>
                  </a:lnTo>
                  <a:lnTo>
                    <a:pt x="0" y="616"/>
                  </a:lnTo>
                  <a:lnTo>
                    <a:pt x="0" y="611"/>
                  </a:lnTo>
                  <a:lnTo>
                    <a:pt x="1" y="607"/>
                  </a:lnTo>
                  <a:lnTo>
                    <a:pt x="2" y="603"/>
                  </a:lnTo>
                  <a:lnTo>
                    <a:pt x="3" y="599"/>
                  </a:lnTo>
                  <a:lnTo>
                    <a:pt x="5" y="596"/>
                  </a:lnTo>
                  <a:lnTo>
                    <a:pt x="8" y="594"/>
                  </a:lnTo>
                  <a:lnTo>
                    <a:pt x="10" y="592"/>
                  </a:lnTo>
                  <a:lnTo>
                    <a:pt x="15" y="591"/>
                  </a:lnTo>
                  <a:lnTo>
                    <a:pt x="22" y="589"/>
                  </a:lnTo>
                  <a:lnTo>
                    <a:pt x="30" y="588"/>
                  </a:lnTo>
                  <a:lnTo>
                    <a:pt x="40" y="587"/>
                  </a:lnTo>
                  <a:lnTo>
                    <a:pt x="50" y="587"/>
                  </a:lnTo>
                  <a:lnTo>
                    <a:pt x="61" y="587"/>
                  </a:lnTo>
                  <a:lnTo>
                    <a:pt x="71" y="587"/>
                  </a:lnTo>
                  <a:lnTo>
                    <a:pt x="81" y="586"/>
                  </a:lnTo>
                  <a:lnTo>
                    <a:pt x="91" y="585"/>
                  </a:lnTo>
                  <a:lnTo>
                    <a:pt x="101" y="582"/>
                  </a:lnTo>
                  <a:lnTo>
                    <a:pt x="110" y="578"/>
                  </a:lnTo>
                  <a:lnTo>
                    <a:pt x="114" y="574"/>
                  </a:lnTo>
                  <a:lnTo>
                    <a:pt x="117" y="571"/>
                  </a:lnTo>
                  <a:lnTo>
                    <a:pt x="120" y="568"/>
                  </a:lnTo>
                  <a:lnTo>
                    <a:pt x="123" y="564"/>
                  </a:lnTo>
                  <a:lnTo>
                    <a:pt x="130" y="550"/>
                  </a:lnTo>
                  <a:lnTo>
                    <a:pt x="136" y="540"/>
                  </a:lnTo>
                  <a:lnTo>
                    <a:pt x="139" y="530"/>
                  </a:lnTo>
                  <a:lnTo>
                    <a:pt x="140" y="520"/>
                  </a:lnTo>
                  <a:lnTo>
                    <a:pt x="140" y="512"/>
                  </a:lnTo>
                  <a:lnTo>
                    <a:pt x="139" y="505"/>
                  </a:lnTo>
                  <a:lnTo>
                    <a:pt x="137" y="497"/>
                  </a:lnTo>
                  <a:lnTo>
                    <a:pt x="135" y="490"/>
                  </a:lnTo>
                  <a:lnTo>
                    <a:pt x="127" y="476"/>
                  </a:lnTo>
                  <a:lnTo>
                    <a:pt x="120" y="461"/>
                  </a:lnTo>
                  <a:lnTo>
                    <a:pt x="117" y="452"/>
                  </a:lnTo>
                  <a:lnTo>
                    <a:pt x="115" y="443"/>
                  </a:lnTo>
                  <a:lnTo>
                    <a:pt x="113" y="433"/>
                  </a:lnTo>
                  <a:lnTo>
                    <a:pt x="113" y="421"/>
                  </a:lnTo>
                  <a:lnTo>
                    <a:pt x="138" y="414"/>
                  </a:lnTo>
                  <a:lnTo>
                    <a:pt x="161" y="408"/>
                  </a:lnTo>
                  <a:lnTo>
                    <a:pt x="172" y="403"/>
                  </a:lnTo>
                  <a:lnTo>
                    <a:pt x="184" y="398"/>
                  </a:lnTo>
                  <a:lnTo>
                    <a:pt x="196" y="391"/>
                  </a:lnTo>
                  <a:lnTo>
                    <a:pt x="208" y="381"/>
                  </a:lnTo>
                  <a:lnTo>
                    <a:pt x="214" y="376"/>
                  </a:lnTo>
                  <a:lnTo>
                    <a:pt x="220" y="371"/>
                  </a:lnTo>
                  <a:lnTo>
                    <a:pt x="224" y="367"/>
                  </a:lnTo>
                  <a:lnTo>
                    <a:pt x="228" y="362"/>
                  </a:lnTo>
                  <a:lnTo>
                    <a:pt x="232" y="355"/>
                  </a:lnTo>
                  <a:lnTo>
                    <a:pt x="234" y="349"/>
                  </a:lnTo>
                  <a:lnTo>
                    <a:pt x="236" y="342"/>
                  </a:lnTo>
                  <a:lnTo>
                    <a:pt x="237" y="333"/>
                  </a:lnTo>
                  <a:lnTo>
                    <a:pt x="237" y="326"/>
                  </a:lnTo>
                  <a:lnTo>
                    <a:pt x="236" y="319"/>
                  </a:lnTo>
                  <a:lnTo>
                    <a:pt x="234" y="314"/>
                  </a:lnTo>
                  <a:lnTo>
                    <a:pt x="232" y="308"/>
                  </a:lnTo>
                  <a:lnTo>
                    <a:pt x="227" y="299"/>
                  </a:lnTo>
                  <a:lnTo>
                    <a:pt x="223" y="289"/>
                  </a:lnTo>
                  <a:lnTo>
                    <a:pt x="219" y="285"/>
                  </a:lnTo>
                  <a:lnTo>
                    <a:pt x="214" y="282"/>
                  </a:lnTo>
                  <a:lnTo>
                    <a:pt x="209" y="277"/>
                  </a:lnTo>
                  <a:lnTo>
                    <a:pt x="203" y="272"/>
                  </a:lnTo>
                  <a:lnTo>
                    <a:pt x="199" y="267"/>
                  </a:lnTo>
                  <a:lnTo>
                    <a:pt x="195" y="259"/>
                  </a:lnTo>
                  <a:lnTo>
                    <a:pt x="192" y="253"/>
                  </a:lnTo>
                  <a:lnTo>
                    <a:pt x="189" y="246"/>
                  </a:lnTo>
                  <a:lnTo>
                    <a:pt x="187" y="240"/>
                  </a:lnTo>
                  <a:lnTo>
                    <a:pt x="187" y="232"/>
                  </a:lnTo>
                  <a:lnTo>
                    <a:pt x="187" y="226"/>
                  </a:lnTo>
                  <a:lnTo>
                    <a:pt x="188" y="220"/>
                  </a:lnTo>
                  <a:lnTo>
                    <a:pt x="191" y="215"/>
                  </a:lnTo>
                  <a:lnTo>
                    <a:pt x="196" y="210"/>
                  </a:lnTo>
                  <a:lnTo>
                    <a:pt x="202" y="207"/>
                  </a:lnTo>
                  <a:lnTo>
                    <a:pt x="210" y="205"/>
                  </a:lnTo>
                  <a:lnTo>
                    <a:pt x="227" y="201"/>
                  </a:lnTo>
                  <a:lnTo>
                    <a:pt x="246" y="195"/>
                  </a:lnTo>
                  <a:lnTo>
                    <a:pt x="256" y="191"/>
                  </a:lnTo>
                  <a:lnTo>
                    <a:pt x="265" y="186"/>
                  </a:lnTo>
                  <a:lnTo>
                    <a:pt x="273" y="181"/>
                  </a:lnTo>
                  <a:lnTo>
                    <a:pt x="282" y="176"/>
                  </a:lnTo>
                  <a:lnTo>
                    <a:pt x="290" y="170"/>
                  </a:lnTo>
                  <a:lnTo>
                    <a:pt x="297" y="162"/>
                  </a:lnTo>
                  <a:lnTo>
                    <a:pt x="305" y="155"/>
                  </a:lnTo>
                  <a:lnTo>
                    <a:pt x="310" y="148"/>
                  </a:lnTo>
                  <a:lnTo>
                    <a:pt x="315" y="139"/>
                  </a:lnTo>
                  <a:lnTo>
                    <a:pt x="318" y="131"/>
                  </a:lnTo>
                  <a:lnTo>
                    <a:pt x="320" y="122"/>
                  </a:lnTo>
                  <a:lnTo>
                    <a:pt x="321" y="112"/>
                  </a:lnTo>
                  <a:lnTo>
                    <a:pt x="321" y="99"/>
                  </a:lnTo>
                  <a:lnTo>
                    <a:pt x="322" y="83"/>
                  </a:lnTo>
                  <a:lnTo>
                    <a:pt x="324" y="67"/>
                  </a:lnTo>
                  <a:lnTo>
                    <a:pt x="328" y="51"/>
                  </a:lnTo>
                  <a:lnTo>
                    <a:pt x="331" y="43"/>
                  </a:lnTo>
                  <a:lnTo>
                    <a:pt x="334" y="35"/>
                  </a:lnTo>
                  <a:lnTo>
                    <a:pt x="337" y="28"/>
                  </a:lnTo>
                  <a:lnTo>
                    <a:pt x="340" y="22"/>
                  </a:lnTo>
                  <a:lnTo>
                    <a:pt x="345" y="15"/>
                  </a:lnTo>
                  <a:lnTo>
                    <a:pt x="349" y="10"/>
                  </a:lnTo>
                  <a:lnTo>
                    <a:pt x="355" y="6"/>
                  </a:lnTo>
                  <a:lnTo>
                    <a:pt x="361" y="4"/>
                  </a:lnTo>
                  <a:lnTo>
                    <a:pt x="370" y="1"/>
                  </a:lnTo>
                  <a:lnTo>
                    <a:pt x="377" y="0"/>
                  </a:lnTo>
                  <a:lnTo>
                    <a:pt x="384" y="0"/>
                  </a:lnTo>
                  <a:lnTo>
                    <a:pt x="389" y="3"/>
                  </a:lnTo>
                  <a:lnTo>
                    <a:pt x="393" y="6"/>
                  </a:lnTo>
                  <a:lnTo>
                    <a:pt x="396" y="11"/>
                  </a:lnTo>
                  <a:lnTo>
                    <a:pt x="399" y="16"/>
                  </a:lnTo>
                  <a:lnTo>
                    <a:pt x="401" y="23"/>
                  </a:lnTo>
                  <a:lnTo>
                    <a:pt x="404" y="36"/>
                  </a:lnTo>
                  <a:lnTo>
                    <a:pt x="406" y="50"/>
                  </a:lnTo>
                  <a:lnTo>
                    <a:pt x="407" y="55"/>
                  </a:lnTo>
                  <a:lnTo>
                    <a:pt x="409" y="60"/>
                  </a:lnTo>
                  <a:lnTo>
                    <a:pt x="410" y="64"/>
                  </a:lnTo>
                  <a:lnTo>
                    <a:pt x="412" y="68"/>
                  </a:lnTo>
                  <a:lnTo>
                    <a:pt x="416" y="67"/>
                  </a:lnTo>
                  <a:lnTo>
                    <a:pt x="420" y="65"/>
                  </a:lnTo>
                  <a:lnTo>
                    <a:pt x="424" y="62"/>
                  </a:lnTo>
                  <a:lnTo>
                    <a:pt x="429" y="59"/>
                  </a:lnTo>
                  <a:lnTo>
                    <a:pt x="437" y="51"/>
                  </a:lnTo>
                  <a:lnTo>
                    <a:pt x="446" y="41"/>
                  </a:lnTo>
                  <a:lnTo>
                    <a:pt x="452" y="36"/>
                  </a:lnTo>
                  <a:lnTo>
                    <a:pt x="457" y="32"/>
                  </a:lnTo>
                  <a:lnTo>
                    <a:pt x="463" y="29"/>
                  </a:lnTo>
                  <a:lnTo>
                    <a:pt x="469" y="27"/>
                  </a:lnTo>
                  <a:lnTo>
                    <a:pt x="477" y="25"/>
                  </a:lnTo>
                  <a:lnTo>
                    <a:pt x="484" y="25"/>
                  </a:lnTo>
                  <a:lnTo>
                    <a:pt x="492" y="25"/>
                  </a:lnTo>
                  <a:lnTo>
                    <a:pt x="501" y="28"/>
                  </a:lnTo>
                  <a:lnTo>
                    <a:pt x="511" y="31"/>
                  </a:lnTo>
                  <a:lnTo>
                    <a:pt x="521" y="32"/>
                  </a:lnTo>
                  <a:lnTo>
                    <a:pt x="532" y="33"/>
                  </a:lnTo>
                  <a:lnTo>
                    <a:pt x="543" y="33"/>
                  </a:lnTo>
                  <a:lnTo>
                    <a:pt x="554" y="33"/>
                  </a:lnTo>
                  <a:lnTo>
                    <a:pt x="564" y="35"/>
                  </a:lnTo>
                  <a:lnTo>
                    <a:pt x="574" y="37"/>
                  </a:lnTo>
                  <a:lnTo>
                    <a:pt x="584" y="41"/>
                  </a:lnTo>
                  <a:lnTo>
                    <a:pt x="588" y="46"/>
                  </a:lnTo>
                  <a:lnTo>
                    <a:pt x="592" y="52"/>
                  </a:lnTo>
                  <a:lnTo>
                    <a:pt x="595" y="59"/>
                  </a:lnTo>
                  <a:lnTo>
                    <a:pt x="597" y="67"/>
                  </a:lnTo>
                  <a:lnTo>
                    <a:pt x="603" y="84"/>
                  </a:lnTo>
                  <a:lnTo>
                    <a:pt x="609" y="98"/>
                  </a:lnTo>
                  <a:lnTo>
                    <a:pt x="611" y="101"/>
                  </a:lnTo>
                  <a:lnTo>
                    <a:pt x="613" y="104"/>
                  </a:lnTo>
                  <a:lnTo>
                    <a:pt x="617" y="106"/>
                  </a:lnTo>
                  <a:lnTo>
                    <a:pt x="620" y="108"/>
                  </a:lnTo>
                  <a:lnTo>
                    <a:pt x="629" y="112"/>
                  </a:lnTo>
                  <a:lnTo>
                    <a:pt x="638" y="114"/>
                  </a:lnTo>
                  <a:lnTo>
                    <a:pt x="648" y="115"/>
                  </a:lnTo>
                  <a:lnTo>
                    <a:pt x="657" y="116"/>
                  </a:lnTo>
                  <a:lnTo>
                    <a:pt x="665" y="116"/>
                  </a:lnTo>
                  <a:lnTo>
                    <a:pt x="673" y="115"/>
                  </a:lnTo>
                  <a:lnTo>
                    <a:pt x="681" y="113"/>
                  </a:lnTo>
                  <a:lnTo>
                    <a:pt x="688" y="111"/>
                  </a:lnTo>
                  <a:lnTo>
                    <a:pt x="694" y="109"/>
                  </a:lnTo>
                  <a:lnTo>
                    <a:pt x="700" y="106"/>
                  </a:lnTo>
                  <a:lnTo>
                    <a:pt x="708" y="100"/>
                  </a:lnTo>
                  <a:lnTo>
                    <a:pt x="716" y="96"/>
                  </a:lnTo>
                  <a:lnTo>
                    <a:pt x="719" y="93"/>
                  </a:lnTo>
                  <a:lnTo>
                    <a:pt x="724" y="93"/>
                  </a:lnTo>
                  <a:lnTo>
                    <a:pt x="729" y="93"/>
                  </a:lnTo>
                  <a:lnTo>
                    <a:pt x="734" y="95"/>
                  </a:lnTo>
                  <a:lnTo>
                    <a:pt x="739" y="97"/>
                  </a:lnTo>
                  <a:lnTo>
                    <a:pt x="747" y="101"/>
                  </a:lnTo>
                  <a:lnTo>
                    <a:pt x="755" y="106"/>
                  </a:lnTo>
                  <a:lnTo>
                    <a:pt x="764" y="113"/>
                  </a:lnTo>
                  <a:lnTo>
                    <a:pt x="768" y="116"/>
                  </a:lnTo>
                  <a:lnTo>
                    <a:pt x="774" y="120"/>
                  </a:lnTo>
                  <a:lnTo>
                    <a:pt x="780" y="122"/>
                  </a:lnTo>
                  <a:lnTo>
                    <a:pt x="785" y="124"/>
                  </a:lnTo>
                  <a:lnTo>
                    <a:pt x="798" y="127"/>
                  </a:lnTo>
                  <a:lnTo>
                    <a:pt x="810" y="128"/>
                  </a:lnTo>
                  <a:lnTo>
                    <a:pt x="837" y="130"/>
                  </a:lnTo>
                  <a:lnTo>
                    <a:pt x="861" y="132"/>
                  </a:lnTo>
                  <a:lnTo>
                    <a:pt x="866" y="133"/>
                  </a:lnTo>
                  <a:lnTo>
                    <a:pt x="873" y="135"/>
                  </a:lnTo>
                  <a:lnTo>
                    <a:pt x="880" y="138"/>
                  </a:lnTo>
                  <a:lnTo>
                    <a:pt x="887" y="143"/>
                  </a:lnTo>
                  <a:lnTo>
                    <a:pt x="904" y="152"/>
                  </a:lnTo>
                  <a:lnTo>
                    <a:pt x="922" y="164"/>
                  </a:lnTo>
                  <a:lnTo>
                    <a:pt x="937" y="177"/>
                  </a:lnTo>
                  <a:lnTo>
                    <a:pt x="952" y="189"/>
                  </a:lnTo>
                  <a:lnTo>
                    <a:pt x="957" y="196"/>
                  </a:lnTo>
                  <a:lnTo>
                    <a:pt x="961" y="202"/>
                  </a:lnTo>
                  <a:lnTo>
                    <a:pt x="963" y="207"/>
                  </a:lnTo>
                  <a:lnTo>
                    <a:pt x="965" y="212"/>
                  </a:lnTo>
                  <a:lnTo>
                    <a:pt x="965" y="228"/>
                  </a:lnTo>
                  <a:lnTo>
                    <a:pt x="963" y="244"/>
                  </a:lnTo>
                  <a:lnTo>
                    <a:pt x="962" y="251"/>
                  </a:lnTo>
                  <a:lnTo>
                    <a:pt x="963" y="259"/>
                  </a:lnTo>
                  <a:lnTo>
                    <a:pt x="963" y="267"/>
                  </a:lnTo>
                  <a:lnTo>
                    <a:pt x="966" y="273"/>
                  </a:lnTo>
                  <a:lnTo>
                    <a:pt x="969" y="282"/>
                  </a:lnTo>
                  <a:lnTo>
                    <a:pt x="974" y="291"/>
                  </a:lnTo>
                  <a:lnTo>
                    <a:pt x="981" y="299"/>
                  </a:lnTo>
                  <a:lnTo>
                    <a:pt x="987" y="307"/>
                  </a:lnTo>
                  <a:lnTo>
                    <a:pt x="1002" y="323"/>
                  </a:lnTo>
                  <a:lnTo>
                    <a:pt x="1015" y="340"/>
                  </a:lnTo>
                  <a:lnTo>
                    <a:pt x="1016" y="345"/>
                  </a:lnTo>
                  <a:lnTo>
                    <a:pt x="1019" y="349"/>
                  </a:lnTo>
                  <a:lnTo>
                    <a:pt x="1022" y="352"/>
                  </a:lnTo>
                  <a:lnTo>
                    <a:pt x="1025" y="355"/>
                  </a:lnTo>
                  <a:lnTo>
                    <a:pt x="1028" y="358"/>
                  </a:lnTo>
                  <a:lnTo>
                    <a:pt x="1032" y="362"/>
                  </a:lnTo>
                  <a:lnTo>
                    <a:pt x="1035" y="365"/>
                  </a:lnTo>
                  <a:lnTo>
                    <a:pt x="1037" y="369"/>
                  </a:lnTo>
                  <a:lnTo>
                    <a:pt x="1041" y="376"/>
                  </a:lnTo>
                  <a:lnTo>
                    <a:pt x="1042" y="385"/>
                  </a:lnTo>
                  <a:lnTo>
                    <a:pt x="1042" y="394"/>
                  </a:lnTo>
                  <a:lnTo>
                    <a:pt x="1042" y="404"/>
                  </a:lnTo>
                  <a:lnTo>
                    <a:pt x="1040" y="424"/>
                  </a:lnTo>
                  <a:lnTo>
                    <a:pt x="1039" y="442"/>
                  </a:lnTo>
                  <a:lnTo>
                    <a:pt x="1041" y="477"/>
                  </a:lnTo>
                  <a:lnTo>
                    <a:pt x="1045" y="516"/>
                  </a:lnTo>
                  <a:lnTo>
                    <a:pt x="1046" y="536"/>
                  </a:lnTo>
                  <a:lnTo>
                    <a:pt x="1045" y="555"/>
                  </a:lnTo>
                  <a:lnTo>
                    <a:pt x="1045" y="564"/>
                  </a:lnTo>
                  <a:lnTo>
                    <a:pt x="1043" y="572"/>
                  </a:lnTo>
                  <a:lnTo>
                    <a:pt x="1041" y="581"/>
                  </a:lnTo>
                  <a:lnTo>
                    <a:pt x="1037" y="589"/>
                  </a:lnTo>
                  <a:lnTo>
                    <a:pt x="1033" y="599"/>
                  </a:lnTo>
                  <a:lnTo>
                    <a:pt x="1028" y="608"/>
                  </a:lnTo>
                  <a:lnTo>
                    <a:pt x="1023" y="616"/>
                  </a:lnTo>
                  <a:lnTo>
                    <a:pt x="1017" y="622"/>
                  </a:lnTo>
                  <a:lnTo>
                    <a:pt x="1011" y="629"/>
                  </a:lnTo>
                  <a:lnTo>
                    <a:pt x="1004" y="634"/>
                  </a:lnTo>
                  <a:lnTo>
                    <a:pt x="998" y="638"/>
                  </a:lnTo>
                  <a:lnTo>
                    <a:pt x="991" y="642"/>
                  </a:lnTo>
                  <a:lnTo>
                    <a:pt x="976" y="650"/>
                  </a:lnTo>
                  <a:lnTo>
                    <a:pt x="961" y="657"/>
                  </a:lnTo>
                  <a:lnTo>
                    <a:pt x="946" y="665"/>
                  </a:lnTo>
                  <a:lnTo>
                    <a:pt x="930" y="677"/>
                  </a:lnTo>
                  <a:lnTo>
                    <a:pt x="931" y="679"/>
                  </a:lnTo>
                  <a:lnTo>
                    <a:pt x="933" y="683"/>
                  </a:lnTo>
                  <a:lnTo>
                    <a:pt x="937" y="686"/>
                  </a:lnTo>
                  <a:lnTo>
                    <a:pt x="942" y="690"/>
                  </a:lnTo>
                  <a:lnTo>
                    <a:pt x="954" y="700"/>
                  </a:lnTo>
                  <a:lnTo>
                    <a:pt x="968" y="709"/>
                  </a:lnTo>
                  <a:lnTo>
                    <a:pt x="982" y="719"/>
                  </a:lnTo>
                  <a:lnTo>
                    <a:pt x="997" y="729"/>
                  </a:lnTo>
                  <a:lnTo>
                    <a:pt x="1008" y="737"/>
                  </a:lnTo>
                  <a:lnTo>
                    <a:pt x="1016" y="743"/>
                  </a:lnTo>
                  <a:lnTo>
                    <a:pt x="1022" y="752"/>
                  </a:lnTo>
                  <a:lnTo>
                    <a:pt x="1029" y="758"/>
                  </a:lnTo>
                  <a:lnTo>
                    <a:pt x="1035" y="764"/>
                  </a:lnTo>
                  <a:lnTo>
                    <a:pt x="1042" y="768"/>
                  </a:lnTo>
                  <a:lnTo>
                    <a:pt x="1045" y="770"/>
                  </a:lnTo>
                  <a:lnTo>
                    <a:pt x="1049" y="771"/>
                  </a:lnTo>
                  <a:lnTo>
                    <a:pt x="1052" y="771"/>
                  </a:lnTo>
                  <a:lnTo>
                    <a:pt x="1056" y="770"/>
                  </a:lnTo>
                  <a:lnTo>
                    <a:pt x="1059" y="768"/>
                  </a:lnTo>
                  <a:lnTo>
                    <a:pt x="1064" y="766"/>
                  </a:lnTo>
                  <a:lnTo>
                    <a:pt x="1069" y="764"/>
                  </a:lnTo>
                  <a:lnTo>
                    <a:pt x="1073" y="760"/>
                  </a:lnTo>
                  <a:lnTo>
                    <a:pt x="1078" y="757"/>
                  </a:lnTo>
                  <a:lnTo>
                    <a:pt x="1083" y="754"/>
                  </a:lnTo>
                  <a:lnTo>
                    <a:pt x="1088" y="753"/>
                  </a:lnTo>
                  <a:lnTo>
                    <a:pt x="1093" y="753"/>
                  </a:lnTo>
                  <a:lnTo>
                    <a:pt x="1097" y="754"/>
                  </a:lnTo>
                  <a:lnTo>
                    <a:pt x="1102" y="756"/>
                  </a:lnTo>
                  <a:lnTo>
                    <a:pt x="1106" y="758"/>
                  </a:lnTo>
                  <a:lnTo>
                    <a:pt x="1110" y="762"/>
                  </a:lnTo>
                  <a:lnTo>
                    <a:pt x="1119" y="772"/>
                  </a:lnTo>
                  <a:lnTo>
                    <a:pt x="1127" y="783"/>
                  </a:lnTo>
                  <a:lnTo>
                    <a:pt x="1134" y="797"/>
                  </a:lnTo>
                  <a:lnTo>
                    <a:pt x="1142" y="812"/>
                  </a:lnTo>
                  <a:lnTo>
                    <a:pt x="1154" y="845"/>
                  </a:lnTo>
                  <a:lnTo>
                    <a:pt x="1165" y="876"/>
                  </a:lnTo>
                  <a:lnTo>
                    <a:pt x="1172" y="902"/>
                  </a:lnTo>
                  <a:lnTo>
                    <a:pt x="1178" y="918"/>
                  </a:lnTo>
                  <a:lnTo>
                    <a:pt x="1178" y="918"/>
                  </a:lnTo>
                  <a:lnTo>
                    <a:pt x="1168" y="920"/>
                  </a:lnTo>
                  <a:lnTo>
                    <a:pt x="1151" y="924"/>
                  </a:lnTo>
                  <a:lnTo>
                    <a:pt x="1130" y="930"/>
                  </a:lnTo>
                  <a:lnTo>
                    <a:pt x="1109" y="939"/>
                  </a:lnTo>
                  <a:lnTo>
                    <a:pt x="1090" y="947"/>
                  </a:lnTo>
                  <a:lnTo>
                    <a:pt x="1072" y="955"/>
                  </a:lnTo>
                  <a:lnTo>
                    <a:pt x="1066" y="959"/>
                  </a:lnTo>
                  <a:lnTo>
                    <a:pt x="1060" y="964"/>
                  </a:lnTo>
                  <a:lnTo>
                    <a:pt x="1057" y="968"/>
                  </a:lnTo>
                  <a:lnTo>
                    <a:pt x="1056" y="971"/>
                  </a:lnTo>
                  <a:lnTo>
                    <a:pt x="1057" y="981"/>
                  </a:lnTo>
                  <a:lnTo>
                    <a:pt x="1060" y="991"/>
                  </a:lnTo>
                  <a:lnTo>
                    <a:pt x="1065" y="1000"/>
                  </a:lnTo>
                  <a:lnTo>
                    <a:pt x="1069" y="1008"/>
                  </a:lnTo>
                  <a:lnTo>
                    <a:pt x="1074" y="1018"/>
                  </a:lnTo>
                  <a:lnTo>
                    <a:pt x="1077" y="1027"/>
                  </a:lnTo>
                  <a:lnTo>
                    <a:pt x="1078" y="1032"/>
                  </a:lnTo>
                  <a:lnTo>
                    <a:pt x="1079" y="1038"/>
                  </a:lnTo>
                  <a:lnTo>
                    <a:pt x="1079" y="1044"/>
                  </a:lnTo>
                  <a:lnTo>
                    <a:pt x="1079" y="1050"/>
                  </a:lnTo>
                  <a:lnTo>
                    <a:pt x="1077" y="1081"/>
                  </a:lnTo>
                  <a:lnTo>
                    <a:pt x="1076" y="1119"/>
                  </a:lnTo>
                  <a:lnTo>
                    <a:pt x="1075" y="1138"/>
                  </a:lnTo>
                  <a:lnTo>
                    <a:pt x="1072" y="1156"/>
                  </a:lnTo>
                  <a:lnTo>
                    <a:pt x="1070" y="1163"/>
                  </a:lnTo>
                  <a:lnTo>
                    <a:pt x="1067" y="1170"/>
                  </a:lnTo>
                  <a:lnTo>
                    <a:pt x="1063" y="1177"/>
                  </a:lnTo>
                  <a:lnTo>
                    <a:pt x="1058" y="1183"/>
                  </a:lnTo>
                  <a:lnTo>
                    <a:pt x="1050" y="1190"/>
                  </a:lnTo>
                  <a:lnTo>
                    <a:pt x="1043" y="1195"/>
                  </a:lnTo>
                  <a:lnTo>
                    <a:pt x="1035" y="1199"/>
                  </a:lnTo>
                  <a:lnTo>
                    <a:pt x="1028" y="1202"/>
                  </a:lnTo>
                  <a:lnTo>
                    <a:pt x="1021" y="1206"/>
                  </a:lnTo>
                  <a:lnTo>
                    <a:pt x="1014" y="1210"/>
                  </a:lnTo>
                  <a:lnTo>
                    <a:pt x="1006" y="1215"/>
                  </a:lnTo>
                  <a:lnTo>
                    <a:pt x="1001" y="1221"/>
                  </a:lnTo>
                  <a:lnTo>
                    <a:pt x="997" y="1226"/>
                  </a:lnTo>
                  <a:lnTo>
                    <a:pt x="995" y="1232"/>
                  </a:lnTo>
                  <a:lnTo>
                    <a:pt x="993" y="1237"/>
                  </a:lnTo>
                  <a:lnTo>
                    <a:pt x="991" y="1242"/>
                  </a:lnTo>
                  <a:lnTo>
                    <a:pt x="988" y="1254"/>
                  </a:lnTo>
                  <a:lnTo>
                    <a:pt x="987" y="1265"/>
                  </a:lnTo>
                  <a:lnTo>
                    <a:pt x="986" y="1289"/>
                  </a:lnTo>
                  <a:lnTo>
                    <a:pt x="984" y="1312"/>
                  </a:lnTo>
                  <a:lnTo>
                    <a:pt x="969" y="1333"/>
                  </a:lnTo>
                  <a:lnTo>
                    <a:pt x="953" y="1356"/>
                  </a:lnTo>
                  <a:lnTo>
                    <a:pt x="949" y="1361"/>
                  </a:lnTo>
                  <a:lnTo>
                    <a:pt x="944" y="1365"/>
                  </a:lnTo>
                  <a:lnTo>
                    <a:pt x="939" y="1368"/>
                  </a:lnTo>
                  <a:lnTo>
                    <a:pt x="934" y="1371"/>
                  </a:lnTo>
                  <a:lnTo>
                    <a:pt x="928" y="1373"/>
                  </a:lnTo>
                  <a:lnTo>
                    <a:pt x="922" y="1373"/>
                  </a:lnTo>
                  <a:lnTo>
                    <a:pt x="916" y="1370"/>
                  </a:lnTo>
                  <a:lnTo>
                    <a:pt x="908" y="1367"/>
                  </a:lnTo>
                  <a:lnTo>
                    <a:pt x="893" y="1359"/>
                  </a:lnTo>
                  <a:lnTo>
                    <a:pt x="879" y="1353"/>
                  </a:lnTo>
                  <a:lnTo>
                    <a:pt x="874" y="1351"/>
                  </a:lnTo>
                  <a:lnTo>
                    <a:pt x="870" y="1351"/>
                  </a:lnTo>
                  <a:lnTo>
                    <a:pt x="864" y="1350"/>
                  </a:lnTo>
                  <a:lnTo>
                    <a:pt x="860" y="1351"/>
                  </a:lnTo>
                  <a:lnTo>
                    <a:pt x="856" y="1353"/>
                  </a:lnTo>
                  <a:lnTo>
                    <a:pt x="853" y="1355"/>
                  </a:lnTo>
                  <a:lnTo>
                    <a:pt x="849" y="1358"/>
                  </a:lnTo>
                  <a:lnTo>
                    <a:pt x="845" y="1362"/>
                  </a:lnTo>
                  <a:lnTo>
                    <a:pt x="835" y="1373"/>
                  </a:lnTo>
                  <a:lnTo>
                    <a:pt x="824" y="1386"/>
                  </a:lnTo>
                  <a:lnTo>
                    <a:pt x="821" y="1389"/>
                  </a:lnTo>
                  <a:lnTo>
                    <a:pt x="816" y="1391"/>
                  </a:lnTo>
                  <a:lnTo>
                    <a:pt x="813" y="1393"/>
                  </a:lnTo>
                  <a:lnTo>
                    <a:pt x="809" y="1393"/>
                  </a:lnTo>
                  <a:lnTo>
                    <a:pt x="805" y="1392"/>
                  </a:lnTo>
                  <a:lnTo>
                    <a:pt x="800" y="1391"/>
                  </a:lnTo>
                  <a:lnTo>
                    <a:pt x="796" y="1389"/>
                  </a:lnTo>
                  <a:lnTo>
                    <a:pt x="790" y="1387"/>
                  </a:lnTo>
                  <a:lnTo>
                    <a:pt x="770" y="1371"/>
                  </a:lnTo>
                  <a:lnTo>
                    <a:pt x="747" y="1353"/>
                  </a:lnTo>
                  <a:lnTo>
                    <a:pt x="735" y="1343"/>
                  </a:lnTo>
                  <a:lnTo>
                    <a:pt x="723" y="1335"/>
                  </a:lnTo>
                  <a:lnTo>
                    <a:pt x="711" y="1328"/>
                  </a:lnTo>
                  <a:lnTo>
                    <a:pt x="699" y="1323"/>
                  </a:lnTo>
                  <a:lnTo>
                    <a:pt x="693" y="1322"/>
                  </a:lnTo>
                  <a:lnTo>
                    <a:pt x="687" y="1321"/>
                  </a:lnTo>
                  <a:lnTo>
                    <a:pt x="682" y="1321"/>
                  </a:lnTo>
                  <a:lnTo>
                    <a:pt x="676" y="1322"/>
                  </a:lnTo>
                  <a:lnTo>
                    <a:pt x="670" y="1325"/>
                  </a:lnTo>
                  <a:lnTo>
                    <a:pt x="665" y="1328"/>
                  </a:lnTo>
                  <a:lnTo>
                    <a:pt x="660" y="1332"/>
                  </a:lnTo>
                  <a:lnTo>
                    <a:pt x="655" y="1338"/>
                  </a:lnTo>
                  <a:lnTo>
                    <a:pt x="655" y="13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5" name="Freeform 162">
              <a:extLst>
                <a:ext uri="{FF2B5EF4-FFF2-40B4-BE49-F238E27FC236}">
                  <a16:creationId xmlns:a16="http://schemas.microsoft.com/office/drawing/2014/main" id="{973B7E01-A315-4730-B9D2-1B0936E25A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0206" y="5493098"/>
              <a:ext cx="295430" cy="338055"/>
            </a:xfrm>
            <a:custGeom>
              <a:avLst/>
              <a:gdLst>
                <a:gd name="T0" fmla="*/ 648 w 1178"/>
                <a:gd name="T1" fmla="*/ 1208 h 1393"/>
                <a:gd name="T2" fmla="*/ 618 w 1178"/>
                <a:gd name="T3" fmla="*/ 1211 h 1393"/>
                <a:gd name="T4" fmla="*/ 566 w 1178"/>
                <a:gd name="T5" fmla="*/ 1245 h 1393"/>
                <a:gd name="T6" fmla="*/ 552 w 1178"/>
                <a:gd name="T7" fmla="*/ 1172 h 1393"/>
                <a:gd name="T8" fmla="*/ 501 w 1178"/>
                <a:gd name="T9" fmla="*/ 1173 h 1393"/>
                <a:gd name="T10" fmla="*/ 437 w 1178"/>
                <a:gd name="T11" fmla="*/ 1160 h 1393"/>
                <a:gd name="T12" fmla="*/ 351 w 1178"/>
                <a:gd name="T13" fmla="*/ 1132 h 1393"/>
                <a:gd name="T14" fmla="*/ 348 w 1178"/>
                <a:gd name="T15" fmla="*/ 1028 h 1393"/>
                <a:gd name="T16" fmla="*/ 327 w 1178"/>
                <a:gd name="T17" fmla="*/ 991 h 1393"/>
                <a:gd name="T18" fmla="*/ 283 w 1178"/>
                <a:gd name="T19" fmla="*/ 1004 h 1393"/>
                <a:gd name="T20" fmla="*/ 246 w 1178"/>
                <a:gd name="T21" fmla="*/ 985 h 1393"/>
                <a:gd name="T22" fmla="*/ 218 w 1178"/>
                <a:gd name="T23" fmla="*/ 916 h 1393"/>
                <a:gd name="T24" fmla="*/ 76 w 1178"/>
                <a:gd name="T25" fmla="*/ 861 h 1393"/>
                <a:gd name="T26" fmla="*/ 39 w 1178"/>
                <a:gd name="T27" fmla="*/ 770 h 1393"/>
                <a:gd name="T28" fmla="*/ 0 w 1178"/>
                <a:gd name="T29" fmla="*/ 616 h 1393"/>
                <a:gd name="T30" fmla="*/ 10 w 1178"/>
                <a:gd name="T31" fmla="*/ 592 h 1393"/>
                <a:gd name="T32" fmla="*/ 81 w 1178"/>
                <a:gd name="T33" fmla="*/ 586 h 1393"/>
                <a:gd name="T34" fmla="*/ 130 w 1178"/>
                <a:gd name="T35" fmla="*/ 550 h 1393"/>
                <a:gd name="T36" fmla="*/ 127 w 1178"/>
                <a:gd name="T37" fmla="*/ 476 h 1393"/>
                <a:gd name="T38" fmla="*/ 172 w 1178"/>
                <a:gd name="T39" fmla="*/ 403 h 1393"/>
                <a:gd name="T40" fmla="*/ 232 w 1178"/>
                <a:gd name="T41" fmla="*/ 355 h 1393"/>
                <a:gd name="T42" fmla="*/ 227 w 1178"/>
                <a:gd name="T43" fmla="*/ 299 h 1393"/>
                <a:gd name="T44" fmla="*/ 192 w 1178"/>
                <a:gd name="T45" fmla="*/ 253 h 1393"/>
                <a:gd name="T46" fmla="*/ 202 w 1178"/>
                <a:gd name="T47" fmla="*/ 207 h 1393"/>
                <a:gd name="T48" fmla="*/ 290 w 1178"/>
                <a:gd name="T49" fmla="*/ 170 h 1393"/>
                <a:gd name="T50" fmla="*/ 321 w 1178"/>
                <a:gd name="T51" fmla="*/ 99 h 1393"/>
                <a:gd name="T52" fmla="*/ 345 w 1178"/>
                <a:gd name="T53" fmla="*/ 15 h 1393"/>
                <a:gd name="T54" fmla="*/ 393 w 1178"/>
                <a:gd name="T55" fmla="*/ 6 h 1393"/>
                <a:gd name="T56" fmla="*/ 410 w 1178"/>
                <a:gd name="T57" fmla="*/ 64 h 1393"/>
                <a:gd name="T58" fmla="*/ 452 w 1178"/>
                <a:gd name="T59" fmla="*/ 36 h 1393"/>
                <a:gd name="T60" fmla="*/ 511 w 1178"/>
                <a:gd name="T61" fmla="*/ 31 h 1393"/>
                <a:gd name="T62" fmla="*/ 588 w 1178"/>
                <a:gd name="T63" fmla="*/ 46 h 1393"/>
                <a:gd name="T64" fmla="*/ 617 w 1178"/>
                <a:gd name="T65" fmla="*/ 106 h 1393"/>
                <a:gd name="T66" fmla="*/ 681 w 1178"/>
                <a:gd name="T67" fmla="*/ 113 h 1393"/>
                <a:gd name="T68" fmla="*/ 729 w 1178"/>
                <a:gd name="T69" fmla="*/ 93 h 1393"/>
                <a:gd name="T70" fmla="*/ 780 w 1178"/>
                <a:gd name="T71" fmla="*/ 122 h 1393"/>
                <a:gd name="T72" fmla="*/ 880 w 1178"/>
                <a:gd name="T73" fmla="*/ 138 h 1393"/>
                <a:gd name="T74" fmla="*/ 963 w 1178"/>
                <a:gd name="T75" fmla="*/ 207 h 1393"/>
                <a:gd name="T76" fmla="*/ 969 w 1178"/>
                <a:gd name="T77" fmla="*/ 282 h 1393"/>
                <a:gd name="T78" fmla="*/ 1022 w 1178"/>
                <a:gd name="T79" fmla="*/ 352 h 1393"/>
                <a:gd name="T80" fmla="*/ 1042 w 1178"/>
                <a:gd name="T81" fmla="*/ 394 h 1393"/>
                <a:gd name="T82" fmla="*/ 1045 w 1178"/>
                <a:gd name="T83" fmla="*/ 564 h 1393"/>
                <a:gd name="T84" fmla="*/ 1011 w 1178"/>
                <a:gd name="T85" fmla="*/ 629 h 1393"/>
                <a:gd name="T86" fmla="*/ 931 w 1178"/>
                <a:gd name="T87" fmla="*/ 679 h 1393"/>
                <a:gd name="T88" fmla="*/ 1008 w 1178"/>
                <a:gd name="T89" fmla="*/ 737 h 1393"/>
                <a:gd name="T90" fmla="*/ 1052 w 1178"/>
                <a:gd name="T91" fmla="*/ 771 h 1393"/>
                <a:gd name="T92" fmla="*/ 1088 w 1178"/>
                <a:gd name="T93" fmla="*/ 753 h 1393"/>
                <a:gd name="T94" fmla="*/ 1134 w 1178"/>
                <a:gd name="T95" fmla="*/ 797 h 1393"/>
                <a:gd name="T96" fmla="*/ 1151 w 1178"/>
                <a:gd name="T97" fmla="*/ 924 h 1393"/>
                <a:gd name="T98" fmla="*/ 1056 w 1178"/>
                <a:gd name="T99" fmla="*/ 971 h 1393"/>
                <a:gd name="T100" fmla="*/ 1079 w 1178"/>
                <a:gd name="T101" fmla="*/ 1038 h 1393"/>
                <a:gd name="T102" fmla="*/ 1067 w 1178"/>
                <a:gd name="T103" fmla="*/ 1170 h 1393"/>
                <a:gd name="T104" fmla="*/ 1014 w 1178"/>
                <a:gd name="T105" fmla="*/ 1210 h 1393"/>
                <a:gd name="T106" fmla="*/ 987 w 1178"/>
                <a:gd name="T107" fmla="*/ 1265 h 1393"/>
                <a:gd name="T108" fmla="*/ 934 w 1178"/>
                <a:gd name="T109" fmla="*/ 1371 h 1393"/>
                <a:gd name="T110" fmla="*/ 870 w 1178"/>
                <a:gd name="T111" fmla="*/ 1351 h 1393"/>
                <a:gd name="T112" fmla="*/ 824 w 1178"/>
                <a:gd name="T113" fmla="*/ 1386 h 1393"/>
                <a:gd name="T114" fmla="*/ 790 w 1178"/>
                <a:gd name="T115" fmla="*/ 1387 h 1393"/>
                <a:gd name="T116" fmla="*/ 687 w 1178"/>
                <a:gd name="T117" fmla="*/ 1321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78" h="1393">
                  <a:moveTo>
                    <a:pt x="655" y="1338"/>
                  </a:moveTo>
                  <a:lnTo>
                    <a:pt x="655" y="1274"/>
                  </a:lnTo>
                  <a:lnTo>
                    <a:pt x="657" y="1266"/>
                  </a:lnTo>
                  <a:lnTo>
                    <a:pt x="658" y="1258"/>
                  </a:lnTo>
                  <a:lnTo>
                    <a:pt x="658" y="1249"/>
                  </a:lnTo>
                  <a:lnTo>
                    <a:pt x="657" y="1241"/>
                  </a:lnTo>
                  <a:lnTo>
                    <a:pt x="653" y="1223"/>
                  </a:lnTo>
                  <a:lnTo>
                    <a:pt x="648" y="1208"/>
                  </a:lnTo>
                  <a:lnTo>
                    <a:pt x="644" y="1202"/>
                  </a:lnTo>
                  <a:lnTo>
                    <a:pt x="642" y="1199"/>
                  </a:lnTo>
                  <a:lnTo>
                    <a:pt x="638" y="1198"/>
                  </a:lnTo>
                  <a:lnTo>
                    <a:pt x="635" y="1198"/>
                  </a:lnTo>
                  <a:lnTo>
                    <a:pt x="631" y="1200"/>
                  </a:lnTo>
                  <a:lnTo>
                    <a:pt x="628" y="1202"/>
                  </a:lnTo>
                  <a:lnTo>
                    <a:pt x="624" y="1207"/>
                  </a:lnTo>
                  <a:lnTo>
                    <a:pt x="618" y="1211"/>
                  </a:lnTo>
                  <a:lnTo>
                    <a:pt x="610" y="1220"/>
                  </a:lnTo>
                  <a:lnTo>
                    <a:pt x="601" y="1230"/>
                  </a:lnTo>
                  <a:lnTo>
                    <a:pt x="596" y="1234"/>
                  </a:lnTo>
                  <a:lnTo>
                    <a:pt x="591" y="1238"/>
                  </a:lnTo>
                  <a:lnTo>
                    <a:pt x="587" y="1240"/>
                  </a:lnTo>
                  <a:lnTo>
                    <a:pt x="583" y="1242"/>
                  </a:lnTo>
                  <a:lnTo>
                    <a:pt x="574" y="1244"/>
                  </a:lnTo>
                  <a:lnTo>
                    <a:pt x="566" y="1245"/>
                  </a:lnTo>
                  <a:lnTo>
                    <a:pt x="561" y="1244"/>
                  </a:lnTo>
                  <a:lnTo>
                    <a:pt x="556" y="1242"/>
                  </a:lnTo>
                  <a:lnTo>
                    <a:pt x="553" y="1238"/>
                  </a:lnTo>
                  <a:lnTo>
                    <a:pt x="550" y="1234"/>
                  </a:lnTo>
                  <a:lnTo>
                    <a:pt x="548" y="1229"/>
                  </a:lnTo>
                  <a:lnTo>
                    <a:pt x="547" y="1223"/>
                  </a:lnTo>
                  <a:lnTo>
                    <a:pt x="548" y="1196"/>
                  </a:lnTo>
                  <a:lnTo>
                    <a:pt x="552" y="1172"/>
                  </a:lnTo>
                  <a:lnTo>
                    <a:pt x="547" y="1171"/>
                  </a:lnTo>
                  <a:lnTo>
                    <a:pt x="542" y="1170"/>
                  </a:lnTo>
                  <a:lnTo>
                    <a:pt x="535" y="1171"/>
                  </a:lnTo>
                  <a:lnTo>
                    <a:pt x="528" y="1172"/>
                  </a:lnTo>
                  <a:lnTo>
                    <a:pt x="520" y="1173"/>
                  </a:lnTo>
                  <a:lnTo>
                    <a:pt x="512" y="1174"/>
                  </a:lnTo>
                  <a:lnTo>
                    <a:pt x="506" y="1174"/>
                  </a:lnTo>
                  <a:lnTo>
                    <a:pt x="501" y="1173"/>
                  </a:lnTo>
                  <a:lnTo>
                    <a:pt x="491" y="1161"/>
                  </a:lnTo>
                  <a:lnTo>
                    <a:pt x="482" y="1148"/>
                  </a:lnTo>
                  <a:lnTo>
                    <a:pt x="477" y="1148"/>
                  </a:lnTo>
                  <a:lnTo>
                    <a:pt x="470" y="1149"/>
                  </a:lnTo>
                  <a:lnTo>
                    <a:pt x="463" y="1151"/>
                  </a:lnTo>
                  <a:lnTo>
                    <a:pt x="455" y="1154"/>
                  </a:lnTo>
                  <a:lnTo>
                    <a:pt x="446" y="1157"/>
                  </a:lnTo>
                  <a:lnTo>
                    <a:pt x="437" y="1160"/>
                  </a:lnTo>
                  <a:lnTo>
                    <a:pt x="429" y="1161"/>
                  </a:lnTo>
                  <a:lnTo>
                    <a:pt x="420" y="1161"/>
                  </a:lnTo>
                  <a:lnTo>
                    <a:pt x="405" y="1161"/>
                  </a:lnTo>
                  <a:lnTo>
                    <a:pt x="390" y="1162"/>
                  </a:lnTo>
                  <a:lnTo>
                    <a:pt x="376" y="1162"/>
                  </a:lnTo>
                  <a:lnTo>
                    <a:pt x="361" y="1160"/>
                  </a:lnTo>
                  <a:lnTo>
                    <a:pt x="356" y="1144"/>
                  </a:lnTo>
                  <a:lnTo>
                    <a:pt x="351" y="1132"/>
                  </a:lnTo>
                  <a:lnTo>
                    <a:pt x="350" y="1124"/>
                  </a:lnTo>
                  <a:lnTo>
                    <a:pt x="348" y="1117"/>
                  </a:lnTo>
                  <a:lnTo>
                    <a:pt x="348" y="1109"/>
                  </a:lnTo>
                  <a:lnTo>
                    <a:pt x="347" y="1098"/>
                  </a:lnTo>
                  <a:lnTo>
                    <a:pt x="348" y="1086"/>
                  </a:lnTo>
                  <a:lnTo>
                    <a:pt x="349" y="1069"/>
                  </a:lnTo>
                  <a:lnTo>
                    <a:pt x="349" y="1048"/>
                  </a:lnTo>
                  <a:lnTo>
                    <a:pt x="348" y="1028"/>
                  </a:lnTo>
                  <a:lnTo>
                    <a:pt x="347" y="1019"/>
                  </a:lnTo>
                  <a:lnTo>
                    <a:pt x="345" y="1009"/>
                  </a:lnTo>
                  <a:lnTo>
                    <a:pt x="342" y="1002"/>
                  </a:lnTo>
                  <a:lnTo>
                    <a:pt x="339" y="997"/>
                  </a:lnTo>
                  <a:lnTo>
                    <a:pt x="336" y="994"/>
                  </a:lnTo>
                  <a:lnTo>
                    <a:pt x="334" y="993"/>
                  </a:lnTo>
                  <a:lnTo>
                    <a:pt x="331" y="991"/>
                  </a:lnTo>
                  <a:lnTo>
                    <a:pt x="327" y="991"/>
                  </a:lnTo>
                  <a:lnTo>
                    <a:pt x="324" y="991"/>
                  </a:lnTo>
                  <a:lnTo>
                    <a:pt x="320" y="991"/>
                  </a:lnTo>
                  <a:lnTo>
                    <a:pt x="316" y="993"/>
                  </a:lnTo>
                  <a:lnTo>
                    <a:pt x="311" y="995"/>
                  </a:lnTo>
                  <a:lnTo>
                    <a:pt x="303" y="998"/>
                  </a:lnTo>
                  <a:lnTo>
                    <a:pt x="295" y="1001"/>
                  </a:lnTo>
                  <a:lnTo>
                    <a:pt x="289" y="1003"/>
                  </a:lnTo>
                  <a:lnTo>
                    <a:pt x="283" y="1004"/>
                  </a:lnTo>
                  <a:lnTo>
                    <a:pt x="276" y="1004"/>
                  </a:lnTo>
                  <a:lnTo>
                    <a:pt x="270" y="1004"/>
                  </a:lnTo>
                  <a:lnTo>
                    <a:pt x="266" y="1003"/>
                  </a:lnTo>
                  <a:lnTo>
                    <a:pt x="261" y="1001"/>
                  </a:lnTo>
                  <a:lnTo>
                    <a:pt x="257" y="998"/>
                  </a:lnTo>
                  <a:lnTo>
                    <a:pt x="252" y="995"/>
                  </a:lnTo>
                  <a:lnTo>
                    <a:pt x="249" y="991"/>
                  </a:lnTo>
                  <a:lnTo>
                    <a:pt x="246" y="985"/>
                  </a:lnTo>
                  <a:lnTo>
                    <a:pt x="243" y="979"/>
                  </a:lnTo>
                  <a:lnTo>
                    <a:pt x="241" y="973"/>
                  </a:lnTo>
                  <a:lnTo>
                    <a:pt x="239" y="967"/>
                  </a:lnTo>
                  <a:lnTo>
                    <a:pt x="238" y="958"/>
                  </a:lnTo>
                  <a:lnTo>
                    <a:pt x="234" y="945"/>
                  </a:lnTo>
                  <a:lnTo>
                    <a:pt x="229" y="933"/>
                  </a:lnTo>
                  <a:lnTo>
                    <a:pt x="224" y="924"/>
                  </a:lnTo>
                  <a:lnTo>
                    <a:pt x="218" y="916"/>
                  </a:lnTo>
                  <a:lnTo>
                    <a:pt x="211" y="908"/>
                  </a:lnTo>
                  <a:lnTo>
                    <a:pt x="203" y="902"/>
                  </a:lnTo>
                  <a:lnTo>
                    <a:pt x="194" y="897"/>
                  </a:lnTo>
                  <a:lnTo>
                    <a:pt x="185" y="893"/>
                  </a:lnTo>
                  <a:lnTo>
                    <a:pt x="143" y="881"/>
                  </a:lnTo>
                  <a:lnTo>
                    <a:pt x="95" y="871"/>
                  </a:lnTo>
                  <a:lnTo>
                    <a:pt x="86" y="867"/>
                  </a:lnTo>
                  <a:lnTo>
                    <a:pt x="76" y="861"/>
                  </a:lnTo>
                  <a:lnTo>
                    <a:pt x="69" y="855"/>
                  </a:lnTo>
                  <a:lnTo>
                    <a:pt x="63" y="848"/>
                  </a:lnTo>
                  <a:lnTo>
                    <a:pt x="56" y="840"/>
                  </a:lnTo>
                  <a:lnTo>
                    <a:pt x="52" y="831"/>
                  </a:lnTo>
                  <a:lnTo>
                    <a:pt x="48" y="822"/>
                  </a:lnTo>
                  <a:lnTo>
                    <a:pt x="45" y="812"/>
                  </a:lnTo>
                  <a:lnTo>
                    <a:pt x="41" y="791"/>
                  </a:lnTo>
                  <a:lnTo>
                    <a:pt x="39" y="770"/>
                  </a:lnTo>
                  <a:lnTo>
                    <a:pt x="37" y="748"/>
                  </a:lnTo>
                  <a:lnTo>
                    <a:pt x="36" y="728"/>
                  </a:lnTo>
                  <a:lnTo>
                    <a:pt x="25" y="702"/>
                  </a:lnTo>
                  <a:lnTo>
                    <a:pt x="14" y="673"/>
                  </a:lnTo>
                  <a:lnTo>
                    <a:pt x="8" y="658"/>
                  </a:lnTo>
                  <a:lnTo>
                    <a:pt x="4" y="643"/>
                  </a:lnTo>
                  <a:lnTo>
                    <a:pt x="1" y="630"/>
                  </a:lnTo>
                  <a:lnTo>
                    <a:pt x="0" y="616"/>
                  </a:lnTo>
                  <a:lnTo>
                    <a:pt x="0" y="616"/>
                  </a:lnTo>
                  <a:lnTo>
                    <a:pt x="0" y="611"/>
                  </a:lnTo>
                  <a:lnTo>
                    <a:pt x="1" y="607"/>
                  </a:lnTo>
                  <a:lnTo>
                    <a:pt x="2" y="603"/>
                  </a:lnTo>
                  <a:lnTo>
                    <a:pt x="3" y="599"/>
                  </a:lnTo>
                  <a:lnTo>
                    <a:pt x="5" y="596"/>
                  </a:lnTo>
                  <a:lnTo>
                    <a:pt x="8" y="594"/>
                  </a:lnTo>
                  <a:lnTo>
                    <a:pt x="10" y="592"/>
                  </a:lnTo>
                  <a:lnTo>
                    <a:pt x="15" y="591"/>
                  </a:lnTo>
                  <a:lnTo>
                    <a:pt x="22" y="589"/>
                  </a:lnTo>
                  <a:lnTo>
                    <a:pt x="30" y="588"/>
                  </a:lnTo>
                  <a:lnTo>
                    <a:pt x="40" y="587"/>
                  </a:lnTo>
                  <a:lnTo>
                    <a:pt x="50" y="587"/>
                  </a:lnTo>
                  <a:lnTo>
                    <a:pt x="61" y="587"/>
                  </a:lnTo>
                  <a:lnTo>
                    <a:pt x="71" y="587"/>
                  </a:lnTo>
                  <a:lnTo>
                    <a:pt x="81" y="586"/>
                  </a:lnTo>
                  <a:lnTo>
                    <a:pt x="91" y="585"/>
                  </a:lnTo>
                  <a:lnTo>
                    <a:pt x="101" y="582"/>
                  </a:lnTo>
                  <a:lnTo>
                    <a:pt x="110" y="578"/>
                  </a:lnTo>
                  <a:lnTo>
                    <a:pt x="114" y="574"/>
                  </a:lnTo>
                  <a:lnTo>
                    <a:pt x="117" y="571"/>
                  </a:lnTo>
                  <a:lnTo>
                    <a:pt x="120" y="568"/>
                  </a:lnTo>
                  <a:lnTo>
                    <a:pt x="123" y="564"/>
                  </a:lnTo>
                  <a:lnTo>
                    <a:pt x="130" y="550"/>
                  </a:lnTo>
                  <a:lnTo>
                    <a:pt x="136" y="540"/>
                  </a:lnTo>
                  <a:lnTo>
                    <a:pt x="139" y="530"/>
                  </a:lnTo>
                  <a:lnTo>
                    <a:pt x="140" y="520"/>
                  </a:lnTo>
                  <a:lnTo>
                    <a:pt x="140" y="512"/>
                  </a:lnTo>
                  <a:lnTo>
                    <a:pt x="139" y="505"/>
                  </a:lnTo>
                  <a:lnTo>
                    <a:pt x="137" y="497"/>
                  </a:lnTo>
                  <a:lnTo>
                    <a:pt x="135" y="490"/>
                  </a:lnTo>
                  <a:lnTo>
                    <a:pt x="127" y="476"/>
                  </a:lnTo>
                  <a:lnTo>
                    <a:pt x="120" y="461"/>
                  </a:lnTo>
                  <a:lnTo>
                    <a:pt x="117" y="452"/>
                  </a:lnTo>
                  <a:lnTo>
                    <a:pt x="115" y="443"/>
                  </a:lnTo>
                  <a:lnTo>
                    <a:pt x="113" y="433"/>
                  </a:lnTo>
                  <a:lnTo>
                    <a:pt x="113" y="421"/>
                  </a:lnTo>
                  <a:lnTo>
                    <a:pt x="138" y="414"/>
                  </a:lnTo>
                  <a:lnTo>
                    <a:pt x="161" y="408"/>
                  </a:lnTo>
                  <a:lnTo>
                    <a:pt x="172" y="403"/>
                  </a:lnTo>
                  <a:lnTo>
                    <a:pt x="184" y="398"/>
                  </a:lnTo>
                  <a:lnTo>
                    <a:pt x="196" y="391"/>
                  </a:lnTo>
                  <a:lnTo>
                    <a:pt x="208" y="381"/>
                  </a:lnTo>
                  <a:lnTo>
                    <a:pt x="214" y="376"/>
                  </a:lnTo>
                  <a:lnTo>
                    <a:pt x="220" y="371"/>
                  </a:lnTo>
                  <a:lnTo>
                    <a:pt x="224" y="367"/>
                  </a:lnTo>
                  <a:lnTo>
                    <a:pt x="228" y="362"/>
                  </a:lnTo>
                  <a:lnTo>
                    <a:pt x="232" y="355"/>
                  </a:lnTo>
                  <a:lnTo>
                    <a:pt x="234" y="349"/>
                  </a:lnTo>
                  <a:lnTo>
                    <a:pt x="236" y="342"/>
                  </a:lnTo>
                  <a:lnTo>
                    <a:pt x="237" y="333"/>
                  </a:lnTo>
                  <a:lnTo>
                    <a:pt x="237" y="326"/>
                  </a:lnTo>
                  <a:lnTo>
                    <a:pt x="236" y="319"/>
                  </a:lnTo>
                  <a:lnTo>
                    <a:pt x="234" y="314"/>
                  </a:lnTo>
                  <a:lnTo>
                    <a:pt x="232" y="308"/>
                  </a:lnTo>
                  <a:lnTo>
                    <a:pt x="227" y="299"/>
                  </a:lnTo>
                  <a:lnTo>
                    <a:pt x="223" y="289"/>
                  </a:lnTo>
                  <a:lnTo>
                    <a:pt x="219" y="285"/>
                  </a:lnTo>
                  <a:lnTo>
                    <a:pt x="214" y="282"/>
                  </a:lnTo>
                  <a:lnTo>
                    <a:pt x="209" y="277"/>
                  </a:lnTo>
                  <a:lnTo>
                    <a:pt x="203" y="272"/>
                  </a:lnTo>
                  <a:lnTo>
                    <a:pt x="199" y="267"/>
                  </a:lnTo>
                  <a:lnTo>
                    <a:pt x="195" y="259"/>
                  </a:lnTo>
                  <a:lnTo>
                    <a:pt x="192" y="253"/>
                  </a:lnTo>
                  <a:lnTo>
                    <a:pt x="189" y="246"/>
                  </a:lnTo>
                  <a:lnTo>
                    <a:pt x="187" y="240"/>
                  </a:lnTo>
                  <a:lnTo>
                    <a:pt x="187" y="232"/>
                  </a:lnTo>
                  <a:lnTo>
                    <a:pt x="187" y="226"/>
                  </a:lnTo>
                  <a:lnTo>
                    <a:pt x="188" y="220"/>
                  </a:lnTo>
                  <a:lnTo>
                    <a:pt x="191" y="215"/>
                  </a:lnTo>
                  <a:lnTo>
                    <a:pt x="196" y="210"/>
                  </a:lnTo>
                  <a:lnTo>
                    <a:pt x="202" y="207"/>
                  </a:lnTo>
                  <a:lnTo>
                    <a:pt x="210" y="205"/>
                  </a:lnTo>
                  <a:lnTo>
                    <a:pt x="227" y="201"/>
                  </a:lnTo>
                  <a:lnTo>
                    <a:pt x="246" y="195"/>
                  </a:lnTo>
                  <a:lnTo>
                    <a:pt x="256" y="191"/>
                  </a:lnTo>
                  <a:lnTo>
                    <a:pt x="265" y="186"/>
                  </a:lnTo>
                  <a:lnTo>
                    <a:pt x="273" y="181"/>
                  </a:lnTo>
                  <a:lnTo>
                    <a:pt x="282" y="176"/>
                  </a:lnTo>
                  <a:lnTo>
                    <a:pt x="290" y="170"/>
                  </a:lnTo>
                  <a:lnTo>
                    <a:pt x="297" y="162"/>
                  </a:lnTo>
                  <a:lnTo>
                    <a:pt x="305" y="155"/>
                  </a:lnTo>
                  <a:lnTo>
                    <a:pt x="310" y="148"/>
                  </a:lnTo>
                  <a:lnTo>
                    <a:pt x="315" y="139"/>
                  </a:lnTo>
                  <a:lnTo>
                    <a:pt x="318" y="131"/>
                  </a:lnTo>
                  <a:lnTo>
                    <a:pt x="320" y="122"/>
                  </a:lnTo>
                  <a:lnTo>
                    <a:pt x="321" y="112"/>
                  </a:lnTo>
                  <a:lnTo>
                    <a:pt x="321" y="99"/>
                  </a:lnTo>
                  <a:lnTo>
                    <a:pt x="322" y="83"/>
                  </a:lnTo>
                  <a:lnTo>
                    <a:pt x="324" y="67"/>
                  </a:lnTo>
                  <a:lnTo>
                    <a:pt x="328" y="51"/>
                  </a:lnTo>
                  <a:lnTo>
                    <a:pt x="331" y="43"/>
                  </a:lnTo>
                  <a:lnTo>
                    <a:pt x="334" y="35"/>
                  </a:lnTo>
                  <a:lnTo>
                    <a:pt x="337" y="28"/>
                  </a:lnTo>
                  <a:lnTo>
                    <a:pt x="340" y="22"/>
                  </a:lnTo>
                  <a:lnTo>
                    <a:pt x="345" y="15"/>
                  </a:lnTo>
                  <a:lnTo>
                    <a:pt x="349" y="10"/>
                  </a:lnTo>
                  <a:lnTo>
                    <a:pt x="355" y="6"/>
                  </a:lnTo>
                  <a:lnTo>
                    <a:pt x="361" y="4"/>
                  </a:lnTo>
                  <a:lnTo>
                    <a:pt x="370" y="1"/>
                  </a:lnTo>
                  <a:lnTo>
                    <a:pt x="377" y="0"/>
                  </a:lnTo>
                  <a:lnTo>
                    <a:pt x="384" y="0"/>
                  </a:lnTo>
                  <a:lnTo>
                    <a:pt x="389" y="3"/>
                  </a:lnTo>
                  <a:lnTo>
                    <a:pt x="393" y="6"/>
                  </a:lnTo>
                  <a:lnTo>
                    <a:pt x="396" y="11"/>
                  </a:lnTo>
                  <a:lnTo>
                    <a:pt x="399" y="16"/>
                  </a:lnTo>
                  <a:lnTo>
                    <a:pt x="401" y="23"/>
                  </a:lnTo>
                  <a:lnTo>
                    <a:pt x="404" y="36"/>
                  </a:lnTo>
                  <a:lnTo>
                    <a:pt x="406" y="50"/>
                  </a:lnTo>
                  <a:lnTo>
                    <a:pt x="407" y="55"/>
                  </a:lnTo>
                  <a:lnTo>
                    <a:pt x="409" y="60"/>
                  </a:lnTo>
                  <a:lnTo>
                    <a:pt x="410" y="64"/>
                  </a:lnTo>
                  <a:lnTo>
                    <a:pt x="412" y="68"/>
                  </a:lnTo>
                  <a:lnTo>
                    <a:pt x="416" y="67"/>
                  </a:lnTo>
                  <a:lnTo>
                    <a:pt x="420" y="65"/>
                  </a:lnTo>
                  <a:lnTo>
                    <a:pt x="424" y="62"/>
                  </a:lnTo>
                  <a:lnTo>
                    <a:pt x="429" y="59"/>
                  </a:lnTo>
                  <a:lnTo>
                    <a:pt x="437" y="51"/>
                  </a:lnTo>
                  <a:lnTo>
                    <a:pt x="446" y="41"/>
                  </a:lnTo>
                  <a:lnTo>
                    <a:pt x="452" y="36"/>
                  </a:lnTo>
                  <a:lnTo>
                    <a:pt x="457" y="32"/>
                  </a:lnTo>
                  <a:lnTo>
                    <a:pt x="463" y="29"/>
                  </a:lnTo>
                  <a:lnTo>
                    <a:pt x="469" y="27"/>
                  </a:lnTo>
                  <a:lnTo>
                    <a:pt x="477" y="25"/>
                  </a:lnTo>
                  <a:lnTo>
                    <a:pt x="484" y="25"/>
                  </a:lnTo>
                  <a:lnTo>
                    <a:pt x="492" y="25"/>
                  </a:lnTo>
                  <a:lnTo>
                    <a:pt x="501" y="28"/>
                  </a:lnTo>
                  <a:lnTo>
                    <a:pt x="511" y="31"/>
                  </a:lnTo>
                  <a:lnTo>
                    <a:pt x="521" y="32"/>
                  </a:lnTo>
                  <a:lnTo>
                    <a:pt x="532" y="33"/>
                  </a:lnTo>
                  <a:lnTo>
                    <a:pt x="543" y="33"/>
                  </a:lnTo>
                  <a:lnTo>
                    <a:pt x="554" y="33"/>
                  </a:lnTo>
                  <a:lnTo>
                    <a:pt x="564" y="35"/>
                  </a:lnTo>
                  <a:lnTo>
                    <a:pt x="574" y="37"/>
                  </a:lnTo>
                  <a:lnTo>
                    <a:pt x="584" y="41"/>
                  </a:lnTo>
                  <a:lnTo>
                    <a:pt x="588" y="46"/>
                  </a:lnTo>
                  <a:lnTo>
                    <a:pt x="592" y="52"/>
                  </a:lnTo>
                  <a:lnTo>
                    <a:pt x="595" y="59"/>
                  </a:lnTo>
                  <a:lnTo>
                    <a:pt x="597" y="67"/>
                  </a:lnTo>
                  <a:lnTo>
                    <a:pt x="603" y="84"/>
                  </a:lnTo>
                  <a:lnTo>
                    <a:pt x="609" y="98"/>
                  </a:lnTo>
                  <a:lnTo>
                    <a:pt x="611" y="101"/>
                  </a:lnTo>
                  <a:lnTo>
                    <a:pt x="613" y="104"/>
                  </a:lnTo>
                  <a:lnTo>
                    <a:pt x="617" y="106"/>
                  </a:lnTo>
                  <a:lnTo>
                    <a:pt x="620" y="108"/>
                  </a:lnTo>
                  <a:lnTo>
                    <a:pt x="629" y="112"/>
                  </a:lnTo>
                  <a:lnTo>
                    <a:pt x="638" y="114"/>
                  </a:lnTo>
                  <a:lnTo>
                    <a:pt x="648" y="115"/>
                  </a:lnTo>
                  <a:lnTo>
                    <a:pt x="657" y="116"/>
                  </a:lnTo>
                  <a:lnTo>
                    <a:pt x="665" y="116"/>
                  </a:lnTo>
                  <a:lnTo>
                    <a:pt x="673" y="115"/>
                  </a:lnTo>
                  <a:lnTo>
                    <a:pt x="681" y="113"/>
                  </a:lnTo>
                  <a:lnTo>
                    <a:pt x="688" y="111"/>
                  </a:lnTo>
                  <a:lnTo>
                    <a:pt x="694" y="109"/>
                  </a:lnTo>
                  <a:lnTo>
                    <a:pt x="700" y="106"/>
                  </a:lnTo>
                  <a:lnTo>
                    <a:pt x="708" y="100"/>
                  </a:lnTo>
                  <a:lnTo>
                    <a:pt x="716" y="96"/>
                  </a:lnTo>
                  <a:lnTo>
                    <a:pt x="719" y="93"/>
                  </a:lnTo>
                  <a:lnTo>
                    <a:pt x="724" y="93"/>
                  </a:lnTo>
                  <a:lnTo>
                    <a:pt x="729" y="93"/>
                  </a:lnTo>
                  <a:lnTo>
                    <a:pt x="734" y="95"/>
                  </a:lnTo>
                  <a:lnTo>
                    <a:pt x="739" y="97"/>
                  </a:lnTo>
                  <a:lnTo>
                    <a:pt x="747" y="101"/>
                  </a:lnTo>
                  <a:lnTo>
                    <a:pt x="755" y="106"/>
                  </a:lnTo>
                  <a:lnTo>
                    <a:pt x="764" y="113"/>
                  </a:lnTo>
                  <a:lnTo>
                    <a:pt x="768" y="116"/>
                  </a:lnTo>
                  <a:lnTo>
                    <a:pt x="774" y="120"/>
                  </a:lnTo>
                  <a:lnTo>
                    <a:pt x="780" y="122"/>
                  </a:lnTo>
                  <a:lnTo>
                    <a:pt x="785" y="124"/>
                  </a:lnTo>
                  <a:lnTo>
                    <a:pt x="798" y="127"/>
                  </a:lnTo>
                  <a:lnTo>
                    <a:pt x="810" y="128"/>
                  </a:lnTo>
                  <a:lnTo>
                    <a:pt x="837" y="130"/>
                  </a:lnTo>
                  <a:lnTo>
                    <a:pt x="861" y="132"/>
                  </a:lnTo>
                  <a:lnTo>
                    <a:pt x="866" y="133"/>
                  </a:lnTo>
                  <a:lnTo>
                    <a:pt x="873" y="135"/>
                  </a:lnTo>
                  <a:lnTo>
                    <a:pt x="880" y="138"/>
                  </a:lnTo>
                  <a:lnTo>
                    <a:pt x="887" y="143"/>
                  </a:lnTo>
                  <a:lnTo>
                    <a:pt x="904" y="152"/>
                  </a:lnTo>
                  <a:lnTo>
                    <a:pt x="922" y="164"/>
                  </a:lnTo>
                  <a:lnTo>
                    <a:pt x="937" y="177"/>
                  </a:lnTo>
                  <a:lnTo>
                    <a:pt x="952" y="189"/>
                  </a:lnTo>
                  <a:lnTo>
                    <a:pt x="957" y="196"/>
                  </a:lnTo>
                  <a:lnTo>
                    <a:pt x="961" y="202"/>
                  </a:lnTo>
                  <a:lnTo>
                    <a:pt x="963" y="207"/>
                  </a:lnTo>
                  <a:lnTo>
                    <a:pt x="965" y="212"/>
                  </a:lnTo>
                  <a:lnTo>
                    <a:pt x="965" y="228"/>
                  </a:lnTo>
                  <a:lnTo>
                    <a:pt x="963" y="244"/>
                  </a:lnTo>
                  <a:lnTo>
                    <a:pt x="962" y="251"/>
                  </a:lnTo>
                  <a:lnTo>
                    <a:pt x="963" y="259"/>
                  </a:lnTo>
                  <a:lnTo>
                    <a:pt x="963" y="267"/>
                  </a:lnTo>
                  <a:lnTo>
                    <a:pt x="966" y="273"/>
                  </a:lnTo>
                  <a:lnTo>
                    <a:pt x="969" y="282"/>
                  </a:lnTo>
                  <a:lnTo>
                    <a:pt x="974" y="291"/>
                  </a:lnTo>
                  <a:lnTo>
                    <a:pt x="981" y="299"/>
                  </a:lnTo>
                  <a:lnTo>
                    <a:pt x="987" y="307"/>
                  </a:lnTo>
                  <a:lnTo>
                    <a:pt x="1002" y="323"/>
                  </a:lnTo>
                  <a:lnTo>
                    <a:pt x="1015" y="340"/>
                  </a:lnTo>
                  <a:lnTo>
                    <a:pt x="1016" y="345"/>
                  </a:lnTo>
                  <a:lnTo>
                    <a:pt x="1019" y="349"/>
                  </a:lnTo>
                  <a:lnTo>
                    <a:pt x="1022" y="352"/>
                  </a:lnTo>
                  <a:lnTo>
                    <a:pt x="1025" y="355"/>
                  </a:lnTo>
                  <a:lnTo>
                    <a:pt x="1028" y="358"/>
                  </a:lnTo>
                  <a:lnTo>
                    <a:pt x="1032" y="362"/>
                  </a:lnTo>
                  <a:lnTo>
                    <a:pt x="1035" y="365"/>
                  </a:lnTo>
                  <a:lnTo>
                    <a:pt x="1037" y="369"/>
                  </a:lnTo>
                  <a:lnTo>
                    <a:pt x="1041" y="376"/>
                  </a:lnTo>
                  <a:lnTo>
                    <a:pt x="1042" y="385"/>
                  </a:lnTo>
                  <a:lnTo>
                    <a:pt x="1042" y="394"/>
                  </a:lnTo>
                  <a:lnTo>
                    <a:pt x="1042" y="404"/>
                  </a:lnTo>
                  <a:lnTo>
                    <a:pt x="1040" y="424"/>
                  </a:lnTo>
                  <a:lnTo>
                    <a:pt x="1039" y="442"/>
                  </a:lnTo>
                  <a:lnTo>
                    <a:pt x="1041" y="477"/>
                  </a:lnTo>
                  <a:lnTo>
                    <a:pt x="1045" y="516"/>
                  </a:lnTo>
                  <a:lnTo>
                    <a:pt x="1046" y="536"/>
                  </a:lnTo>
                  <a:lnTo>
                    <a:pt x="1045" y="555"/>
                  </a:lnTo>
                  <a:lnTo>
                    <a:pt x="1045" y="564"/>
                  </a:lnTo>
                  <a:lnTo>
                    <a:pt x="1043" y="572"/>
                  </a:lnTo>
                  <a:lnTo>
                    <a:pt x="1041" y="581"/>
                  </a:lnTo>
                  <a:lnTo>
                    <a:pt x="1037" y="589"/>
                  </a:lnTo>
                  <a:lnTo>
                    <a:pt x="1033" y="599"/>
                  </a:lnTo>
                  <a:lnTo>
                    <a:pt x="1028" y="608"/>
                  </a:lnTo>
                  <a:lnTo>
                    <a:pt x="1023" y="616"/>
                  </a:lnTo>
                  <a:lnTo>
                    <a:pt x="1017" y="622"/>
                  </a:lnTo>
                  <a:lnTo>
                    <a:pt x="1011" y="629"/>
                  </a:lnTo>
                  <a:lnTo>
                    <a:pt x="1004" y="634"/>
                  </a:lnTo>
                  <a:lnTo>
                    <a:pt x="998" y="638"/>
                  </a:lnTo>
                  <a:lnTo>
                    <a:pt x="991" y="642"/>
                  </a:lnTo>
                  <a:lnTo>
                    <a:pt x="976" y="650"/>
                  </a:lnTo>
                  <a:lnTo>
                    <a:pt x="961" y="657"/>
                  </a:lnTo>
                  <a:lnTo>
                    <a:pt x="946" y="665"/>
                  </a:lnTo>
                  <a:lnTo>
                    <a:pt x="930" y="677"/>
                  </a:lnTo>
                  <a:lnTo>
                    <a:pt x="931" y="679"/>
                  </a:lnTo>
                  <a:lnTo>
                    <a:pt x="933" y="683"/>
                  </a:lnTo>
                  <a:lnTo>
                    <a:pt x="937" y="686"/>
                  </a:lnTo>
                  <a:lnTo>
                    <a:pt x="942" y="690"/>
                  </a:lnTo>
                  <a:lnTo>
                    <a:pt x="954" y="700"/>
                  </a:lnTo>
                  <a:lnTo>
                    <a:pt x="968" y="709"/>
                  </a:lnTo>
                  <a:lnTo>
                    <a:pt x="982" y="719"/>
                  </a:lnTo>
                  <a:lnTo>
                    <a:pt x="997" y="729"/>
                  </a:lnTo>
                  <a:lnTo>
                    <a:pt x="1008" y="737"/>
                  </a:lnTo>
                  <a:lnTo>
                    <a:pt x="1016" y="743"/>
                  </a:lnTo>
                  <a:lnTo>
                    <a:pt x="1022" y="752"/>
                  </a:lnTo>
                  <a:lnTo>
                    <a:pt x="1029" y="758"/>
                  </a:lnTo>
                  <a:lnTo>
                    <a:pt x="1035" y="764"/>
                  </a:lnTo>
                  <a:lnTo>
                    <a:pt x="1042" y="768"/>
                  </a:lnTo>
                  <a:lnTo>
                    <a:pt x="1045" y="770"/>
                  </a:lnTo>
                  <a:lnTo>
                    <a:pt x="1049" y="771"/>
                  </a:lnTo>
                  <a:lnTo>
                    <a:pt x="1052" y="771"/>
                  </a:lnTo>
                  <a:lnTo>
                    <a:pt x="1056" y="770"/>
                  </a:lnTo>
                  <a:lnTo>
                    <a:pt x="1059" y="768"/>
                  </a:lnTo>
                  <a:lnTo>
                    <a:pt x="1064" y="766"/>
                  </a:lnTo>
                  <a:lnTo>
                    <a:pt x="1069" y="764"/>
                  </a:lnTo>
                  <a:lnTo>
                    <a:pt x="1073" y="760"/>
                  </a:lnTo>
                  <a:lnTo>
                    <a:pt x="1078" y="757"/>
                  </a:lnTo>
                  <a:lnTo>
                    <a:pt x="1083" y="754"/>
                  </a:lnTo>
                  <a:lnTo>
                    <a:pt x="1088" y="753"/>
                  </a:lnTo>
                  <a:lnTo>
                    <a:pt x="1093" y="753"/>
                  </a:lnTo>
                  <a:lnTo>
                    <a:pt x="1097" y="754"/>
                  </a:lnTo>
                  <a:lnTo>
                    <a:pt x="1102" y="756"/>
                  </a:lnTo>
                  <a:lnTo>
                    <a:pt x="1106" y="758"/>
                  </a:lnTo>
                  <a:lnTo>
                    <a:pt x="1110" y="762"/>
                  </a:lnTo>
                  <a:lnTo>
                    <a:pt x="1119" y="772"/>
                  </a:lnTo>
                  <a:lnTo>
                    <a:pt x="1127" y="783"/>
                  </a:lnTo>
                  <a:lnTo>
                    <a:pt x="1134" y="797"/>
                  </a:lnTo>
                  <a:lnTo>
                    <a:pt x="1142" y="812"/>
                  </a:lnTo>
                  <a:lnTo>
                    <a:pt x="1154" y="845"/>
                  </a:lnTo>
                  <a:lnTo>
                    <a:pt x="1165" y="876"/>
                  </a:lnTo>
                  <a:lnTo>
                    <a:pt x="1172" y="902"/>
                  </a:lnTo>
                  <a:lnTo>
                    <a:pt x="1178" y="918"/>
                  </a:lnTo>
                  <a:lnTo>
                    <a:pt x="1178" y="918"/>
                  </a:lnTo>
                  <a:lnTo>
                    <a:pt x="1168" y="920"/>
                  </a:lnTo>
                  <a:lnTo>
                    <a:pt x="1151" y="924"/>
                  </a:lnTo>
                  <a:lnTo>
                    <a:pt x="1130" y="930"/>
                  </a:lnTo>
                  <a:lnTo>
                    <a:pt x="1109" y="939"/>
                  </a:lnTo>
                  <a:lnTo>
                    <a:pt x="1090" y="947"/>
                  </a:lnTo>
                  <a:lnTo>
                    <a:pt x="1072" y="955"/>
                  </a:lnTo>
                  <a:lnTo>
                    <a:pt x="1066" y="959"/>
                  </a:lnTo>
                  <a:lnTo>
                    <a:pt x="1060" y="964"/>
                  </a:lnTo>
                  <a:lnTo>
                    <a:pt x="1057" y="968"/>
                  </a:lnTo>
                  <a:lnTo>
                    <a:pt x="1056" y="971"/>
                  </a:lnTo>
                  <a:lnTo>
                    <a:pt x="1057" y="981"/>
                  </a:lnTo>
                  <a:lnTo>
                    <a:pt x="1060" y="991"/>
                  </a:lnTo>
                  <a:lnTo>
                    <a:pt x="1065" y="1000"/>
                  </a:lnTo>
                  <a:lnTo>
                    <a:pt x="1069" y="1008"/>
                  </a:lnTo>
                  <a:lnTo>
                    <a:pt x="1074" y="1018"/>
                  </a:lnTo>
                  <a:lnTo>
                    <a:pt x="1077" y="1027"/>
                  </a:lnTo>
                  <a:lnTo>
                    <a:pt x="1078" y="1032"/>
                  </a:lnTo>
                  <a:lnTo>
                    <a:pt x="1079" y="1038"/>
                  </a:lnTo>
                  <a:lnTo>
                    <a:pt x="1079" y="1044"/>
                  </a:lnTo>
                  <a:lnTo>
                    <a:pt x="1079" y="1050"/>
                  </a:lnTo>
                  <a:lnTo>
                    <a:pt x="1077" y="1081"/>
                  </a:lnTo>
                  <a:lnTo>
                    <a:pt x="1076" y="1119"/>
                  </a:lnTo>
                  <a:lnTo>
                    <a:pt x="1075" y="1138"/>
                  </a:lnTo>
                  <a:lnTo>
                    <a:pt x="1072" y="1156"/>
                  </a:lnTo>
                  <a:lnTo>
                    <a:pt x="1070" y="1163"/>
                  </a:lnTo>
                  <a:lnTo>
                    <a:pt x="1067" y="1170"/>
                  </a:lnTo>
                  <a:lnTo>
                    <a:pt x="1063" y="1177"/>
                  </a:lnTo>
                  <a:lnTo>
                    <a:pt x="1058" y="1183"/>
                  </a:lnTo>
                  <a:lnTo>
                    <a:pt x="1050" y="1190"/>
                  </a:lnTo>
                  <a:lnTo>
                    <a:pt x="1043" y="1195"/>
                  </a:lnTo>
                  <a:lnTo>
                    <a:pt x="1035" y="1199"/>
                  </a:lnTo>
                  <a:lnTo>
                    <a:pt x="1028" y="1202"/>
                  </a:lnTo>
                  <a:lnTo>
                    <a:pt x="1021" y="1206"/>
                  </a:lnTo>
                  <a:lnTo>
                    <a:pt x="1014" y="1210"/>
                  </a:lnTo>
                  <a:lnTo>
                    <a:pt x="1006" y="1215"/>
                  </a:lnTo>
                  <a:lnTo>
                    <a:pt x="1001" y="1221"/>
                  </a:lnTo>
                  <a:lnTo>
                    <a:pt x="997" y="1226"/>
                  </a:lnTo>
                  <a:lnTo>
                    <a:pt x="995" y="1232"/>
                  </a:lnTo>
                  <a:lnTo>
                    <a:pt x="993" y="1237"/>
                  </a:lnTo>
                  <a:lnTo>
                    <a:pt x="991" y="1242"/>
                  </a:lnTo>
                  <a:lnTo>
                    <a:pt x="988" y="1254"/>
                  </a:lnTo>
                  <a:lnTo>
                    <a:pt x="987" y="1265"/>
                  </a:lnTo>
                  <a:lnTo>
                    <a:pt x="986" y="1289"/>
                  </a:lnTo>
                  <a:lnTo>
                    <a:pt x="984" y="1312"/>
                  </a:lnTo>
                  <a:lnTo>
                    <a:pt x="969" y="1333"/>
                  </a:lnTo>
                  <a:lnTo>
                    <a:pt x="953" y="1356"/>
                  </a:lnTo>
                  <a:lnTo>
                    <a:pt x="949" y="1361"/>
                  </a:lnTo>
                  <a:lnTo>
                    <a:pt x="944" y="1365"/>
                  </a:lnTo>
                  <a:lnTo>
                    <a:pt x="939" y="1368"/>
                  </a:lnTo>
                  <a:lnTo>
                    <a:pt x="934" y="1371"/>
                  </a:lnTo>
                  <a:lnTo>
                    <a:pt x="928" y="1373"/>
                  </a:lnTo>
                  <a:lnTo>
                    <a:pt x="922" y="1373"/>
                  </a:lnTo>
                  <a:lnTo>
                    <a:pt x="916" y="1370"/>
                  </a:lnTo>
                  <a:lnTo>
                    <a:pt x="908" y="1367"/>
                  </a:lnTo>
                  <a:lnTo>
                    <a:pt x="893" y="1359"/>
                  </a:lnTo>
                  <a:lnTo>
                    <a:pt x="879" y="1353"/>
                  </a:lnTo>
                  <a:lnTo>
                    <a:pt x="874" y="1351"/>
                  </a:lnTo>
                  <a:lnTo>
                    <a:pt x="870" y="1351"/>
                  </a:lnTo>
                  <a:lnTo>
                    <a:pt x="864" y="1350"/>
                  </a:lnTo>
                  <a:lnTo>
                    <a:pt x="860" y="1351"/>
                  </a:lnTo>
                  <a:lnTo>
                    <a:pt x="856" y="1353"/>
                  </a:lnTo>
                  <a:lnTo>
                    <a:pt x="853" y="1355"/>
                  </a:lnTo>
                  <a:lnTo>
                    <a:pt x="849" y="1358"/>
                  </a:lnTo>
                  <a:lnTo>
                    <a:pt x="845" y="1362"/>
                  </a:lnTo>
                  <a:lnTo>
                    <a:pt x="835" y="1373"/>
                  </a:lnTo>
                  <a:lnTo>
                    <a:pt x="824" y="1386"/>
                  </a:lnTo>
                  <a:lnTo>
                    <a:pt x="821" y="1389"/>
                  </a:lnTo>
                  <a:lnTo>
                    <a:pt x="816" y="1391"/>
                  </a:lnTo>
                  <a:lnTo>
                    <a:pt x="813" y="1393"/>
                  </a:lnTo>
                  <a:lnTo>
                    <a:pt x="809" y="1393"/>
                  </a:lnTo>
                  <a:lnTo>
                    <a:pt x="805" y="1392"/>
                  </a:lnTo>
                  <a:lnTo>
                    <a:pt x="800" y="1391"/>
                  </a:lnTo>
                  <a:lnTo>
                    <a:pt x="796" y="1389"/>
                  </a:lnTo>
                  <a:lnTo>
                    <a:pt x="790" y="1387"/>
                  </a:lnTo>
                  <a:lnTo>
                    <a:pt x="770" y="1371"/>
                  </a:lnTo>
                  <a:lnTo>
                    <a:pt x="747" y="1353"/>
                  </a:lnTo>
                  <a:lnTo>
                    <a:pt x="735" y="1343"/>
                  </a:lnTo>
                  <a:lnTo>
                    <a:pt x="723" y="1335"/>
                  </a:lnTo>
                  <a:lnTo>
                    <a:pt x="711" y="1328"/>
                  </a:lnTo>
                  <a:lnTo>
                    <a:pt x="699" y="1323"/>
                  </a:lnTo>
                  <a:lnTo>
                    <a:pt x="693" y="1322"/>
                  </a:lnTo>
                  <a:lnTo>
                    <a:pt x="687" y="1321"/>
                  </a:lnTo>
                  <a:lnTo>
                    <a:pt x="682" y="1321"/>
                  </a:lnTo>
                  <a:lnTo>
                    <a:pt x="676" y="1322"/>
                  </a:lnTo>
                  <a:lnTo>
                    <a:pt x="670" y="1325"/>
                  </a:lnTo>
                  <a:lnTo>
                    <a:pt x="665" y="1328"/>
                  </a:lnTo>
                  <a:lnTo>
                    <a:pt x="660" y="1332"/>
                  </a:lnTo>
                  <a:lnTo>
                    <a:pt x="655" y="1338"/>
                  </a:lnTo>
                  <a:lnTo>
                    <a:pt x="655" y="1338"/>
                  </a:lnTo>
                  <a:close/>
                </a:path>
              </a:pathLst>
            </a:custGeom>
            <a:noFill/>
            <a:ln w="1270">
              <a:solidFill>
                <a:schemeClr val="tx2">
                  <a:lumMod val="40000"/>
                  <a:lumOff val="6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6" name="Freeform 163">
              <a:extLst>
                <a:ext uri="{FF2B5EF4-FFF2-40B4-BE49-F238E27FC236}">
                  <a16:creationId xmlns:a16="http://schemas.microsoft.com/office/drawing/2014/main" id="{809C5404-AFFF-41AA-A364-3B84819B3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433" y="5526611"/>
              <a:ext cx="330099" cy="542054"/>
            </a:xfrm>
            <a:custGeom>
              <a:avLst/>
              <a:gdLst>
                <a:gd name="T0" fmla="*/ 269 w 1317"/>
                <a:gd name="T1" fmla="*/ 169 h 2233"/>
                <a:gd name="T2" fmla="*/ 405 w 1317"/>
                <a:gd name="T3" fmla="*/ 195 h 2233"/>
                <a:gd name="T4" fmla="*/ 520 w 1317"/>
                <a:gd name="T5" fmla="*/ 225 h 2233"/>
                <a:gd name="T6" fmla="*/ 593 w 1317"/>
                <a:gd name="T7" fmla="*/ 406 h 2233"/>
                <a:gd name="T8" fmla="*/ 642 w 1317"/>
                <a:gd name="T9" fmla="*/ 505 h 2233"/>
                <a:gd name="T10" fmla="*/ 690 w 1317"/>
                <a:gd name="T11" fmla="*/ 693 h 2233"/>
                <a:gd name="T12" fmla="*/ 841 w 1317"/>
                <a:gd name="T13" fmla="*/ 764 h 2233"/>
                <a:gd name="T14" fmla="*/ 884 w 1317"/>
                <a:gd name="T15" fmla="*/ 847 h 2233"/>
                <a:gd name="T16" fmla="*/ 933 w 1317"/>
                <a:gd name="T17" fmla="*/ 863 h 2233"/>
                <a:gd name="T18" fmla="*/ 977 w 1317"/>
                <a:gd name="T19" fmla="*/ 859 h 2233"/>
                <a:gd name="T20" fmla="*/ 986 w 1317"/>
                <a:gd name="T21" fmla="*/ 979 h 2233"/>
                <a:gd name="T22" fmla="*/ 1075 w 1317"/>
                <a:gd name="T23" fmla="*/ 1022 h 2233"/>
                <a:gd name="T24" fmla="*/ 1150 w 1317"/>
                <a:gd name="T25" fmla="*/ 1036 h 2233"/>
                <a:gd name="T26" fmla="*/ 1188 w 1317"/>
                <a:gd name="T27" fmla="*/ 1096 h 2233"/>
                <a:gd name="T28" fmla="*/ 1239 w 1317"/>
                <a:gd name="T29" fmla="*/ 1092 h 2233"/>
                <a:gd name="T30" fmla="*/ 1286 w 1317"/>
                <a:gd name="T31" fmla="*/ 1070 h 2233"/>
                <a:gd name="T32" fmla="*/ 1268 w 1317"/>
                <a:gd name="T33" fmla="*/ 1232 h 2233"/>
                <a:gd name="T34" fmla="*/ 1227 w 1317"/>
                <a:gd name="T35" fmla="*/ 1365 h 2233"/>
                <a:gd name="T36" fmla="*/ 1189 w 1317"/>
                <a:gd name="T37" fmla="*/ 1525 h 2233"/>
                <a:gd name="T38" fmla="*/ 1213 w 1317"/>
                <a:gd name="T39" fmla="*/ 1683 h 2233"/>
                <a:gd name="T40" fmla="*/ 1262 w 1317"/>
                <a:gd name="T41" fmla="*/ 1664 h 2233"/>
                <a:gd name="T42" fmla="*/ 1313 w 1317"/>
                <a:gd name="T43" fmla="*/ 1665 h 2233"/>
                <a:gd name="T44" fmla="*/ 1304 w 1317"/>
                <a:gd name="T45" fmla="*/ 1873 h 2233"/>
                <a:gd name="T46" fmla="*/ 1218 w 1317"/>
                <a:gd name="T47" fmla="*/ 2012 h 2233"/>
                <a:gd name="T48" fmla="*/ 1096 w 1317"/>
                <a:gd name="T49" fmla="*/ 2152 h 2233"/>
                <a:gd name="T50" fmla="*/ 1014 w 1317"/>
                <a:gd name="T51" fmla="*/ 2164 h 2233"/>
                <a:gd name="T52" fmla="*/ 925 w 1317"/>
                <a:gd name="T53" fmla="*/ 2216 h 2233"/>
                <a:gd name="T54" fmla="*/ 784 w 1317"/>
                <a:gd name="T55" fmla="*/ 2226 h 2233"/>
                <a:gd name="T56" fmla="*/ 635 w 1317"/>
                <a:gd name="T57" fmla="*/ 2206 h 2233"/>
                <a:gd name="T58" fmla="*/ 570 w 1317"/>
                <a:gd name="T59" fmla="*/ 2098 h 2233"/>
                <a:gd name="T60" fmla="*/ 611 w 1317"/>
                <a:gd name="T61" fmla="*/ 1953 h 2233"/>
                <a:gd name="T62" fmla="*/ 523 w 1317"/>
                <a:gd name="T63" fmla="*/ 1887 h 2233"/>
                <a:gd name="T64" fmla="*/ 490 w 1317"/>
                <a:gd name="T65" fmla="*/ 1808 h 2233"/>
                <a:gd name="T66" fmla="*/ 463 w 1317"/>
                <a:gd name="T67" fmla="*/ 1711 h 2233"/>
                <a:gd name="T68" fmla="*/ 361 w 1317"/>
                <a:gd name="T69" fmla="*/ 1693 h 2233"/>
                <a:gd name="T70" fmla="*/ 376 w 1317"/>
                <a:gd name="T71" fmla="*/ 1641 h 2233"/>
                <a:gd name="T72" fmla="*/ 308 w 1317"/>
                <a:gd name="T73" fmla="*/ 1663 h 2233"/>
                <a:gd name="T74" fmla="*/ 208 w 1317"/>
                <a:gd name="T75" fmla="*/ 1662 h 2233"/>
                <a:gd name="T76" fmla="*/ 138 w 1317"/>
                <a:gd name="T77" fmla="*/ 1691 h 2233"/>
                <a:gd name="T78" fmla="*/ 153 w 1317"/>
                <a:gd name="T79" fmla="*/ 1613 h 2233"/>
                <a:gd name="T80" fmla="*/ 115 w 1317"/>
                <a:gd name="T81" fmla="*/ 1539 h 2233"/>
                <a:gd name="T82" fmla="*/ 145 w 1317"/>
                <a:gd name="T83" fmla="*/ 1477 h 2233"/>
                <a:gd name="T84" fmla="*/ 112 w 1317"/>
                <a:gd name="T85" fmla="*/ 1369 h 2233"/>
                <a:gd name="T86" fmla="*/ 123 w 1317"/>
                <a:gd name="T87" fmla="*/ 1294 h 2233"/>
                <a:gd name="T88" fmla="*/ 65 w 1317"/>
                <a:gd name="T89" fmla="*/ 1250 h 2233"/>
                <a:gd name="T90" fmla="*/ 29 w 1317"/>
                <a:gd name="T91" fmla="*/ 1140 h 2233"/>
                <a:gd name="T92" fmla="*/ 1 w 1317"/>
                <a:gd name="T93" fmla="*/ 1064 h 2233"/>
                <a:gd name="T94" fmla="*/ 97 w 1317"/>
                <a:gd name="T95" fmla="*/ 1000 h 2233"/>
                <a:gd name="T96" fmla="*/ 180 w 1317"/>
                <a:gd name="T97" fmla="*/ 931 h 2233"/>
                <a:gd name="T98" fmla="*/ 175 w 1317"/>
                <a:gd name="T99" fmla="*/ 770 h 2233"/>
                <a:gd name="T100" fmla="*/ 128 w 1317"/>
                <a:gd name="T101" fmla="*/ 738 h 2233"/>
                <a:gd name="T102" fmla="*/ 98 w 1317"/>
                <a:gd name="T103" fmla="*/ 701 h 2233"/>
                <a:gd name="T104" fmla="*/ 189 w 1317"/>
                <a:gd name="T105" fmla="*/ 637 h 2233"/>
                <a:gd name="T106" fmla="*/ 187 w 1317"/>
                <a:gd name="T107" fmla="*/ 557 h 2233"/>
                <a:gd name="T108" fmla="*/ 164 w 1317"/>
                <a:gd name="T109" fmla="*/ 498 h 2233"/>
                <a:gd name="T110" fmla="*/ 161 w 1317"/>
                <a:gd name="T111" fmla="*/ 428 h 2233"/>
                <a:gd name="T112" fmla="*/ 105 w 1317"/>
                <a:gd name="T113" fmla="*/ 423 h 2233"/>
                <a:gd name="T114" fmla="*/ 56 w 1317"/>
                <a:gd name="T115" fmla="*/ 429 h 2233"/>
                <a:gd name="T116" fmla="*/ 49 w 1317"/>
                <a:gd name="T117" fmla="*/ 353 h 2233"/>
                <a:gd name="T118" fmla="*/ 1 w 1317"/>
                <a:gd name="T119" fmla="*/ 277 h 2233"/>
                <a:gd name="T120" fmla="*/ 57 w 1317"/>
                <a:gd name="T121" fmla="*/ 120 h 2233"/>
                <a:gd name="T122" fmla="*/ 128 w 1317"/>
                <a:gd name="T123" fmla="*/ 43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17" h="2233">
                  <a:moveTo>
                    <a:pt x="142" y="0"/>
                  </a:moveTo>
                  <a:lnTo>
                    <a:pt x="219" y="77"/>
                  </a:lnTo>
                  <a:lnTo>
                    <a:pt x="220" y="84"/>
                  </a:lnTo>
                  <a:lnTo>
                    <a:pt x="223" y="94"/>
                  </a:lnTo>
                  <a:lnTo>
                    <a:pt x="227" y="105"/>
                  </a:lnTo>
                  <a:lnTo>
                    <a:pt x="232" y="115"/>
                  </a:lnTo>
                  <a:lnTo>
                    <a:pt x="245" y="137"/>
                  </a:lnTo>
                  <a:lnTo>
                    <a:pt x="255" y="154"/>
                  </a:lnTo>
                  <a:lnTo>
                    <a:pt x="262" y="162"/>
                  </a:lnTo>
                  <a:lnTo>
                    <a:pt x="269" y="169"/>
                  </a:lnTo>
                  <a:lnTo>
                    <a:pt x="276" y="176"/>
                  </a:lnTo>
                  <a:lnTo>
                    <a:pt x="285" y="181"/>
                  </a:lnTo>
                  <a:lnTo>
                    <a:pt x="293" y="185"/>
                  </a:lnTo>
                  <a:lnTo>
                    <a:pt x="302" y="188"/>
                  </a:lnTo>
                  <a:lnTo>
                    <a:pt x="312" y="191"/>
                  </a:lnTo>
                  <a:lnTo>
                    <a:pt x="321" y="193"/>
                  </a:lnTo>
                  <a:lnTo>
                    <a:pt x="341" y="195"/>
                  </a:lnTo>
                  <a:lnTo>
                    <a:pt x="362" y="195"/>
                  </a:lnTo>
                  <a:lnTo>
                    <a:pt x="383" y="195"/>
                  </a:lnTo>
                  <a:lnTo>
                    <a:pt x="405" y="195"/>
                  </a:lnTo>
                  <a:lnTo>
                    <a:pt x="425" y="195"/>
                  </a:lnTo>
                  <a:lnTo>
                    <a:pt x="446" y="196"/>
                  </a:lnTo>
                  <a:lnTo>
                    <a:pt x="457" y="198"/>
                  </a:lnTo>
                  <a:lnTo>
                    <a:pt x="467" y="199"/>
                  </a:lnTo>
                  <a:lnTo>
                    <a:pt x="476" y="201"/>
                  </a:lnTo>
                  <a:lnTo>
                    <a:pt x="486" y="204"/>
                  </a:lnTo>
                  <a:lnTo>
                    <a:pt x="495" y="208"/>
                  </a:lnTo>
                  <a:lnTo>
                    <a:pt x="505" y="212"/>
                  </a:lnTo>
                  <a:lnTo>
                    <a:pt x="513" y="218"/>
                  </a:lnTo>
                  <a:lnTo>
                    <a:pt x="520" y="225"/>
                  </a:lnTo>
                  <a:lnTo>
                    <a:pt x="529" y="232"/>
                  </a:lnTo>
                  <a:lnTo>
                    <a:pt x="535" y="241"/>
                  </a:lnTo>
                  <a:lnTo>
                    <a:pt x="542" y="252"/>
                  </a:lnTo>
                  <a:lnTo>
                    <a:pt x="547" y="263"/>
                  </a:lnTo>
                  <a:lnTo>
                    <a:pt x="553" y="277"/>
                  </a:lnTo>
                  <a:lnTo>
                    <a:pt x="559" y="299"/>
                  </a:lnTo>
                  <a:lnTo>
                    <a:pt x="566" y="326"/>
                  </a:lnTo>
                  <a:lnTo>
                    <a:pt x="575" y="354"/>
                  </a:lnTo>
                  <a:lnTo>
                    <a:pt x="584" y="382"/>
                  </a:lnTo>
                  <a:lnTo>
                    <a:pt x="593" y="406"/>
                  </a:lnTo>
                  <a:lnTo>
                    <a:pt x="597" y="416"/>
                  </a:lnTo>
                  <a:lnTo>
                    <a:pt x="602" y="423"/>
                  </a:lnTo>
                  <a:lnTo>
                    <a:pt x="604" y="426"/>
                  </a:lnTo>
                  <a:lnTo>
                    <a:pt x="606" y="427"/>
                  </a:lnTo>
                  <a:lnTo>
                    <a:pt x="608" y="429"/>
                  </a:lnTo>
                  <a:lnTo>
                    <a:pt x="609" y="429"/>
                  </a:lnTo>
                  <a:lnTo>
                    <a:pt x="638" y="478"/>
                  </a:lnTo>
                  <a:lnTo>
                    <a:pt x="638" y="478"/>
                  </a:lnTo>
                  <a:lnTo>
                    <a:pt x="639" y="492"/>
                  </a:lnTo>
                  <a:lnTo>
                    <a:pt x="642" y="505"/>
                  </a:lnTo>
                  <a:lnTo>
                    <a:pt x="646" y="520"/>
                  </a:lnTo>
                  <a:lnTo>
                    <a:pt x="652" y="535"/>
                  </a:lnTo>
                  <a:lnTo>
                    <a:pt x="663" y="564"/>
                  </a:lnTo>
                  <a:lnTo>
                    <a:pt x="674" y="590"/>
                  </a:lnTo>
                  <a:lnTo>
                    <a:pt x="675" y="610"/>
                  </a:lnTo>
                  <a:lnTo>
                    <a:pt x="677" y="632"/>
                  </a:lnTo>
                  <a:lnTo>
                    <a:pt x="679" y="653"/>
                  </a:lnTo>
                  <a:lnTo>
                    <a:pt x="683" y="674"/>
                  </a:lnTo>
                  <a:lnTo>
                    <a:pt x="686" y="684"/>
                  </a:lnTo>
                  <a:lnTo>
                    <a:pt x="690" y="693"/>
                  </a:lnTo>
                  <a:lnTo>
                    <a:pt x="694" y="702"/>
                  </a:lnTo>
                  <a:lnTo>
                    <a:pt x="701" y="710"/>
                  </a:lnTo>
                  <a:lnTo>
                    <a:pt x="707" y="717"/>
                  </a:lnTo>
                  <a:lnTo>
                    <a:pt x="714" y="723"/>
                  </a:lnTo>
                  <a:lnTo>
                    <a:pt x="724" y="729"/>
                  </a:lnTo>
                  <a:lnTo>
                    <a:pt x="733" y="733"/>
                  </a:lnTo>
                  <a:lnTo>
                    <a:pt x="781" y="743"/>
                  </a:lnTo>
                  <a:lnTo>
                    <a:pt x="823" y="755"/>
                  </a:lnTo>
                  <a:lnTo>
                    <a:pt x="832" y="759"/>
                  </a:lnTo>
                  <a:lnTo>
                    <a:pt x="841" y="764"/>
                  </a:lnTo>
                  <a:lnTo>
                    <a:pt x="849" y="770"/>
                  </a:lnTo>
                  <a:lnTo>
                    <a:pt x="856" y="778"/>
                  </a:lnTo>
                  <a:lnTo>
                    <a:pt x="862" y="786"/>
                  </a:lnTo>
                  <a:lnTo>
                    <a:pt x="867" y="795"/>
                  </a:lnTo>
                  <a:lnTo>
                    <a:pt x="872" y="807"/>
                  </a:lnTo>
                  <a:lnTo>
                    <a:pt x="876" y="820"/>
                  </a:lnTo>
                  <a:lnTo>
                    <a:pt x="877" y="829"/>
                  </a:lnTo>
                  <a:lnTo>
                    <a:pt x="879" y="835"/>
                  </a:lnTo>
                  <a:lnTo>
                    <a:pt x="881" y="841"/>
                  </a:lnTo>
                  <a:lnTo>
                    <a:pt x="884" y="847"/>
                  </a:lnTo>
                  <a:lnTo>
                    <a:pt x="887" y="853"/>
                  </a:lnTo>
                  <a:lnTo>
                    <a:pt x="890" y="857"/>
                  </a:lnTo>
                  <a:lnTo>
                    <a:pt x="895" y="860"/>
                  </a:lnTo>
                  <a:lnTo>
                    <a:pt x="899" y="863"/>
                  </a:lnTo>
                  <a:lnTo>
                    <a:pt x="904" y="865"/>
                  </a:lnTo>
                  <a:lnTo>
                    <a:pt x="908" y="866"/>
                  </a:lnTo>
                  <a:lnTo>
                    <a:pt x="914" y="866"/>
                  </a:lnTo>
                  <a:lnTo>
                    <a:pt x="921" y="866"/>
                  </a:lnTo>
                  <a:lnTo>
                    <a:pt x="927" y="865"/>
                  </a:lnTo>
                  <a:lnTo>
                    <a:pt x="933" y="863"/>
                  </a:lnTo>
                  <a:lnTo>
                    <a:pt x="941" y="860"/>
                  </a:lnTo>
                  <a:lnTo>
                    <a:pt x="949" y="857"/>
                  </a:lnTo>
                  <a:lnTo>
                    <a:pt x="954" y="855"/>
                  </a:lnTo>
                  <a:lnTo>
                    <a:pt x="958" y="853"/>
                  </a:lnTo>
                  <a:lnTo>
                    <a:pt x="962" y="853"/>
                  </a:lnTo>
                  <a:lnTo>
                    <a:pt x="965" y="853"/>
                  </a:lnTo>
                  <a:lnTo>
                    <a:pt x="969" y="853"/>
                  </a:lnTo>
                  <a:lnTo>
                    <a:pt x="972" y="855"/>
                  </a:lnTo>
                  <a:lnTo>
                    <a:pt x="974" y="856"/>
                  </a:lnTo>
                  <a:lnTo>
                    <a:pt x="977" y="859"/>
                  </a:lnTo>
                  <a:lnTo>
                    <a:pt x="980" y="864"/>
                  </a:lnTo>
                  <a:lnTo>
                    <a:pt x="983" y="871"/>
                  </a:lnTo>
                  <a:lnTo>
                    <a:pt x="985" y="881"/>
                  </a:lnTo>
                  <a:lnTo>
                    <a:pt x="986" y="890"/>
                  </a:lnTo>
                  <a:lnTo>
                    <a:pt x="987" y="910"/>
                  </a:lnTo>
                  <a:lnTo>
                    <a:pt x="987" y="931"/>
                  </a:lnTo>
                  <a:lnTo>
                    <a:pt x="986" y="948"/>
                  </a:lnTo>
                  <a:lnTo>
                    <a:pt x="985" y="960"/>
                  </a:lnTo>
                  <a:lnTo>
                    <a:pt x="986" y="971"/>
                  </a:lnTo>
                  <a:lnTo>
                    <a:pt x="986" y="979"/>
                  </a:lnTo>
                  <a:lnTo>
                    <a:pt x="988" y="986"/>
                  </a:lnTo>
                  <a:lnTo>
                    <a:pt x="989" y="994"/>
                  </a:lnTo>
                  <a:lnTo>
                    <a:pt x="994" y="1006"/>
                  </a:lnTo>
                  <a:lnTo>
                    <a:pt x="999" y="1022"/>
                  </a:lnTo>
                  <a:lnTo>
                    <a:pt x="1014" y="1024"/>
                  </a:lnTo>
                  <a:lnTo>
                    <a:pt x="1028" y="1024"/>
                  </a:lnTo>
                  <a:lnTo>
                    <a:pt x="1043" y="1023"/>
                  </a:lnTo>
                  <a:lnTo>
                    <a:pt x="1058" y="1023"/>
                  </a:lnTo>
                  <a:lnTo>
                    <a:pt x="1067" y="1023"/>
                  </a:lnTo>
                  <a:lnTo>
                    <a:pt x="1075" y="1022"/>
                  </a:lnTo>
                  <a:lnTo>
                    <a:pt x="1084" y="1019"/>
                  </a:lnTo>
                  <a:lnTo>
                    <a:pt x="1093" y="1016"/>
                  </a:lnTo>
                  <a:lnTo>
                    <a:pt x="1101" y="1013"/>
                  </a:lnTo>
                  <a:lnTo>
                    <a:pt x="1108" y="1011"/>
                  </a:lnTo>
                  <a:lnTo>
                    <a:pt x="1115" y="1010"/>
                  </a:lnTo>
                  <a:lnTo>
                    <a:pt x="1120" y="1010"/>
                  </a:lnTo>
                  <a:lnTo>
                    <a:pt x="1129" y="1023"/>
                  </a:lnTo>
                  <a:lnTo>
                    <a:pt x="1139" y="1035"/>
                  </a:lnTo>
                  <a:lnTo>
                    <a:pt x="1144" y="1036"/>
                  </a:lnTo>
                  <a:lnTo>
                    <a:pt x="1150" y="1036"/>
                  </a:lnTo>
                  <a:lnTo>
                    <a:pt x="1158" y="1035"/>
                  </a:lnTo>
                  <a:lnTo>
                    <a:pt x="1166" y="1034"/>
                  </a:lnTo>
                  <a:lnTo>
                    <a:pt x="1173" y="1033"/>
                  </a:lnTo>
                  <a:lnTo>
                    <a:pt x="1180" y="1032"/>
                  </a:lnTo>
                  <a:lnTo>
                    <a:pt x="1185" y="1033"/>
                  </a:lnTo>
                  <a:lnTo>
                    <a:pt x="1190" y="1034"/>
                  </a:lnTo>
                  <a:lnTo>
                    <a:pt x="1186" y="1058"/>
                  </a:lnTo>
                  <a:lnTo>
                    <a:pt x="1185" y="1085"/>
                  </a:lnTo>
                  <a:lnTo>
                    <a:pt x="1186" y="1091"/>
                  </a:lnTo>
                  <a:lnTo>
                    <a:pt x="1188" y="1096"/>
                  </a:lnTo>
                  <a:lnTo>
                    <a:pt x="1191" y="1100"/>
                  </a:lnTo>
                  <a:lnTo>
                    <a:pt x="1194" y="1104"/>
                  </a:lnTo>
                  <a:lnTo>
                    <a:pt x="1199" y="1106"/>
                  </a:lnTo>
                  <a:lnTo>
                    <a:pt x="1204" y="1107"/>
                  </a:lnTo>
                  <a:lnTo>
                    <a:pt x="1212" y="1106"/>
                  </a:lnTo>
                  <a:lnTo>
                    <a:pt x="1221" y="1104"/>
                  </a:lnTo>
                  <a:lnTo>
                    <a:pt x="1225" y="1102"/>
                  </a:lnTo>
                  <a:lnTo>
                    <a:pt x="1229" y="1100"/>
                  </a:lnTo>
                  <a:lnTo>
                    <a:pt x="1234" y="1096"/>
                  </a:lnTo>
                  <a:lnTo>
                    <a:pt x="1239" y="1092"/>
                  </a:lnTo>
                  <a:lnTo>
                    <a:pt x="1248" y="1082"/>
                  </a:lnTo>
                  <a:lnTo>
                    <a:pt x="1256" y="1073"/>
                  </a:lnTo>
                  <a:lnTo>
                    <a:pt x="1262" y="1069"/>
                  </a:lnTo>
                  <a:lnTo>
                    <a:pt x="1266" y="1064"/>
                  </a:lnTo>
                  <a:lnTo>
                    <a:pt x="1269" y="1062"/>
                  </a:lnTo>
                  <a:lnTo>
                    <a:pt x="1273" y="1060"/>
                  </a:lnTo>
                  <a:lnTo>
                    <a:pt x="1276" y="1060"/>
                  </a:lnTo>
                  <a:lnTo>
                    <a:pt x="1280" y="1061"/>
                  </a:lnTo>
                  <a:lnTo>
                    <a:pt x="1282" y="1064"/>
                  </a:lnTo>
                  <a:lnTo>
                    <a:pt x="1286" y="1070"/>
                  </a:lnTo>
                  <a:lnTo>
                    <a:pt x="1291" y="1085"/>
                  </a:lnTo>
                  <a:lnTo>
                    <a:pt x="1295" y="1103"/>
                  </a:lnTo>
                  <a:lnTo>
                    <a:pt x="1296" y="1111"/>
                  </a:lnTo>
                  <a:lnTo>
                    <a:pt x="1296" y="1120"/>
                  </a:lnTo>
                  <a:lnTo>
                    <a:pt x="1295" y="1128"/>
                  </a:lnTo>
                  <a:lnTo>
                    <a:pt x="1293" y="1136"/>
                  </a:lnTo>
                  <a:lnTo>
                    <a:pt x="1293" y="1200"/>
                  </a:lnTo>
                  <a:lnTo>
                    <a:pt x="1293" y="1200"/>
                  </a:lnTo>
                  <a:lnTo>
                    <a:pt x="1279" y="1216"/>
                  </a:lnTo>
                  <a:lnTo>
                    <a:pt x="1268" y="1232"/>
                  </a:lnTo>
                  <a:lnTo>
                    <a:pt x="1257" y="1249"/>
                  </a:lnTo>
                  <a:lnTo>
                    <a:pt x="1249" y="1266"/>
                  </a:lnTo>
                  <a:lnTo>
                    <a:pt x="1242" y="1284"/>
                  </a:lnTo>
                  <a:lnTo>
                    <a:pt x="1235" y="1301"/>
                  </a:lnTo>
                  <a:lnTo>
                    <a:pt x="1233" y="1311"/>
                  </a:lnTo>
                  <a:lnTo>
                    <a:pt x="1232" y="1321"/>
                  </a:lnTo>
                  <a:lnTo>
                    <a:pt x="1230" y="1331"/>
                  </a:lnTo>
                  <a:lnTo>
                    <a:pt x="1230" y="1341"/>
                  </a:lnTo>
                  <a:lnTo>
                    <a:pt x="1229" y="1353"/>
                  </a:lnTo>
                  <a:lnTo>
                    <a:pt x="1227" y="1365"/>
                  </a:lnTo>
                  <a:lnTo>
                    <a:pt x="1225" y="1376"/>
                  </a:lnTo>
                  <a:lnTo>
                    <a:pt x="1221" y="1388"/>
                  </a:lnTo>
                  <a:lnTo>
                    <a:pt x="1214" y="1410"/>
                  </a:lnTo>
                  <a:lnTo>
                    <a:pt x="1205" y="1433"/>
                  </a:lnTo>
                  <a:lnTo>
                    <a:pt x="1198" y="1455"/>
                  </a:lnTo>
                  <a:lnTo>
                    <a:pt x="1192" y="1477"/>
                  </a:lnTo>
                  <a:lnTo>
                    <a:pt x="1190" y="1488"/>
                  </a:lnTo>
                  <a:lnTo>
                    <a:pt x="1188" y="1501"/>
                  </a:lnTo>
                  <a:lnTo>
                    <a:pt x="1188" y="1512"/>
                  </a:lnTo>
                  <a:lnTo>
                    <a:pt x="1189" y="1525"/>
                  </a:lnTo>
                  <a:lnTo>
                    <a:pt x="1190" y="1537"/>
                  </a:lnTo>
                  <a:lnTo>
                    <a:pt x="1191" y="1559"/>
                  </a:lnTo>
                  <a:lnTo>
                    <a:pt x="1192" y="1586"/>
                  </a:lnTo>
                  <a:lnTo>
                    <a:pt x="1195" y="1614"/>
                  </a:lnTo>
                  <a:lnTo>
                    <a:pt x="1197" y="1629"/>
                  </a:lnTo>
                  <a:lnTo>
                    <a:pt x="1199" y="1642"/>
                  </a:lnTo>
                  <a:lnTo>
                    <a:pt x="1201" y="1656"/>
                  </a:lnTo>
                  <a:lnTo>
                    <a:pt x="1204" y="1666"/>
                  </a:lnTo>
                  <a:lnTo>
                    <a:pt x="1208" y="1676"/>
                  </a:lnTo>
                  <a:lnTo>
                    <a:pt x="1213" y="1683"/>
                  </a:lnTo>
                  <a:lnTo>
                    <a:pt x="1215" y="1686"/>
                  </a:lnTo>
                  <a:lnTo>
                    <a:pt x="1218" y="1688"/>
                  </a:lnTo>
                  <a:lnTo>
                    <a:pt x="1220" y="1689"/>
                  </a:lnTo>
                  <a:lnTo>
                    <a:pt x="1223" y="1689"/>
                  </a:lnTo>
                  <a:lnTo>
                    <a:pt x="1228" y="1689"/>
                  </a:lnTo>
                  <a:lnTo>
                    <a:pt x="1233" y="1687"/>
                  </a:lnTo>
                  <a:lnTo>
                    <a:pt x="1239" y="1685"/>
                  </a:lnTo>
                  <a:lnTo>
                    <a:pt x="1244" y="1682"/>
                  </a:lnTo>
                  <a:lnTo>
                    <a:pt x="1253" y="1674"/>
                  </a:lnTo>
                  <a:lnTo>
                    <a:pt x="1262" y="1664"/>
                  </a:lnTo>
                  <a:lnTo>
                    <a:pt x="1271" y="1655"/>
                  </a:lnTo>
                  <a:lnTo>
                    <a:pt x="1279" y="1647"/>
                  </a:lnTo>
                  <a:lnTo>
                    <a:pt x="1284" y="1643"/>
                  </a:lnTo>
                  <a:lnTo>
                    <a:pt x="1289" y="1641"/>
                  </a:lnTo>
                  <a:lnTo>
                    <a:pt x="1293" y="1639"/>
                  </a:lnTo>
                  <a:lnTo>
                    <a:pt x="1297" y="1638"/>
                  </a:lnTo>
                  <a:lnTo>
                    <a:pt x="1302" y="1645"/>
                  </a:lnTo>
                  <a:lnTo>
                    <a:pt x="1306" y="1651"/>
                  </a:lnTo>
                  <a:lnTo>
                    <a:pt x="1310" y="1658"/>
                  </a:lnTo>
                  <a:lnTo>
                    <a:pt x="1313" y="1665"/>
                  </a:lnTo>
                  <a:lnTo>
                    <a:pt x="1314" y="1674"/>
                  </a:lnTo>
                  <a:lnTo>
                    <a:pt x="1316" y="1681"/>
                  </a:lnTo>
                  <a:lnTo>
                    <a:pt x="1316" y="1690"/>
                  </a:lnTo>
                  <a:lnTo>
                    <a:pt x="1317" y="1699"/>
                  </a:lnTo>
                  <a:lnTo>
                    <a:pt x="1315" y="1733"/>
                  </a:lnTo>
                  <a:lnTo>
                    <a:pt x="1312" y="1766"/>
                  </a:lnTo>
                  <a:lnTo>
                    <a:pt x="1311" y="1803"/>
                  </a:lnTo>
                  <a:lnTo>
                    <a:pt x="1308" y="1839"/>
                  </a:lnTo>
                  <a:lnTo>
                    <a:pt x="1306" y="1856"/>
                  </a:lnTo>
                  <a:lnTo>
                    <a:pt x="1304" y="1873"/>
                  </a:lnTo>
                  <a:lnTo>
                    <a:pt x="1301" y="1890"/>
                  </a:lnTo>
                  <a:lnTo>
                    <a:pt x="1298" y="1905"/>
                  </a:lnTo>
                  <a:lnTo>
                    <a:pt x="1293" y="1920"/>
                  </a:lnTo>
                  <a:lnTo>
                    <a:pt x="1287" y="1935"/>
                  </a:lnTo>
                  <a:lnTo>
                    <a:pt x="1279" y="1949"/>
                  </a:lnTo>
                  <a:lnTo>
                    <a:pt x="1271" y="1963"/>
                  </a:lnTo>
                  <a:lnTo>
                    <a:pt x="1261" y="1976"/>
                  </a:lnTo>
                  <a:lnTo>
                    <a:pt x="1248" y="1989"/>
                  </a:lnTo>
                  <a:lnTo>
                    <a:pt x="1234" y="2000"/>
                  </a:lnTo>
                  <a:lnTo>
                    <a:pt x="1218" y="2012"/>
                  </a:lnTo>
                  <a:lnTo>
                    <a:pt x="1206" y="2021"/>
                  </a:lnTo>
                  <a:lnTo>
                    <a:pt x="1195" y="2032"/>
                  </a:lnTo>
                  <a:lnTo>
                    <a:pt x="1184" y="2043"/>
                  </a:lnTo>
                  <a:lnTo>
                    <a:pt x="1175" y="2056"/>
                  </a:lnTo>
                  <a:lnTo>
                    <a:pt x="1156" y="2083"/>
                  </a:lnTo>
                  <a:lnTo>
                    <a:pt x="1139" y="2109"/>
                  </a:lnTo>
                  <a:lnTo>
                    <a:pt x="1128" y="2121"/>
                  </a:lnTo>
                  <a:lnTo>
                    <a:pt x="1119" y="2133"/>
                  </a:lnTo>
                  <a:lnTo>
                    <a:pt x="1107" y="2143"/>
                  </a:lnTo>
                  <a:lnTo>
                    <a:pt x="1096" y="2152"/>
                  </a:lnTo>
                  <a:lnTo>
                    <a:pt x="1088" y="2155"/>
                  </a:lnTo>
                  <a:lnTo>
                    <a:pt x="1082" y="2158"/>
                  </a:lnTo>
                  <a:lnTo>
                    <a:pt x="1075" y="2161"/>
                  </a:lnTo>
                  <a:lnTo>
                    <a:pt x="1068" y="2163"/>
                  </a:lnTo>
                  <a:lnTo>
                    <a:pt x="1060" y="2164"/>
                  </a:lnTo>
                  <a:lnTo>
                    <a:pt x="1052" y="2165"/>
                  </a:lnTo>
                  <a:lnTo>
                    <a:pt x="1044" y="2165"/>
                  </a:lnTo>
                  <a:lnTo>
                    <a:pt x="1034" y="2164"/>
                  </a:lnTo>
                  <a:lnTo>
                    <a:pt x="1024" y="2163"/>
                  </a:lnTo>
                  <a:lnTo>
                    <a:pt x="1014" y="2164"/>
                  </a:lnTo>
                  <a:lnTo>
                    <a:pt x="1006" y="2167"/>
                  </a:lnTo>
                  <a:lnTo>
                    <a:pt x="998" y="2170"/>
                  </a:lnTo>
                  <a:lnTo>
                    <a:pt x="982" y="2181"/>
                  </a:lnTo>
                  <a:lnTo>
                    <a:pt x="969" y="2191"/>
                  </a:lnTo>
                  <a:lnTo>
                    <a:pt x="961" y="2197"/>
                  </a:lnTo>
                  <a:lnTo>
                    <a:pt x="954" y="2203"/>
                  </a:lnTo>
                  <a:lnTo>
                    <a:pt x="948" y="2208"/>
                  </a:lnTo>
                  <a:lnTo>
                    <a:pt x="940" y="2211"/>
                  </a:lnTo>
                  <a:lnTo>
                    <a:pt x="933" y="2214"/>
                  </a:lnTo>
                  <a:lnTo>
                    <a:pt x="925" y="2216"/>
                  </a:lnTo>
                  <a:lnTo>
                    <a:pt x="916" y="2216"/>
                  </a:lnTo>
                  <a:lnTo>
                    <a:pt x="907" y="2214"/>
                  </a:lnTo>
                  <a:lnTo>
                    <a:pt x="892" y="2210"/>
                  </a:lnTo>
                  <a:lnTo>
                    <a:pt x="875" y="2208"/>
                  </a:lnTo>
                  <a:lnTo>
                    <a:pt x="857" y="2205"/>
                  </a:lnTo>
                  <a:lnTo>
                    <a:pt x="840" y="2204"/>
                  </a:lnTo>
                  <a:lnTo>
                    <a:pt x="840" y="2204"/>
                  </a:lnTo>
                  <a:lnTo>
                    <a:pt x="824" y="2211"/>
                  </a:lnTo>
                  <a:lnTo>
                    <a:pt x="804" y="2219"/>
                  </a:lnTo>
                  <a:lnTo>
                    <a:pt x="784" y="2226"/>
                  </a:lnTo>
                  <a:lnTo>
                    <a:pt x="766" y="2231"/>
                  </a:lnTo>
                  <a:lnTo>
                    <a:pt x="758" y="2233"/>
                  </a:lnTo>
                  <a:lnTo>
                    <a:pt x="749" y="2233"/>
                  </a:lnTo>
                  <a:lnTo>
                    <a:pt x="739" y="2233"/>
                  </a:lnTo>
                  <a:lnTo>
                    <a:pt x="730" y="2231"/>
                  </a:lnTo>
                  <a:lnTo>
                    <a:pt x="710" y="2228"/>
                  </a:lnTo>
                  <a:lnTo>
                    <a:pt x="692" y="2225"/>
                  </a:lnTo>
                  <a:lnTo>
                    <a:pt x="670" y="2218"/>
                  </a:lnTo>
                  <a:lnTo>
                    <a:pt x="652" y="2213"/>
                  </a:lnTo>
                  <a:lnTo>
                    <a:pt x="635" y="2206"/>
                  </a:lnTo>
                  <a:lnTo>
                    <a:pt x="621" y="2198"/>
                  </a:lnTo>
                  <a:lnTo>
                    <a:pt x="595" y="2181"/>
                  </a:lnTo>
                  <a:lnTo>
                    <a:pt x="564" y="2160"/>
                  </a:lnTo>
                  <a:lnTo>
                    <a:pt x="563" y="2149"/>
                  </a:lnTo>
                  <a:lnTo>
                    <a:pt x="562" y="2140"/>
                  </a:lnTo>
                  <a:lnTo>
                    <a:pt x="562" y="2130"/>
                  </a:lnTo>
                  <a:lnTo>
                    <a:pt x="560" y="2120"/>
                  </a:lnTo>
                  <a:lnTo>
                    <a:pt x="560" y="2120"/>
                  </a:lnTo>
                  <a:lnTo>
                    <a:pt x="565" y="2110"/>
                  </a:lnTo>
                  <a:lnTo>
                    <a:pt x="570" y="2098"/>
                  </a:lnTo>
                  <a:lnTo>
                    <a:pt x="574" y="2086"/>
                  </a:lnTo>
                  <a:lnTo>
                    <a:pt x="580" y="2072"/>
                  </a:lnTo>
                  <a:lnTo>
                    <a:pt x="584" y="2060"/>
                  </a:lnTo>
                  <a:lnTo>
                    <a:pt x="589" y="2048"/>
                  </a:lnTo>
                  <a:lnTo>
                    <a:pt x="595" y="2038"/>
                  </a:lnTo>
                  <a:lnTo>
                    <a:pt x="602" y="2031"/>
                  </a:lnTo>
                  <a:lnTo>
                    <a:pt x="607" y="1999"/>
                  </a:lnTo>
                  <a:lnTo>
                    <a:pt x="612" y="1968"/>
                  </a:lnTo>
                  <a:lnTo>
                    <a:pt x="612" y="1961"/>
                  </a:lnTo>
                  <a:lnTo>
                    <a:pt x="611" y="1953"/>
                  </a:lnTo>
                  <a:lnTo>
                    <a:pt x="610" y="1946"/>
                  </a:lnTo>
                  <a:lnTo>
                    <a:pt x="608" y="1940"/>
                  </a:lnTo>
                  <a:lnTo>
                    <a:pt x="604" y="1934"/>
                  </a:lnTo>
                  <a:lnTo>
                    <a:pt x="599" y="1927"/>
                  </a:lnTo>
                  <a:lnTo>
                    <a:pt x="593" y="1921"/>
                  </a:lnTo>
                  <a:lnTo>
                    <a:pt x="585" y="1916"/>
                  </a:lnTo>
                  <a:lnTo>
                    <a:pt x="557" y="1897"/>
                  </a:lnTo>
                  <a:lnTo>
                    <a:pt x="544" y="1892"/>
                  </a:lnTo>
                  <a:lnTo>
                    <a:pt x="531" y="1889"/>
                  </a:lnTo>
                  <a:lnTo>
                    <a:pt x="523" y="1887"/>
                  </a:lnTo>
                  <a:lnTo>
                    <a:pt x="517" y="1884"/>
                  </a:lnTo>
                  <a:lnTo>
                    <a:pt x="512" y="1881"/>
                  </a:lnTo>
                  <a:lnTo>
                    <a:pt x="507" y="1876"/>
                  </a:lnTo>
                  <a:lnTo>
                    <a:pt x="504" y="1871"/>
                  </a:lnTo>
                  <a:lnTo>
                    <a:pt x="500" y="1865"/>
                  </a:lnTo>
                  <a:lnTo>
                    <a:pt x="498" y="1857"/>
                  </a:lnTo>
                  <a:lnTo>
                    <a:pt x="496" y="1850"/>
                  </a:lnTo>
                  <a:lnTo>
                    <a:pt x="494" y="1834"/>
                  </a:lnTo>
                  <a:lnTo>
                    <a:pt x="493" y="1821"/>
                  </a:lnTo>
                  <a:lnTo>
                    <a:pt x="490" y="1808"/>
                  </a:lnTo>
                  <a:lnTo>
                    <a:pt x="489" y="1795"/>
                  </a:lnTo>
                  <a:lnTo>
                    <a:pt x="488" y="1780"/>
                  </a:lnTo>
                  <a:lnTo>
                    <a:pt x="487" y="1766"/>
                  </a:lnTo>
                  <a:lnTo>
                    <a:pt x="485" y="1751"/>
                  </a:lnTo>
                  <a:lnTo>
                    <a:pt x="482" y="1737"/>
                  </a:lnTo>
                  <a:lnTo>
                    <a:pt x="480" y="1731"/>
                  </a:lnTo>
                  <a:lnTo>
                    <a:pt x="476" y="1725"/>
                  </a:lnTo>
                  <a:lnTo>
                    <a:pt x="472" y="1720"/>
                  </a:lnTo>
                  <a:lnTo>
                    <a:pt x="468" y="1714"/>
                  </a:lnTo>
                  <a:lnTo>
                    <a:pt x="463" y="1711"/>
                  </a:lnTo>
                  <a:lnTo>
                    <a:pt x="457" y="1708"/>
                  </a:lnTo>
                  <a:lnTo>
                    <a:pt x="449" y="1706"/>
                  </a:lnTo>
                  <a:lnTo>
                    <a:pt x="442" y="1704"/>
                  </a:lnTo>
                  <a:lnTo>
                    <a:pt x="424" y="1701"/>
                  </a:lnTo>
                  <a:lnTo>
                    <a:pt x="407" y="1700"/>
                  </a:lnTo>
                  <a:lnTo>
                    <a:pt x="389" y="1698"/>
                  </a:lnTo>
                  <a:lnTo>
                    <a:pt x="374" y="1697"/>
                  </a:lnTo>
                  <a:lnTo>
                    <a:pt x="368" y="1696"/>
                  </a:lnTo>
                  <a:lnTo>
                    <a:pt x="364" y="1694"/>
                  </a:lnTo>
                  <a:lnTo>
                    <a:pt x="361" y="1693"/>
                  </a:lnTo>
                  <a:lnTo>
                    <a:pt x="359" y="1689"/>
                  </a:lnTo>
                  <a:lnTo>
                    <a:pt x="358" y="1686"/>
                  </a:lnTo>
                  <a:lnTo>
                    <a:pt x="358" y="1683"/>
                  </a:lnTo>
                  <a:lnTo>
                    <a:pt x="359" y="1679"/>
                  </a:lnTo>
                  <a:lnTo>
                    <a:pt x="360" y="1676"/>
                  </a:lnTo>
                  <a:lnTo>
                    <a:pt x="363" y="1669"/>
                  </a:lnTo>
                  <a:lnTo>
                    <a:pt x="367" y="1660"/>
                  </a:lnTo>
                  <a:lnTo>
                    <a:pt x="372" y="1653"/>
                  </a:lnTo>
                  <a:lnTo>
                    <a:pt x="375" y="1646"/>
                  </a:lnTo>
                  <a:lnTo>
                    <a:pt x="376" y="1641"/>
                  </a:lnTo>
                  <a:lnTo>
                    <a:pt x="377" y="1637"/>
                  </a:lnTo>
                  <a:lnTo>
                    <a:pt x="377" y="1633"/>
                  </a:lnTo>
                  <a:lnTo>
                    <a:pt x="377" y="1629"/>
                  </a:lnTo>
                  <a:lnTo>
                    <a:pt x="372" y="1628"/>
                  </a:lnTo>
                  <a:lnTo>
                    <a:pt x="367" y="1628"/>
                  </a:lnTo>
                  <a:lnTo>
                    <a:pt x="362" y="1629"/>
                  </a:lnTo>
                  <a:lnTo>
                    <a:pt x="357" y="1631"/>
                  </a:lnTo>
                  <a:lnTo>
                    <a:pt x="344" y="1637"/>
                  </a:lnTo>
                  <a:lnTo>
                    <a:pt x="332" y="1646"/>
                  </a:lnTo>
                  <a:lnTo>
                    <a:pt x="308" y="1663"/>
                  </a:lnTo>
                  <a:lnTo>
                    <a:pt x="289" y="1677"/>
                  </a:lnTo>
                  <a:lnTo>
                    <a:pt x="284" y="1679"/>
                  </a:lnTo>
                  <a:lnTo>
                    <a:pt x="277" y="1681"/>
                  </a:lnTo>
                  <a:lnTo>
                    <a:pt x="272" y="1681"/>
                  </a:lnTo>
                  <a:lnTo>
                    <a:pt x="266" y="1680"/>
                  </a:lnTo>
                  <a:lnTo>
                    <a:pt x="253" y="1677"/>
                  </a:lnTo>
                  <a:lnTo>
                    <a:pt x="241" y="1673"/>
                  </a:lnTo>
                  <a:lnTo>
                    <a:pt x="228" y="1667"/>
                  </a:lnTo>
                  <a:lnTo>
                    <a:pt x="216" y="1664"/>
                  </a:lnTo>
                  <a:lnTo>
                    <a:pt x="208" y="1662"/>
                  </a:lnTo>
                  <a:lnTo>
                    <a:pt x="202" y="1662"/>
                  </a:lnTo>
                  <a:lnTo>
                    <a:pt x="196" y="1663"/>
                  </a:lnTo>
                  <a:lnTo>
                    <a:pt x="190" y="1664"/>
                  </a:lnTo>
                  <a:lnTo>
                    <a:pt x="178" y="1672"/>
                  </a:lnTo>
                  <a:lnTo>
                    <a:pt x="163" y="1683"/>
                  </a:lnTo>
                  <a:lnTo>
                    <a:pt x="154" y="1688"/>
                  </a:lnTo>
                  <a:lnTo>
                    <a:pt x="147" y="1691"/>
                  </a:lnTo>
                  <a:lnTo>
                    <a:pt x="144" y="1693"/>
                  </a:lnTo>
                  <a:lnTo>
                    <a:pt x="141" y="1693"/>
                  </a:lnTo>
                  <a:lnTo>
                    <a:pt x="138" y="1691"/>
                  </a:lnTo>
                  <a:lnTo>
                    <a:pt x="134" y="1689"/>
                  </a:lnTo>
                  <a:lnTo>
                    <a:pt x="133" y="1686"/>
                  </a:lnTo>
                  <a:lnTo>
                    <a:pt x="131" y="1682"/>
                  </a:lnTo>
                  <a:lnTo>
                    <a:pt x="131" y="1679"/>
                  </a:lnTo>
                  <a:lnTo>
                    <a:pt x="131" y="1675"/>
                  </a:lnTo>
                  <a:lnTo>
                    <a:pt x="134" y="1665"/>
                  </a:lnTo>
                  <a:lnTo>
                    <a:pt x="138" y="1655"/>
                  </a:lnTo>
                  <a:lnTo>
                    <a:pt x="147" y="1635"/>
                  </a:lnTo>
                  <a:lnTo>
                    <a:pt x="153" y="1619"/>
                  </a:lnTo>
                  <a:lnTo>
                    <a:pt x="153" y="1613"/>
                  </a:lnTo>
                  <a:lnTo>
                    <a:pt x="153" y="1607"/>
                  </a:lnTo>
                  <a:lnTo>
                    <a:pt x="151" y="1601"/>
                  </a:lnTo>
                  <a:lnTo>
                    <a:pt x="149" y="1595"/>
                  </a:lnTo>
                  <a:lnTo>
                    <a:pt x="142" y="1584"/>
                  </a:lnTo>
                  <a:lnTo>
                    <a:pt x="133" y="1573"/>
                  </a:lnTo>
                  <a:lnTo>
                    <a:pt x="125" y="1562"/>
                  </a:lnTo>
                  <a:lnTo>
                    <a:pt x="119" y="1553"/>
                  </a:lnTo>
                  <a:lnTo>
                    <a:pt x="117" y="1547"/>
                  </a:lnTo>
                  <a:lnTo>
                    <a:pt x="116" y="1543"/>
                  </a:lnTo>
                  <a:lnTo>
                    <a:pt x="115" y="1539"/>
                  </a:lnTo>
                  <a:lnTo>
                    <a:pt x="117" y="1535"/>
                  </a:lnTo>
                  <a:lnTo>
                    <a:pt x="120" y="1529"/>
                  </a:lnTo>
                  <a:lnTo>
                    <a:pt x="124" y="1522"/>
                  </a:lnTo>
                  <a:lnTo>
                    <a:pt x="129" y="1518"/>
                  </a:lnTo>
                  <a:lnTo>
                    <a:pt x="134" y="1513"/>
                  </a:lnTo>
                  <a:lnTo>
                    <a:pt x="139" y="1508"/>
                  </a:lnTo>
                  <a:lnTo>
                    <a:pt x="142" y="1503"/>
                  </a:lnTo>
                  <a:lnTo>
                    <a:pt x="145" y="1496"/>
                  </a:lnTo>
                  <a:lnTo>
                    <a:pt x="146" y="1489"/>
                  </a:lnTo>
                  <a:lnTo>
                    <a:pt x="145" y="1477"/>
                  </a:lnTo>
                  <a:lnTo>
                    <a:pt x="143" y="1465"/>
                  </a:lnTo>
                  <a:lnTo>
                    <a:pt x="141" y="1456"/>
                  </a:lnTo>
                  <a:lnTo>
                    <a:pt x="137" y="1445"/>
                  </a:lnTo>
                  <a:lnTo>
                    <a:pt x="129" y="1428"/>
                  </a:lnTo>
                  <a:lnTo>
                    <a:pt x="121" y="1411"/>
                  </a:lnTo>
                  <a:lnTo>
                    <a:pt x="117" y="1402"/>
                  </a:lnTo>
                  <a:lnTo>
                    <a:pt x="114" y="1395"/>
                  </a:lnTo>
                  <a:lnTo>
                    <a:pt x="112" y="1387"/>
                  </a:lnTo>
                  <a:lnTo>
                    <a:pt x="110" y="1377"/>
                  </a:lnTo>
                  <a:lnTo>
                    <a:pt x="112" y="1369"/>
                  </a:lnTo>
                  <a:lnTo>
                    <a:pt x="114" y="1360"/>
                  </a:lnTo>
                  <a:lnTo>
                    <a:pt x="117" y="1349"/>
                  </a:lnTo>
                  <a:lnTo>
                    <a:pt x="123" y="1339"/>
                  </a:lnTo>
                  <a:lnTo>
                    <a:pt x="125" y="1332"/>
                  </a:lnTo>
                  <a:lnTo>
                    <a:pt x="126" y="1324"/>
                  </a:lnTo>
                  <a:lnTo>
                    <a:pt x="126" y="1317"/>
                  </a:lnTo>
                  <a:lnTo>
                    <a:pt x="126" y="1311"/>
                  </a:lnTo>
                  <a:lnTo>
                    <a:pt x="126" y="1304"/>
                  </a:lnTo>
                  <a:lnTo>
                    <a:pt x="125" y="1299"/>
                  </a:lnTo>
                  <a:lnTo>
                    <a:pt x="123" y="1294"/>
                  </a:lnTo>
                  <a:lnTo>
                    <a:pt x="121" y="1289"/>
                  </a:lnTo>
                  <a:lnTo>
                    <a:pt x="118" y="1285"/>
                  </a:lnTo>
                  <a:lnTo>
                    <a:pt x="114" y="1280"/>
                  </a:lnTo>
                  <a:lnTo>
                    <a:pt x="109" y="1276"/>
                  </a:lnTo>
                  <a:lnTo>
                    <a:pt x="105" y="1273"/>
                  </a:lnTo>
                  <a:lnTo>
                    <a:pt x="94" y="1266"/>
                  </a:lnTo>
                  <a:lnTo>
                    <a:pt x="80" y="1260"/>
                  </a:lnTo>
                  <a:lnTo>
                    <a:pt x="75" y="1256"/>
                  </a:lnTo>
                  <a:lnTo>
                    <a:pt x="70" y="1253"/>
                  </a:lnTo>
                  <a:lnTo>
                    <a:pt x="65" y="1250"/>
                  </a:lnTo>
                  <a:lnTo>
                    <a:pt x="60" y="1246"/>
                  </a:lnTo>
                  <a:lnTo>
                    <a:pt x="52" y="1237"/>
                  </a:lnTo>
                  <a:lnTo>
                    <a:pt x="47" y="1227"/>
                  </a:lnTo>
                  <a:lnTo>
                    <a:pt x="42" y="1216"/>
                  </a:lnTo>
                  <a:lnTo>
                    <a:pt x="39" y="1204"/>
                  </a:lnTo>
                  <a:lnTo>
                    <a:pt x="36" y="1193"/>
                  </a:lnTo>
                  <a:lnTo>
                    <a:pt x="35" y="1179"/>
                  </a:lnTo>
                  <a:lnTo>
                    <a:pt x="34" y="1166"/>
                  </a:lnTo>
                  <a:lnTo>
                    <a:pt x="31" y="1153"/>
                  </a:lnTo>
                  <a:lnTo>
                    <a:pt x="29" y="1140"/>
                  </a:lnTo>
                  <a:lnTo>
                    <a:pt x="27" y="1127"/>
                  </a:lnTo>
                  <a:lnTo>
                    <a:pt x="20" y="1121"/>
                  </a:lnTo>
                  <a:lnTo>
                    <a:pt x="15" y="1116"/>
                  </a:lnTo>
                  <a:lnTo>
                    <a:pt x="9" y="1108"/>
                  </a:lnTo>
                  <a:lnTo>
                    <a:pt x="6" y="1102"/>
                  </a:lnTo>
                  <a:lnTo>
                    <a:pt x="3" y="1095"/>
                  </a:lnTo>
                  <a:lnTo>
                    <a:pt x="1" y="1087"/>
                  </a:lnTo>
                  <a:lnTo>
                    <a:pt x="0" y="1079"/>
                  </a:lnTo>
                  <a:lnTo>
                    <a:pt x="0" y="1072"/>
                  </a:lnTo>
                  <a:lnTo>
                    <a:pt x="1" y="1064"/>
                  </a:lnTo>
                  <a:lnTo>
                    <a:pt x="3" y="1056"/>
                  </a:lnTo>
                  <a:lnTo>
                    <a:pt x="5" y="1049"/>
                  </a:lnTo>
                  <a:lnTo>
                    <a:pt x="8" y="1042"/>
                  </a:lnTo>
                  <a:lnTo>
                    <a:pt x="12" y="1035"/>
                  </a:lnTo>
                  <a:lnTo>
                    <a:pt x="18" y="1029"/>
                  </a:lnTo>
                  <a:lnTo>
                    <a:pt x="24" y="1023"/>
                  </a:lnTo>
                  <a:lnTo>
                    <a:pt x="31" y="1018"/>
                  </a:lnTo>
                  <a:lnTo>
                    <a:pt x="31" y="1018"/>
                  </a:lnTo>
                  <a:lnTo>
                    <a:pt x="64" y="1009"/>
                  </a:lnTo>
                  <a:lnTo>
                    <a:pt x="97" y="1000"/>
                  </a:lnTo>
                  <a:lnTo>
                    <a:pt x="114" y="995"/>
                  </a:lnTo>
                  <a:lnTo>
                    <a:pt x="129" y="988"/>
                  </a:lnTo>
                  <a:lnTo>
                    <a:pt x="145" y="981"/>
                  </a:lnTo>
                  <a:lnTo>
                    <a:pt x="159" y="974"/>
                  </a:lnTo>
                  <a:lnTo>
                    <a:pt x="168" y="967"/>
                  </a:lnTo>
                  <a:lnTo>
                    <a:pt x="174" y="961"/>
                  </a:lnTo>
                  <a:lnTo>
                    <a:pt x="178" y="954"/>
                  </a:lnTo>
                  <a:lnTo>
                    <a:pt x="180" y="947"/>
                  </a:lnTo>
                  <a:lnTo>
                    <a:pt x="181" y="939"/>
                  </a:lnTo>
                  <a:lnTo>
                    <a:pt x="180" y="931"/>
                  </a:lnTo>
                  <a:lnTo>
                    <a:pt x="179" y="922"/>
                  </a:lnTo>
                  <a:lnTo>
                    <a:pt x="177" y="912"/>
                  </a:lnTo>
                  <a:lnTo>
                    <a:pt x="174" y="897"/>
                  </a:lnTo>
                  <a:lnTo>
                    <a:pt x="173" y="882"/>
                  </a:lnTo>
                  <a:lnTo>
                    <a:pt x="172" y="867"/>
                  </a:lnTo>
                  <a:lnTo>
                    <a:pt x="171" y="854"/>
                  </a:lnTo>
                  <a:lnTo>
                    <a:pt x="172" y="825"/>
                  </a:lnTo>
                  <a:lnTo>
                    <a:pt x="173" y="794"/>
                  </a:lnTo>
                  <a:lnTo>
                    <a:pt x="174" y="784"/>
                  </a:lnTo>
                  <a:lnTo>
                    <a:pt x="175" y="770"/>
                  </a:lnTo>
                  <a:lnTo>
                    <a:pt x="175" y="763"/>
                  </a:lnTo>
                  <a:lnTo>
                    <a:pt x="174" y="757"/>
                  </a:lnTo>
                  <a:lnTo>
                    <a:pt x="172" y="751"/>
                  </a:lnTo>
                  <a:lnTo>
                    <a:pt x="169" y="747"/>
                  </a:lnTo>
                  <a:lnTo>
                    <a:pt x="165" y="744"/>
                  </a:lnTo>
                  <a:lnTo>
                    <a:pt x="157" y="742"/>
                  </a:lnTo>
                  <a:lnTo>
                    <a:pt x="151" y="741"/>
                  </a:lnTo>
                  <a:lnTo>
                    <a:pt x="143" y="741"/>
                  </a:lnTo>
                  <a:lnTo>
                    <a:pt x="135" y="740"/>
                  </a:lnTo>
                  <a:lnTo>
                    <a:pt x="128" y="738"/>
                  </a:lnTo>
                  <a:lnTo>
                    <a:pt x="122" y="736"/>
                  </a:lnTo>
                  <a:lnTo>
                    <a:pt x="117" y="733"/>
                  </a:lnTo>
                  <a:lnTo>
                    <a:pt x="114" y="732"/>
                  </a:lnTo>
                  <a:lnTo>
                    <a:pt x="110" y="731"/>
                  </a:lnTo>
                  <a:lnTo>
                    <a:pt x="108" y="729"/>
                  </a:lnTo>
                  <a:lnTo>
                    <a:pt x="105" y="726"/>
                  </a:lnTo>
                  <a:lnTo>
                    <a:pt x="102" y="721"/>
                  </a:lnTo>
                  <a:lnTo>
                    <a:pt x="100" y="715"/>
                  </a:lnTo>
                  <a:lnTo>
                    <a:pt x="98" y="709"/>
                  </a:lnTo>
                  <a:lnTo>
                    <a:pt x="98" y="701"/>
                  </a:lnTo>
                  <a:lnTo>
                    <a:pt x="99" y="695"/>
                  </a:lnTo>
                  <a:lnTo>
                    <a:pt x="100" y="689"/>
                  </a:lnTo>
                  <a:lnTo>
                    <a:pt x="104" y="683"/>
                  </a:lnTo>
                  <a:lnTo>
                    <a:pt x="108" y="677"/>
                  </a:lnTo>
                  <a:lnTo>
                    <a:pt x="113" y="673"/>
                  </a:lnTo>
                  <a:lnTo>
                    <a:pt x="118" y="669"/>
                  </a:lnTo>
                  <a:lnTo>
                    <a:pt x="128" y="662"/>
                  </a:lnTo>
                  <a:lnTo>
                    <a:pt x="141" y="657"/>
                  </a:lnTo>
                  <a:lnTo>
                    <a:pt x="166" y="647"/>
                  </a:lnTo>
                  <a:lnTo>
                    <a:pt x="189" y="637"/>
                  </a:lnTo>
                  <a:lnTo>
                    <a:pt x="196" y="623"/>
                  </a:lnTo>
                  <a:lnTo>
                    <a:pt x="203" y="608"/>
                  </a:lnTo>
                  <a:lnTo>
                    <a:pt x="205" y="599"/>
                  </a:lnTo>
                  <a:lnTo>
                    <a:pt x="206" y="591"/>
                  </a:lnTo>
                  <a:lnTo>
                    <a:pt x="206" y="584"/>
                  </a:lnTo>
                  <a:lnTo>
                    <a:pt x="204" y="575"/>
                  </a:lnTo>
                  <a:lnTo>
                    <a:pt x="201" y="570"/>
                  </a:lnTo>
                  <a:lnTo>
                    <a:pt x="197" y="566"/>
                  </a:lnTo>
                  <a:lnTo>
                    <a:pt x="192" y="562"/>
                  </a:lnTo>
                  <a:lnTo>
                    <a:pt x="187" y="557"/>
                  </a:lnTo>
                  <a:lnTo>
                    <a:pt x="176" y="550"/>
                  </a:lnTo>
                  <a:lnTo>
                    <a:pt x="167" y="541"/>
                  </a:lnTo>
                  <a:lnTo>
                    <a:pt x="163" y="535"/>
                  </a:lnTo>
                  <a:lnTo>
                    <a:pt x="161" y="528"/>
                  </a:lnTo>
                  <a:lnTo>
                    <a:pt x="158" y="523"/>
                  </a:lnTo>
                  <a:lnTo>
                    <a:pt x="158" y="518"/>
                  </a:lnTo>
                  <a:lnTo>
                    <a:pt x="158" y="513"/>
                  </a:lnTo>
                  <a:lnTo>
                    <a:pt x="159" y="507"/>
                  </a:lnTo>
                  <a:lnTo>
                    <a:pt x="162" y="503"/>
                  </a:lnTo>
                  <a:lnTo>
                    <a:pt x="164" y="498"/>
                  </a:lnTo>
                  <a:lnTo>
                    <a:pt x="169" y="489"/>
                  </a:lnTo>
                  <a:lnTo>
                    <a:pt x="173" y="478"/>
                  </a:lnTo>
                  <a:lnTo>
                    <a:pt x="174" y="472"/>
                  </a:lnTo>
                  <a:lnTo>
                    <a:pt x="175" y="467"/>
                  </a:lnTo>
                  <a:lnTo>
                    <a:pt x="175" y="459"/>
                  </a:lnTo>
                  <a:lnTo>
                    <a:pt x="174" y="453"/>
                  </a:lnTo>
                  <a:lnTo>
                    <a:pt x="172" y="448"/>
                  </a:lnTo>
                  <a:lnTo>
                    <a:pt x="169" y="442"/>
                  </a:lnTo>
                  <a:lnTo>
                    <a:pt x="165" y="435"/>
                  </a:lnTo>
                  <a:lnTo>
                    <a:pt x="161" y="428"/>
                  </a:lnTo>
                  <a:lnTo>
                    <a:pt x="155" y="422"/>
                  </a:lnTo>
                  <a:lnTo>
                    <a:pt x="150" y="416"/>
                  </a:lnTo>
                  <a:lnTo>
                    <a:pt x="146" y="411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2" y="408"/>
                  </a:lnTo>
                  <a:lnTo>
                    <a:pt x="127" y="410"/>
                  </a:lnTo>
                  <a:lnTo>
                    <a:pt x="117" y="416"/>
                  </a:lnTo>
                  <a:lnTo>
                    <a:pt x="105" y="423"/>
                  </a:lnTo>
                  <a:lnTo>
                    <a:pt x="95" y="431"/>
                  </a:lnTo>
                  <a:lnTo>
                    <a:pt x="84" y="439"/>
                  </a:lnTo>
                  <a:lnTo>
                    <a:pt x="76" y="445"/>
                  </a:lnTo>
                  <a:lnTo>
                    <a:pt x="72" y="450"/>
                  </a:lnTo>
                  <a:lnTo>
                    <a:pt x="67" y="451"/>
                  </a:lnTo>
                  <a:lnTo>
                    <a:pt x="63" y="452"/>
                  </a:lnTo>
                  <a:lnTo>
                    <a:pt x="59" y="451"/>
                  </a:lnTo>
                  <a:lnTo>
                    <a:pt x="54" y="447"/>
                  </a:lnTo>
                  <a:lnTo>
                    <a:pt x="55" y="437"/>
                  </a:lnTo>
                  <a:lnTo>
                    <a:pt x="56" y="429"/>
                  </a:lnTo>
                  <a:lnTo>
                    <a:pt x="57" y="421"/>
                  </a:lnTo>
                  <a:lnTo>
                    <a:pt x="59" y="413"/>
                  </a:lnTo>
                  <a:lnTo>
                    <a:pt x="64" y="400"/>
                  </a:lnTo>
                  <a:lnTo>
                    <a:pt x="66" y="388"/>
                  </a:lnTo>
                  <a:lnTo>
                    <a:pt x="67" y="382"/>
                  </a:lnTo>
                  <a:lnTo>
                    <a:pt x="66" y="377"/>
                  </a:lnTo>
                  <a:lnTo>
                    <a:pt x="64" y="371"/>
                  </a:lnTo>
                  <a:lnTo>
                    <a:pt x="60" y="365"/>
                  </a:lnTo>
                  <a:lnTo>
                    <a:pt x="55" y="359"/>
                  </a:lnTo>
                  <a:lnTo>
                    <a:pt x="49" y="353"/>
                  </a:lnTo>
                  <a:lnTo>
                    <a:pt x="41" y="347"/>
                  </a:lnTo>
                  <a:lnTo>
                    <a:pt x="29" y="340"/>
                  </a:lnTo>
                  <a:lnTo>
                    <a:pt x="22" y="335"/>
                  </a:lnTo>
                  <a:lnTo>
                    <a:pt x="16" y="328"/>
                  </a:lnTo>
                  <a:lnTo>
                    <a:pt x="11" y="322"/>
                  </a:lnTo>
                  <a:lnTo>
                    <a:pt x="7" y="313"/>
                  </a:lnTo>
                  <a:lnTo>
                    <a:pt x="4" y="305"/>
                  </a:lnTo>
                  <a:lnTo>
                    <a:pt x="3" y="296"/>
                  </a:lnTo>
                  <a:lnTo>
                    <a:pt x="2" y="286"/>
                  </a:lnTo>
                  <a:lnTo>
                    <a:pt x="1" y="277"/>
                  </a:lnTo>
                  <a:lnTo>
                    <a:pt x="4" y="238"/>
                  </a:lnTo>
                  <a:lnTo>
                    <a:pt x="7" y="204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6" y="166"/>
                  </a:lnTo>
                  <a:lnTo>
                    <a:pt x="22" y="156"/>
                  </a:lnTo>
                  <a:lnTo>
                    <a:pt x="29" y="146"/>
                  </a:lnTo>
                  <a:lnTo>
                    <a:pt x="37" y="137"/>
                  </a:lnTo>
                  <a:lnTo>
                    <a:pt x="47" y="129"/>
                  </a:lnTo>
                  <a:lnTo>
                    <a:pt x="57" y="120"/>
                  </a:lnTo>
                  <a:lnTo>
                    <a:pt x="71" y="107"/>
                  </a:lnTo>
                  <a:lnTo>
                    <a:pt x="83" y="96"/>
                  </a:lnTo>
                  <a:lnTo>
                    <a:pt x="95" y="88"/>
                  </a:lnTo>
                  <a:lnTo>
                    <a:pt x="104" y="80"/>
                  </a:lnTo>
                  <a:lnTo>
                    <a:pt x="109" y="75"/>
                  </a:lnTo>
                  <a:lnTo>
                    <a:pt x="114" y="70"/>
                  </a:lnTo>
                  <a:lnTo>
                    <a:pt x="118" y="65"/>
                  </a:lnTo>
                  <a:lnTo>
                    <a:pt x="121" y="59"/>
                  </a:lnTo>
                  <a:lnTo>
                    <a:pt x="124" y="51"/>
                  </a:lnTo>
                  <a:lnTo>
                    <a:pt x="128" y="43"/>
                  </a:lnTo>
                  <a:lnTo>
                    <a:pt x="130" y="34"/>
                  </a:lnTo>
                  <a:lnTo>
                    <a:pt x="133" y="22"/>
                  </a:lnTo>
                  <a:lnTo>
                    <a:pt x="137" y="12"/>
                  </a:lnTo>
                  <a:lnTo>
                    <a:pt x="142" y="0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chemeClr val="bg1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7" name="Freeform 164">
              <a:extLst>
                <a:ext uri="{FF2B5EF4-FFF2-40B4-BE49-F238E27FC236}">
                  <a16:creationId xmlns:a16="http://schemas.microsoft.com/office/drawing/2014/main" id="{30A698C3-F583-4AA6-9B31-6EA4B669E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433" y="5526611"/>
              <a:ext cx="330099" cy="542054"/>
            </a:xfrm>
            <a:custGeom>
              <a:avLst/>
              <a:gdLst>
                <a:gd name="T0" fmla="*/ 269 w 1317"/>
                <a:gd name="T1" fmla="*/ 169 h 2233"/>
                <a:gd name="T2" fmla="*/ 405 w 1317"/>
                <a:gd name="T3" fmla="*/ 195 h 2233"/>
                <a:gd name="T4" fmla="*/ 520 w 1317"/>
                <a:gd name="T5" fmla="*/ 225 h 2233"/>
                <a:gd name="T6" fmla="*/ 593 w 1317"/>
                <a:gd name="T7" fmla="*/ 406 h 2233"/>
                <a:gd name="T8" fmla="*/ 642 w 1317"/>
                <a:gd name="T9" fmla="*/ 505 h 2233"/>
                <a:gd name="T10" fmla="*/ 690 w 1317"/>
                <a:gd name="T11" fmla="*/ 693 h 2233"/>
                <a:gd name="T12" fmla="*/ 841 w 1317"/>
                <a:gd name="T13" fmla="*/ 764 h 2233"/>
                <a:gd name="T14" fmla="*/ 884 w 1317"/>
                <a:gd name="T15" fmla="*/ 847 h 2233"/>
                <a:gd name="T16" fmla="*/ 933 w 1317"/>
                <a:gd name="T17" fmla="*/ 863 h 2233"/>
                <a:gd name="T18" fmla="*/ 977 w 1317"/>
                <a:gd name="T19" fmla="*/ 859 h 2233"/>
                <a:gd name="T20" fmla="*/ 986 w 1317"/>
                <a:gd name="T21" fmla="*/ 979 h 2233"/>
                <a:gd name="T22" fmla="*/ 1075 w 1317"/>
                <a:gd name="T23" fmla="*/ 1022 h 2233"/>
                <a:gd name="T24" fmla="*/ 1150 w 1317"/>
                <a:gd name="T25" fmla="*/ 1036 h 2233"/>
                <a:gd name="T26" fmla="*/ 1188 w 1317"/>
                <a:gd name="T27" fmla="*/ 1096 h 2233"/>
                <a:gd name="T28" fmla="*/ 1239 w 1317"/>
                <a:gd name="T29" fmla="*/ 1092 h 2233"/>
                <a:gd name="T30" fmla="*/ 1286 w 1317"/>
                <a:gd name="T31" fmla="*/ 1070 h 2233"/>
                <a:gd name="T32" fmla="*/ 1268 w 1317"/>
                <a:gd name="T33" fmla="*/ 1232 h 2233"/>
                <a:gd name="T34" fmla="*/ 1227 w 1317"/>
                <a:gd name="T35" fmla="*/ 1365 h 2233"/>
                <a:gd name="T36" fmla="*/ 1189 w 1317"/>
                <a:gd name="T37" fmla="*/ 1525 h 2233"/>
                <a:gd name="T38" fmla="*/ 1213 w 1317"/>
                <a:gd name="T39" fmla="*/ 1683 h 2233"/>
                <a:gd name="T40" fmla="*/ 1262 w 1317"/>
                <a:gd name="T41" fmla="*/ 1664 h 2233"/>
                <a:gd name="T42" fmla="*/ 1313 w 1317"/>
                <a:gd name="T43" fmla="*/ 1665 h 2233"/>
                <a:gd name="T44" fmla="*/ 1304 w 1317"/>
                <a:gd name="T45" fmla="*/ 1873 h 2233"/>
                <a:gd name="T46" fmla="*/ 1218 w 1317"/>
                <a:gd name="T47" fmla="*/ 2012 h 2233"/>
                <a:gd name="T48" fmla="*/ 1096 w 1317"/>
                <a:gd name="T49" fmla="*/ 2152 h 2233"/>
                <a:gd name="T50" fmla="*/ 1014 w 1317"/>
                <a:gd name="T51" fmla="*/ 2164 h 2233"/>
                <a:gd name="T52" fmla="*/ 925 w 1317"/>
                <a:gd name="T53" fmla="*/ 2216 h 2233"/>
                <a:gd name="T54" fmla="*/ 784 w 1317"/>
                <a:gd name="T55" fmla="*/ 2226 h 2233"/>
                <a:gd name="T56" fmla="*/ 635 w 1317"/>
                <a:gd name="T57" fmla="*/ 2206 h 2233"/>
                <a:gd name="T58" fmla="*/ 570 w 1317"/>
                <a:gd name="T59" fmla="*/ 2098 h 2233"/>
                <a:gd name="T60" fmla="*/ 611 w 1317"/>
                <a:gd name="T61" fmla="*/ 1953 h 2233"/>
                <a:gd name="T62" fmla="*/ 523 w 1317"/>
                <a:gd name="T63" fmla="*/ 1887 h 2233"/>
                <a:gd name="T64" fmla="*/ 490 w 1317"/>
                <a:gd name="T65" fmla="*/ 1808 h 2233"/>
                <a:gd name="T66" fmla="*/ 463 w 1317"/>
                <a:gd name="T67" fmla="*/ 1711 h 2233"/>
                <a:gd name="T68" fmla="*/ 361 w 1317"/>
                <a:gd name="T69" fmla="*/ 1693 h 2233"/>
                <a:gd name="T70" fmla="*/ 376 w 1317"/>
                <a:gd name="T71" fmla="*/ 1641 h 2233"/>
                <a:gd name="T72" fmla="*/ 308 w 1317"/>
                <a:gd name="T73" fmla="*/ 1663 h 2233"/>
                <a:gd name="T74" fmla="*/ 208 w 1317"/>
                <a:gd name="T75" fmla="*/ 1662 h 2233"/>
                <a:gd name="T76" fmla="*/ 138 w 1317"/>
                <a:gd name="T77" fmla="*/ 1691 h 2233"/>
                <a:gd name="T78" fmla="*/ 153 w 1317"/>
                <a:gd name="T79" fmla="*/ 1613 h 2233"/>
                <a:gd name="T80" fmla="*/ 115 w 1317"/>
                <a:gd name="T81" fmla="*/ 1539 h 2233"/>
                <a:gd name="T82" fmla="*/ 145 w 1317"/>
                <a:gd name="T83" fmla="*/ 1477 h 2233"/>
                <a:gd name="T84" fmla="*/ 112 w 1317"/>
                <a:gd name="T85" fmla="*/ 1369 h 2233"/>
                <a:gd name="T86" fmla="*/ 123 w 1317"/>
                <a:gd name="T87" fmla="*/ 1294 h 2233"/>
                <a:gd name="T88" fmla="*/ 65 w 1317"/>
                <a:gd name="T89" fmla="*/ 1250 h 2233"/>
                <a:gd name="T90" fmla="*/ 29 w 1317"/>
                <a:gd name="T91" fmla="*/ 1140 h 2233"/>
                <a:gd name="T92" fmla="*/ 1 w 1317"/>
                <a:gd name="T93" fmla="*/ 1064 h 2233"/>
                <a:gd name="T94" fmla="*/ 97 w 1317"/>
                <a:gd name="T95" fmla="*/ 1000 h 2233"/>
                <a:gd name="T96" fmla="*/ 180 w 1317"/>
                <a:gd name="T97" fmla="*/ 931 h 2233"/>
                <a:gd name="T98" fmla="*/ 175 w 1317"/>
                <a:gd name="T99" fmla="*/ 770 h 2233"/>
                <a:gd name="T100" fmla="*/ 128 w 1317"/>
                <a:gd name="T101" fmla="*/ 738 h 2233"/>
                <a:gd name="T102" fmla="*/ 98 w 1317"/>
                <a:gd name="T103" fmla="*/ 701 h 2233"/>
                <a:gd name="T104" fmla="*/ 189 w 1317"/>
                <a:gd name="T105" fmla="*/ 637 h 2233"/>
                <a:gd name="T106" fmla="*/ 187 w 1317"/>
                <a:gd name="T107" fmla="*/ 557 h 2233"/>
                <a:gd name="T108" fmla="*/ 164 w 1317"/>
                <a:gd name="T109" fmla="*/ 498 h 2233"/>
                <a:gd name="T110" fmla="*/ 161 w 1317"/>
                <a:gd name="T111" fmla="*/ 428 h 2233"/>
                <a:gd name="T112" fmla="*/ 105 w 1317"/>
                <a:gd name="T113" fmla="*/ 423 h 2233"/>
                <a:gd name="T114" fmla="*/ 56 w 1317"/>
                <a:gd name="T115" fmla="*/ 429 h 2233"/>
                <a:gd name="T116" fmla="*/ 49 w 1317"/>
                <a:gd name="T117" fmla="*/ 353 h 2233"/>
                <a:gd name="T118" fmla="*/ 1 w 1317"/>
                <a:gd name="T119" fmla="*/ 277 h 2233"/>
                <a:gd name="T120" fmla="*/ 57 w 1317"/>
                <a:gd name="T121" fmla="*/ 120 h 2233"/>
                <a:gd name="T122" fmla="*/ 128 w 1317"/>
                <a:gd name="T123" fmla="*/ 43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17" h="2233">
                  <a:moveTo>
                    <a:pt x="142" y="0"/>
                  </a:moveTo>
                  <a:lnTo>
                    <a:pt x="219" y="77"/>
                  </a:lnTo>
                  <a:lnTo>
                    <a:pt x="220" y="84"/>
                  </a:lnTo>
                  <a:lnTo>
                    <a:pt x="223" y="94"/>
                  </a:lnTo>
                  <a:lnTo>
                    <a:pt x="227" y="105"/>
                  </a:lnTo>
                  <a:lnTo>
                    <a:pt x="232" y="115"/>
                  </a:lnTo>
                  <a:lnTo>
                    <a:pt x="245" y="137"/>
                  </a:lnTo>
                  <a:lnTo>
                    <a:pt x="255" y="154"/>
                  </a:lnTo>
                  <a:lnTo>
                    <a:pt x="262" y="162"/>
                  </a:lnTo>
                  <a:lnTo>
                    <a:pt x="269" y="169"/>
                  </a:lnTo>
                  <a:lnTo>
                    <a:pt x="276" y="176"/>
                  </a:lnTo>
                  <a:lnTo>
                    <a:pt x="285" y="181"/>
                  </a:lnTo>
                  <a:lnTo>
                    <a:pt x="293" y="185"/>
                  </a:lnTo>
                  <a:lnTo>
                    <a:pt x="302" y="188"/>
                  </a:lnTo>
                  <a:lnTo>
                    <a:pt x="312" y="191"/>
                  </a:lnTo>
                  <a:lnTo>
                    <a:pt x="321" y="193"/>
                  </a:lnTo>
                  <a:lnTo>
                    <a:pt x="341" y="195"/>
                  </a:lnTo>
                  <a:lnTo>
                    <a:pt x="362" y="195"/>
                  </a:lnTo>
                  <a:lnTo>
                    <a:pt x="383" y="195"/>
                  </a:lnTo>
                  <a:lnTo>
                    <a:pt x="405" y="195"/>
                  </a:lnTo>
                  <a:lnTo>
                    <a:pt x="425" y="195"/>
                  </a:lnTo>
                  <a:lnTo>
                    <a:pt x="446" y="196"/>
                  </a:lnTo>
                  <a:lnTo>
                    <a:pt x="457" y="198"/>
                  </a:lnTo>
                  <a:lnTo>
                    <a:pt x="467" y="199"/>
                  </a:lnTo>
                  <a:lnTo>
                    <a:pt x="476" y="201"/>
                  </a:lnTo>
                  <a:lnTo>
                    <a:pt x="486" y="204"/>
                  </a:lnTo>
                  <a:lnTo>
                    <a:pt x="495" y="208"/>
                  </a:lnTo>
                  <a:lnTo>
                    <a:pt x="505" y="212"/>
                  </a:lnTo>
                  <a:lnTo>
                    <a:pt x="513" y="218"/>
                  </a:lnTo>
                  <a:lnTo>
                    <a:pt x="520" y="225"/>
                  </a:lnTo>
                  <a:lnTo>
                    <a:pt x="529" y="232"/>
                  </a:lnTo>
                  <a:lnTo>
                    <a:pt x="535" y="241"/>
                  </a:lnTo>
                  <a:lnTo>
                    <a:pt x="542" y="252"/>
                  </a:lnTo>
                  <a:lnTo>
                    <a:pt x="547" y="263"/>
                  </a:lnTo>
                  <a:lnTo>
                    <a:pt x="553" y="277"/>
                  </a:lnTo>
                  <a:lnTo>
                    <a:pt x="559" y="299"/>
                  </a:lnTo>
                  <a:lnTo>
                    <a:pt x="566" y="326"/>
                  </a:lnTo>
                  <a:lnTo>
                    <a:pt x="575" y="354"/>
                  </a:lnTo>
                  <a:lnTo>
                    <a:pt x="584" y="382"/>
                  </a:lnTo>
                  <a:lnTo>
                    <a:pt x="593" y="406"/>
                  </a:lnTo>
                  <a:lnTo>
                    <a:pt x="597" y="416"/>
                  </a:lnTo>
                  <a:lnTo>
                    <a:pt x="602" y="423"/>
                  </a:lnTo>
                  <a:lnTo>
                    <a:pt x="604" y="426"/>
                  </a:lnTo>
                  <a:lnTo>
                    <a:pt x="606" y="427"/>
                  </a:lnTo>
                  <a:lnTo>
                    <a:pt x="608" y="429"/>
                  </a:lnTo>
                  <a:lnTo>
                    <a:pt x="609" y="429"/>
                  </a:lnTo>
                  <a:lnTo>
                    <a:pt x="638" y="478"/>
                  </a:lnTo>
                  <a:lnTo>
                    <a:pt x="638" y="478"/>
                  </a:lnTo>
                  <a:lnTo>
                    <a:pt x="639" y="492"/>
                  </a:lnTo>
                  <a:lnTo>
                    <a:pt x="642" y="505"/>
                  </a:lnTo>
                  <a:lnTo>
                    <a:pt x="646" y="520"/>
                  </a:lnTo>
                  <a:lnTo>
                    <a:pt x="652" y="535"/>
                  </a:lnTo>
                  <a:lnTo>
                    <a:pt x="663" y="564"/>
                  </a:lnTo>
                  <a:lnTo>
                    <a:pt x="674" y="590"/>
                  </a:lnTo>
                  <a:lnTo>
                    <a:pt x="675" y="610"/>
                  </a:lnTo>
                  <a:lnTo>
                    <a:pt x="677" y="632"/>
                  </a:lnTo>
                  <a:lnTo>
                    <a:pt x="679" y="653"/>
                  </a:lnTo>
                  <a:lnTo>
                    <a:pt x="683" y="674"/>
                  </a:lnTo>
                  <a:lnTo>
                    <a:pt x="686" y="684"/>
                  </a:lnTo>
                  <a:lnTo>
                    <a:pt x="690" y="693"/>
                  </a:lnTo>
                  <a:lnTo>
                    <a:pt x="694" y="702"/>
                  </a:lnTo>
                  <a:lnTo>
                    <a:pt x="701" y="710"/>
                  </a:lnTo>
                  <a:lnTo>
                    <a:pt x="707" y="717"/>
                  </a:lnTo>
                  <a:lnTo>
                    <a:pt x="714" y="723"/>
                  </a:lnTo>
                  <a:lnTo>
                    <a:pt x="724" y="729"/>
                  </a:lnTo>
                  <a:lnTo>
                    <a:pt x="733" y="733"/>
                  </a:lnTo>
                  <a:lnTo>
                    <a:pt x="781" y="743"/>
                  </a:lnTo>
                  <a:lnTo>
                    <a:pt x="823" y="755"/>
                  </a:lnTo>
                  <a:lnTo>
                    <a:pt x="832" y="759"/>
                  </a:lnTo>
                  <a:lnTo>
                    <a:pt x="841" y="764"/>
                  </a:lnTo>
                  <a:lnTo>
                    <a:pt x="849" y="770"/>
                  </a:lnTo>
                  <a:lnTo>
                    <a:pt x="856" y="778"/>
                  </a:lnTo>
                  <a:lnTo>
                    <a:pt x="862" y="786"/>
                  </a:lnTo>
                  <a:lnTo>
                    <a:pt x="867" y="795"/>
                  </a:lnTo>
                  <a:lnTo>
                    <a:pt x="872" y="807"/>
                  </a:lnTo>
                  <a:lnTo>
                    <a:pt x="876" y="820"/>
                  </a:lnTo>
                  <a:lnTo>
                    <a:pt x="877" y="829"/>
                  </a:lnTo>
                  <a:lnTo>
                    <a:pt x="879" y="835"/>
                  </a:lnTo>
                  <a:lnTo>
                    <a:pt x="881" y="841"/>
                  </a:lnTo>
                  <a:lnTo>
                    <a:pt x="884" y="847"/>
                  </a:lnTo>
                  <a:lnTo>
                    <a:pt x="887" y="853"/>
                  </a:lnTo>
                  <a:lnTo>
                    <a:pt x="890" y="857"/>
                  </a:lnTo>
                  <a:lnTo>
                    <a:pt x="895" y="860"/>
                  </a:lnTo>
                  <a:lnTo>
                    <a:pt x="899" y="863"/>
                  </a:lnTo>
                  <a:lnTo>
                    <a:pt x="904" y="865"/>
                  </a:lnTo>
                  <a:lnTo>
                    <a:pt x="908" y="866"/>
                  </a:lnTo>
                  <a:lnTo>
                    <a:pt x="914" y="866"/>
                  </a:lnTo>
                  <a:lnTo>
                    <a:pt x="921" y="866"/>
                  </a:lnTo>
                  <a:lnTo>
                    <a:pt x="927" y="865"/>
                  </a:lnTo>
                  <a:lnTo>
                    <a:pt x="933" y="863"/>
                  </a:lnTo>
                  <a:lnTo>
                    <a:pt x="941" y="860"/>
                  </a:lnTo>
                  <a:lnTo>
                    <a:pt x="949" y="857"/>
                  </a:lnTo>
                  <a:lnTo>
                    <a:pt x="954" y="855"/>
                  </a:lnTo>
                  <a:lnTo>
                    <a:pt x="958" y="853"/>
                  </a:lnTo>
                  <a:lnTo>
                    <a:pt x="962" y="853"/>
                  </a:lnTo>
                  <a:lnTo>
                    <a:pt x="965" y="853"/>
                  </a:lnTo>
                  <a:lnTo>
                    <a:pt x="969" y="853"/>
                  </a:lnTo>
                  <a:lnTo>
                    <a:pt x="972" y="855"/>
                  </a:lnTo>
                  <a:lnTo>
                    <a:pt x="974" y="856"/>
                  </a:lnTo>
                  <a:lnTo>
                    <a:pt x="977" y="859"/>
                  </a:lnTo>
                  <a:lnTo>
                    <a:pt x="980" y="864"/>
                  </a:lnTo>
                  <a:lnTo>
                    <a:pt x="983" y="871"/>
                  </a:lnTo>
                  <a:lnTo>
                    <a:pt x="985" y="881"/>
                  </a:lnTo>
                  <a:lnTo>
                    <a:pt x="986" y="890"/>
                  </a:lnTo>
                  <a:lnTo>
                    <a:pt x="987" y="910"/>
                  </a:lnTo>
                  <a:lnTo>
                    <a:pt x="987" y="931"/>
                  </a:lnTo>
                  <a:lnTo>
                    <a:pt x="986" y="948"/>
                  </a:lnTo>
                  <a:lnTo>
                    <a:pt x="985" y="960"/>
                  </a:lnTo>
                  <a:lnTo>
                    <a:pt x="986" y="971"/>
                  </a:lnTo>
                  <a:lnTo>
                    <a:pt x="986" y="979"/>
                  </a:lnTo>
                  <a:lnTo>
                    <a:pt x="988" y="986"/>
                  </a:lnTo>
                  <a:lnTo>
                    <a:pt x="989" y="994"/>
                  </a:lnTo>
                  <a:lnTo>
                    <a:pt x="994" y="1006"/>
                  </a:lnTo>
                  <a:lnTo>
                    <a:pt x="999" y="1022"/>
                  </a:lnTo>
                  <a:lnTo>
                    <a:pt x="1014" y="1024"/>
                  </a:lnTo>
                  <a:lnTo>
                    <a:pt x="1028" y="1024"/>
                  </a:lnTo>
                  <a:lnTo>
                    <a:pt x="1043" y="1023"/>
                  </a:lnTo>
                  <a:lnTo>
                    <a:pt x="1058" y="1023"/>
                  </a:lnTo>
                  <a:lnTo>
                    <a:pt x="1067" y="1023"/>
                  </a:lnTo>
                  <a:lnTo>
                    <a:pt x="1075" y="1022"/>
                  </a:lnTo>
                  <a:lnTo>
                    <a:pt x="1084" y="1019"/>
                  </a:lnTo>
                  <a:lnTo>
                    <a:pt x="1093" y="1016"/>
                  </a:lnTo>
                  <a:lnTo>
                    <a:pt x="1101" y="1013"/>
                  </a:lnTo>
                  <a:lnTo>
                    <a:pt x="1108" y="1011"/>
                  </a:lnTo>
                  <a:lnTo>
                    <a:pt x="1115" y="1010"/>
                  </a:lnTo>
                  <a:lnTo>
                    <a:pt x="1120" y="1010"/>
                  </a:lnTo>
                  <a:lnTo>
                    <a:pt x="1129" y="1023"/>
                  </a:lnTo>
                  <a:lnTo>
                    <a:pt x="1139" y="1035"/>
                  </a:lnTo>
                  <a:lnTo>
                    <a:pt x="1144" y="1036"/>
                  </a:lnTo>
                  <a:lnTo>
                    <a:pt x="1150" y="1036"/>
                  </a:lnTo>
                  <a:lnTo>
                    <a:pt x="1158" y="1035"/>
                  </a:lnTo>
                  <a:lnTo>
                    <a:pt x="1166" y="1034"/>
                  </a:lnTo>
                  <a:lnTo>
                    <a:pt x="1173" y="1033"/>
                  </a:lnTo>
                  <a:lnTo>
                    <a:pt x="1180" y="1032"/>
                  </a:lnTo>
                  <a:lnTo>
                    <a:pt x="1185" y="1033"/>
                  </a:lnTo>
                  <a:lnTo>
                    <a:pt x="1190" y="1034"/>
                  </a:lnTo>
                  <a:lnTo>
                    <a:pt x="1186" y="1058"/>
                  </a:lnTo>
                  <a:lnTo>
                    <a:pt x="1185" y="1085"/>
                  </a:lnTo>
                  <a:lnTo>
                    <a:pt x="1186" y="1091"/>
                  </a:lnTo>
                  <a:lnTo>
                    <a:pt x="1188" y="1096"/>
                  </a:lnTo>
                  <a:lnTo>
                    <a:pt x="1191" y="1100"/>
                  </a:lnTo>
                  <a:lnTo>
                    <a:pt x="1194" y="1104"/>
                  </a:lnTo>
                  <a:lnTo>
                    <a:pt x="1199" y="1106"/>
                  </a:lnTo>
                  <a:lnTo>
                    <a:pt x="1204" y="1107"/>
                  </a:lnTo>
                  <a:lnTo>
                    <a:pt x="1212" y="1106"/>
                  </a:lnTo>
                  <a:lnTo>
                    <a:pt x="1221" y="1104"/>
                  </a:lnTo>
                  <a:lnTo>
                    <a:pt x="1225" y="1102"/>
                  </a:lnTo>
                  <a:lnTo>
                    <a:pt x="1229" y="1100"/>
                  </a:lnTo>
                  <a:lnTo>
                    <a:pt x="1234" y="1096"/>
                  </a:lnTo>
                  <a:lnTo>
                    <a:pt x="1239" y="1092"/>
                  </a:lnTo>
                  <a:lnTo>
                    <a:pt x="1248" y="1082"/>
                  </a:lnTo>
                  <a:lnTo>
                    <a:pt x="1256" y="1073"/>
                  </a:lnTo>
                  <a:lnTo>
                    <a:pt x="1262" y="1069"/>
                  </a:lnTo>
                  <a:lnTo>
                    <a:pt x="1266" y="1064"/>
                  </a:lnTo>
                  <a:lnTo>
                    <a:pt x="1269" y="1062"/>
                  </a:lnTo>
                  <a:lnTo>
                    <a:pt x="1273" y="1060"/>
                  </a:lnTo>
                  <a:lnTo>
                    <a:pt x="1276" y="1060"/>
                  </a:lnTo>
                  <a:lnTo>
                    <a:pt x="1280" y="1061"/>
                  </a:lnTo>
                  <a:lnTo>
                    <a:pt x="1282" y="1064"/>
                  </a:lnTo>
                  <a:lnTo>
                    <a:pt x="1286" y="1070"/>
                  </a:lnTo>
                  <a:lnTo>
                    <a:pt x="1291" y="1085"/>
                  </a:lnTo>
                  <a:lnTo>
                    <a:pt x="1295" y="1103"/>
                  </a:lnTo>
                  <a:lnTo>
                    <a:pt x="1296" y="1111"/>
                  </a:lnTo>
                  <a:lnTo>
                    <a:pt x="1296" y="1120"/>
                  </a:lnTo>
                  <a:lnTo>
                    <a:pt x="1295" y="1128"/>
                  </a:lnTo>
                  <a:lnTo>
                    <a:pt x="1293" y="1136"/>
                  </a:lnTo>
                  <a:lnTo>
                    <a:pt x="1293" y="1200"/>
                  </a:lnTo>
                  <a:lnTo>
                    <a:pt x="1293" y="1200"/>
                  </a:lnTo>
                  <a:lnTo>
                    <a:pt x="1279" y="1216"/>
                  </a:lnTo>
                  <a:lnTo>
                    <a:pt x="1268" y="1232"/>
                  </a:lnTo>
                  <a:lnTo>
                    <a:pt x="1257" y="1249"/>
                  </a:lnTo>
                  <a:lnTo>
                    <a:pt x="1249" y="1266"/>
                  </a:lnTo>
                  <a:lnTo>
                    <a:pt x="1242" y="1284"/>
                  </a:lnTo>
                  <a:lnTo>
                    <a:pt x="1235" y="1301"/>
                  </a:lnTo>
                  <a:lnTo>
                    <a:pt x="1233" y="1311"/>
                  </a:lnTo>
                  <a:lnTo>
                    <a:pt x="1232" y="1321"/>
                  </a:lnTo>
                  <a:lnTo>
                    <a:pt x="1230" y="1331"/>
                  </a:lnTo>
                  <a:lnTo>
                    <a:pt x="1230" y="1341"/>
                  </a:lnTo>
                  <a:lnTo>
                    <a:pt x="1229" y="1353"/>
                  </a:lnTo>
                  <a:lnTo>
                    <a:pt x="1227" y="1365"/>
                  </a:lnTo>
                  <a:lnTo>
                    <a:pt x="1225" y="1376"/>
                  </a:lnTo>
                  <a:lnTo>
                    <a:pt x="1221" y="1388"/>
                  </a:lnTo>
                  <a:lnTo>
                    <a:pt x="1214" y="1410"/>
                  </a:lnTo>
                  <a:lnTo>
                    <a:pt x="1205" y="1433"/>
                  </a:lnTo>
                  <a:lnTo>
                    <a:pt x="1198" y="1455"/>
                  </a:lnTo>
                  <a:lnTo>
                    <a:pt x="1192" y="1477"/>
                  </a:lnTo>
                  <a:lnTo>
                    <a:pt x="1190" y="1488"/>
                  </a:lnTo>
                  <a:lnTo>
                    <a:pt x="1188" y="1501"/>
                  </a:lnTo>
                  <a:lnTo>
                    <a:pt x="1188" y="1512"/>
                  </a:lnTo>
                  <a:lnTo>
                    <a:pt x="1189" y="1525"/>
                  </a:lnTo>
                  <a:lnTo>
                    <a:pt x="1190" y="1537"/>
                  </a:lnTo>
                  <a:lnTo>
                    <a:pt x="1191" y="1559"/>
                  </a:lnTo>
                  <a:lnTo>
                    <a:pt x="1192" y="1586"/>
                  </a:lnTo>
                  <a:lnTo>
                    <a:pt x="1195" y="1614"/>
                  </a:lnTo>
                  <a:lnTo>
                    <a:pt x="1197" y="1629"/>
                  </a:lnTo>
                  <a:lnTo>
                    <a:pt x="1199" y="1642"/>
                  </a:lnTo>
                  <a:lnTo>
                    <a:pt x="1201" y="1656"/>
                  </a:lnTo>
                  <a:lnTo>
                    <a:pt x="1204" y="1666"/>
                  </a:lnTo>
                  <a:lnTo>
                    <a:pt x="1208" y="1676"/>
                  </a:lnTo>
                  <a:lnTo>
                    <a:pt x="1213" y="1683"/>
                  </a:lnTo>
                  <a:lnTo>
                    <a:pt x="1215" y="1686"/>
                  </a:lnTo>
                  <a:lnTo>
                    <a:pt x="1218" y="1688"/>
                  </a:lnTo>
                  <a:lnTo>
                    <a:pt x="1220" y="1689"/>
                  </a:lnTo>
                  <a:lnTo>
                    <a:pt x="1223" y="1689"/>
                  </a:lnTo>
                  <a:lnTo>
                    <a:pt x="1228" y="1689"/>
                  </a:lnTo>
                  <a:lnTo>
                    <a:pt x="1233" y="1687"/>
                  </a:lnTo>
                  <a:lnTo>
                    <a:pt x="1239" y="1685"/>
                  </a:lnTo>
                  <a:lnTo>
                    <a:pt x="1244" y="1682"/>
                  </a:lnTo>
                  <a:lnTo>
                    <a:pt x="1253" y="1674"/>
                  </a:lnTo>
                  <a:lnTo>
                    <a:pt x="1262" y="1664"/>
                  </a:lnTo>
                  <a:lnTo>
                    <a:pt x="1271" y="1655"/>
                  </a:lnTo>
                  <a:lnTo>
                    <a:pt x="1279" y="1647"/>
                  </a:lnTo>
                  <a:lnTo>
                    <a:pt x="1284" y="1643"/>
                  </a:lnTo>
                  <a:lnTo>
                    <a:pt x="1289" y="1641"/>
                  </a:lnTo>
                  <a:lnTo>
                    <a:pt x="1293" y="1639"/>
                  </a:lnTo>
                  <a:lnTo>
                    <a:pt x="1297" y="1638"/>
                  </a:lnTo>
                  <a:lnTo>
                    <a:pt x="1302" y="1645"/>
                  </a:lnTo>
                  <a:lnTo>
                    <a:pt x="1306" y="1651"/>
                  </a:lnTo>
                  <a:lnTo>
                    <a:pt x="1310" y="1658"/>
                  </a:lnTo>
                  <a:lnTo>
                    <a:pt x="1313" y="1665"/>
                  </a:lnTo>
                  <a:lnTo>
                    <a:pt x="1314" y="1674"/>
                  </a:lnTo>
                  <a:lnTo>
                    <a:pt x="1316" y="1681"/>
                  </a:lnTo>
                  <a:lnTo>
                    <a:pt x="1316" y="1690"/>
                  </a:lnTo>
                  <a:lnTo>
                    <a:pt x="1317" y="1699"/>
                  </a:lnTo>
                  <a:lnTo>
                    <a:pt x="1315" y="1733"/>
                  </a:lnTo>
                  <a:lnTo>
                    <a:pt x="1312" y="1766"/>
                  </a:lnTo>
                  <a:lnTo>
                    <a:pt x="1311" y="1803"/>
                  </a:lnTo>
                  <a:lnTo>
                    <a:pt x="1308" y="1839"/>
                  </a:lnTo>
                  <a:lnTo>
                    <a:pt x="1306" y="1856"/>
                  </a:lnTo>
                  <a:lnTo>
                    <a:pt x="1304" y="1873"/>
                  </a:lnTo>
                  <a:lnTo>
                    <a:pt x="1301" y="1890"/>
                  </a:lnTo>
                  <a:lnTo>
                    <a:pt x="1298" y="1905"/>
                  </a:lnTo>
                  <a:lnTo>
                    <a:pt x="1293" y="1920"/>
                  </a:lnTo>
                  <a:lnTo>
                    <a:pt x="1287" y="1935"/>
                  </a:lnTo>
                  <a:lnTo>
                    <a:pt x="1279" y="1949"/>
                  </a:lnTo>
                  <a:lnTo>
                    <a:pt x="1271" y="1963"/>
                  </a:lnTo>
                  <a:lnTo>
                    <a:pt x="1261" y="1976"/>
                  </a:lnTo>
                  <a:lnTo>
                    <a:pt x="1248" y="1989"/>
                  </a:lnTo>
                  <a:lnTo>
                    <a:pt x="1234" y="2000"/>
                  </a:lnTo>
                  <a:lnTo>
                    <a:pt x="1218" y="2012"/>
                  </a:lnTo>
                  <a:lnTo>
                    <a:pt x="1206" y="2021"/>
                  </a:lnTo>
                  <a:lnTo>
                    <a:pt x="1195" y="2032"/>
                  </a:lnTo>
                  <a:lnTo>
                    <a:pt x="1184" y="2043"/>
                  </a:lnTo>
                  <a:lnTo>
                    <a:pt x="1175" y="2056"/>
                  </a:lnTo>
                  <a:lnTo>
                    <a:pt x="1156" y="2083"/>
                  </a:lnTo>
                  <a:lnTo>
                    <a:pt x="1139" y="2109"/>
                  </a:lnTo>
                  <a:lnTo>
                    <a:pt x="1128" y="2121"/>
                  </a:lnTo>
                  <a:lnTo>
                    <a:pt x="1119" y="2133"/>
                  </a:lnTo>
                  <a:lnTo>
                    <a:pt x="1107" y="2143"/>
                  </a:lnTo>
                  <a:lnTo>
                    <a:pt x="1096" y="2152"/>
                  </a:lnTo>
                  <a:lnTo>
                    <a:pt x="1088" y="2155"/>
                  </a:lnTo>
                  <a:lnTo>
                    <a:pt x="1082" y="2158"/>
                  </a:lnTo>
                  <a:lnTo>
                    <a:pt x="1075" y="2161"/>
                  </a:lnTo>
                  <a:lnTo>
                    <a:pt x="1068" y="2163"/>
                  </a:lnTo>
                  <a:lnTo>
                    <a:pt x="1060" y="2164"/>
                  </a:lnTo>
                  <a:lnTo>
                    <a:pt x="1052" y="2165"/>
                  </a:lnTo>
                  <a:lnTo>
                    <a:pt x="1044" y="2165"/>
                  </a:lnTo>
                  <a:lnTo>
                    <a:pt x="1034" y="2164"/>
                  </a:lnTo>
                  <a:lnTo>
                    <a:pt x="1024" y="2163"/>
                  </a:lnTo>
                  <a:lnTo>
                    <a:pt x="1014" y="2164"/>
                  </a:lnTo>
                  <a:lnTo>
                    <a:pt x="1006" y="2167"/>
                  </a:lnTo>
                  <a:lnTo>
                    <a:pt x="998" y="2170"/>
                  </a:lnTo>
                  <a:lnTo>
                    <a:pt x="982" y="2181"/>
                  </a:lnTo>
                  <a:lnTo>
                    <a:pt x="969" y="2191"/>
                  </a:lnTo>
                  <a:lnTo>
                    <a:pt x="961" y="2197"/>
                  </a:lnTo>
                  <a:lnTo>
                    <a:pt x="954" y="2203"/>
                  </a:lnTo>
                  <a:lnTo>
                    <a:pt x="948" y="2208"/>
                  </a:lnTo>
                  <a:lnTo>
                    <a:pt x="940" y="2211"/>
                  </a:lnTo>
                  <a:lnTo>
                    <a:pt x="933" y="2214"/>
                  </a:lnTo>
                  <a:lnTo>
                    <a:pt x="925" y="2216"/>
                  </a:lnTo>
                  <a:lnTo>
                    <a:pt x="916" y="2216"/>
                  </a:lnTo>
                  <a:lnTo>
                    <a:pt x="907" y="2214"/>
                  </a:lnTo>
                  <a:lnTo>
                    <a:pt x="892" y="2210"/>
                  </a:lnTo>
                  <a:lnTo>
                    <a:pt x="875" y="2208"/>
                  </a:lnTo>
                  <a:lnTo>
                    <a:pt x="857" y="2205"/>
                  </a:lnTo>
                  <a:lnTo>
                    <a:pt x="840" y="2204"/>
                  </a:lnTo>
                  <a:lnTo>
                    <a:pt x="840" y="2204"/>
                  </a:lnTo>
                  <a:lnTo>
                    <a:pt x="824" y="2211"/>
                  </a:lnTo>
                  <a:lnTo>
                    <a:pt x="804" y="2219"/>
                  </a:lnTo>
                  <a:lnTo>
                    <a:pt x="784" y="2226"/>
                  </a:lnTo>
                  <a:lnTo>
                    <a:pt x="766" y="2231"/>
                  </a:lnTo>
                  <a:lnTo>
                    <a:pt x="758" y="2233"/>
                  </a:lnTo>
                  <a:lnTo>
                    <a:pt x="749" y="2233"/>
                  </a:lnTo>
                  <a:lnTo>
                    <a:pt x="739" y="2233"/>
                  </a:lnTo>
                  <a:lnTo>
                    <a:pt x="730" y="2231"/>
                  </a:lnTo>
                  <a:lnTo>
                    <a:pt x="710" y="2228"/>
                  </a:lnTo>
                  <a:lnTo>
                    <a:pt x="692" y="2225"/>
                  </a:lnTo>
                  <a:lnTo>
                    <a:pt x="670" y="2218"/>
                  </a:lnTo>
                  <a:lnTo>
                    <a:pt x="652" y="2213"/>
                  </a:lnTo>
                  <a:lnTo>
                    <a:pt x="635" y="2206"/>
                  </a:lnTo>
                  <a:lnTo>
                    <a:pt x="621" y="2198"/>
                  </a:lnTo>
                  <a:lnTo>
                    <a:pt x="595" y="2181"/>
                  </a:lnTo>
                  <a:lnTo>
                    <a:pt x="564" y="2160"/>
                  </a:lnTo>
                  <a:lnTo>
                    <a:pt x="563" y="2149"/>
                  </a:lnTo>
                  <a:lnTo>
                    <a:pt x="562" y="2140"/>
                  </a:lnTo>
                  <a:lnTo>
                    <a:pt x="562" y="2130"/>
                  </a:lnTo>
                  <a:lnTo>
                    <a:pt x="560" y="2120"/>
                  </a:lnTo>
                  <a:lnTo>
                    <a:pt x="560" y="2120"/>
                  </a:lnTo>
                  <a:lnTo>
                    <a:pt x="565" y="2110"/>
                  </a:lnTo>
                  <a:lnTo>
                    <a:pt x="570" y="2098"/>
                  </a:lnTo>
                  <a:lnTo>
                    <a:pt x="574" y="2086"/>
                  </a:lnTo>
                  <a:lnTo>
                    <a:pt x="580" y="2072"/>
                  </a:lnTo>
                  <a:lnTo>
                    <a:pt x="584" y="2060"/>
                  </a:lnTo>
                  <a:lnTo>
                    <a:pt x="589" y="2048"/>
                  </a:lnTo>
                  <a:lnTo>
                    <a:pt x="595" y="2038"/>
                  </a:lnTo>
                  <a:lnTo>
                    <a:pt x="602" y="2031"/>
                  </a:lnTo>
                  <a:lnTo>
                    <a:pt x="607" y="1999"/>
                  </a:lnTo>
                  <a:lnTo>
                    <a:pt x="612" y="1968"/>
                  </a:lnTo>
                  <a:lnTo>
                    <a:pt x="612" y="1961"/>
                  </a:lnTo>
                  <a:lnTo>
                    <a:pt x="611" y="1953"/>
                  </a:lnTo>
                  <a:lnTo>
                    <a:pt x="610" y="1946"/>
                  </a:lnTo>
                  <a:lnTo>
                    <a:pt x="608" y="1940"/>
                  </a:lnTo>
                  <a:lnTo>
                    <a:pt x="604" y="1934"/>
                  </a:lnTo>
                  <a:lnTo>
                    <a:pt x="599" y="1927"/>
                  </a:lnTo>
                  <a:lnTo>
                    <a:pt x="593" y="1921"/>
                  </a:lnTo>
                  <a:lnTo>
                    <a:pt x="585" y="1916"/>
                  </a:lnTo>
                  <a:lnTo>
                    <a:pt x="557" y="1897"/>
                  </a:lnTo>
                  <a:lnTo>
                    <a:pt x="544" y="1892"/>
                  </a:lnTo>
                  <a:lnTo>
                    <a:pt x="531" y="1889"/>
                  </a:lnTo>
                  <a:lnTo>
                    <a:pt x="523" y="1887"/>
                  </a:lnTo>
                  <a:lnTo>
                    <a:pt x="517" y="1884"/>
                  </a:lnTo>
                  <a:lnTo>
                    <a:pt x="512" y="1881"/>
                  </a:lnTo>
                  <a:lnTo>
                    <a:pt x="507" y="1876"/>
                  </a:lnTo>
                  <a:lnTo>
                    <a:pt x="504" y="1871"/>
                  </a:lnTo>
                  <a:lnTo>
                    <a:pt x="500" y="1865"/>
                  </a:lnTo>
                  <a:lnTo>
                    <a:pt x="498" y="1857"/>
                  </a:lnTo>
                  <a:lnTo>
                    <a:pt x="496" y="1850"/>
                  </a:lnTo>
                  <a:lnTo>
                    <a:pt x="494" y="1834"/>
                  </a:lnTo>
                  <a:lnTo>
                    <a:pt x="493" y="1821"/>
                  </a:lnTo>
                  <a:lnTo>
                    <a:pt x="490" y="1808"/>
                  </a:lnTo>
                  <a:lnTo>
                    <a:pt x="489" y="1795"/>
                  </a:lnTo>
                  <a:lnTo>
                    <a:pt x="488" y="1780"/>
                  </a:lnTo>
                  <a:lnTo>
                    <a:pt x="487" y="1766"/>
                  </a:lnTo>
                  <a:lnTo>
                    <a:pt x="485" y="1751"/>
                  </a:lnTo>
                  <a:lnTo>
                    <a:pt x="482" y="1737"/>
                  </a:lnTo>
                  <a:lnTo>
                    <a:pt x="480" y="1731"/>
                  </a:lnTo>
                  <a:lnTo>
                    <a:pt x="476" y="1725"/>
                  </a:lnTo>
                  <a:lnTo>
                    <a:pt x="472" y="1720"/>
                  </a:lnTo>
                  <a:lnTo>
                    <a:pt x="468" y="1714"/>
                  </a:lnTo>
                  <a:lnTo>
                    <a:pt x="463" y="1711"/>
                  </a:lnTo>
                  <a:lnTo>
                    <a:pt x="457" y="1708"/>
                  </a:lnTo>
                  <a:lnTo>
                    <a:pt x="449" y="1706"/>
                  </a:lnTo>
                  <a:lnTo>
                    <a:pt x="442" y="1704"/>
                  </a:lnTo>
                  <a:lnTo>
                    <a:pt x="424" y="1701"/>
                  </a:lnTo>
                  <a:lnTo>
                    <a:pt x="407" y="1700"/>
                  </a:lnTo>
                  <a:lnTo>
                    <a:pt x="389" y="1698"/>
                  </a:lnTo>
                  <a:lnTo>
                    <a:pt x="374" y="1697"/>
                  </a:lnTo>
                  <a:lnTo>
                    <a:pt x="368" y="1696"/>
                  </a:lnTo>
                  <a:lnTo>
                    <a:pt x="364" y="1694"/>
                  </a:lnTo>
                  <a:lnTo>
                    <a:pt x="361" y="1693"/>
                  </a:lnTo>
                  <a:lnTo>
                    <a:pt x="359" y="1689"/>
                  </a:lnTo>
                  <a:lnTo>
                    <a:pt x="358" y="1686"/>
                  </a:lnTo>
                  <a:lnTo>
                    <a:pt x="358" y="1683"/>
                  </a:lnTo>
                  <a:lnTo>
                    <a:pt x="359" y="1679"/>
                  </a:lnTo>
                  <a:lnTo>
                    <a:pt x="360" y="1676"/>
                  </a:lnTo>
                  <a:lnTo>
                    <a:pt x="363" y="1669"/>
                  </a:lnTo>
                  <a:lnTo>
                    <a:pt x="367" y="1660"/>
                  </a:lnTo>
                  <a:lnTo>
                    <a:pt x="372" y="1653"/>
                  </a:lnTo>
                  <a:lnTo>
                    <a:pt x="375" y="1646"/>
                  </a:lnTo>
                  <a:lnTo>
                    <a:pt x="376" y="1641"/>
                  </a:lnTo>
                  <a:lnTo>
                    <a:pt x="377" y="1637"/>
                  </a:lnTo>
                  <a:lnTo>
                    <a:pt x="377" y="1633"/>
                  </a:lnTo>
                  <a:lnTo>
                    <a:pt x="377" y="1629"/>
                  </a:lnTo>
                  <a:lnTo>
                    <a:pt x="372" y="1628"/>
                  </a:lnTo>
                  <a:lnTo>
                    <a:pt x="367" y="1628"/>
                  </a:lnTo>
                  <a:lnTo>
                    <a:pt x="362" y="1629"/>
                  </a:lnTo>
                  <a:lnTo>
                    <a:pt x="357" y="1631"/>
                  </a:lnTo>
                  <a:lnTo>
                    <a:pt x="344" y="1637"/>
                  </a:lnTo>
                  <a:lnTo>
                    <a:pt x="332" y="1646"/>
                  </a:lnTo>
                  <a:lnTo>
                    <a:pt x="308" y="1663"/>
                  </a:lnTo>
                  <a:lnTo>
                    <a:pt x="289" y="1677"/>
                  </a:lnTo>
                  <a:lnTo>
                    <a:pt x="284" y="1679"/>
                  </a:lnTo>
                  <a:lnTo>
                    <a:pt x="277" y="1681"/>
                  </a:lnTo>
                  <a:lnTo>
                    <a:pt x="272" y="1681"/>
                  </a:lnTo>
                  <a:lnTo>
                    <a:pt x="266" y="1680"/>
                  </a:lnTo>
                  <a:lnTo>
                    <a:pt x="253" y="1677"/>
                  </a:lnTo>
                  <a:lnTo>
                    <a:pt x="241" y="1673"/>
                  </a:lnTo>
                  <a:lnTo>
                    <a:pt x="228" y="1667"/>
                  </a:lnTo>
                  <a:lnTo>
                    <a:pt x="216" y="1664"/>
                  </a:lnTo>
                  <a:lnTo>
                    <a:pt x="208" y="1662"/>
                  </a:lnTo>
                  <a:lnTo>
                    <a:pt x="202" y="1662"/>
                  </a:lnTo>
                  <a:lnTo>
                    <a:pt x="196" y="1663"/>
                  </a:lnTo>
                  <a:lnTo>
                    <a:pt x="190" y="1664"/>
                  </a:lnTo>
                  <a:lnTo>
                    <a:pt x="178" y="1672"/>
                  </a:lnTo>
                  <a:lnTo>
                    <a:pt x="163" y="1683"/>
                  </a:lnTo>
                  <a:lnTo>
                    <a:pt x="154" y="1688"/>
                  </a:lnTo>
                  <a:lnTo>
                    <a:pt x="147" y="1691"/>
                  </a:lnTo>
                  <a:lnTo>
                    <a:pt x="144" y="1693"/>
                  </a:lnTo>
                  <a:lnTo>
                    <a:pt x="141" y="1693"/>
                  </a:lnTo>
                  <a:lnTo>
                    <a:pt x="138" y="1691"/>
                  </a:lnTo>
                  <a:lnTo>
                    <a:pt x="134" y="1689"/>
                  </a:lnTo>
                  <a:lnTo>
                    <a:pt x="133" y="1686"/>
                  </a:lnTo>
                  <a:lnTo>
                    <a:pt x="131" y="1682"/>
                  </a:lnTo>
                  <a:lnTo>
                    <a:pt x="131" y="1679"/>
                  </a:lnTo>
                  <a:lnTo>
                    <a:pt x="131" y="1675"/>
                  </a:lnTo>
                  <a:lnTo>
                    <a:pt x="134" y="1665"/>
                  </a:lnTo>
                  <a:lnTo>
                    <a:pt x="138" y="1655"/>
                  </a:lnTo>
                  <a:lnTo>
                    <a:pt x="147" y="1635"/>
                  </a:lnTo>
                  <a:lnTo>
                    <a:pt x="153" y="1619"/>
                  </a:lnTo>
                  <a:lnTo>
                    <a:pt x="153" y="1613"/>
                  </a:lnTo>
                  <a:lnTo>
                    <a:pt x="153" y="1607"/>
                  </a:lnTo>
                  <a:lnTo>
                    <a:pt x="151" y="1601"/>
                  </a:lnTo>
                  <a:lnTo>
                    <a:pt x="149" y="1595"/>
                  </a:lnTo>
                  <a:lnTo>
                    <a:pt x="142" y="1584"/>
                  </a:lnTo>
                  <a:lnTo>
                    <a:pt x="133" y="1573"/>
                  </a:lnTo>
                  <a:lnTo>
                    <a:pt x="125" y="1562"/>
                  </a:lnTo>
                  <a:lnTo>
                    <a:pt x="119" y="1553"/>
                  </a:lnTo>
                  <a:lnTo>
                    <a:pt x="117" y="1547"/>
                  </a:lnTo>
                  <a:lnTo>
                    <a:pt x="116" y="1543"/>
                  </a:lnTo>
                  <a:lnTo>
                    <a:pt x="115" y="1539"/>
                  </a:lnTo>
                  <a:lnTo>
                    <a:pt x="117" y="1535"/>
                  </a:lnTo>
                  <a:lnTo>
                    <a:pt x="120" y="1529"/>
                  </a:lnTo>
                  <a:lnTo>
                    <a:pt x="124" y="1522"/>
                  </a:lnTo>
                  <a:lnTo>
                    <a:pt x="129" y="1518"/>
                  </a:lnTo>
                  <a:lnTo>
                    <a:pt x="134" y="1513"/>
                  </a:lnTo>
                  <a:lnTo>
                    <a:pt x="139" y="1508"/>
                  </a:lnTo>
                  <a:lnTo>
                    <a:pt x="142" y="1503"/>
                  </a:lnTo>
                  <a:lnTo>
                    <a:pt x="145" y="1496"/>
                  </a:lnTo>
                  <a:lnTo>
                    <a:pt x="146" y="1489"/>
                  </a:lnTo>
                  <a:lnTo>
                    <a:pt x="145" y="1477"/>
                  </a:lnTo>
                  <a:lnTo>
                    <a:pt x="143" y="1465"/>
                  </a:lnTo>
                  <a:lnTo>
                    <a:pt x="141" y="1456"/>
                  </a:lnTo>
                  <a:lnTo>
                    <a:pt x="137" y="1445"/>
                  </a:lnTo>
                  <a:lnTo>
                    <a:pt x="129" y="1428"/>
                  </a:lnTo>
                  <a:lnTo>
                    <a:pt x="121" y="1411"/>
                  </a:lnTo>
                  <a:lnTo>
                    <a:pt x="117" y="1402"/>
                  </a:lnTo>
                  <a:lnTo>
                    <a:pt x="114" y="1395"/>
                  </a:lnTo>
                  <a:lnTo>
                    <a:pt x="112" y="1387"/>
                  </a:lnTo>
                  <a:lnTo>
                    <a:pt x="110" y="1377"/>
                  </a:lnTo>
                  <a:lnTo>
                    <a:pt x="112" y="1369"/>
                  </a:lnTo>
                  <a:lnTo>
                    <a:pt x="114" y="1360"/>
                  </a:lnTo>
                  <a:lnTo>
                    <a:pt x="117" y="1349"/>
                  </a:lnTo>
                  <a:lnTo>
                    <a:pt x="123" y="1339"/>
                  </a:lnTo>
                  <a:lnTo>
                    <a:pt x="125" y="1332"/>
                  </a:lnTo>
                  <a:lnTo>
                    <a:pt x="126" y="1324"/>
                  </a:lnTo>
                  <a:lnTo>
                    <a:pt x="126" y="1317"/>
                  </a:lnTo>
                  <a:lnTo>
                    <a:pt x="126" y="1311"/>
                  </a:lnTo>
                  <a:lnTo>
                    <a:pt x="126" y="1304"/>
                  </a:lnTo>
                  <a:lnTo>
                    <a:pt x="125" y="1299"/>
                  </a:lnTo>
                  <a:lnTo>
                    <a:pt x="123" y="1294"/>
                  </a:lnTo>
                  <a:lnTo>
                    <a:pt x="121" y="1289"/>
                  </a:lnTo>
                  <a:lnTo>
                    <a:pt x="118" y="1285"/>
                  </a:lnTo>
                  <a:lnTo>
                    <a:pt x="114" y="1280"/>
                  </a:lnTo>
                  <a:lnTo>
                    <a:pt x="109" y="1276"/>
                  </a:lnTo>
                  <a:lnTo>
                    <a:pt x="105" y="1273"/>
                  </a:lnTo>
                  <a:lnTo>
                    <a:pt x="94" y="1266"/>
                  </a:lnTo>
                  <a:lnTo>
                    <a:pt x="80" y="1260"/>
                  </a:lnTo>
                  <a:lnTo>
                    <a:pt x="75" y="1256"/>
                  </a:lnTo>
                  <a:lnTo>
                    <a:pt x="70" y="1253"/>
                  </a:lnTo>
                  <a:lnTo>
                    <a:pt x="65" y="1250"/>
                  </a:lnTo>
                  <a:lnTo>
                    <a:pt x="60" y="1246"/>
                  </a:lnTo>
                  <a:lnTo>
                    <a:pt x="52" y="1237"/>
                  </a:lnTo>
                  <a:lnTo>
                    <a:pt x="47" y="1227"/>
                  </a:lnTo>
                  <a:lnTo>
                    <a:pt x="42" y="1216"/>
                  </a:lnTo>
                  <a:lnTo>
                    <a:pt x="39" y="1204"/>
                  </a:lnTo>
                  <a:lnTo>
                    <a:pt x="36" y="1193"/>
                  </a:lnTo>
                  <a:lnTo>
                    <a:pt x="35" y="1179"/>
                  </a:lnTo>
                  <a:lnTo>
                    <a:pt x="34" y="1166"/>
                  </a:lnTo>
                  <a:lnTo>
                    <a:pt x="31" y="1153"/>
                  </a:lnTo>
                  <a:lnTo>
                    <a:pt x="29" y="1140"/>
                  </a:lnTo>
                  <a:lnTo>
                    <a:pt x="27" y="1127"/>
                  </a:lnTo>
                  <a:lnTo>
                    <a:pt x="20" y="1121"/>
                  </a:lnTo>
                  <a:lnTo>
                    <a:pt x="15" y="1116"/>
                  </a:lnTo>
                  <a:lnTo>
                    <a:pt x="9" y="1108"/>
                  </a:lnTo>
                  <a:lnTo>
                    <a:pt x="6" y="1102"/>
                  </a:lnTo>
                  <a:lnTo>
                    <a:pt x="3" y="1095"/>
                  </a:lnTo>
                  <a:lnTo>
                    <a:pt x="1" y="1087"/>
                  </a:lnTo>
                  <a:lnTo>
                    <a:pt x="0" y="1079"/>
                  </a:lnTo>
                  <a:lnTo>
                    <a:pt x="0" y="1072"/>
                  </a:lnTo>
                  <a:lnTo>
                    <a:pt x="1" y="1064"/>
                  </a:lnTo>
                  <a:lnTo>
                    <a:pt x="3" y="1056"/>
                  </a:lnTo>
                  <a:lnTo>
                    <a:pt x="5" y="1049"/>
                  </a:lnTo>
                  <a:lnTo>
                    <a:pt x="8" y="1042"/>
                  </a:lnTo>
                  <a:lnTo>
                    <a:pt x="12" y="1035"/>
                  </a:lnTo>
                  <a:lnTo>
                    <a:pt x="18" y="1029"/>
                  </a:lnTo>
                  <a:lnTo>
                    <a:pt x="24" y="1023"/>
                  </a:lnTo>
                  <a:lnTo>
                    <a:pt x="31" y="1018"/>
                  </a:lnTo>
                  <a:lnTo>
                    <a:pt x="31" y="1018"/>
                  </a:lnTo>
                  <a:lnTo>
                    <a:pt x="64" y="1009"/>
                  </a:lnTo>
                  <a:lnTo>
                    <a:pt x="97" y="1000"/>
                  </a:lnTo>
                  <a:lnTo>
                    <a:pt x="114" y="995"/>
                  </a:lnTo>
                  <a:lnTo>
                    <a:pt x="129" y="988"/>
                  </a:lnTo>
                  <a:lnTo>
                    <a:pt x="145" y="981"/>
                  </a:lnTo>
                  <a:lnTo>
                    <a:pt x="159" y="974"/>
                  </a:lnTo>
                  <a:lnTo>
                    <a:pt x="168" y="967"/>
                  </a:lnTo>
                  <a:lnTo>
                    <a:pt x="174" y="961"/>
                  </a:lnTo>
                  <a:lnTo>
                    <a:pt x="178" y="954"/>
                  </a:lnTo>
                  <a:lnTo>
                    <a:pt x="180" y="947"/>
                  </a:lnTo>
                  <a:lnTo>
                    <a:pt x="181" y="939"/>
                  </a:lnTo>
                  <a:lnTo>
                    <a:pt x="180" y="931"/>
                  </a:lnTo>
                  <a:lnTo>
                    <a:pt x="179" y="922"/>
                  </a:lnTo>
                  <a:lnTo>
                    <a:pt x="177" y="912"/>
                  </a:lnTo>
                  <a:lnTo>
                    <a:pt x="174" y="897"/>
                  </a:lnTo>
                  <a:lnTo>
                    <a:pt x="173" y="882"/>
                  </a:lnTo>
                  <a:lnTo>
                    <a:pt x="172" y="867"/>
                  </a:lnTo>
                  <a:lnTo>
                    <a:pt x="171" y="854"/>
                  </a:lnTo>
                  <a:lnTo>
                    <a:pt x="172" y="825"/>
                  </a:lnTo>
                  <a:lnTo>
                    <a:pt x="173" y="794"/>
                  </a:lnTo>
                  <a:lnTo>
                    <a:pt x="174" y="784"/>
                  </a:lnTo>
                  <a:lnTo>
                    <a:pt x="175" y="770"/>
                  </a:lnTo>
                  <a:lnTo>
                    <a:pt x="175" y="763"/>
                  </a:lnTo>
                  <a:lnTo>
                    <a:pt x="174" y="757"/>
                  </a:lnTo>
                  <a:lnTo>
                    <a:pt x="172" y="751"/>
                  </a:lnTo>
                  <a:lnTo>
                    <a:pt x="169" y="747"/>
                  </a:lnTo>
                  <a:lnTo>
                    <a:pt x="165" y="744"/>
                  </a:lnTo>
                  <a:lnTo>
                    <a:pt x="157" y="742"/>
                  </a:lnTo>
                  <a:lnTo>
                    <a:pt x="151" y="741"/>
                  </a:lnTo>
                  <a:lnTo>
                    <a:pt x="143" y="741"/>
                  </a:lnTo>
                  <a:lnTo>
                    <a:pt x="135" y="740"/>
                  </a:lnTo>
                  <a:lnTo>
                    <a:pt x="128" y="738"/>
                  </a:lnTo>
                  <a:lnTo>
                    <a:pt x="122" y="736"/>
                  </a:lnTo>
                  <a:lnTo>
                    <a:pt x="117" y="733"/>
                  </a:lnTo>
                  <a:lnTo>
                    <a:pt x="114" y="732"/>
                  </a:lnTo>
                  <a:lnTo>
                    <a:pt x="110" y="731"/>
                  </a:lnTo>
                  <a:lnTo>
                    <a:pt x="108" y="729"/>
                  </a:lnTo>
                  <a:lnTo>
                    <a:pt x="105" y="726"/>
                  </a:lnTo>
                  <a:lnTo>
                    <a:pt x="102" y="721"/>
                  </a:lnTo>
                  <a:lnTo>
                    <a:pt x="100" y="715"/>
                  </a:lnTo>
                  <a:lnTo>
                    <a:pt x="98" y="709"/>
                  </a:lnTo>
                  <a:lnTo>
                    <a:pt x="98" y="701"/>
                  </a:lnTo>
                  <a:lnTo>
                    <a:pt x="99" y="695"/>
                  </a:lnTo>
                  <a:lnTo>
                    <a:pt x="100" y="689"/>
                  </a:lnTo>
                  <a:lnTo>
                    <a:pt x="104" y="683"/>
                  </a:lnTo>
                  <a:lnTo>
                    <a:pt x="108" y="677"/>
                  </a:lnTo>
                  <a:lnTo>
                    <a:pt x="113" y="673"/>
                  </a:lnTo>
                  <a:lnTo>
                    <a:pt x="118" y="669"/>
                  </a:lnTo>
                  <a:lnTo>
                    <a:pt x="128" y="662"/>
                  </a:lnTo>
                  <a:lnTo>
                    <a:pt x="141" y="657"/>
                  </a:lnTo>
                  <a:lnTo>
                    <a:pt x="166" y="647"/>
                  </a:lnTo>
                  <a:lnTo>
                    <a:pt x="189" y="637"/>
                  </a:lnTo>
                  <a:lnTo>
                    <a:pt x="196" y="623"/>
                  </a:lnTo>
                  <a:lnTo>
                    <a:pt x="203" y="608"/>
                  </a:lnTo>
                  <a:lnTo>
                    <a:pt x="205" y="599"/>
                  </a:lnTo>
                  <a:lnTo>
                    <a:pt x="206" y="591"/>
                  </a:lnTo>
                  <a:lnTo>
                    <a:pt x="206" y="584"/>
                  </a:lnTo>
                  <a:lnTo>
                    <a:pt x="204" y="575"/>
                  </a:lnTo>
                  <a:lnTo>
                    <a:pt x="201" y="570"/>
                  </a:lnTo>
                  <a:lnTo>
                    <a:pt x="197" y="566"/>
                  </a:lnTo>
                  <a:lnTo>
                    <a:pt x="192" y="562"/>
                  </a:lnTo>
                  <a:lnTo>
                    <a:pt x="187" y="557"/>
                  </a:lnTo>
                  <a:lnTo>
                    <a:pt x="176" y="550"/>
                  </a:lnTo>
                  <a:lnTo>
                    <a:pt x="167" y="541"/>
                  </a:lnTo>
                  <a:lnTo>
                    <a:pt x="163" y="535"/>
                  </a:lnTo>
                  <a:lnTo>
                    <a:pt x="161" y="528"/>
                  </a:lnTo>
                  <a:lnTo>
                    <a:pt x="158" y="523"/>
                  </a:lnTo>
                  <a:lnTo>
                    <a:pt x="158" y="518"/>
                  </a:lnTo>
                  <a:lnTo>
                    <a:pt x="158" y="513"/>
                  </a:lnTo>
                  <a:lnTo>
                    <a:pt x="159" y="507"/>
                  </a:lnTo>
                  <a:lnTo>
                    <a:pt x="162" y="503"/>
                  </a:lnTo>
                  <a:lnTo>
                    <a:pt x="164" y="498"/>
                  </a:lnTo>
                  <a:lnTo>
                    <a:pt x="169" y="489"/>
                  </a:lnTo>
                  <a:lnTo>
                    <a:pt x="173" y="478"/>
                  </a:lnTo>
                  <a:lnTo>
                    <a:pt x="174" y="472"/>
                  </a:lnTo>
                  <a:lnTo>
                    <a:pt x="175" y="467"/>
                  </a:lnTo>
                  <a:lnTo>
                    <a:pt x="175" y="459"/>
                  </a:lnTo>
                  <a:lnTo>
                    <a:pt x="174" y="453"/>
                  </a:lnTo>
                  <a:lnTo>
                    <a:pt x="172" y="448"/>
                  </a:lnTo>
                  <a:lnTo>
                    <a:pt x="169" y="442"/>
                  </a:lnTo>
                  <a:lnTo>
                    <a:pt x="165" y="435"/>
                  </a:lnTo>
                  <a:lnTo>
                    <a:pt x="161" y="428"/>
                  </a:lnTo>
                  <a:lnTo>
                    <a:pt x="155" y="422"/>
                  </a:lnTo>
                  <a:lnTo>
                    <a:pt x="150" y="416"/>
                  </a:lnTo>
                  <a:lnTo>
                    <a:pt x="146" y="411"/>
                  </a:lnTo>
                  <a:lnTo>
                    <a:pt x="142" y="407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2" y="408"/>
                  </a:lnTo>
                  <a:lnTo>
                    <a:pt x="127" y="410"/>
                  </a:lnTo>
                  <a:lnTo>
                    <a:pt x="117" y="416"/>
                  </a:lnTo>
                  <a:lnTo>
                    <a:pt x="105" y="423"/>
                  </a:lnTo>
                  <a:lnTo>
                    <a:pt x="95" y="431"/>
                  </a:lnTo>
                  <a:lnTo>
                    <a:pt x="84" y="439"/>
                  </a:lnTo>
                  <a:lnTo>
                    <a:pt x="76" y="445"/>
                  </a:lnTo>
                  <a:lnTo>
                    <a:pt x="72" y="450"/>
                  </a:lnTo>
                  <a:lnTo>
                    <a:pt x="67" y="451"/>
                  </a:lnTo>
                  <a:lnTo>
                    <a:pt x="63" y="452"/>
                  </a:lnTo>
                  <a:lnTo>
                    <a:pt x="59" y="451"/>
                  </a:lnTo>
                  <a:lnTo>
                    <a:pt x="54" y="447"/>
                  </a:lnTo>
                  <a:lnTo>
                    <a:pt x="55" y="437"/>
                  </a:lnTo>
                  <a:lnTo>
                    <a:pt x="56" y="429"/>
                  </a:lnTo>
                  <a:lnTo>
                    <a:pt x="57" y="421"/>
                  </a:lnTo>
                  <a:lnTo>
                    <a:pt x="59" y="413"/>
                  </a:lnTo>
                  <a:lnTo>
                    <a:pt x="64" y="400"/>
                  </a:lnTo>
                  <a:lnTo>
                    <a:pt x="66" y="388"/>
                  </a:lnTo>
                  <a:lnTo>
                    <a:pt x="67" y="382"/>
                  </a:lnTo>
                  <a:lnTo>
                    <a:pt x="66" y="377"/>
                  </a:lnTo>
                  <a:lnTo>
                    <a:pt x="64" y="371"/>
                  </a:lnTo>
                  <a:lnTo>
                    <a:pt x="60" y="365"/>
                  </a:lnTo>
                  <a:lnTo>
                    <a:pt x="55" y="359"/>
                  </a:lnTo>
                  <a:lnTo>
                    <a:pt x="49" y="353"/>
                  </a:lnTo>
                  <a:lnTo>
                    <a:pt x="41" y="347"/>
                  </a:lnTo>
                  <a:lnTo>
                    <a:pt x="29" y="340"/>
                  </a:lnTo>
                  <a:lnTo>
                    <a:pt x="22" y="335"/>
                  </a:lnTo>
                  <a:lnTo>
                    <a:pt x="16" y="328"/>
                  </a:lnTo>
                  <a:lnTo>
                    <a:pt x="11" y="322"/>
                  </a:lnTo>
                  <a:lnTo>
                    <a:pt x="7" y="313"/>
                  </a:lnTo>
                  <a:lnTo>
                    <a:pt x="4" y="305"/>
                  </a:lnTo>
                  <a:lnTo>
                    <a:pt x="3" y="296"/>
                  </a:lnTo>
                  <a:lnTo>
                    <a:pt x="2" y="286"/>
                  </a:lnTo>
                  <a:lnTo>
                    <a:pt x="1" y="277"/>
                  </a:lnTo>
                  <a:lnTo>
                    <a:pt x="4" y="238"/>
                  </a:lnTo>
                  <a:lnTo>
                    <a:pt x="7" y="204"/>
                  </a:lnTo>
                  <a:lnTo>
                    <a:pt x="8" y="189"/>
                  </a:lnTo>
                  <a:lnTo>
                    <a:pt x="11" y="177"/>
                  </a:lnTo>
                  <a:lnTo>
                    <a:pt x="16" y="166"/>
                  </a:lnTo>
                  <a:lnTo>
                    <a:pt x="22" y="156"/>
                  </a:lnTo>
                  <a:lnTo>
                    <a:pt x="29" y="146"/>
                  </a:lnTo>
                  <a:lnTo>
                    <a:pt x="37" y="137"/>
                  </a:lnTo>
                  <a:lnTo>
                    <a:pt x="47" y="129"/>
                  </a:lnTo>
                  <a:lnTo>
                    <a:pt x="57" y="120"/>
                  </a:lnTo>
                  <a:lnTo>
                    <a:pt x="71" y="107"/>
                  </a:lnTo>
                  <a:lnTo>
                    <a:pt x="83" y="96"/>
                  </a:lnTo>
                  <a:lnTo>
                    <a:pt x="95" y="88"/>
                  </a:lnTo>
                  <a:lnTo>
                    <a:pt x="104" y="80"/>
                  </a:lnTo>
                  <a:lnTo>
                    <a:pt x="109" y="75"/>
                  </a:lnTo>
                  <a:lnTo>
                    <a:pt x="114" y="70"/>
                  </a:lnTo>
                  <a:lnTo>
                    <a:pt x="118" y="65"/>
                  </a:lnTo>
                  <a:lnTo>
                    <a:pt x="121" y="59"/>
                  </a:lnTo>
                  <a:lnTo>
                    <a:pt x="124" y="51"/>
                  </a:lnTo>
                  <a:lnTo>
                    <a:pt x="128" y="43"/>
                  </a:lnTo>
                  <a:lnTo>
                    <a:pt x="130" y="34"/>
                  </a:lnTo>
                  <a:lnTo>
                    <a:pt x="133" y="22"/>
                  </a:lnTo>
                  <a:lnTo>
                    <a:pt x="137" y="12"/>
                  </a:lnTo>
                  <a:lnTo>
                    <a:pt x="142" y="0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8" name="Freeform 165">
              <a:extLst>
                <a:ext uri="{FF2B5EF4-FFF2-40B4-BE49-F238E27FC236}">
                  <a16:creationId xmlns:a16="http://schemas.microsoft.com/office/drawing/2014/main" id="{151AD4A9-C1BE-46CB-B5D6-525A7409C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5086" y="5290556"/>
              <a:ext cx="446161" cy="483768"/>
            </a:xfrm>
            <a:custGeom>
              <a:avLst/>
              <a:gdLst>
                <a:gd name="T0" fmla="*/ 65 w 1775"/>
                <a:gd name="T1" fmla="*/ 1627 h 1992"/>
                <a:gd name="T2" fmla="*/ 121 w 1775"/>
                <a:gd name="T3" fmla="*/ 1560 h 1992"/>
                <a:gd name="T4" fmla="*/ 134 w 1775"/>
                <a:gd name="T5" fmla="*/ 1433 h 1992"/>
                <a:gd name="T6" fmla="*/ 187 w 1775"/>
                <a:gd name="T7" fmla="*/ 1327 h 1992"/>
                <a:gd name="T8" fmla="*/ 305 w 1775"/>
                <a:gd name="T9" fmla="*/ 1297 h 1992"/>
                <a:gd name="T10" fmla="*/ 210 w 1775"/>
                <a:gd name="T11" fmla="*/ 1256 h 1992"/>
                <a:gd name="T12" fmla="*/ 210 w 1775"/>
                <a:gd name="T13" fmla="*/ 1199 h 1992"/>
                <a:gd name="T14" fmla="*/ 331 w 1775"/>
                <a:gd name="T15" fmla="*/ 1135 h 1992"/>
                <a:gd name="T16" fmla="*/ 331 w 1775"/>
                <a:gd name="T17" fmla="*/ 1001 h 1992"/>
                <a:gd name="T18" fmla="*/ 326 w 1775"/>
                <a:gd name="T19" fmla="*/ 830 h 1992"/>
                <a:gd name="T20" fmla="*/ 185 w 1775"/>
                <a:gd name="T21" fmla="*/ 877 h 1992"/>
                <a:gd name="T22" fmla="*/ 166 w 1775"/>
                <a:gd name="T23" fmla="*/ 822 h 1992"/>
                <a:gd name="T24" fmla="*/ 69 w 1775"/>
                <a:gd name="T25" fmla="*/ 892 h 1992"/>
                <a:gd name="T26" fmla="*/ 73 w 1775"/>
                <a:gd name="T27" fmla="*/ 772 h 1992"/>
                <a:gd name="T28" fmla="*/ 352 w 1775"/>
                <a:gd name="T29" fmla="*/ 748 h 1992"/>
                <a:gd name="T30" fmla="*/ 544 w 1775"/>
                <a:gd name="T31" fmla="*/ 726 h 1992"/>
                <a:gd name="T32" fmla="*/ 669 w 1775"/>
                <a:gd name="T33" fmla="*/ 515 h 1992"/>
                <a:gd name="T34" fmla="*/ 707 w 1775"/>
                <a:gd name="T35" fmla="*/ 346 h 1992"/>
                <a:gd name="T36" fmla="*/ 852 w 1775"/>
                <a:gd name="T37" fmla="*/ 202 h 1992"/>
                <a:gd name="T38" fmla="*/ 1032 w 1775"/>
                <a:gd name="T39" fmla="*/ 60 h 1992"/>
                <a:gd name="T40" fmla="*/ 1330 w 1775"/>
                <a:gd name="T41" fmla="*/ 4 h 1992"/>
                <a:gd name="T42" fmla="*/ 1325 w 1775"/>
                <a:gd name="T43" fmla="*/ 89 h 1992"/>
                <a:gd name="T44" fmla="*/ 1301 w 1775"/>
                <a:gd name="T45" fmla="*/ 308 h 1992"/>
                <a:gd name="T46" fmla="*/ 1315 w 1775"/>
                <a:gd name="T47" fmla="*/ 463 h 1992"/>
                <a:gd name="T48" fmla="*/ 1263 w 1775"/>
                <a:gd name="T49" fmla="*/ 538 h 1992"/>
                <a:gd name="T50" fmla="*/ 1349 w 1775"/>
                <a:gd name="T51" fmla="*/ 567 h 1992"/>
                <a:gd name="T52" fmla="*/ 1300 w 1775"/>
                <a:gd name="T53" fmla="*/ 618 h 1992"/>
                <a:gd name="T54" fmla="*/ 1402 w 1775"/>
                <a:gd name="T55" fmla="*/ 635 h 1992"/>
                <a:gd name="T56" fmla="*/ 1462 w 1775"/>
                <a:gd name="T57" fmla="*/ 672 h 1992"/>
                <a:gd name="T58" fmla="*/ 1547 w 1775"/>
                <a:gd name="T59" fmla="*/ 686 h 1992"/>
                <a:gd name="T60" fmla="*/ 1636 w 1775"/>
                <a:gd name="T61" fmla="*/ 779 h 1992"/>
                <a:gd name="T62" fmla="*/ 1761 w 1775"/>
                <a:gd name="T63" fmla="*/ 714 h 1992"/>
                <a:gd name="T64" fmla="*/ 1748 w 1775"/>
                <a:gd name="T65" fmla="*/ 842 h 1992"/>
                <a:gd name="T66" fmla="*/ 1720 w 1775"/>
                <a:gd name="T67" fmla="*/ 943 h 1992"/>
                <a:gd name="T68" fmla="*/ 1754 w 1775"/>
                <a:gd name="T69" fmla="*/ 980 h 1992"/>
                <a:gd name="T70" fmla="*/ 1657 w 1775"/>
                <a:gd name="T71" fmla="*/ 1073 h 1992"/>
                <a:gd name="T72" fmla="*/ 1654 w 1775"/>
                <a:gd name="T73" fmla="*/ 1173 h 1992"/>
                <a:gd name="T74" fmla="*/ 1623 w 1775"/>
                <a:gd name="T75" fmla="*/ 1252 h 1992"/>
                <a:gd name="T76" fmla="*/ 1521 w 1775"/>
                <a:gd name="T77" fmla="*/ 1299 h 1992"/>
                <a:gd name="T78" fmla="*/ 1515 w 1775"/>
                <a:gd name="T79" fmla="*/ 1451 h 1992"/>
                <a:gd name="T80" fmla="*/ 1455 w 1775"/>
                <a:gd name="T81" fmla="*/ 1479 h 1992"/>
                <a:gd name="T82" fmla="*/ 1411 w 1775"/>
                <a:gd name="T83" fmla="*/ 1578 h 1992"/>
                <a:gd name="T84" fmla="*/ 1533 w 1775"/>
                <a:gd name="T85" fmla="*/ 1647 h 1992"/>
                <a:gd name="T86" fmla="*/ 1544 w 1775"/>
                <a:gd name="T87" fmla="*/ 1742 h 1992"/>
                <a:gd name="T88" fmla="*/ 1464 w 1775"/>
                <a:gd name="T89" fmla="*/ 1659 h 1992"/>
                <a:gd name="T90" fmla="*/ 1416 w 1775"/>
                <a:gd name="T91" fmla="*/ 1687 h 1992"/>
                <a:gd name="T92" fmla="*/ 1344 w 1775"/>
                <a:gd name="T93" fmla="*/ 1638 h 1992"/>
                <a:gd name="T94" fmla="*/ 1246 w 1775"/>
                <a:gd name="T95" fmla="*/ 1567 h 1992"/>
                <a:gd name="T96" fmla="*/ 1170 w 1775"/>
                <a:gd name="T97" fmla="*/ 1648 h 1992"/>
                <a:gd name="T98" fmla="*/ 1159 w 1775"/>
                <a:gd name="T99" fmla="*/ 1762 h 1992"/>
                <a:gd name="T100" fmla="*/ 1074 w 1775"/>
                <a:gd name="T101" fmla="*/ 1756 h 1992"/>
                <a:gd name="T102" fmla="*/ 1011 w 1775"/>
                <a:gd name="T103" fmla="*/ 1764 h 1992"/>
                <a:gd name="T104" fmla="*/ 988 w 1775"/>
                <a:gd name="T105" fmla="*/ 1959 h 1992"/>
                <a:gd name="T106" fmla="*/ 863 w 1775"/>
                <a:gd name="T107" fmla="*/ 1982 h 1992"/>
                <a:gd name="T108" fmla="*/ 645 w 1775"/>
                <a:gd name="T109" fmla="*/ 1856 h 1992"/>
                <a:gd name="T110" fmla="*/ 514 w 1775"/>
                <a:gd name="T111" fmla="*/ 1747 h 1992"/>
                <a:gd name="T112" fmla="*/ 474 w 1775"/>
                <a:gd name="T113" fmla="*/ 1815 h 1992"/>
                <a:gd name="T114" fmla="*/ 473 w 1775"/>
                <a:gd name="T115" fmla="*/ 1899 h 1992"/>
                <a:gd name="T116" fmla="*/ 314 w 1775"/>
                <a:gd name="T117" fmla="*/ 1812 h 1992"/>
                <a:gd name="T118" fmla="*/ 235 w 1775"/>
                <a:gd name="T119" fmla="*/ 1853 h 1992"/>
                <a:gd name="T120" fmla="*/ 235 w 1775"/>
                <a:gd name="T121" fmla="*/ 1734 h 1992"/>
                <a:gd name="T122" fmla="*/ 111 w 1775"/>
                <a:gd name="T123" fmla="*/ 1740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75" h="1992">
                  <a:moveTo>
                    <a:pt x="83" y="1747"/>
                  </a:moveTo>
                  <a:lnTo>
                    <a:pt x="73" y="1693"/>
                  </a:lnTo>
                  <a:lnTo>
                    <a:pt x="78" y="1684"/>
                  </a:lnTo>
                  <a:lnTo>
                    <a:pt x="80" y="1676"/>
                  </a:lnTo>
                  <a:lnTo>
                    <a:pt x="81" y="1669"/>
                  </a:lnTo>
                  <a:lnTo>
                    <a:pt x="81" y="1664"/>
                  </a:lnTo>
                  <a:lnTo>
                    <a:pt x="81" y="1659"/>
                  </a:lnTo>
                  <a:lnTo>
                    <a:pt x="80" y="1655"/>
                  </a:lnTo>
                  <a:lnTo>
                    <a:pt x="78" y="1650"/>
                  </a:lnTo>
                  <a:lnTo>
                    <a:pt x="75" y="1646"/>
                  </a:lnTo>
                  <a:lnTo>
                    <a:pt x="70" y="1640"/>
                  </a:lnTo>
                  <a:lnTo>
                    <a:pt x="67" y="1632"/>
                  </a:lnTo>
                  <a:lnTo>
                    <a:pt x="65" y="1627"/>
                  </a:lnTo>
                  <a:lnTo>
                    <a:pt x="65" y="1622"/>
                  </a:lnTo>
                  <a:lnTo>
                    <a:pt x="65" y="1616"/>
                  </a:lnTo>
                  <a:lnTo>
                    <a:pt x="66" y="1610"/>
                  </a:lnTo>
                  <a:lnTo>
                    <a:pt x="68" y="1604"/>
                  </a:lnTo>
                  <a:lnTo>
                    <a:pt x="70" y="1601"/>
                  </a:lnTo>
                  <a:lnTo>
                    <a:pt x="73" y="1597"/>
                  </a:lnTo>
                  <a:lnTo>
                    <a:pt x="77" y="1594"/>
                  </a:lnTo>
                  <a:lnTo>
                    <a:pt x="86" y="1589"/>
                  </a:lnTo>
                  <a:lnTo>
                    <a:pt x="95" y="1584"/>
                  </a:lnTo>
                  <a:lnTo>
                    <a:pt x="105" y="1577"/>
                  </a:lnTo>
                  <a:lnTo>
                    <a:pt x="114" y="1569"/>
                  </a:lnTo>
                  <a:lnTo>
                    <a:pt x="118" y="1565"/>
                  </a:lnTo>
                  <a:lnTo>
                    <a:pt x="121" y="1560"/>
                  </a:lnTo>
                  <a:lnTo>
                    <a:pt x="123" y="1554"/>
                  </a:lnTo>
                  <a:lnTo>
                    <a:pt x="126" y="1547"/>
                  </a:lnTo>
                  <a:lnTo>
                    <a:pt x="127" y="1538"/>
                  </a:lnTo>
                  <a:lnTo>
                    <a:pt x="127" y="1528"/>
                  </a:lnTo>
                  <a:lnTo>
                    <a:pt x="126" y="1519"/>
                  </a:lnTo>
                  <a:lnTo>
                    <a:pt x="124" y="1509"/>
                  </a:lnTo>
                  <a:lnTo>
                    <a:pt x="120" y="1490"/>
                  </a:lnTo>
                  <a:lnTo>
                    <a:pt x="118" y="1471"/>
                  </a:lnTo>
                  <a:lnTo>
                    <a:pt x="119" y="1466"/>
                  </a:lnTo>
                  <a:lnTo>
                    <a:pt x="121" y="1459"/>
                  </a:lnTo>
                  <a:lnTo>
                    <a:pt x="123" y="1453"/>
                  </a:lnTo>
                  <a:lnTo>
                    <a:pt x="127" y="1447"/>
                  </a:lnTo>
                  <a:lnTo>
                    <a:pt x="134" y="1433"/>
                  </a:lnTo>
                  <a:lnTo>
                    <a:pt x="139" y="1423"/>
                  </a:lnTo>
                  <a:lnTo>
                    <a:pt x="146" y="1400"/>
                  </a:lnTo>
                  <a:lnTo>
                    <a:pt x="152" y="1374"/>
                  </a:lnTo>
                  <a:lnTo>
                    <a:pt x="156" y="1361"/>
                  </a:lnTo>
                  <a:lnTo>
                    <a:pt x="159" y="1350"/>
                  </a:lnTo>
                  <a:lnTo>
                    <a:pt x="161" y="1345"/>
                  </a:lnTo>
                  <a:lnTo>
                    <a:pt x="164" y="1339"/>
                  </a:lnTo>
                  <a:lnTo>
                    <a:pt x="166" y="1336"/>
                  </a:lnTo>
                  <a:lnTo>
                    <a:pt x="169" y="1333"/>
                  </a:lnTo>
                  <a:lnTo>
                    <a:pt x="173" y="1330"/>
                  </a:lnTo>
                  <a:lnTo>
                    <a:pt x="178" y="1328"/>
                  </a:lnTo>
                  <a:lnTo>
                    <a:pt x="182" y="1327"/>
                  </a:lnTo>
                  <a:lnTo>
                    <a:pt x="187" y="1327"/>
                  </a:lnTo>
                  <a:lnTo>
                    <a:pt x="196" y="1328"/>
                  </a:lnTo>
                  <a:lnTo>
                    <a:pt x="206" y="1329"/>
                  </a:lnTo>
                  <a:lnTo>
                    <a:pt x="215" y="1329"/>
                  </a:lnTo>
                  <a:lnTo>
                    <a:pt x="224" y="1327"/>
                  </a:lnTo>
                  <a:lnTo>
                    <a:pt x="233" y="1325"/>
                  </a:lnTo>
                  <a:lnTo>
                    <a:pt x="241" y="1322"/>
                  </a:lnTo>
                  <a:lnTo>
                    <a:pt x="258" y="1313"/>
                  </a:lnTo>
                  <a:lnTo>
                    <a:pt x="274" y="1304"/>
                  </a:lnTo>
                  <a:lnTo>
                    <a:pt x="281" y="1303"/>
                  </a:lnTo>
                  <a:lnTo>
                    <a:pt x="291" y="1302"/>
                  </a:lnTo>
                  <a:lnTo>
                    <a:pt x="298" y="1300"/>
                  </a:lnTo>
                  <a:lnTo>
                    <a:pt x="302" y="1299"/>
                  </a:lnTo>
                  <a:lnTo>
                    <a:pt x="305" y="1297"/>
                  </a:lnTo>
                  <a:lnTo>
                    <a:pt x="306" y="1295"/>
                  </a:lnTo>
                  <a:lnTo>
                    <a:pt x="308" y="1287"/>
                  </a:lnTo>
                  <a:lnTo>
                    <a:pt x="309" y="1271"/>
                  </a:lnTo>
                  <a:lnTo>
                    <a:pt x="310" y="1252"/>
                  </a:lnTo>
                  <a:lnTo>
                    <a:pt x="310" y="1240"/>
                  </a:lnTo>
                  <a:lnTo>
                    <a:pt x="280" y="1250"/>
                  </a:lnTo>
                  <a:lnTo>
                    <a:pt x="240" y="1261"/>
                  </a:lnTo>
                  <a:lnTo>
                    <a:pt x="231" y="1262"/>
                  </a:lnTo>
                  <a:lnTo>
                    <a:pt x="222" y="1262"/>
                  </a:lnTo>
                  <a:lnTo>
                    <a:pt x="219" y="1261"/>
                  </a:lnTo>
                  <a:lnTo>
                    <a:pt x="215" y="1260"/>
                  </a:lnTo>
                  <a:lnTo>
                    <a:pt x="212" y="1259"/>
                  </a:lnTo>
                  <a:lnTo>
                    <a:pt x="210" y="1256"/>
                  </a:lnTo>
                  <a:lnTo>
                    <a:pt x="207" y="1254"/>
                  </a:lnTo>
                  <a:lnTo>
                    <a:pt x="205" y="1250"/>
                  </a:lnTo>
                  <a:lnTo>
                    <a:pt x="203" y="1246"/>
                  </a:lnTo>
                  <a:lnTo>
                    <a:pt x="202" y="1241"/>
                  </a:lnTo>
                  <a:lnTo>
                    <a:pt x="202" y="1236"/>
                  </a:lnTo>
                  <a:lnTo>
                    <a:pt x="201" y="1229"/>
                  </a:lnTo>
                  <a:lnTo>
                    <a:pt x="202" y="1223"/>
                  </a:lnTo>
                  <a:lnTo>
                    <a:pt x="203" y="1214"/>
                  </a:lnTo>
                  <a:lnTo>
                    <a:pt x="204" y="1209"/>
                  </a:lnTo>
                  <a:lnTo>
                    <a:pt x="205" y="1205"/>
                  </a:lnTo>
                  <a:lnTo>
                    <a:pt x="206" y="1202"/>
                  </a:lnTo>
                  <a:lnTo>
                    <a:pt x="208" y="1200"/>
                  </a:lnTo>
                  <a:lnTo>
                    <a:pt x="210" y="1199"/>
                  </a:lnTo>
                  <a:lnTo>
                    <a:pt x="213" y="1198"/>
                  </a:lnTo>
                  <a:lnTo>
                    <a:pt x="215" y="1197"/>
                  </a:lnTo>
                  <a:lnTo>
                    <a:pt x="218" y="1197"/>
                  </a:lnTo>
                  <a:lnTo>
                    <a:pt x="232" y="1198"/>
                  </a:lnTo>
                  <a:lnTo>
                    <a:pt x="249" y="1198"/>
                  </a:lnTo>
                  <a:lnTo>
                    <a:pt x="253" y="1197"/>
                  </a:lnTo>
                  <a:lnTo>
                    <a:pt x="259" y="1193"/>
                  </a:lnTo>
                  <a:lnTo>
                    <a:pt x="265" y="1190"/>
                  </a:lnTo>
                  <a:lnTo>
                    <a:pt x="273" y="1186"/>
                  </a:lnTo>
                  <a:lnTo>
                    <a:pt x="288" y="1175"/>
                  </a:lnTo>
                  <a:lnTo>
                    <a:pt x="304" y="1162"/>
                  </a:lnTo>
                  <a:lnTo>
                    <a:pt x="318" y="1149"/>
                  </a:lnTo>
                  <a:lnTo>
                    <a:pt x="331" y="1135"/>
                  </a:lnTo>
                  <a:lnTo>
                    <a:pt x="335" y="1129"/>
                  </a:lnTo>
                  <a:lnTo>
                    <a:pt x="339" y="1124"/>
                  </a:lnTo>
                  <a:lnTo>
                    <a:pt x="341" y="1117"/>
                  </a:lnTo>
                  <a:lnTo>
                    <a:pt x="342" y="1113"/>
                  </a:lnTo>
                  <a:lnTo>
                    <a:pt x="341" y="1100"/>
                  </a:lnTo>
                  <a:lnTo>
                    <a:pt x="338" y="1084"/>
                  </a:lnTo>
                  <a:lnTo>
                    <a:pt x="335" y="1069"/>
                  </a:lnTo>
                  <a:lnTo>
                    <a:pt x="332" y="1054"/>
                  </a:lnTo>
                  <a:lnTo>
                    <a:pt x="329" y="1038"/>
                  </a:lnTo>
                  <a:lnTo>
                    <a:pt x="328" y="1023"/>
                  </a:lnTo>
                  <a:lnTo>
                    <a:pt x="328" y="1015"/>
                  </a:lnTo>
                  <a:lnTo>
                    <a:pt x="329" y="1008"/>
                  </a:lnTo>
                  <a:lnTo>
                    <a:pt x="331" y="1001"/>
                  </a:lnTo>
                  <a:lnTo>
                    <a:pt x="333" y="994"/>
                  </a:lnTo>
                  <a:lnTo>
                    <a:pt x="336" y="981"/>
                  </a:lnTo>
                  <a:lnTo>
                    <a:pt x="339" y="959"/>
                  </a:lnTo>
                  <a:lnTo>
                    <a:pt x="341" y="932"/>
                  </a:lnTo>
                  <a:lnTo>
                    <a:pt x="342" y="903"/>
                  </a:lnTo>
                  <a:lnTo>
                    <a:pt x="341" y="889"/>
                  </a:lnTo>
                  <a:lnTo>
                    <a:pt x="340" y="875"/>
                  </a:lnTo>
                  <a:lnTo>
                    <a:pt x="339" y="863"/>
                  </a:lnTo>
                  <a:lnTo>
                    <a:pt x="337" y="852"/>
                  </a:lnTo>
                  <a:lnTo>
                    <a:pt x="334" y="843"/>
                  </a:lnTo>
                  <a:lnTo>
                    <a:pt x="330" y="836"/>
                  </a:lnTo>
                  <a:lnTo>
                    <a:pt x="328" y="832"/>
                  </a:lnTo>
                  <a:lnTo>
                    <a:pt x="326" y="830"/>
                  </a:lnTo>
                  <a:lnTo>
                    <a:pt x="324" y="829"/>
                  </a:lnTo>
                  <a:lnTo>
                    <a:pt x="321" y="828"/>
                  </a:lnTo>
                  <a:lnTo>
                    <a:pt x="315" y="829"/>
                  </a:lnTo>
                  <a:lnTo>
                    <a:pt x="308" y="831"/>
                  </a:lnTo>
                  <a:lnTo>
                    <a:pt x="299" y="835"/>
                  </a:lnTo>
                  <a:lnTo>
                    <a:pt x="288" y="840"/>
                  </a:lnTo>
                  <a:lnTo>
                    <a:pt x="264" y="850"/>
                  </a:lnTo>
                  <a:lnTo>
                    <a:pt x="239" y="862"/>
                  </a:lnTo>
                  <a:lnTo>
                    <a:pt x="227" y="867"/>
                  </a:lnTo>
                  <a:lnTo>
                    <a:pt x="214" y="872"/>
                  </a:lnTo>
                  <a:lnTo>
                    <a:pt x="204" y="875"/>
                  </a:lnTo>
                  <a:lnTo>
                    <a:pt x="193" y="877"/>
                  </a:lnTo>
                  <a:lnTo>
                    <a:pt x="185" y="877"/>
                  </a:lnTo>
                  <a:lnTo>
                    <a:pt x="179" y="876"/>
                  </a:lnTo>
                  <a:lnTo>
                    <a:pt x="177" y="875"/>
                  </a:lnTo>
                  <a:lnTo>
                    <a:pt x="175" y="873"/>
                  </a:lnTo>
                  <a:lnTo>
                    <a:pt x="173" y="870"/>
                  </a:lnTo>
                  <a:lnTo>
                    <a:pt x="173" y="867"/>
                  </a:lnTo>
                  <a:lnTo>
                    <a:pt x="176" y="856"/>
                  </a:lnTo>
                  <a:lnTo>
                    <a:pt x="178" y="845"/>
                  </a:lnTo>
                  <a:lnTo>
                    <a:pt x="179" y="840"/>
                  </a:lnTo>
                  <a:lnTo>
                    <a:pt x="179" y="835"/>
                  </a:lnTo>
                  <a:lnTo>
                    <a:pt x="178" y="830"/>
                  </a:lnTo>
                  <a:lnTo>
                    <a:pt x="175" y="825"/>
                  </a:lnTo>
                  <a:lnTo>
                    <a:pt x="171" y="824"/>
                  </a:lnTo>
                  <a:lnTo>
                    <a:pt x="166" y="822"/>
                  </a:lnTo>
                  <a:lnTo>
                    <a:pt x="160" y="820"/>
                  </a:lnTo>
                  <a:lnTo>
                    <a:pt x="153" y="819"/>
                  </a:lnTo>
                  <a:lnTo>
                    <a:pt x="139" y="817"/>
                  </a:lnTo>
                  <a:lnTo>
                    <a:pt x="130" y="816"/>
                  </a:lnTo>
                  <a:lnTo>
                    <a:pt x="127" y="816"/>
                  </a:lnTo>
                  <a:lnTo>
                    <a:pt x="123" y="818"/>
                  </a:lnTo>
                  <a:lnTo>
                    <a:pt x="120" y="821"/>
                  </a:lnTo>
                  <a:lnTo>
                    <a:pt x="116" y="825"/>
                  </a:lnTo>
                  <a:lnTo>
                    <a:pt x="109" y="836"/>
                  </a:lnTo>
                  <a:lnTo>
                    <a:pt x="99" y="848"/>
                  </a:lnTo>
                  <a:lnTo>
                    <a:pt x="84" y="872"/>
                  </a:lnTo>
                  <a:lnTo>
                    <a:pt x="72" y="890"/>
                  </a:lnTo>
                  <a:lnTo>
                    <a:pt x="69" y="892"/>
                  </a:lnTo>
                  <a:lnTo>
                    <a:pt x="66" y="894"/>
                  </a:lnTo>
                  <a:lnTo>
                    <a:pt x="62" y="895"/>
                  </a:lnTo>
                  <a:lnTo>
                    <a:pt x="59" y="895"/>
                  </a:lnTo>
                  <a:lnTo>
                    <a:pt x="55" y="895"/>
                  </a:lnTo>
                  <a:lnTo>
                    <a:pt x="49" y="894"/>
                  </a:lnTo>
                  <a:lnTo>
                    <a:pt x="45" y="892"/>
                  </a:lnTo>
                  <a:lnTo>
                    <a:pt x="41" y="890"/>
                  </a:lnTo>
                  <a:lnTo>
                    <a:pt x="31" y="884"/>
                  </a:lnTo>
                  <a:lnTo>
                    <a:pt x="21" y="876"/>
                  </a:lnTo>
                  <a:lnTo>
                    <a:pt x="11" y="867"/>
                  </a:lnTo>
                  <a:lnTo>
                    <a:pt x="0" y="858"/>
                  </a:lnTo>
                  <a:lnTo>
                    <a:pt x="0" y="858"/>
                  </a:lnTo>
                  <a:lnTo>
                    <a:pt x="73" y="772"/>
                  </a:lnTo>
                  <a:lnTo>
                    <a:pt x="86" y="773"/>
                  </a:lnTo>
                  <a:lnTo>
                    <a:pt x="98" y="775"/>
                  </a:lnTo>
                  <a:lnTo>
                    <a:pt x="113" y="775"/>
                  </a:lnTo>
                  <a:lnTo>
                    <a:pt x="128" y="775"/>
                  </a:lnTo>
                  <a:lnTo>
                    <a:pt x="159" y="774"/>
                  </a:lnTo>
                  <a:lnTo>
                    <a:pt x="192" y="772"/>
                  </a:lnTo>
                  <a:lnTo>
                    <a:pt x="225" y="768"/>
                  </a:lnTo>
                  <a:lnTo>
                    <a:pt x="256" y="764"/>
                  </a:lnTo>
                  <a:lnTo>
                    <a:pt x="284" y="757"/>
                  </a:lnTo>
                  <a:lnTo>
                    <a:pt x="309" y="752"/>
                  </a:lnTo>
                  <a:lnTo>
                    <a:pt x="322" y="749"/>
                  </a:lnTo>
                  <a:lnTo>
                    <a:pt x="336" y="748"/>
                  </a:lnTo>
                  <a:lnTo>
                    <a:pt x="352" y="748"/>
                  </a:lnTo>
                  <a:lnTo>
                    <a:pt x="368" y="748"/>
                  </a:lnTo>
                  <a:lnTo>
                    <a:pt x="405" y="750"/>
                  </a:lnTo>
                  <a:lnTo>
                    <a:pt x="441" y="752"/>
                  </a:lnTo>
                  <a:lnTo>
                    <a:pt x="459" y="753"/>
                  </a:lnTo>
                  <a:lnTo>
                    <a:pt x="477" y="752"/>
                  </a:lnTo>
                  <a:lnTo>
                    <a:pt x="493" y="750"/>
                  </a:lnTo>
                  <a:lnTo>
                    <a:pt x="508" y="747"/>
                  </a:lnTo>
                  <a:lnTo>
                    <a:pt x="515" y="745"/>
                  </a:lnTo>
                  <a:lnTo>
                    <a:pt x="522" y="743"/>
                  </a:lnTo>
                  <a:lnTo>
                    <a:pt x="528" y="740"/>
                  </a:lnTo>
                  <a:lnTo>
                    <a:pt x="534" y="735"/>
                  </a:lnTo>
                  <a:lnTo>
                    <a:pt x="539" y="731"/>
                  </a:lnTo>
                  <a:lnTo>
                    <a:pt x="544" y="726"/>
                  </a:lnTo>
                  <a:lnTo>
                    <a:pt x="548" y="721"/>
                  </a:lnTo>
                  <a:lnTo>
                    <a:pt x="551" y="715"/>
                  </a:lnTo>
                  <a:lnTo>
                    <a:pt x="560" y="692"/>
                  </a:lnTo>
                  <a:lnTo>
                    <a:pt x="572" y="667"/>
                  </a:lnTo>
                  <a:lnTo>
                    <a:pt x="583" y="639"/>
                  </a:lnTo>
                  <a:lnTo>
                    <a:pt x="597" y="611"/>
                  </a:lnTo>
                  <a:lnTo>
                    <a:pt x="611" y="585"/>
                  </a:lnTo>
                  <a:lnTo>
                    <a:pt x="627" y="560"/>
                  </a:lnTo>
                  <a:lnTo>
                    <a:pt x="635" y="549"/>
                  </a:lnTo>
                  <a:lnTo>
                    <a:pt x="644" y="539"/>
                  </a:lnTo>
                  <a:lnTo>
                    <a:pt x="653" y="530"/>
                  </a:lnTo>
                  <a:lnTo>
                    <a:pt x="661" y="522"/>
                  </a:lnTo>
                  <a:lnTo>
                    <a:pt x="669" y="515"/>
                  </a:lnTo>
                  <a:lnTo>
                    <a:pt x="676" y="508"/>
                  </a:lnTo>
                  <a:lnTo>
                    <a:pt x="681" y="500"/>
                  </a:lnTo>
                  <a:lnTo>
                    <a:pt x="686" y="490"/>
                  </a:lnTo>
                  <a:lnTo>
                    <a:pt x="691" y="481"/>
                  </a:lnTo>
                  <a:lnTo>
                    <a:pt x="695" y="472"/>
                  </a:lnTo>
                  <a:lnTo>
                    <a:pt x="697" y="461"/>
                  </a:lnTo>
                  <a:lnTo>
                    <a:pt x="700" y="451"/>
                  </a:lnTo>
                  <a:lnTo>
                    <a:pt x="703" y="429"/>
                  </a:lnTo>
                  <a:lnTo>
                    <a:pt x="705" y="407"/>
                  </a:lnTo>
                  <a:lnTo>
                    <a:pt x="706" y="386"/>
                  </a:lnTo>
                  <a:lnTo>
                    <a:pt x="706" y="365"/>
                  </a:lnTo>
                  <a:lnTo>
                    <a:pt x="706" y="356"/>
                  </a:lnTo>
                  <a:lnTo>
                    <a:pt x="707" y="346"/>
                  </a:lnTo>
                  <a:lnTo>
                    <a:pt x="709" y="338"/>
                  </a:lnTo>
                  <a:lnTo>
                    <a:pt x="712" y="330"/>
                  </a:lnTo>
                  <a:lnTo>
                    <a:pt x="715" y="322"/>
                  </a:lnTo>
                  <a:lnTo>
                    <a:pt x="718" y="314"/>
                  </a:lnTo>
                  <a:lnTo>
                    <a:pt x="722" y="307"/>
                  </a:lnTo>
                  <a:lnTo>
                    <a:pt x="726" y="300"/>
                  </a:lnTo>
                  <a:lnTo>
                    <a:pt x="737" y="287"/>
                  </a:lnTo>
                  <a:lnTo>
                    <a:pt x="748" y="274"/>
                  </a:lnTo>
                  <a:lnTo>
                    <a:pt x="762" y="263"/>
                  </a:lnTo>
                  <a:lnTo>
                    <a:pt x="776" y="252"/>
                  </a:lnTo>
                  <a:lnTo>
                    <a:pt x="806" y="232"/>
                  </a:lnTo>
                  <a:lnTo>
                    <a:pt x="838" y="212"/>
                  </a:lnTo>
                  <a:lnTo>
                    <a:pt x="852" y="202"/>
                  </a:lnTo>
                  <a:lnTo>
                    <a:pt x="867" y="192"/>
                  </a:lnTo>
                  <a:lnTo>
                    <a:pt x="881" y="181"/>
                  </a:lnTo>
                  <a:lnTo>
                    <a:pt x="894" y="170"/>
                  </a:lnTo>
                  <a:lnTo>
                    <a:pt x="903" y="162"/>
                  </a:lnTo>
                  <a:lnTo>
                    <a:pt x="914" y="154"/>
                  </a:lnTo>
                  <a:lnTo>
                    <a:pt x="925" y="146"/>
                  </a:lnTo>
                  <a:lnTo>
                    <a:pt x="938" y="139"/>
                  </a:lnTo>
                  <a:lnTo>
                    <a:pt x="963" y="122"/>
                  </a:lnTo>
                  <a:lnTo>
                    <a:pt x="989" y="104"/>
                  </a:lnTo>
                  <a:lnTo>
                    <a:pt x="1000" y="95"/>
                  </a:lnTo>
                  <a:lnTo>
                    <a:pt x="1012" y="84"/>
                  </a:lnTo>
                  <a:lnTo>
                    <a:pt x="1022" y="73"/>
                  </a:lnTo>
                  <a:lnTo>
                    <a:pt x="1032" y="60"/>
                  </a:lnTo>
                  <a:lnTo>
                    <a:pt x="1039" y="48"/>
                  </a:lnTo>
                  <a:lnTo>
                    <a:pt x="1045" y="33"/>
                  </a:lnTo>
                  <a:lnTo>
                    <a:pt x="1047" y="25"/>
                  </a:lnTo>
                  <a:lnTo>
                    <a:pt x="1049" y="17"/>
                  </a:lnTo>
                  <a:lnTo>
                    <a:pt x="1050" y="8"/>
                  </a:lnTo>
                  <a:lnTo>
                    <a:pt x="1051" y="0"/>
                  </a:lnTo>
                  <a:lnTo>
                    <a:pt x="1051" y="0"/>
                  </a:lnTo>
                  <a:lnTo>
                    <a:pt x="1073" y="1"/>
                  </a:lnTo>
                  <a:lnTo>
                    <a:pt x="1095" y="2"/>
                  </a:lnTo>
                  <a:lnTo>
                    <a:pt x="1115" y="3"/>
                  </a:lnTo>
                  <a:lnTo>
                    <a:pt x="1134" y="4"/>
                  </a:lnTo>
                  <a:lnTo>
                    <a:pt x="1285" y="4"/>
                  </a:lnTo>
                  <a:lnTo>
                    <a:pt x="1330" y="4"/>
                  </a:lnTo>
                  <a:lnTo>
                    <a:pt x="1334" y="4"/>
                  </a:lnTo>
                  <a:lnTo>
                    <a:pt x="1338" y="5"/>
                  </a:lnTo>
                  <a:lnTo>
                    <a:pt x="1341" y="6"/>
                  </a:lnTo>
                  <a:lnTo>
                    <a:pt x="1343" y="7"/>
                  </a:lnTo>
                  <a:lnTo>
                    <a:pt x="1345" y="9"/>
                  </a:lnTo>
                  <a:lnTo>
                    <a:pt x="1348" y="12"/>
                  </a:lnTo>
                  <a:lnTo>
                    <a:pt x="1349" y="15"/>
                  </a:lnTo>
                  <a:lnTo>
                    <a:pt x="1350" y="18"/>
                  </a:lnTo>
                  <a:lnTo>
                    <a:pt x="1350" y="25"/>
                  </a:lnTo>
                  <a:lnTo>
                    <a:pt x="1349" y="32"/>
                  </a:lnTo>
                  <a:lnTo>
                    <a:pt x="1346" y="42"/>
                  </a:lnTo>
                  <a:lnTo>
                    <a:pt x="1342" y="50"/>
                  </a:lnTo>
                  <a:lnTo>
                    <a:pt x="1325" y="89"/>
                  </a:lnTo>
                  <a:lnTo>
                    <a:pt x="1310" y="120"/>
                  </a:lnTo>
                  <a:lnTo>
                    <a:pt x="1307" y="145"/>
                  </a:lnTo>
                  <a:lnTo>
                    <a:pt x="1306" y="170"/>
                  </a:lnTo>
                  <a:lnTo>
                    <a:pt x="1305" y="183"/>
                  </a:lnTo>
                  <a:lnTo>
                    <a:pt x="1305" y="195"/>
                  </a:lnTo>
                  <a:lnTo>
                    <a:pt x="1306" y="208"/>
                  </a:lnTo>
                  <a:lnTo>
                    <a:pt x="1308" y="221"/>
                  </a:lnTo>
                  <a:lnTo>
                    <a:pt x="1309" y="232"/>
                  </a:lnTo>
                  <a:lnTo>
                    <a:pt x="1309" y="242"/>
                  </a:lnTo>
                  <a:lnTo>
                    <a:pt x="1309" y="253"/>
                  </a:lnTo>
                  <a:lnTo>
                    <a:pt x="1308" y="264"/>
                  </a:lnTo>
                  <a:lnTo>
                    <a:pt x="1305" y="286"/>
                  </a:lnTo>
                  <a:lnTo>
                    <a:pt x="1301" y="308"/>
                  </a:lnTo>
                  <a:lnTo>
                    <a:pt x="1296" y="330"/>
                  </a:lnTo>
                  <a:lnTo>
                    <a:pt x="1292" y="352"/>
                  </a:lnTo>
                  <a:lnTo>
                    <a:pt x="1289" y="373"/>
                  </a:lnTo>
                  <a:lnTo>
                    <a:pt x="1287" y="396"/>
                  </a:lnTo>
                  <a:lnTo>
                    <a:pt x="1289" y="405"/>
                  </a:lnTo>
                  <a:lnTo>
                    <a:pt x="1293" y="413"/>
                  </a:lnTo>
                  <a:lnTo>
                    <a:pt x="1299" y="421"/>
                  </a:lnTo>
                  <a:lnTo>
                    <a:pt x="1304" y="429"/>
                  </a:lnTo>
                  <a:lnTo>
                    <a:pt x="1308" y="437"/>
                  </a:lnTo>
                  <a:lnTo>
                    <a:pt x="1312" y="444"/>
                  </a:lnTo>
                  <a:lnTo>
                    <a:pt x="1315" y="452"/>
                  </a:lnTo>
                  <a:lnTo>
                    <a:pt x="1316" y="460"/>
                  </a:lnTo>
                  <a:lnTo>
                    <a:pt x="1315" y="463"/>
                  </a:lnTo>
                  <a:lnTo>
                    <a:pt x="1312" y="466"/>
                  </a:lnTo>
                  <a:lnTo>
                    <a:pt x="1308" y="470"/>
                  </a:lnTo>
                  <a:lnTo>
                    <a:pt x="1303" y="476"/>
                  </a:lnTo>
                  <a:lnTo>
                    <a:pt x="1290" y="487"/>
                  </a:lnTo>
                  <a:lnTo>
                    <a:pt x="1278" y="500"/>
                  </a:lnTo>
                  <a:lnTo>
                    <a:pt x="1271" y="506"/>
                  </a:lnTo>
                  <a:lnTo>
                    <a:pt x="1266" y="512"/>
                  </a:lnTo>
                  <a:lnTo>
                    <a:pt x="1263" y="518"/>
                  </a:lnTo>
                  <a:lnTo>
                    <a:pt x="1260" y="525"/>
                  </a:lnTo>
                  <a:lnTo>
                    <a:pt x="1259" y="530"/>
                  </a:lnTo>
                  <a:lnTo>
                    <a:pt x="1260" y="535"/>
                  </a:lnTo>
                  <a:lnTo>
                    <a:pt x="1261" y="537"/>
                  </a:lnTo>
                  <a:lnTo>
                    <a:pt x="1263" y="538"/>
                  </a:lnTo>
                  <a:lnTo>
                    <a:pt x="1266" y="540"/>
                  </a:lnTo>
                  <a:lnTo>
                    <a:pt x="1269" y="542"/>
                  </a:lnTo>
                  <a:lnTo>
                    <a:pt x="1277" y="542"/>
                  </a:lnTo>
                  <a:lnTo>
                    <a:pt x="1290" y="545"/>
                  </a:lnTo>
                  <a:lnTo>
                    <a:pt x="1308" y="547"/>
                  </a:lnTo>
                  <a:lnTo>
                    <a:pt x="1326" y="550"/>
                  </a:lnTo>
                  <a:lnTo>
                    <a:pt x="1334" y="552"/>
                  </a:lnTo>
                  <a:lnTo>
                    <a:pt x="1340" y="555"/>
                  </a:lnTo>
                  <a:lnTo>
                    <a:pt x="1345" y="557"/>
                  </a:lnTo>
                  <a:lnTo>
                    <a:pt x="1349" y="561"/>
                  </a:lnTo>
                  <a:lnTo>
                    <a:pt x="1350" y="563"/>
                  </a:lnTo>
                  <a:lnTo>
                    <a:pt x="1350" y="565"/>
                  </a:lnTo>
                  <a:lnTo>
                    <a:pt x="1349" y="567"/>
                  </a:lnTo>
                  <a:lnTo>
                    <a:pt x="1346" y="570"/>
                  </a:lnTo>
                  <a:lnTo>
                    <a:pt x="1341" y="575"/>
                  </a:lnTo>
                  <a:lnTo>
                    <a:pt x="1331" y="581"/>
                  </a:lnTo>
                  <a:lnTo>
                    <a:pt x="1319" y="587"/>
                  </a:lnTo>
                  <a:lnTo>
                    <a:pt x="1310" y="593"/>
                  </a:lnTo>
                  <a:lnTo>
                    <a:pt x="1306" y="596"/>
                  </a:lnTo>
                  <a:lnTo>
                    <a:pt x="1303" y="598"/>
                  </a:lnTo>
                  <a:lnTo>
                    <a:pt x="1301" y="601"/>
                  </a:lnTo>
                  <a:lnTo>
                    <a:pt x="1299" y="604"/>
                  </a:lnTo>
                  <a:lnTo>
                    <a:pt x="1297" y="607"/>
                  </a:lnTo>
                  <a:lnTo>
                    <a:pt x="1297" y="610"/>
                  </a:lnTo>
                  <a:lnTo>
                    <a:pt x="1299" y="613"/>
                  </a:lnTo>
                  <a:lnTo>
                    <a:pt x="1300" y="618"/>
                  </a:lnTo>
                  <a:lnTo>
                    <a:pt x="1306" y="627"/>
                  </a:lnTo>
                  <a:lnTo>
                    <a:pt x="1316" y="638"/>
                  </a:lnTo>
                  <a:lnTo>
                    <a:pt x="1319" y="642"/>
                  </a:lnTo>
                  <a:lnTo>
                    <a:pt x="1324" y="644"/>
                  </a:lnTo>
                  <a:lnTo>
                    <a:pt x="1327" y="646"/>
                  </a:lnTo>
                  <a:lnTo>
                    <a:pt x="1331" y="647"/>
                  </a:lnTo>
                  <a:lnTo>
                    <a:pt x="1339" y="649"/>
                  </a:lnTo>
                  <a:lnTo>
                    <a:pt x="1349" y="649"/>
                  </a:lnTo>
                  <a:lnTo>
                    <a:pt x="1357" y="648"/>
                  </a:lnTo>
                  <a:lnTo>
                    <a:pt x="1366" y="647"/>
                  </a:lnTo>
                  <a:lnTo>
                    <a:pt x="1376" y="644"/>
                  </a:lnTo>
                  <a:lnTo>
                    <a:pt x="1385" y="642"/>
                  </a:lnTo>
                  <a:lnTo>
                    <a:pt x="1402" y="635"/>
                  </a:lnTo>
                  <a:lnTo>
                    <a:pt x="1416" y="632"/>
                  </a:lnTo>
                  <a:lnTo>
                    <a:pt x="1423" y="632"/>
                  </a:lnTo>
                  <a:lnTo>
                    <a:pt x="1427" y="633"/>
                  </a:lnTo>
                  <a:lnTo>
                    <a:pt x="1429" y="634"/>
                  </a:lnTo>
                  <a:lnTo>
                    <a:pt x="1431" y="636"/>
                  </a:lnTo>
                  <a:lnTo>
                    <a:pt x="1432" y="638"/>
                  </a:lnTo>
                  <a:lnTo>
                    <a:pt x="1433" y="642"/>
                  </a:lnTo>
                  <a:lnTo>
                    <a:pt x="1436" y="652"/>
                  </a:lnTo>
                  <a:lnTo>
                    <a:pt x="1440" y="661"/>
                  </a:lnTo>
                  <a:lnTo>
                    <a:pt x="1446" y="667"/>
                  </a:lnTo>
                  <a:lnTo>
                    <a:pt x="1450" y="671"/>
                  </a:lnTo>
                  <a:lnTo>
                    <a:pt x="1456" y="672"/>
                  </a:lnTo>
                  <a:lnTo>
                    <a:pt x="1462" y="672"/>
                  </a:lnTo>
                  <a:lnTo>
                    <a:pt x="1468" y="670"/>
                  </a:lnTo>
                  <a:lnTo>
                    <a:pt x="1475" y="668"/>
                  </a:lnTo>
                  <a:lnTo>
                    <a:pt x="1490" y="660"/>
                  </a:lnTo>
                  <a:lnTo>
                    <a:pt x="1506" y="652"/>
                  </a:lnTo>
                  <a:lnTo>
                    <a:pt x="1514" y="648"/>
                  </a:lnTo>
                  <a:lnTo>
                    <a:pt x="1523" y="646"/>
                  </a:lnTo>
                  <a:lnTo>
                    <a:pt x="1532" y="644"/>
                  </a:lnTo>
                  <a:lnTo>
                    <a:pt x="1540" y="643"/>
                  </a:lnTo>
                  <a:lnTo>
                    <a:pt x="1541" y="663"/>
                  </a:lnTo>
                  <a:lnTo>
                    <a:pt x="1542" y="678"/>
                  </a:lnTo>
                  <a:lnTo>
                    <a:pt x="1544" y="680"/>
                  </a:lnTo>
                  <a:lnTo>
                    <a:pt x="1545" y="683"/>
                  </a:lnTo>
                  <a:lnTo>
                    <a:pt x="1547" y="686"/>
                  </a:lnTo>
                  <a:lnTo>
                    <a:pt x="1550" y="689"/>
                  </a:lnTo>
                  <a:lnTo>
                    <a:pt x="1558" y="695"/>
                  </a:lnTo>
                  <a:lnTo>
                    <a:pt x="1571" y="700"/>
                  </a:lnTo>
                  <a:lnTo>
                    <a:pt x="1577" y="703"/>
                  </a:lnTo>
                  <a:lnTo>
                    <a:pt x="1583" y="709"/>
                  </a:lnTo>
                  <a:lnTo>
                    <a:pt x="1589" y="716"/>
                  </a:lnTo>
                  <a:lnTo>
                    <a:pt x="1595" y="723"/>
                  </a:lnTo>
                  <a:lnTo>
                    <a:pt x="1605" y="740"/>
                  </a:lnTo>
                  <a:lnTo>
                    <a:pt x="1615" y="756"/>
                  </a:lnTo>
                  <a:lnTo>
                    <a:pt x="1621" y="765"/>
                  </a:lnTo>
                  <a:lnTo>
                    <a:pt x="1626" y="771"/>
                  </a:lnTo>
                  <a:lnTo>
                    <a:pt x="1631" y="775"/>
                  </a:lnTo>
                  <a:lnTo>
                    <a:pt x="1636" y="779"/>
                  </a:lnTo>
                  <a:lnTo>
                    <a:pt x="1639" y="779"/>
                  </a:lnTo>
                  <a:lnTo>
                    <a:pt x="1643" y="780"/>
                  </a:lnTo>
                  <a:lnTo>
                    <a:pt x="1646" y="779"/>
                  </a:lnTo>
                  <a:lnTo>
                    <a:pt x="1649" y="778"/>
                  </a:lnTo>
                  <a:lnTo>
                    <a:pt x="1653" y="777"/>
                  </a:lnTo>
                  <a:lnTo>
                    <a:pt x="1656" y="775"/>
                  </a:lnTo>
                  <a:lnTo>
                    <a:pt x="1660" y="772"/>
                  </a:lnTo>
                  <a:lnTo>
                    <a:pt x="1663" y="768"/>
                  </a:lnTo>
                  <a:lnTo>
                    <a:pt x="1746" y="674"/>
                  </a:lnTo>
                  <a:lnTo>
                    <a:pt x="1750" y="682"/>
                  </a:lnTo>
                  <a:lnTo>
                    <a:pt x="1754" y="692"/>
                  </a:lnTo>
                  <a:lnTo>
                    <a:pt x="1758" y="702"/>
                  </a:lnTo>
                  <a:lnTo>
                    <a:pt x="1761" y="714"/>
                  </a:lnTo>
                  <a:lnTo>
                    <a:pt x="1768" y="735"/>
                  </a:lnTo>
                  <a:lnTo>
                    <a:pt x="1773" y="755"/>
                  </a:lnTo>
                  <a:lnTo>
                    <a:pt x="1775" y="765"/>
                  </a:lnTo>
                  <a:lnTo>
                    <a:pt x="1775" y="773"/>
                  </a:lnTo>
                  <a:lnTo>
                    <a:pt x="1774" y="781"/>
                  </a:lnTo>
                  <a:lnTo>
                    <a:pt x="1773" y="788"/>
                  </a:lnTo>
                  <a:lnTo>
                    <a:pt x="1767" y="800"/>
                  </a:lnTo>
                  <a:lnTo>
                    <a:pt x="1758" y="812"/>
                  </a:lnTo>
                  <a:lnTo>
                    <a:pt x="1755" y="817"/>
                  </a:lnTo>
                  <a:lnTo>
                    <a:pt x="1752" y="823"/>
                  </a:lnTo>
                  <a:lnTo>
                    <a:pt x="1750" y="829"/>
                  </a:lnTo>
                  <a:lnTo>
                    <a:pt x="1748" y="836"/>
                  </a:lnTo>
                  <a:lnTo>
                    <a:pt x="1748" y="842"/>
                  </a:lnTo>
                  <a:lnTo>
                    <a:pt x="1749" y="849"/>
                  </a:lnTo>
                  <a:lnTo>
                    <a:pt x="1752" y="858"/>
                  </a:lnTo>
                  <a:lnTo>
                    <a:pt x="1757" y="867"/>
                  </a:lnTo>
                  <a:lnTo>
                    <a:pt x="1762" y="875"/>
                  </a:lnTo>
                  <a:lnTo>
                    <a:pt x="1765" y="884"/>
                  </a:lnTo>
                  <a:lnTo>
                    <a:pt x="1766" y="891"/>
                  </a:lnTo>
                  <a:lnTo>
                    <a:pt x="1764" y="898"/>
                  </a:lnTo>
                  <a:lnTo>
                    <a:pt x="1760" y="904"/>
                  </a:lnTo>
                  <a:lnTo>
                    <a:pt x="1756" y="911"/>
                  </a:lnTo>
                  <a:lnTo>
                    <a:pt x="1751" y="916"/>
                  </a:lnTo>
                  <a:lnTo>
                    <a:pt x="1745" y="921"/>
                  </a:lnTo>
                  <a:lnTo>
                    <a:pt x="1732" y="933"/>
                  </a:lnTo>
                  <a:lnTo>
                    <a:pt x="1720" y="943"/>
                  </a:lnTo>
                  <a:lnTo>
                    <a:pt x="1715" y="948"/>
                  </a:lnTo>
                  <a:lnTo>
                    <a:pt x="1711" y="955"/>
                  </a:lnTo>
                  <a:lnTo>
                    <a:pt x="1708" y="962"/>
                  </a:lnTo>
                  <a:lnTo>
                    <a:pt x="1707" y="968"/>
                  </a:lnTo>
                  <a:lnTo>
                    <a:pt x="1710" y="970"/>
                  </a:lnTo>
                  <a:lnTo>
                    <a:pt x="1715" y="971"/>
                  </a:lnTo>
                  <a:lnTo>
                    <a:pt x="1719" y="972"/>
                  </a:lnTo>
                  <a:lnTo>
                    <a:pt x="1724" y="973"/>
                  </a:lnTo>
                  <a:lnTo>
                    <a:pt x="1733" y="974"/>
                  </a:lnTo>
                  <a:lnTo>
                    <a:pt x="1743" y="975"/>
                  </a:lnTo>
                  <a:lnTo>
                    <a:pt x="1747" y="976"/>
                  </a:lnTo>
                  <a:lnTo>
                    <a:pt x="1751" y="977"/>
                  </a:lnTo>
                  <a:lnTo>
                    <a:pt x="1754" y="980"/>
                  </a:lnTo>
                  <a:lnTo>
                    <a:pt x="1756" y="983"/>
                  </a:lnTo>
                  <a:lnTo>
                    <a:pt x="1757" y="987"/>
                  </a:lnTo>
                  <a:lnTo>
                    <a:pt x="1758" y="992"/>
                  </a:lnTo>
                  <a:lnTo>
                    <a:pt x="1757" y="998"/>
                  </a:lnTo>
                  <a:lnTo>
                    <a:pt x="1755" y="1006"/>
                  </a:lnTo>
                  <a:lnTo>
                    <a:pt x="1744" y="1015"/>
                  </a:lnTo>
                  <a:lnTo>
                    <a:pt x="1731" y="1024"/>
                  </a:lnTo>
                  <a:lnTo>
                    <a:pt x="1719" y="1033"/>
                  </a:lnTo>
                  <a:lnTo>
                    <a:pt x="1705" y="1040"/>
                  </a:lnTo>
                  <a:lnTo>
                    <a:pt x="1693" y="1047"/>
                  </a:lnTo>
                  <a:lnTo>
                    <a:pt x="1680" y="1056"/>
                  </a:lnTo>
                  <a:lnTo>
                    <a:pt x="1668" y="1064"/>
                  </a:lnTo>
                  <a:lnTo>
                    <a:pt x="1657" y="1073"/>
                  </a:lnTo>
                  <a:lnTo>
                    <a:pt x="1653" y="1079"/>
                  </a:lnTo>
                  <a:lnTo>
                    <a:pt x="1651" y="1084"/>
                  </a:lnTo>
                  <a:lnTo>
                    <a:pt x="1650" y="1089"/>
                  </a:lnTo>
                  <a:lnTo>
                    <a:pt x="1650" y="1094"/>
                  </a:lnTo>
                  <a:lnTo>
                    <a:pt x="1652" y="1106"/>
                  </a:lnTo>
                  <a:lnTo>
                    <a:pt x="1656" y="1118"/>
                  </a:lnTo>
                  <a:lnTo>
                    <a:pt x="1662" y="1131"/>
                  </a:lnTo>
                  <a:lnTo>
                    <a:pt x="1667" y="1143"/>
                  </a:lnTo>
                  <a:lnTo>
                    <a:pt x="1669" y="1150"/>
                  </a:lnTo>
                  <a:lnTo>
                    <a:pt x="1670" y="1156"/>
                  </a:lnTo>
                  <a:lnTo>
                    <a:pt x="1670" y="1162"/>
                  </a:lnTo>
                  <a:lnTo>
                    <a:pt x="1669" y="1168"/>
                  </a:lnTo>
                  <a:lnTo>
                    <a:pt x="1654" y="1173"/>
                  </a:lnTo>
                  <a:lnTo>
                    <a:pt x="1641" y="1176"/>
                  </a:lnTo>
                  <a:lnTo>
                    <a:pt x="1634" y="1178"/>
                  </a:lnTo>
                  <a:lnTo>
                    <a:pt x="1630" y="1182"/>
                  </a:lnTo>
                  <a:lnTo>
                    <a:pt x="1628" y="1185"/>
                  </a:lnTo>
                  <a:lnTo>
                    <a:pt x="1627" y="1188"/>
                  </a:lnTo>
                  <a:lnTo>
                    <a:pt x="1626" y="1192"/>
                  </a:lnTo>
                  <a:lnTo>
                    <a:pt x="1626" y="1197"/>
                  </a:lnTo>
                  <a:lnTo>
                    <a:pt x="1626" y="1215"/>
                  </a:lnTo>
                  <a:lnTo>
                    <a:pt x="1626" y="1230"/>
                  </a:lnTo>
                  <a:lnTo>
                    <a:pt x="1626" y="1236"/>
                  </a:lnTo>
                  <a:lnTo>
                    <a:pt x="1625" y="1242"/>
                  </a:lnTo>
                  <a:lnTo>
                    <a:pt x="1624" y="1248"/>
                  </a:lnTo>
                  <a:lnTo>
                    <a:pt x="1623" y="1252"/>
                  </a:lnTo>
                  <a:lnTo>
                    <a:pt x="1621" y="1256"/>
                  </a:lnTo>
                  <a:lnTo>
                    <a:pt x="1618" y="1260"/>
                  </a:lnTo>
                  <a:lnTo>
                    <a:pt x="1613" y="1263"/>
                  </a:lnTo>
                  <a:lnTo>
                    <a:pt x="1608" y="1266"/>
                  </a:lnTo>
                  <a:lnTo>
                    <a:pt x="1602" y="1269"/>
                  </a:lnTo>
                  <a:lnTo>
                    <a:pt x="1595" y="1271"/>
                  </a:lnTo>
                  <a:lnTo>
                    <a:pt x="1586" y="1273"/>
                  </a:lnTo>
                  <a:lnTo>
                    <a:pt x="1576" y="1275"/>
                  </a:lnTo>
                  <a:lnTo>
                    <a:pt x="1563" y="1277"/>
                  </a:lnTo>
                  <a:lnTo>
                    <a:pt x="1551" y="1281"/>
                  </a:lnTo>
                  <a:lnTo>
                    <a:pt x="1539" y="1286"/>
                  </a:lnTo>
                  <a:lnTo>
                    <a:pt x="1530" y="1293"/>
                  </a:lnTo>
                  <a:lnTo>
                    <a:pt x="1521" y="1299"/>
                  </a:lnTo>
                  <a:lnTo>
                    <a:pt x="1513" y="1307"/>
                  </a:lnTo>
                  <a:lnTo>
                    <a:pt x="1507" y="1316"/>
                  </a:lnTo>
                  <a:lnTo>
                    <a:pt x="1501" y="1325"/>
                  </a:lnTo>
                  <a:lnTo>
                    <a:pt x="1497" y="1334"/>
                  </a:lnTo>
                  <a:lnTo>
                    <a:pt x="1493" y="1345"/>
                  </a:lnTo>
                  <a:lnTo>
                    <a:pt x="1492" y="1356"/>
                  </a:lnTo>
                  <a:lnTo>
                    <a:pt x="1491" y="1368"/>
                  </a:lnTo>
                  <a:lnTo>
                    <a:pt x="1491" y="1379"/>
                  </a:lnTo>
                  <a:lnTo>
                    <a:pt x="1493" y="1391"/>
                  </a:lnTo>
                  <a:lnTo>
                    <a:pt x="1497" y="1403"/>
                  </a:lnTo>
                  <a:lnTo>
                    <a:pt x="1501" y="1416"/>
                  </a:lnTo>
                  <a:lnTo>
                    <a:pt x="1508" y="1433"/>
                  </a:lnTo>
                  <a:lnTo>
                    <a:pt x="1515" y="1451"/>
                  </a:lnTo>
                  <a:lnTo>
                    <a:pt x="1515" y="1455"/>
                  </a:lnTo>
                  <a:lnTo>
                    <a:pt x="1515" y="1459"/>
                  </a:lnTo>
                  <a:lnTo>
                    <a:pt x="1514" y="1463"/>
                  </a:lnTo>
                  <a:lnTo>
                    <a:pt x="1513" y="1466"/>
                  </a:lnTo>
                  <a:lnTo>
                    <a:pt x="1510" y="1468"/>
                  </a:lnTo>
                  <a:lnTo>
                    <a:pt x="1507" y="1470"/>
                  </a:lnTo>
                  <a:lnTo>
                    <a:pt x="1502" y="1471"/>
                  </a:lnTo>
                  <a:lnTo>
                    <a:pt x="1496" y="1471"/>
                  </a:lnTo>
                  <a:lnTo>
                    <a:pt x="1478" y="1472"/>
                  </a:lnTo>
                  <a:lnTo>
                    <a:pt x="1466" y="1474"/>
                  </a:lnTo>
                  <a:lnTo>
                    <a:pt x="1462" y="1475"/>
                  </a:lnTo>
                  <a:lnTo>
                    <a:pt x="1458" y="1477"/>
                  </a:lnTo>
                  <a:lnTo>
                    <a:pt x="1455" y="1479"/>
                  </a:lnTo>
                  <a:lnTo>
                    <a:pt x="1453" y="1482"/>
                  </a:lnTo>
                  <a:lnTo>
                    <a:pt x="1444" y="1498"/>
                  </a:lnTo>
                  <a:lnTo>
                    <a:pt x="1433" y="1522"/>
                  </a:lnTo>
                  <a:lnTo>
                    <a:pt x="1428" y="1527"/>
                  </a:lnTo>
                  <a:lnTo>
                    <a:pt x="1422" y="1536"/>
                  </a:lnTo>
                  <a:lnTo>
                    <a:pt x="1416" y="1544"/>
                  </a:lnTo>
                  <a:lnTo>
                    <a:pt x="1411" y="1553"/>
                  </a:lnTo>
                  <a:lnTo>
                    <a:pt x="1409" y="1558"/>
                  </a:lnTo>
                  <a:lnTo>
                    <a:pt x="1408" y="1563"/>
                  </a:lnTo>
                  <a:lnTo>
                    <a:pt x="1408" y="1567"/>
                  </a:lnTo>
                  <a:lnTo>
                    <a:pt x="1408" y="1571"/>
                  </a:lnTo>
                  <a:lnTo>
                    <a:pt x="1409" y="1574"/>
                  </a:lnTo>
                  <a:lnTo>
                    <a:pt x="1411" y="1578"/>
                  </a:lnTo>
                  <a:lnTo>
                    <a:pt x="1414" y="1582"/>
                  </a:lnTo>
                  <a:lnTo>
                    <a:pt x="1418" y="1584"/>
                  </a:lnTo>
                  <a:lnTo>
                    <a:pt x="1436" y="1587"/>
                  </a:lnTo>
                  <a:lnTo>
                    <a:pt x="1460" y="1591"/>
                  </a:lnTo>
                  <a:lnTo>
                    <a:pt x="1472" y="1594"/>
                  </a:lnTo>
                  <a:lnTo>
                    <a:pt x="1482" y="1598"/>
                  </a:lnTo>
                  <a:lnTo>
                    <a:pt x="1486" y="1600"/>
                  </a:lnTo>
                  <a:lnTo>
                    <a:pt x="1489" y="1603"/>
                  </a:lnTo>
                  <a:lnTo>
                    <a:pt x="1491" y="1607"/>
                  </a:lnTo>
                  <a:lnTo>
                    <a:pt x="1492" y="1611"/>
                  </a:lnTo>
                  <a:lnTo>
                    <a:pt x="1506" y="1625"/>
                  </a:lnTo>
                  <a:lnTo>
                    <a:pt x="1523" y="1640"/>
                  </a:lnTo>
                  <a:lnTo>
                    <a:pt x="1533" y="1647"/>
                  </a:lnTo>
                  <a:lnTo>
                    <a:pt x="1541" y="1655"/>
                  </a:lnTo>
                  <a:lnTo>
                    <a:pt x="1545" y="1658"/>
                  </a:lnTo>
                  <a:lnTo>
                    <a:pt x="1547" y="1662"/>
                  </a:lnTo>
                  <a:lnTo>
                    <a:pt x="1549" y="1666"/>
                  </a:lnTo>
                  <a:lnTo>
                    <a:pt x="1551" y="1670"/>
                  </a:lnTo>
                  <a:lnTo>
                    <a:pt x="1552" y="1680"/>
                  </a:lnTo>
                  <a:lnTo>
                    <a:pt x="1553" y="1689"/>
                  </a:lnTo>
                  <a:lnTo>
                    <a:pt x="1553" y="1700"/>
                  </a:lnTo>
                  <a:lnTo>
                    <a:pt x="1552" y="1713"/>
                  </a:lnTo>
                  <a:lnTo>
                    <a:pt x="1551" y="1725"/>
                  </a:lnTo>
                  <a:lnTo>
                    <a:pt x="1548" y="1735"/>
                  </a:lnTo>
                  <a:lnTo>
                    <a:pt x="1546" y="1739"/>
                  </a:lnTo>
                  <a:lnTo>
                    <a:pt x="1544" y="1742"/>
                  </a:lnTo>
                  <a:lnTo>
                    <a:pt x="1540" y="1745"/>
                  </a:lnTo>
                  <a:lnTo>
                    <a:pt x="1537" y="1747"/>
                  </a:lnTo>
                  <a:lnTo>
                    <a:pt x="1534" y="1748"/>
                  </a:lnTo>
                  <a:lnTo>
                    <a:pt x="1531" y="1748"/>
                  </a:lnTo>
                  <a:lnTo>
                    <a:pt x="1527" y="1748"/>
                  </a:lnTo>
                  <a:lnTo>
                    <a:pt x="1523" y="1746"/>
                  </a:lnTo>
                  <a:lnTo>
                    <a:pt x="1519" y="1744"/>
                  </a:lnTo>
                  <a:lnTo>
                    <a:pt x="1514" y="1740"/>
                  </a:lnTo>
                  <a:lnTo>
                    <a:pt x="1510" y="1736"/>
                  </a:lnTo>
                  <a:lnTo>
                    <a:pt x="1505" y="1730"/>
                  </a:lnTo>
                  <a:lnTo>
                    <a:pt x="1479" y="1695"/>
                  </a:lnTo>
                  <a:lnTo>
                    <a:pt x="1473" y="1681"/>
                  </a:lnTo>
                  <a:lnTo>
                    <a:pt x="1464" y="1659"/>
                  </a:lnTo>
                  <a:lnTo>
                    <a:pt x="1459" y="1649"/>
                  </a:lnTo>
                  <a:lnTo>
                    <a:pt x="1455" y="1643"/>
                  </a:lnTo>
                  <a:lnTo>
                    <a:pt x="1452" y="1641"/>
                  </a:lnTo>
                  <a:lnTo>
                    <a:pt x="1450" y="1641"/>
                  </a:lnTo>
                  <a:lnTo>
                    <a:pt x="1448" y="1643"/>
                  </a:lnTo>
                  <a:lnTo>
                    <a:pt x="1446" y="1646"/>
                  </a:lnTo>
                  <a:lnTo>
                    <a:pt x="1440" y="1658"/>
                  </a:lnTo>
                  <a:lnTo>
                    <a:pt x="1431" y="1675"/>
                  </a:lnTo>
                  <a:lnTo>
                    <a:pt x="1429" y="1679"/>
                  </a:lnTo>
                  <a:lnTo>
                    <a:pt x="1426" y="1682"/>
                  </a:lnTo>
                  <a:lnTo>
                    <a:pt x="1423" y="1685"/>
                  </a:lnTo>
                  <a:lnTo>
                    <a:pt x="1419" y="1686"/>
                  </a:lnTo>
                  <a:lnTo>
                    <a:pt x="1416" y="1687"/>
                  </a:lnTo>
                  <a:lnTo>
                    <a:pt x="1414" y="1686"/>
                  </a:lnTo>
                  <a:lnTo>
                    <a:pt x="1411" y="1683"/>
                  </a:lnTo>
                  <a:lnTo>
                    <a:pt x="1409" y="1679"/>
                  </a:lnTo>
                  <a:lnTo>
                    <a:pt x="1406" y="1667"/>
                  </a:lnTo>
                  <a:lnTo>
                    <a:pt x="1404" y="1654"/>
                  </a:lnTo>
                  <a:lnTo>
                    <a:pt x="1402" y="1646"/>
                  </a:lnTo>
                  <a:lnTo>
                    <a:pt x="1399" y="1641"/>
                  </a:lnTo>
                  <a:lnTo>
                    <a:pt x="1397" y="1638"/>
                  </a:lnTo>
                  <a:lnTo>
                    <a:pt x="1393" y="1637"/>
                  </a:lnTo>
                  <a:lnTo>
                    <a:pt x="1390" y="1636"/>
                  </a:lnTo>
                  <a:lnTo>
                    <a:pt x="1387" y="1635"/>
                  </a:lnTo>
                  <a:lnTo>
                    <a:pt x="1364" y="1637"/>
                  </a:lnTo>
                  <a:lnTo>
                    <a:pt x="1344" y="1638"/>
                  </a:lnTo>
                  <a:lnTo>
                    <a:pt x="1336" y="1637"/>
                  </a:lnTo>
                  <a:lnTo>
                    <a:pt x="1327" y="1634"/>
                  </a:lnTo>
                  <a:lnTo>
                    <a:pt x="1321" y="1632"/>
                  </a:lnTo>
                  <a:lnTo>
                    <a:pt x="1317" y="1627"/>
                  </a:lnTo>
                  <a:lnTo>
                    <a:pt x="1312" y="1623"/>
                  </a:lnTo>
                  <a:lnTo>
                    <a:pt x="1307" y="1619"/>
                  </a:lnTo>
                  <a:lnTo>
                    <a:pt x="1294" y="1604"/>
                  </a:lnTo>
                  <a:lnTo>
                    <a:pt x="1282" y="1590"/>
                  </a:lnTo>
                  <a:lnTo>
                    <a:pt x="1276" y="1583"/>
                  </a:lnTo>
                  <a:lnTo>
                    <a:pt x="1268" y="1577"/>
                  </a:lnTo>
                  <a:lnTo>
                    <a:pt x="1260" y="1572"/>
                  </a:lnTo>
                  <a:lnTo>
                    <a:pt x="1252" y="1568"/>
                  </a:lnTo>
                  <a:lnTo>
                    <a:pt x="1246" y="1567"/>
                  </a:lnTo>
                  <a:lnTo>
                    <a:pt x="1241" y="1568"/>
                  </a:lnTo>
                  <a:lnTo>
                    <a:pt x="1237" y="1569"/>
                  </a:lnTo>
                  <a:lnTo>
                    <a:pt x="1233" y="1572"/>
                  </a:lnTo>
                  <a:lnTo>
                    <a:pt x="1224" y="1579"/>
                  </a:lnTo>
                  <a:lnTo>
                    <a:pt x="1216" y="1590"/>
                  </a:lnTo>
                  <a:lnTo>
                    <a:pt x="1209" y="1601"/>
                  </a:lnTo>
                  <a:lnTo>
                    <a:pt x="1202" y="1613"/>
                  </a:lnTo>
                  <a:lnTo>
                    <a:pt x="1193" y="1622"/>
                  </a:lnTo>
                  <a:lnTo>
                    <a:pt x="1185" y="1631"/>
                  </a:lnTo>
                  <a:lnTo>
                    <a:pt x="1179" y="1635"/>
                  </a:lnTo>
                  <a:lnTo>
                    <a:pt x="1174" y="1639"/>
                  </a:lnTo>
                  <a:lnTo>
                    <a:pt x="1171" y="1644"/>
                  </a:lnTo>
                  <a:lnTo>
                    <a:pt x="1170" y="1648"/>
                  </a:lnTo>
                  <a:lnTo>
                    <a:pt x="1169" y="1652"/>
                  </a:lnTo>
                  <a:lnTo>
                    <a:pt x="1169" y="1658"/>
                  </a:lnTo>
                  <a:lnTo>
                    <a:pt x="1170" y="1662"/>
                  </a:lnTo>
                  <a:lnTo>
                    <a:pt x="1171" y="1666"/>
                  </a:lnTo>
                  <a:lnTo>
                    <a:pt x="1174" y="1675"/>
                  </a:lnTo>
                  <a:lnTo>
                    <a:pt x="1178" y="1685"/>
                  </a:lnTo>
                  <a:lnTo>
                    <a:pt x="1179" y="1690"/>
                  </a:lnTo>
                  <a:lnTo>
                    <a:pt x="1180" y="1695"/>
                  </a:lnTo>
                  <a:lnTo>
                    <a:pt x="1180" y="1700"/>
                  </a:lnTo>
                  <a:lnTo>
                    <a:pt x="1179" y="1706"/>
                  </a:lnTo>
                  <a:lnTo>
                    <a:pt x="1170" y="1729"/>
                  </a:lnTo>
                  <a:lnTo>
                    <a:pt x="1163" y="1752"/>
                  </a:lnTo>
                  <a:lnTo>
                    <a:pt x="1159" y="1762"/>
                  </a:lnTo>
                  <a:lnTo>
                    <a:pt x="1154" y="1772"/>
                  </a:lnTo>
                  <a:lnTo>
                    <a:pt x="1147" y="1783"/>
                  </a:lnTo>
                  <a:lnTo>
                    <a:pt x="1140" y="1791"/>
                  </a:lnTo>
                  <a:lnTo>
                    <a:pt x="1133" y="1792"/>
                  </a:lnTo>
                  <a:lnTo>
                    <a:pt x="1124" y="1791"/>
                  </a:lnTo>
                  <a:lnTo>
                    <a:pt x="1117" y="1789"/>
                  </a:lnTo>
                  <a:lnTo>
                    <a:pt x="1110" y="1787"/>
                  </a:lnTo>
                  <a:lnTo>
                    <a:pt x="1104" y="1784"/>
                  </a:lnTo>
                  <a:lnTo>
                    <a:pt x="1097" y="1779"/>
                  </a:lnTo>
                  <a:lnTo>
                    <a:pt x="1092" y="1773"/>
                  </a:lnTo>
                  <a:lnTo>
                    <a:pt x="1088" y="1766"/>
                  </a:lnTo>
                  <a:lnTo>
                    <a:pt x="1082" y="1762"/>
                  </a:lnTo>
                  <a:lnTo>
                    <a:pt x="1074" y="1756"/>
                  </a:lnTo>
                  <a:lnTo>
                    <a:pt x="1068" y="1749"/>
                  </a:lnTo>
                  <a:lnTo>
                    <a:pt x="1061" y="1743"/>
                  </a:lnTo>
                  <a:lnTo>
                    <a:pt x="1058" y="1740"/>
                  </a:lnTo>
                  <a:lnTo>
                    <a:pt x="1053" y="1738"/>
                  </a:lnTo>
                  <a:lnTo>
                    <a:pt x="1050" y="1736"/>
                  </a:lnTo>
                  <a:lnTo>
                    <a:pt x="1046" y="1735"/>
                  </a:lnTo>
                  <a:lnTo>
                    <a:pt x="1042" y="1735"/>
                  </a:lnTo>
                  <a:lnTo>
                    <a:pt x="1038" y="1736"/>
                  </a:lnTo>
                  <a:lnTo>
                    <a:pt x="1034" y="1738"/>
                  </a:lnTo>
                  <a:lnTo>
                    <a:pt x="1028" y="1741"/>
                  </a:lnTo>
                  <a:lnTo>
                    <a:pt x="1021" y="1747"/>
                  </a:lnTo>
                  <a:lnTo>
                    <a:pt x="1015" y="1756"/>
                  </a:lnTo>
                  <a:lnTo>
                    <a:pt x="1011" y="1764"/>
                  </a:lnTo>
                  <a:lnTo>
                    <a:pt x="1009" y="1773"/>
                  </a:lnTo>
                  <a:lnTo>
                    <a:pt x="1007" y="1784"/>
                  </a:lnTo>
                  <a:lnTo>
                    <a:pt x="1006" y="1793"/>
                  </a:lnTo>
                  <a:lnTo>
                    <a:pt x="1006" y="1804"/>
                  </a:lnTo>
                  <a:lnTo>
                    <a:pt x="1006" y="1813"/>
                  </a:lnTo>
                  <a:lnTo>
                    <a:pt x="1006" y="1848"/>
                  </a:lnTo>
                  <a:lnTo>
                    <a:pt x="1006" y="1883"/>
                  </a:lnTo>
                  <a:lnTo>
                    <a:pt x="1004" y="1901"/>
                  </a:lnTo>
                  <a:lnTo>
                    <a:pt x="1002" y="1917"/>
                  </a:lnTo>
                  <a:lnTo>
                    <a:pt x="998" y="1934"/>
                  </a:lnTo>
                  <a:lnTo>
                    <a:pt x="994" y="1950"/>
                  </a:lnTo>
                  <a:lnTo>
                    <a:pt x="991" y="1955"/>
                  </a:lnTo>
                  <a:lnTo>
                    <a:pt x="988" y="1959"/>
                  </a:lnTo>
                  <a:lnTo>
                    <a:pt x="984" y="1964"/>
                  </a:lnTo>
                  <a:lnTo>
                    <a:pt x="979" y="1970"/>
                  </a:lnTo>
                  <a:lnTo>
                    <a:pt x="969" y="1979"/>
                  </a:lnTo>
                  <a:lnTo>
                    <a:pt x="960" y="1986"/>
                  </a:lnTo>
                  <a:lnTo>
                    <a:pt x="960" y="1986"/>
                  </a:lnTo>
                  <a:lnTo>
                    <a:pt x="946" y="1989"/>
                  </a:lnTo>
                  <a:lnTo>
                    <a:pt x="933" y="1992"/>
                  </a:lnTo>
                  <a:lnTo>
                    <a:pt x="920" y="1992"/>
                  </a:lnTo>
                  <a:lnTo>
                    <a:pt x="909" y="1992"/>
                  </a:lnTo>
                  <a:lnTo>
                    <a:pt x="896" y="1990"/>
                  </a:lnTo>
                  <a:lnTo>
                    <a:pt x="885" y="1988"/>
                  </a:lnTo>
                  <a:lnTo>
                    <a:pt x="873" y="1986"/>
                  </a:lnTo>
                  <a:lnTo>
                    <a:pt x="863" y="1982"/>
                  </a:lnTo>
                  <a:lnTo>
                    <a:pt x="840" y="1974"/>
                  </a:lnTo>
                  <a:lnTo>
                    <a:pt x="818" y="1964"/>
                  </a:lnTo>
                  <a:lnTo>
                    <a:pt x="796" y="1954"/>
                  </a:lnTo>
                  <a:lnTo>
                    <a:pt x="772" y="1942"/>
                  </a:lnTo>
                  <a:lnTo>
                    <a:pt x="754" y="1934"/>
                  </a:lnTo>
                  <a:lnTo>
                    <a:pt x="738" y="1926"/>
                  </a:lnTo>
                  <a:lnTo>
                    <a:pt x="723" y="1917"/>
                  </a:lnTo>
                  <a:lnTo>
                    <a:pt x="708" y="1909"/>
                  </a:lnTo>
                  <a:lnTo>
                    <a:pt x="695" y="1899"/>
                  </a:lnTo>
                  <a:lnTo>
                    <a:pt x="681" y="1888"/>
                  </a:lnTo>
                  <a:lnTo>
                    <a:pt x="668" y="1877"/>
                  </a:lnTo>
                  <a:lnTo>
                    <a:pt x="653" y="1863"/>
                  </a:lnTo>
                  <a:lnTo>
                    <a:pt x="645" y="1856"/>
                  </a:lnTo>
                  <a:lnTo>
                    <a:pt x="637" y="1847"/>
                  </a:lnTo>
                  <a:lnTo>
                    <a:pt x="630" y="1838"/>
                  </a:lnTo>
                  <a:lnTo>
                    <a:pt x="624" y="1828"/>
                  </a:lnTo>
                  <a:lnTo>
                    <a:pt x="609" y="1809"/>
                  </a:lnTo>
                  <a:lnTo>
                    <a:pt x="595" y="1790"/>
                  </a:lnTo>
                  <a:lnTo>
                    <a:pt x="587" y="1782"/>
                  </a:lnTo>
                  <a:lnTo>
                    <a:pt x="579" y="1773"/>
                  </a:lnTo>
                  <a:lnTo>
                    <a:pt x="571" y="1766"/>
                  </a:lnTo>
                  <a:lnTo>
                    <a:pt x="561" y="1760"/>
                  </a:lnTo>
                  <a:lnTo>
                    <a:pt x="551" y="1755"/>
                  </a:lnTo>
                  <a:lnTo>
                    <a:pt x="539" y="1752"/>
                  </a:lnTo>
                  <a:lnTo>
                    <a:pt x="527" y="1748"/>
                  </a:lnTo>
                  <a:lnTo>
                    <a:pt x="514" y="1747"/>
                  </a:lnTo>
                  <a:lnTo>
                    <a:pt x="503" y="1748"/>
                  </a:lnTo>
                  <a:lnTo>
                    <a:pt x="495" y="1751"/>
                  </a:lnTo>
                  <a:lnTo>
                    <a:pt x="492" y="1752"/>
                  </a:lnTo>
                  <a:lnTo>
                    <a:pt x="489" y="1754"/>
                  </a:lnTo>
                  <a:lnTo>
                    <a:pt x="487" y="1756"/>
                  </a:lnTo>
                  <a:lnTo>
                    <a:pt x="485" y="1759"/>
                  </a:lnTo>
                  <a:lnTo>
                    <a:pt x="484" y="1764"/>
                  </a:lnTo>
                  <a:lnTo>
                    <a:pt x="483" y="1771"/>
                  </a:lnTo>
                  <a:lnTo>
                    <a:pt x="483" y="1780"/>
                  </a:lnTo>
                  <a:lnTo>
                    <a:pt x="483" y="1790"/>
                  </a:lnTo>
                  <a:lnTo>
                    <a:pt x="482" y="1799"/>
                  </a:lnTo>
                  <a:lnTo>
                    <a:pt x="479" y="1807"/>
                  </a:lnTo>
                  <a:lnTo>
                    <a:pt x="474" y="1815"/>
                  </a:lnTo>
                  <a:lnTo>
                    <a:pt x="469" y="1824"/>
                  </a:lnTo>
                  <a:lnTo>
                    <a:pt x="461" y="1831"/>
                  </a:lnTo>
                  <a:lnTo>
                    <a:pt x="455" y="1838"/>
                  </a:lnTo>
                  <a:lnTo>
                    <a:pt x="448" y="1844"/>
                  </a:lnTo>
                  <a:lnTo>
                    <a:pt x="441" y="1850"/>
                  </a:lnTo>
                  <a:lnTo>
                    <a:pt x="440" y="1855"/>
                  </a:lnTo>
                  <a:lnTo>
                    <a:pt x="441" y="1860"/>
                  </a:lnTo>
                  <a:lnTo>
                    <a:pt x="444" y="1864"/>
                  </a:lnTo>
                  <a:lnTo>
                    <a:pt x="447" y="1868"/>
                  </a:lnTo>
                  <a:lnTo>
                    <a:pt x="453" y="1877"/>
                  </a:lnTo>
                  <a:lnTo>
                    <a:pt x="460" y="1883"/>
                  </a:lnTo>
                  <a:lnTo>
                    <a:pt x="468" y="1890"/>
                  </a:lnTo>
                  <a:lnTo>
                    <a:pt x="473" y="1899"/>
                  </a:lnTo>
                  <a:lnTo>
                    <a:pt x="474" y="1903"/>
                  </a:lnTo>
                  <a:lnTo>
                    <a:pt x="475" y="1907"/>
                  </a:lnTo>
                  <a:lnTo>
                    <a:pt x="474" y="1912"/>
                  </a:lnTo>
                  <a:lnTo>
                    <a:pt x="472" y="1917"/>
                  </a:lnTo>
                  <a:lnTo>
                    <a:pt x="459" y="1921"/>
                  </a:lnTo>
                  <a:lnTo>
                    <a:pt x="449" y="1923"/>
                  </a:lnTo>
                  <a:lnTo>
                    <a:pt x="441" y="1925"/>
                  </a:lnTo>
                  <a:lnTo>
                    <a:pt x="434" y="1925"/>
                  </a:lnTo>
                  <a:lnTo>
                    <a:pt x="427" y="1923"/>
                  </a:lnTo>
                  <a:lnTo>
                    <a:pt x="421" y="1918"/>
                  </a:lnTo>
                  <a:lnTo>
                    <a:pt x="412" y="1911"/>
                  </a:lnTo>
                  <a:lnTo>
                    <a:pt x="402" y="1902"/>
                  </a:lnTo>
                  <a:lnTo>
                    <a:pt x="314" y="1812"/>
                  </a:lnTo>
                  <a:lnTo>
                    <a:pt x="295" y="1776"/>
                  </a:lnTo>
                  <a:lnTo>
                    <a:pt x="290" y="1779"/>
                  </a:lnTo>
                  <a:lnTo>
                    <a:pt x="286" y="1783"/>
                  </a:lnTo>
                  <a:lnTo>
                    <a:pt x="282" y="1788"/>
                  </a:lnTo>
                  <a:lnTo>
                    <a:pt x="278" y="1793"/>
                  </a:lnTo>
                  <a:lnTo>
                    <a:pt x="272" y="1806"/>
                  </a:lnTo>
                  <a:lnTo>
                    <a:pt x="266" y="1819"/>
                  </a:lnTo>
                  <a:lnTo>
                    <a:pt x="260" y="1832"/>
                  </a:lnTo>
                  <a:lnTo>
                    <a:pt x="254" y="1842"/>
                  </a:lnTo>
                  <a:lnTo>
                    <a:pt x="250" y="1847"/>
                  </a:lnTo>
                  <a:lnTo>
                    <a:pt x="245" y="1850"/>
                  </a:lnTo>
                  <a:lnTo>
                    <a:pt x="240" y="1852"/>
                  </a:lnTo>
                  <a:lnTo>
                    <a:pt x="235" y="1853"/>
                  </a:lnTo>
                  <a:lnTo>
                    <a:pt x="231" y="1850"/>
                  </a:lnTo>
                  <a:lnTo>
                    <a:pt x="228" y="1845"/>
                  </a:lnTo>
                  <a:lnTo>
                    <a:pt x="225" y="1842"/>
                  </a:lnTo>
                  <a:lnTo>
                    <a:pt x="222" y="1838"/>
                  </a:lnTo>
                  <a:lnTo>
                    <a:pt x="219" y="1830"/>
                  </a:lnTo>
                  <a:lnTo>
                    <a:pt x="218" y="1820"/>
                  </a:lnTo>
                  <a:lnTo>
                    <a:pt x="218" y="1811"/>
                  </a:lnTo>
                  <a:lnTo>
                    <a:pt x="219" y="1802"/>
                  </a:lnTo>
                  <a:lnTo>
                    <a:pt x="221" y="1791"/>
                  </a:lnTo>
                  <a:lnTo>
                    <a:pt x="224" y="1782"/>
                  </a:lnTo>
                  <a:lnTo>
                    <a:pt x="229" y="1761"/>
                  </a:lnTo>
                  <a:lnTo>
                    <a:pt x="234" y="1742"/>
                  </a:lnTo>
                  <a:lnTo>
                    <a:pt x="235" y="1734"/>
                  </a:lnTo>
                  <a:lnTo>
                    <a:pt x="235" y="1725"/>
                  </a:lnTo>
                  <a:lnTo>
                    <a:pt x="234" y="1718"/>
                  </a:lnTo>
                  <a:lnTo>
                    <a:pt x="232" y="1712"/>
                  </a:lnTo>
                  <a:lnTo>
                    <a:pt x="227" y="1711"/>
                  </a:lnTo>
                  <a:lnTo>
                    <a:pt x="221" y="1711"/>
                  </a:lnTo>
                  <a:lnTo>
                    <a:pt x="215" y="1711"/>
                  </a:lnTo>
                  <a:lnTo>
                    <a:pt x="210" y="1712"/>
                  </a:lnTo>
                  <a:lnTo>
                    <a:pt x="199" y="1714"/>
                  </a:lnTo>
                  <a:lnTo>
                    <a:pt x="186" y="1718"/>
                  </a:lnTo>
                  <a:lnTo>
                    <a:pt x="162" y="1728"/>
                  </a:lnTo>
                  <a:lnTo>
                    <a:pt x="140" y="1734"/>
                  </a:lnTo>
                  <a:lnTo>
                    <a:pt x="126" y="1737"/>
                  </a:lnTo>
                  <a:lnTo>
                    <a:pt x="111" y="1740"/>
                  </a:lnTo>
                  <a:lnTo>
                    <a:pt x="96" y="1744"/>
                  </a:lnTo>
                  <a:lnTo>
                    <a:pt x="83" y="1747"/>
                  </a:lnTo>
                  <a:lnTo>
                    <a:pt x="83" y="174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29" name="Freeform 166">
              <a:extLst>
                <a:ext uri="{FF2B5EF4-FFF2-40B4-BE49-F238E27FC236}">
                  <a16:creationId xmlns:a16="http://schemas.microsoft.com/office/drawing/2014/main" id="{09760DCB-EB80-4D7C-8682-FBCE40C66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5086" y="5290556"/>
              <a:ext cx="446161" cy="483768"/>
            </a:xfrm>
            <a:custGeom>
              <a:avLst/>
              <a:gdLst>
                <a:gd name="T0" fmla="*/ 65 w 1775"/>
                <a:gd name="T1" fmla="*/ 1627 h 1992"/>
                <a:gd name="T2" fmla="*/ 121 w 1775"/>
                <a:gd name="T3" fmla="*/ 1560 h 1992"/>
                <a:gd name="T4" fmla="*/ 134 w 1775"/>
                <a:gd name="T5" fmla="*/ 1433 h 1992"/>
                <a:gd name="T6" fmla="*/ 187 w 1775"/>
                <a:gd name="T7" fmla="*/ 1327 h 1992"/>
                <a:gd name="T8" fmla="*/ 305 w 1775"/>
                <a:gd name="T9" fmla="*/ 1297 h 1992"/>
                <a:gd name="T10" fmla="*/ 210 w 1775"/>
                <a:gd name="T11" fmla="*/ 1256 h 1992"/>
                <a:gd name="T12" fmla="*/ 210 w 1775"/>
                <a:gd name="T13" fmla="*/ 1199 h 1992"/>
                <a:gd name="T14" fmla="*/ 331 w 1775"/>
                <a:gd name="T15" fmla="*/ 1135 h 1992"/>
                <a:gd name="T16" fmla="*/ 331 w 1775"/>
                <a:gd name="T17" fmla="*/ 1001 h 1992"/>
                <a:gd name="T18" fmla="*/ 326 w 1775"/>
                <a:gd name="T19" fmla="*/ 830 h 1992"/>
                <a:gd name="T20" fmla="*/ 185 w 1775"/>
                <a:gd name="T21" fmla="*/ 877 h 1992"/>
                <a:gd name="T22" fmla="*/ 166 w 1775"/>
                <a:gd name="T23" fmla="*/ 822 h 1992"/>
                <a:gd name="T24" fmla="*/ 69 w 1775"/>
                <a:gd name="T25" fmla="*/ 892 h 1992"/>
                <a:gd name="T26" fmla="*/ 73 w 1775"/>
                <a:gd name="T27" fmla="*/ 772 h 1992"/>
                <a:gd name="T28" fmla="*/ 352 w 1775"/>
                <a:gd name="T29" fmla="*/ 748 h 1992"/>
                <a:gd name="T30" fmla="*/ 544 w 1775"/>
                <a:gd name="T31" fmla="*/ 726 h 1992"/>
                <a:gd name="T32" fmla="*/ 669 w 1775"/>
                <a:gd name="T33" fmla="*/ 515 h 1992"/>
                <a:gd name="T34" fmla="*/ 707 w 1775"/>
                <a:gd name="T35" fmla="*/ 346 h 1992"/>
                <a:gd name="T36" fmla="*/ 852 w 1775"/>
                <a:gd name="T37" fmla="*/ 202 h 1992"/>
                <a:gd name="T38" fmla="*/ 1032 w 1775"/>
                <a:gd name="T39" fmla="*/ 60 h 1992"/>
                <a:gd name="T40" fmla="*/ 1330 w 1775"/>
                <a:gd name="T41" fmla="*/ 4 h 1992"/>
                <a:gd name="T42" fmla="*/ 1325 w 1775"/>
                <a:gd name="T43" fmla="*/ 89 h 1992"/>
                <a:gd name="T44" fmla="*/ 1301 w 1775"/>
                <a:gd name="T45" fmla="*/ 308 h 1992"/>
                <a:gd name="T46" fmla="*/ 1315 w 1775"/>
                <a:gd name="T47" fmla="*/ 463 h 1992"/>
                <a:gd name="T48" fmla="*/ 1263 w 1775"/>
                <a:gd name="T49" fmla="*/ 538 h 1992"/>
                <a:gd name="T50" fmla="*/ 1349 w 1775"/>
                <a:gd name="T51" fmla="*/ 567 h 1992"/>
                <a:gd name="T52" fmla="*/ 1300 w 1775"/>
                <a:gd name="T53" fmla="*/ 618 h 1992"/>
                <a:gd name="T54" fmla="*/ 1402 w 1775"/>
                <a:gd name="T55" fmla="*/ 635 h 1992"/>
                <a:gd name="T56" fmla="*/ 1462 w 1775"/>
                <a:gd name="T57" fmla="*/ 672 h 1992"/>
                <a:gd name="T58" fmla="*/ 1547 w 1775"/>
                <a:gd name="T59" fmla="*/ 686 h 1992"/>
                <a:gd name="T60" fmla="*/ 1636 w 1775"/>
                <a:gd name="T61" fmla="*/ 779 h 1992"/>
                <a:gd name="T62" fmla="*/ 1761 w 1775"/>
                <a:gd name="T63" fmla="*/ 714 h 1992"/>
                <a:gd name="T64" fmla="*/ 1748 w 1775"/>
                <a:gd name="T65" fmla="*/ 842 h 1992"/>
                <a:gd name="T66" fmla="*/ 1720 w 1775"/>
                <a:gd name="T67" fmla="*/ 943 h 1992"/>
                <a:gd name="T68" fmla="*/ 1754 w 1775"/>
                <a:gd name="T69" fmla="*/ 980 h 1992"/>
                <a:gd name="T70" fmla="*/ 1657 w 1775"/>
                <a:gd name="T71" fmla="*/ 1073 h 1992"/>
                <a:gd name="T72" fmla="*/ 1654 w 1775"/>
                <a:gd name="T73" fmla="*/ 1173 h 1992"/>
                <a:gd name="T74" fmla="*/ 1623 w 1775"/>
                <a:gd name="T75" fmla="*/ 1252 h 1992"/>
                <a:gd name="T76" fmla="*/ 1521 w 1775"/>
                <a:gd name="T77" fmla="*/ 1299 h 1992"/>
                <a:gd name="T78" fmla="*/ 1515 w 1775"/>
                <a:gd name="T79" fmla="*/ 1451 h 1992"/>
                <a:gd name="T80" fmla="*/ 1455 w 1775"/>
                <a:gd name="T81" fmla="*/ 1479 h 1992"/>
                <a:gd name="T82" fmla="*/ 1411 w 1775"/>
                <a:gd name="T83" fmla="*/ 1578 h 1992"/>
                <a:gd name="T84" fmla="*/ 1533 w 1775"/>
                <a:gd name="T85" fmla="*/ 1647 h 1992"/>
                <a:gd name="T86" fmla="*/ 1544 w 1775"/>
                <a:gd name="T87" fmla="*/ 1742 h 1992"/>
                <a:gd name="T88" fmla="*/ 1464 w 1775"/>
                <a:gd name="T89" fmla="*/ 1659 h 1992"/>
                <a:gd name="T90" fmla="*/ 1416 w 1775"/>
                <a:gd name="T91" fmla="*/ 1687 h 1992"/>
                <a:gd name="T92" fmla="*/ 1344 w 1775"/>
                <a:gd name="T93" fmla="*/ 1638 h 1992"/>
                <a:gd name="T94" fmla="*/ 1246 w 1775"/>
                <a:gd name="T95" fmla="*/ 1567 h 1992"/>
                <a:gd name="T96" fmla="*/ 1170 w 1775"/>
                <a:gd name="T97" fmla="*/ 1648 h 1992"/>
                <a:gd name="T98" fmla="*/ 1159 w 1775"/>
                <a:gd name="T99" fmla="*/ 1762 h 1992"/>
                <a:gd name="T100" fmla="*/ 1074 w 1775"/>
                <a:gd name="T101" fmla="*/ 1756 h 1992"/>
                <a:gd name="T102" fmla="*/ 1011 w 1775"/>
                <a:gd name="T103" fmla="*/ 1764 h 1992"/>
                <a:gd name="T104" fmla="*/ 988 w 1775"/>
                <a:gd name="T105" fmla="*/ 1959 h 1992"/>
                <a:gd name="T106" fmla="*/ 863 w 1775"/>
                <a:gd name="T107" fmla="*/ 1982 h 1992"/>
                <a:gd name="T108" fmla="*/ 645 w 1775"/>
                <a:gd name="T109" fmla="*/ 1856 h 1992"/>
                <a:gd name="T110" fmla="*/ 514 w 1775"/>
                <a:gd name="T111" fmla="*/ 1747 h 1992"/>
                <a:gd name="T112" fmla="*/ 474 w 1775"/>
                <a:gd name="T113" fmla="*/ 1815 h 1992"/>
                <a:gd name="T114" fmla="*/ 473 w 1775"/>
                <a:gd name="T115" fmla="*/ 1899 h 1992"/>
                <a:gd name="T116" fmla="*/ 314 w 1775"/>
                <a:gd name="T117" fmla="*/ 1812 h 1992"/>
                <a:gd name="T118" fmla="*/ 235 w 1775"/>
                <a:gd name="T119" fmla="*/ 1853 h 1992"/>
                <a:gd name="T120" fmla="*/ 235 w 1775"/>
                <a:gd name="T121" fmla="*/ 1734 h 1992"/>
                <a:gd name="T122" fmla="*/ 111 w 1775"/>
                <a:gd name="T123" fmla="*/ 1740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75" h="1992">
                  <a:moveTo>
                    <a:pt x="83" y="1747"/>
                  </a:moveTo>
                  <a:lnTo>
                    <a:pt x="73" y="1693"/>
                  </a:lnTo>
                  <a:lnTo>
                    <a:pt x="78" y="1684"/>
                  </a:lnTo>
                  <a:lnTo>
                    <a:pt x="80" y="1676"/>
                  </a:lnTo>
                  <a:lnTo>
                    <a:pt x="81" y="1669"/>
                  </a:lnTo>
                  <a:lnTo>
                    <a:pt x="81" y="1664"/>
                  </a:lnTo>
                  <a:lnTo>
                    <a:pt x="81" y="1659"/>
                  </a:lnTo>
                  <a:lnTo>
                    <a:pt x="80" y="1655"/>
                  </a:lnTo>
                  <a:lnTo>
                    <a:pt x="78" y="1650"/>
                  </a:lnTo>
                  <a:lnTo>
                    <a:pt x="75" y="1646"/>
                  </a:lnTo>
                  <a:lnTo>
                    <a:pt x="70" y="1640"/>
                  </a:lnTo>
                  <a:lnTo>
                    <a:pt x="67" y="1632"/>
                  </a:lnTo>
                  <a:lnTo>
                    <a:pt x="65" y="1627"/>
                  </a:lnTo>
                  <a:lnTo>
                    <a:pt x="65" y="1622"/>
                  </a:lnTo>
                  <a:lnTo>
                    <a:pt x="65" y="1616"/>
                  </a:lnTo>
                  <a:lnTo>
                    <a:pt x="66" y="1610"/>
                  </a:lnTo>
                  <a:lnTo>
                    <a:pt x="68" y="1604"/>
                  </a:lnTo>
                  <a:lnTo>
                    <a:pt x="70" y="1601"/>
                  </a:lnTo>
                  <a:lnTo>
                    <a:pt x="73" y="1597"/>
                  </a:lnTo>
                  <a:lnTo>
                    <a:pt x="77" y="1594"/>
                  </a:lnTo>
                  <a:lnTo>
                    <a:pt x="86" y="1589"/>
                  </a:lnTo>
                  <a:lnTo>
                    <a:pt x="95" y="1584"/>
                  </a:lnTo>
                  <a:lnTo>
                    <a:pt x="105" y="1577"/>
                  </a:lnTo>
                  <a:lnTo>
                    <a:pt x="114" y="1569"/>
                  </a:lnTo>
                  <a:lnTo>
                    <a:pt x="118" y="1565"/>
                  </a:lnTo>
                  <a:lnTo>
                    <a:pt x="121" y="1560"/>
                  </a:lnTo>
                  <a:lnTo>
                    <a:pt x="123" y="1554"/>
                  </a:lnTo>
                  <a:lnTo>
                    <a:pt x="126" y="1547"/>
                  </a:lnTo>
                  <a:lnTo>
                    <a:pt x="127" y="1538"/>
                  </a:lnTo>
                  <a:lnTo>
                    <a:pt x="127" y="1528"/>
                  </a:lnTo>
                  <a:lnTo>
                    <a:pt x="126" y="1519"/>
                  </a:lnTo>
                  <a:lnTo>
                    <a:pt x="124" y="1509"/>
                  </a:lnTo>
                  <a:lnTo>
                    <a:pt x="120" y="1490"/>
                  </a:lnTo>
                  <a:lnTo>
                    <a:pt x="118" y="1471"/>
                  </a:lnTo>
                  <a:lnTo>
                    <a:pt x="119" y="1466"/>
                  </a:lnTo>
                  <a:lnTo>
                    <a:pt x="121" y="1459"/>
                  </a:lnTo>
                  <a:lnTo>
                    <a:pt x="123" y="1453"/>
                  </a:lnTo>
                  <a:lnTo>
                    <a:pt x="127" y="1447"/>
                  </a:lnTo>
                  <a:lnTo>
                    <a:pt x="134" y="1433"/>
                  </a:lnTo>
                  <a:lnTo>
                    <a:pt x="139" y="1423"/>
                  </a:lnTo>
                  <a:lnTo>
                    <a:pt x="146" y="1400"/>
                  </a:lnTo>
                  <a:lnTo>
                    <a:pt x="152" y="1374"/>
                  </a:lnTo>
                  <a:lnTo>
                    <a:pt x="156" y="1361"/>
                  </a:lnTo>
                  <a:lnTo>
                    <a:pt x="159" y="1350"/>
                  </a:lnTo>
                  <a:lnTo>
                    <a:pt x="161" y="1345"/>
                  </a:lnTo>
                  <a:lnTo>
                    <a:pt x="164" y="1339"/>
                  </a:lnTo>
                  <a:lnTo>
                    <a:pt x="166" y="1336"/>
                  </a:lnTo>
                  <a:lnTo>
                    <a:pt x="169" y="1333"/>
                  </a:lnTo>
                  <a:lnTo>
                    <a:pt x="173" y="1330"/>
                  </a:lnTo>
                  <a:lnTo>
                    <a:pt x="178" y="1328"/>
                  </a:lnTo>
                  <a:lnTo>
                    <a:pt x="182" y="1327"/>
                  </a:lnTo>
                  <a:lnTo>
                    <a:pt x="187" y="1327"/>
                  </a:lnTo>
                  <a:lnTo>
                    <a:pt x="196" y="1328"/>
                  </a:lnTo>
                  <a:lnTo>
                    <a:pt x="206" y="1329"/>
                  </a:lnTo>
                  <a:lnTo>
                    <a:pt x="215" y="1329"/>
                  </a:lnTo>
                  <a:lnTo>
                    <a:pt x="224" y="1327"/>
                  </a:lnTo>
                  <a:lnTo>
                    <a:pt x="233" y="1325"/>
                  </a:lnTo>
                  <a:lnTo>
                    <a:pt x="241" y="1322"/>
                  </a:lnTo>
                  <a:lnTo>
                    <a:pt x="258" y="1313"/>
                  </a:lnTo>
                  <a:lnTo>
                    <a:pt x="274" y="1304"/>
                  </a:lnTo>
                  <a:lnTo>
                    <a:pt x="281" y="1303"/>
                  </a:lnTo>
                  <a:lnTo>
                    <a:pt x="291" y="1302"/>
                  </a:lnTo>
                  <a:lnTo>
                    <a:pt x="298" y="1300"/>
                  </a:lnTo>
                  <a:lnTo>
                    <a:pt x="302" y="1299"/>
                  </a:lnTo>
                  <a:lnTo>
                    <a:pt x="305" y="1297"/>
                  </a:lnTo>
                  <a:lnTo>
                    <a:pt x="306" y="1295"/>
                  </a:lnTo>
                  <a:lnTo>
                    <a:pt x="308" y="1287"/>
                  </a:lnTo>
                  <a:lnTo>
                    <a:pt x="309" y="1271"/>
                  </a:lnTo>
                  <a:lnTo>
                    <a:pt x="310" y="1252"/>
                  </a:lnTo>
                  <a:lnTo>
                    <a:pt x="310" y="1240"/>
                  </a:lnTo>
                  <a:lnTo>
                    <a:pt x="280" y="1250"/>
                  </a:lnTo>
                  <a:lnTo>
                    <a:pt x="240" y="1261"/>
                  </a:lnTo>
                  <a:lnTo>
                    <a:pt x="231" y="1262"/>
                  </a:lnTo>
                  <a:lnTo>
                    <a:pt x="222" y="1262"/>
                  </a:lnTo>
                  <a:lnTo>
                    <a:pt x="219" y="1261"/>
                  </a:lnTo>
                  <a:lnTo>
                    <a:pt x="215" y="1260"/>
                  </a:lnTo>
                  <a:lnTo>
                    <a:pt x="212" y="1259"/>
                  </a:lnTo>
                  <a:lnTo>
                    <a:pt x="210" y="1256"/>
                  </a:lnTo>
                  <a:lnTo>
                    <a:pt x="207" y="1254"/>
                  </a:lnTo>
                  <a:lnTo>
                    <a:pt x="205" y="1250"/>
                  </a:lnTo>
                  <a:lnTo>
                    <a:pt x="203" y="1246"/>
                  </a:lnTo>
                  <a:lnTo>
                    <a:pt x="202" y="1241"/>
                  </a:lnTo>
                  <a:lnTo>
                    <a:pt x="202" y="1236"/>
                  </a:lnTo>
                  <a:lnTo>
                    <a:pt x="201" y="1229"/>
                  </a:lnTo>
                  <a:lnTo>
                    <a:pt x="202" y="1223"/>
                  </a:lnTo>
                  <a:lnTo>
                    <a:pt x="203" y="1214"/>
                  </a:lnTo>
                  <a:lnTo>
                    <a:pt x="204" y="1209"/>
                  </a:lnTo>
                  <a:lnTo>
                    <a:pt x="205" y="1205"/>
                  </a:lnTo>
                  <a:lnTo>
                    <a:pt x="206" y="1202"/>
                  </a:lnTo>
                  <a:lnTo>
                    <a:pt x="208" y="1200"/>
                  </a:lnTo>
                  <a:lnTo>
                    <a:pt x="210" y="1199"/>
                  </a:lnTo>
                  <a:lnTo>
                    <a:pt x="213" y="1198"/>
                  </a:lnTo>
                  <a:lnTo>
                    <a:pt x="215" y="1197"/>
                  </a:lnTo>
                  <a:lnTo>
                    <a:pt x="218" y="1197"/>
                  </a:lnTo>
                  <a:lnTo>
                    <a:pt x="232" y="1198"/>
                  </a:lnTo>
                  <a:lnTo>
                    <a:pt x="249" y="1198"/>
                  </a:lnTo>
                  <a:lnTo>
                    <a:pt x="253" y="1197"/>
                  </a:lnTo>
                  <a:lnTo>
                    <a:pt x="259" y="1193"/>
                  </a:lnTo>
                  <a:lnTo>
                    <a:pt x="265" y="1190"/>
                  </a:lnTo>
                  <a:lnTo>
                    <a:pt x="273" y="1186"/>
                  </a:lnTo>
                  <a:lnTo>
                    <a:pt x="288" y="1175"/>
                  </a:lnTo>
                  <a:lnTo>
                    <a:pt x="304" y="1162"/>
                  </a:lnTo>
                  <a:lnTo>
                    <a:pt x="318" y="1149"/>
                  </a:lnTo>
                  <a:lnTo>
                    <a:pt x="331" y="1135"/>
                  </a:lnTo>
                  <a:lnTo>
                    <a:pt x="335" y="1129"/>
                  </a:lnTo>
                  <a:lnTo>
                    <a:pt x="339" y="1124"/>
                  </a:lnTo>
                  <a:lnTo>
                    <a:pt x="341" y="1117"/>
                  </a:lnTo>
                  <a:lnTo>
                    <a:pt x="342" y="1113"/>
                  </a:lnTo>
                  <a:lnTo>
                    <a:pt x="341" y="1100"/>
                  </a:lnTo>
                  <a:lnTo>
                    <a:pt x="338" y="1084"/>
                  </a:lnTo>
                  <a:lnTo>
                    <a:pt x="335" y="1069"/>
                  </a:lnTo>
                  <a:lnTo>
                    <a:pt x="332" y="1054"/>
                  </a:lnTo>
                  <a:lnTo>
                    <a:pt x="329" y="1038"/>
                  </a:lnTo>
                  <a:lnTo>
                    <a:pt x="328" y="1023"/>
                  </a:lnTo>
                  <a:lnTo>
                    <a:pt x="328" y="1015"/>
                  </a:lnTo>
                  <a:lnTo>
                    <a:pt x="329" y="1008"/>
                  </a:lnTo>
                  <a:lnTo>
                    <a:pt x="331" y="1001"/>
                  </a:lnTo>
                  <a:lnTo>
                    <a:pt x="333" y="994"/>
                  </a:lnTo>
                  <a:lnTo>
                    <a:pt x="336" y="981"/>
                  </a:lnTo>
                  <a:lnTo>
                    <a:pt x="339" y="959"/>
                  </a:lnTo>
                  <a:lnTo>
                    <a:pt x="341" y="932"/>
                  </a:lnTo>
                  <a:lnTo>
                    <a:pt x="342" y="903"/>
                  </a:lnTo>
                  <a:lnTo>
                    <a:pt x="341" y="889"/>
                  </a:lnTo>
                  <a:lnTo>
                    <a:pt x="340" y="875"/>
                  </a:lnTo>
                  <a:lnTo>
                    <a:pt x="339" y="863"/>
                  </a:lnTo>
                  <a:lnTo>
                    <a:pt x="337" y="852"/>
                  </a:lnTo>
                  <a:lnTo>
                    <a:pt x="334" y="843"/>
                  </a:lnTo>
                  <a:lnTo>
                    <a:pt x="330" y="836"/>
                  </a:lnTo>
                  <a:lnTo>
                    <a:pt x="328" y="832"/>
                  </a:lnTo>
                  <a:lnTo>
                    <a:pt x="326" y="830"/>
                  </a:lnTo>
                  <a:lnTo>
                    <a:pt x="324" y="829"/>
                  </a:lnTo>
                  <a:lnTo>
                    <a:pt x="321" y="828"/>
                  </a:lnTo>
                  <a:lnTo>
                    <a:pt x="315" y="829"/>
                  </a:lnTo>
                  <a:lnTo>
                    <a:pt x="308" y="831"/>
                  </a:lnTo>
                  <a:lnTo>
                    <a:pt x="299" y="835"/>
                  </a:lnTo>
                  <a:lnTo>
                    <a:pt x="288" y="840"/>
                  </a:lnTo>
                  <a:lnTo>
                    <a:pt x="264" y="850"/>
                  </a:lnTo>
                  <a:lnTo>
                    <a:pt x="239" y="862"/>
                  </a:lnTo>
                  <a:lnTo>
                    <a:pt x="227" y="867"/>
                  </a:lnTo>
                  <a:lnTo>
                    <a:pt x="214" y="872"/>
                  </a:lnTo>
                  <a:lnTo>
                    <a:pt x="204" y="875"/>
                  </a:lnTo>
                  <a:lnTo>
                    <a:pt x="193" y="877"/>
                  </a:lnTo>
                  <a:lnTo>
                    <a:pt x="185" y="877"/>
                  </a:lnTo>
                  <a:lnTo>
                    <a:pt x="179" y="876"/>
                  </a:lnTo>
                  <a:lnTo>
                    <a:pt x="177" y="875"/>
                  </a:lnTo>
                  <a:lnTo>
                    <a:pt x="175" y="873"/>
                  </a:lnTo>
                  <a:lnTo>
                    <a:pt x="173" y="870"/>
                  </a:lnTo>
                  <a:lnTo>
                    <a:pt x="173" y="867"/>
                  </a:lnTo>
                  <a:lnTo>
                    <a:pt x="176" y="856"/>
                  </a:lnTo>
                  <a:lnTo>
                    <a:pt x="178" y="845"/>
                  </a:lnTo>
                  <a:lnTo>
                    <a:pt x="179" y="840"/>
                  </a:lnTo>
                  <a:lnTo>
                    <a:pt x="179" y="835"/>
                  </a:lnTo>
                  <a:lnTo>
                    <a:pt x="178" y="830"/>
                  </a:lnTo>
                  <a:lnTo>
                    <a:pt x="175" y="825"/>
                  </a:lnTo>
                  <a:lnTo>
                    <a:pt x="171" y="824"/>
                  </a:lnTo>
                  <a:lnTo>
                    <a:pt x="166" y="822"/>
                  </a:lnTo>
                  <a:lnTo>
                    <a:pt x="160" y="820"/>
                  </a:lnTo>
                  <a:lnTo>
                    <a:pt x="153" y="819"/>
                  </a:lnTo>
                  <a:lnTo>
                    <a:pt x="139" y="817"/>
                  </a:lnTo>
                  <a:lnTo>
                    <a:pt x="130" y="816"/>
                  </a:lnTo>
                  <a:lnTo>
                    <a:pt x="127" y="816"/>
                  </a:lnTo>
                  <a:lnTo>
                    <a:pt x="123" y="818"/>
                  </a:lnTo>
                  <a:lnTo>
                    <a:pt x="120" y="821"/>
                  </a:lnTo>
                  <a:lnTo>
                    <a:pt x="116" y="825"/>
                  </a:lnTo>
                  <a:lnTo>
                    <a:pt x="109" y="836"/>
                  </a:lnTo>
                  <a:lnTo>
                    <a:pt x="99" y="848"/>
                  </a:lnTo>
                  <a:lnTo>
                    <a:pt x="84" y="872"/>
                  </a:lnTo>
                  <a:lnTo>
                    <a:pt x="72" y="890"/>
                  </a:lnTo>
                  <a:lnTo>
                    <a:pt x="69" y="892"/>
                  </a:lnTo>
                  <a:lnTo>
                    <a:pt x="66" y="894"/>
                  </a:lnTo>
                  <a:lnTo>
                    <a:pt x="62" y="895"/>
                  </a:lnTo>
                  <a:lnTo>
                    <a:pt x="59" y="895"/>
                  </a:lnTo>
                  <a:lnTo>
                    <a:pt x="55" y="895"/>
                  </a:lnTo>
                  <a:lnTo>
                    <a:pt x="49" y="894"/>
                  </a:lnTo>
                  <a:lnTo>
                    <a:pt x="45" y="892"/>
                  </a:lnTo>
                  <a:lnTo>
                    <a:pt x="41" y="890"/>
                  </a:lnTo>
                  <a:lnTo>
                    <a:pt x="31" y="884"/>
                  </a:lnTo>
                  <a:lnTo>
                    <a:pt x="21" y="876"/>
                  </a:lnTo>
                  <a:lnTo>
                    <a:pt x="11" y="867"/>
                  </a:lnTo>
                  <a:lnTo>
                    <a:pt x="0" y="858"/>
                  </a:lnTo>
                  <a:lnTo>
                    <a:pt x="0" y="858"/>
                  </a:lnTo>
                  <a:lnTo>
                    <a:pt x="73" y="772"/>
                  </a:lnTo>
                  <a:lnTo>
                    <a:pt x="86" y="773"/>
                  </a:lnTo>
                  <a:lnTo>
                    <a:pt x="98" y="775"/>
                  </a:lnTo>
                  <a:lnTo>
                    <a:pt x="113" y="775"/>
                  </a:lnTo>
                  <a:lnTo>
                    <a:pt x="128" y="775"/>
                  </a:lnTo>
                  <a:lnTo>
                    <a:pt x="159" y="774"/>
                  </a:lnTo>
                  <a:lnTo>
                    <a:pt x="192" y="772"/>
                  </a:lnTo>
                  <a:lnTo>
                    <a:pt x="225" y="768"/>
                  </a:lnTo>
                  <a:lnTo>
                    <a:pt x="256" y="764"/>
                  </a:lnTo>
                  <a:lnTo>
                    <a:pt x="284" y="757"/>
                  </a:lnTo>
                  <a:lnTo>
                    <a:pt x="309" y="752"/>
                  </a:lnTo>
                  <a:lnTo>
                    <a:pt x="322" y="749"/>
                  </a:lnTo>
                  <a:lnTo>
                    <a:pt x="336" y="748"/>
                  </a:lnTo>
                  <a:lnTo>
                    <a:pt x="352" y="748"/>
                  </a:lnTo>
                  <a:lnTo>
                    <a:pt x="368" y="748"/>
                  </a:lnTo>
                  <a:lnTo>
                    <a:pt x="405" y="750"/>
                  </a:lnTo>
                  <a:lnTo>
                    <a:pt x="441" y="752"/>
                  </a:lnTo>
                  <a:lnTo>
                    <a:pt x="459" y="753"/>
                  </a:lnTo>
                  <a:lnTo>
                    <a:pt x="477" y="752"/>
                  </a:lnTo>
                  <a:lnTo>
                    <a:pt x="493" y="750"/>
                  </a:lnTo>
                  <a:lnTo>
                    <a:pt x="508" y="747"/>
                  </a:lnTo>
                  <a:lnTo>
                    <a:pt x="515" y="745"/>
                  </a:lnTo>
                  <a:lnTo>
                    <a:pt x="522" y="743"/>
                  </a:lnTo>
                  <a:lnTo>
                    <a:pt x="528" y="740"/>
                  </a:lnTo>
                  <a:lnTo>
                    <a:pt x="534" y="735"/>
                  </a:lnTo>
                  <a:lnTo>
                    <a:pt x="539" y="731"/>
                  </a:lnTo>
                  <a:lnTo>
                    <a:pt x="544" y="726"/>
                  </a:lnTo>
                  <a:lnTo>
                    <a:pt x="548" y="721"/>
                  </a:lnTo>
                  <a:lnTo>
                    <a:pt x="551" y="715"/>
                  </a:lnTo>
                  <a:lnTo>
                    <a:pt x="560" y="692"/>
                  </a:lnTo>
                  <a:lnTo>
                    <a:pt x="572" y="667"/>
                  </a:lnTo>
                  <a:lnTo>
                    <a:pt x="583" y="639"/>
                  </a:lnTo>
                  <a:lnTo>
                    <a:pt x="597" y="611"/>
                  </a:lnTo>
                  <a:lnTo>
                    <a:pt x="611" y="585"/>
                  </a:lnTo>
                  <a:lnTo>
                    <a:pt x="627" y="560"/>
                  </a:lnTo>
                  <a:lnTo>
                    <a:pt x="635" y="549"/>
                  </a:lnTo>
                  <a:lnTo>
                    <a:pt x="644" y="539"/>
                  </a:lnTo>
                  <a:lnTo>
                    <a:pt x="653" y="530"/>
                  </a:lnTo>
                  <a:lnTo>
                    <a:pt x="661" y="522"/>
                  </a:lnTo>
                  <a:lnTo>
                    <a:pt x="669" y="515"/>
                  </a:lnTo>
                  <a:lnTo>
                    <a:pt x="676" y="508"/>
                  </a:lnTo>
                  <a:lnTo>
                    <a:pt x="681" y="500"/>
                  </a:lnTo>
                  <a:lnTo>
                    <a:pt x="686" y="490"/>
                  </a:lnTo>
                  <a:lnTo>
                    <a:pt x="691" y="481"/>
                  </a:lnTo>
                  <a:lnTo>
                    <a:pt x="695" y="472"/>
                  </a:lnTo>
                  <a:lnTo>
                    <a:pt x="697" y="461"/>
                  </a:lnTo>
                  <a:lnTo>
                    <a:pt x="700" y="451"/>
                  </a:lnTo>
                  <a:lnTo>
                    <a:pt x="703" y="429"/>
                  </a:lnTo>
                  <a:lnTo>
                    <a:pt x="705" y="407"/>
                  </a:lnTo>
                  <a:lnTo>
                    <a:pt x="706" y="386"/>
                  </a:lnTo>
                  <a:lnTo>
                    <a:pt x="706" y="365"/>
                  </a:lnTo>
                  <a:lnTo>
                    <a:pt x="706" y="356"/>
                  </a:lnTo>
                  <a:lnTo>
                    <a:pt x="707" y="346"/>
                  </a:lnTo>
                  <a:lnTo>
                    <a:pt x="709" y="338"/>
                  </a:lnTo>
                  <a:lnTo>
                    <a:pt x="712" y="330"/>
                  </a:lnTo>
                  <a:lnTo>
                    <a:pt x="715" y="322"/>
                  </a:lnTo>
                  <a:lnTo>
                    <a:pt x="718" y="314"/>
                  </a:lnTo>
                  <a:lnTo>
                    <a:pt x="722" y="307"/>
                  </a:lnTo>
                  <a:lnTo>
                    <a:pt x="726" y="300"/>
                  </a:lnTo>
                  <a:lnTo>
                    <a:pt x="737" y="287"/>
                  </a:lnTo>
                  <a:lnTo>
                    <a:pt x="748" y="274"/>
                  </a:lnTo>
                  <a:lnTo>
                    <a:pt x="762" y="263"/>
                  </a:lnTo>
                  <a:lnTo>
                    <a:pt x="776" y="252"/>
                  </a:lnTo>
                  <a:lnTo>
                    <a:pt x="806" y="232"/>
                  </a:lnTo>
                  <a:lnTo>
                    <a:pt x="838" y="212"/>
                  </a:lnTo>
                  <a:lnTo>
                    <a:pt x="852" y="202"/>
                  </a:lnTo>
                  <a:lnTo>
                    <a:pt x="867" y="192"/>
                  </a:lnTo>
                  <a:lnTo>
                    <a:pt x="881" y="181"/>
                  </a:lnTo>
                  <a:lnTo>
                    <a:pt x="894" y="170"/>
                  </a:lnTo>
                  <a:lnTo>
                    <a:pt x="903" y="162"/>
                  </a:lnTo>
                  <a:lnTo>
                    <a:pt x="914" y="154"/>
                  </a:lnTo>
                  <a:lnTo>
                    <a:pt x="925" y="146"/>
                  </a:lnTo>
                  <a:lnTo>
                    <a:pt x="938" y="139"/>
                  </a:lnTo>
                  <a:lnTo>
                    <a:pt x="963" y="122"/>
                  </a:lnTo>
                  <a:lnTo>
                    <a:pt x="989" y="104"/>
                  </a:lnTo>
                  <a:lnTo>
                    <a:pt x="1000" y="95"/>
                  </a:lnTo>
                  <a:lnTo>
                    <a:pt x="1012" y="84"/>
                  </a:lnTo>
                  <a:lnTo>
                    <a:pt x="1022" y="73"/>
                  </a:lnTo>
                  <a:lnTo>
                    <a:pt x="1032" y="60"/>
                  </a:lnTo>
                  <a:lnTo>
                    <a:pt x="1039" y="48"/>
                  </a:lnTo>
                  <a:lnTo>
                    <a:pt x="1045" y="33"/>
                  </a:lnTo>
                  <a:lnTo>
                    <a:pt x="1047" y="25"/>
                  </a:lnTo>
                  <a:lnTo>
                    <a:pt x="1049" y="17"/>
                  </a:lnTo>
                  <a:lnTo>
                    <a:pt x="1050" y="8"/>
                  </a:lnTo>
                  <a:lnTo>
                    <a:pt x="1051" y="0"/>
                  </a:lnTo>
                  <a:lnTo>
                    <a:pt x="1051" y="0"/>
                  </a:lnTo>
                  <a:lnTo>
                    <a:pt x="1073" y="1"/>
                  </a:lnTo>
                  <a:lnTo>
                    <a:pt x="1095" y="2"/>
                  </a:lnTo>
                  <a:lnTo>
                    <a:pt x="1115" y="3"/>
                  </a:lnTo>
                  <a:lnTo>
                    <a:pt x="1134" y="4"/>
                  </a:lnTo>
                  <a:lnTo>
                    <a:pt x="1285" y="4"/>
                  </a:lnTo>
                  <a:lnTo>
                    <a:pt x="1330" y="4"/>
                  </a:lnTo>
                  <a:lnTo>
                    <a:pt x="1334" y="4"/>
                  </a:lnTo>
                  <a:lnTo>
                    <a:pt x="1338" y="5"/>
                  </a:lnTo>
                  <a:lnTo>
                    <a:pt x="1341" y="6"/>
                  </a:lnTo>
                  <a:lnTo>
                    <a:pt x="1343" y="7"/>
                  </a:lnTo>
                  <a:lnTo>
                    <a:pt x="1345" y="9"/>
                  </a:lnTo>
                  <a:lnTo>
                    <a:pt x="1348" y="12"/>
                  </a:lnTo>
                  <a:lnTo>
                    <a:pt x="1349" y="15"/>
                  </a:lnTo>
                  <a:lnTo>
                    <a:pt x="1350" y="18"/>
                  </a:lnTo>
                  <a:lnTo>
                    <a:pt x="1350" y="25"/>
                  </a:lnTo>
                  <a:lnTo>
                    <a:pt x="1349" y="32"/>
                  </a:lnTo>
                  <a:lnTo>
                    <a:pt x="1346" y="42"/>
                  </a:lnTo>
                  <a:lnTo>
                    <a:pt x="1342" y="50"/>
                  </a:lnTo>
                  <a:lnTo>
                    <a:pt x="1325" y="89"/>
                  </a:lnTo>
                  <a:lnTo>
                    <a:pt x="1310" y="120"/>
                  </a:lnTo>
                  <a:lnTo>
                    <a:pt x="1307" y="145"/>
                  </a:lnTo>
                  <a:lnTo>
                    <a:pt x="1306" y="170"/>
                  </a:lnTo>
                  <a:lnTo>
                    <a:pt x="1305" y="183"/>
                  </a:lnTo>
                  <a:lnTo>
                    <a:pt x="1305" y="195"/>
                  </a:lnTo>
                  <a:lnTo>
                    <a:pt x="1306" y="208"/>
                  </a:lnTo>
                  <a:lnTo>
                    <a:pt x="1308" y="221"/>
                  </a:lnTo>
                  <a:lnTo>
                    <a:pt x="1309" y="232"/>
                  </a:lnTo>
                  <a:lnTo>
                    <a:pt x="1309" y="242"/>
                  </a:lnTo>
                  <a:lnTo>
                    <a:pt x="1309" y="253"/>
                  </a:lnTo>
                  <a:lnTo>
                    <a:pt x="1308" y="264"/>
                  </a:lnTo>
                  <a:lnTo>
                    <a:pt x="1305" y="286"/>
                  </a:lnTo>
                  <a:lnTo>
                    <a:pt x="1301" y="308"/>
                  </a:lnTo>
                  <a:lnTo>
                    <a:pt x="1296" y="330"/>
                  </a:lnTo>
                  <a:lnTo>
                    <a:pt x="1292" y="352"/>
                  </a:lnTo>
                  <a:lnTo>
                    <a:pt x="1289" y="373"/>
                  </a:lnTo>
                  <a:lnTo>
                    <a:pt x="1287" y="396"/>
                  </a:lnTo>
                  <a:lnTo>
                    <a:pt x="1289" y="405"/>
                  </a:lnTo>
                  <a:lnTo>
                    <a:pt x="1293" y="413"/>
                  </a:lnTo>
                  <a:lnTo>
                    <a:pt x="1299" y="421"/>
                  </a:lnTo>
                  <a:lnTo>
                    <a:pt x="1304" y="429"/>
                  </a:lnTo>
                  <a:lnTo>
                    <a:pt x="1308" y="437"/>
                  </a:lnTo>
                  <a:lnTo>
                    <a:pt x="1312" y="444"/>
                  </a:lnTo>
                  <a:lnTo>
                    <a:pt x="1315" y="452"/>
                  </a:lnTo>
                  <a:lnTo>
                    <a:pt x="1316" y="460"/>
                  </a:lnTo>
                  <a:lnTo>
                    <a:pt x="1315" y="463"/>
                  </a:lnTo>
                  <a:lnTo>
                    <a:pt x="1312" y="466"/>
                  </a:lnTo>
                  <a:lnTo>
                    <a:pt x="1308" y="470"/>
                  </a:lnTo>
                  <a:lnTo>
                    <a:pt x="1303" y="476"/>
                  </a:lnTo>
                  <a:lnTo>
                    <a:pt x="1290" y="487"/>
                  </a:lnTo>
                  <a:lnTo>
                    <a:pt x="1278" y="500"/>
                  </a:lnTo>
                  <a:lnTo>
                    <a:pt x="1271" y="506"/>
                  </a:lnTo>
                  <a:lnTo>
                    <a:pt x="1266" y="512"/>
                  </a:lnTo>
                  <a:lnTo>
                    <a:pt x="1263" y="518"/>
                  </a:lnTo>
                  <a:lnTo>
                    <a:pt x="1260" y="525"/>
                  </a:lnTo>
                  <a:lnTo>
                    <a:pt x="1259" y="530"/>
                  </a:lnTo>
                  <a:lnTo>
                    <a:pt x="1260" y="535"/>
                  </a:lnTo>
                  <a:lnTo>
                    <a:pt x="1261" y="537"/>
                  </a:lnTo>
                  <a:lnTo>
                    <a:pt x="1263" y="538"/>
                  </a:lnTo>
                  <a:lnTo>
                    <a:pt x="1266" y="540"/>
                  </a:lnTo>
                  <a:lnTo>
                    <a:pt x="1269" y="542"/>
                  </a:lnTo>
                  <a:lnTo>
                    <a:pt x="1277" y="542"/>
                  </a:lnTo>
                  <a:lnTo>
                    <a:pt x="1290" y="545"/>
                  </a:lnTo>
                  <a:lnTo>
                    <a:pt x="1308" y="547"/>
                  </a:lnTo>
                  <a:lnTo>
                    <a:pt x="1326" y="550"/>
                  </a:lnTo>
                  <a:lnTo>
                    <a:pt x="1334" y="552"/>
                  </a:lnTo>
                  <a:lnTo>
                    <a:pt x="1340" y="555"/>
                  </a:lnTo>
                  <a:lnTo>
                    <a:pt x="1345" y="557"/>
                  </a:lnTo>
                  <a:lnTo>
                    <a:pt x="1349" y="561"/>
                  </a:lnTo>
                  <a:lnTo>
                    <a:pt x="1350" y="563"/>
                  </a:lnTo>
                  <a:lnTo>
                    <a:pt x="1350" y="565"/>
                  </a:lnTo>
                  <a:lnTo>
                    <a:pt x="1349" y="567"/>
                  </a:lnTo>
                  <a:lnTo>
                    <a:pt x="1346" y="570"/>
                  </a:lnTo>
                  <a:lnTo>
                    <a:pt x="1341" y="575"/>
                  </a:lnTo>
                  <a:lnTo>
                    <a:pt x="1331" y="581"/>
                  </a:lnTo>
                  <a:lnTo>
                    <a:pt x="1319" y="587"/>
                  </a:lnTo>
                  <a:lnTo>
                    <a:pt x="1310" y="593"/>
                  </a:lnTo>
                  <a:lnTo>
                    <a:pt x="1306" y="596"/>
                  </a:lnTo>
                  <a:lnTo>
                    <a:pt x="1303" y="598"/>
                  </a:lnTo>
                  <a:lnTo>
                    <a:pt x="1301" y="601"/>
                  </a:lnTo>
                  <a:lnTo>
                    <a:pt x="1299" y="604"/>
                  </a:lnTo>
                  <a:lnTo>
                    <a:pt x="1297" y="607"/>
                  </a:lnTo>
                  <a:lnTo>
                    <a:pt x="1297" y="610"/>
                  </a:lnTo>
                  <a:lnTo>
                    <a:pt x="1299" y="613"/>
                  </a:lnTo>
                  <a:lnTo>
                    <a:pt x="1300" y="618"/>
                  </a:lnTo>
                  <a:lnTo>
                    <a:pt x="1306" y="627"/>
                  </a:lnTo>
                  <a:lnTo>
                    <a:pt x="1316" y="638"/>
                  </a:lnTo>
                  <a:lnTo>
                    <a:pt x="1319" y="642"/>
                  </a:lnTo>
                  <a:lnTo>
                    <a:pt x="1324" y="644"/>
                  </a:lnTo>
                  <a:lnTo>
                    <a:pt x="1327" y="646"/>
                  </a:lnTo>
                  <a:lnTo>
                    <a:pt x="1331" y="647"/>
                  </a:lnTo>
                  <a:lnTo>
                    <a:pt x="1339" y="649"/>
                  </a:lnTo>
                  <a:lnTo>
                    <a:pt x="1349" y="649"/>
                  </a:lnTo>
                  <a:lnTo>
                    <a:pt x="1357" y="648"/>
                  </a:lnTo>
                  <a:lnTo>
                    <a:pt x="1366" y="647"/>
                  </a:lnTo>
                  <a:lnTo>
                    <a:pt x="1376" y="644"/>
                  </a:lnTo>
                  <a:lnTo>
                    <a:pt x="1385" y="642"/>
                  </a:lnTo>
                  <a:lnTo>
                    <a:pt x="1402" y="635"/>
                  </a:lnTo>
                  <a:lnTo>
                    <a:pt x="1416" y="632"/>
                  </a:lnTo>
                  <a:lnTo>
                    <a:pt x="1423" y="632"/>
                  </a:lnTo>
                  <a:lnTo>
                    <a:pt x="1427" y="633"/>
                  </a:lnTo>
                  <a:lnTo>
                    <a:pt x="1429" y="634"/>
                  </a:lnTo>
                  <a:lnTo>
                    <a:pt x="1431" y="636"/>
                  </a:lnTo>
                  <a:lnTo>
                    <a:pt x="1432" y="638"/>
                  </a:lnTo>
                  <a:lnTo>
                    <a:pt x="1433" y="642"/>
                  </a:lnTo>
                  <a:lnTo>
                    <a:pt x="1436" y="652"/>
                  </a:lnTo>
                  <a:lnTo>
                    <a:pt x="1440" y="661"/>
                  </a:lnTo>
                  <a:lnTo>
                    <a:pt x="1446" y="667"/>
                  </a:lnTo>
                  <a:lnTo>
                    <a:pt x="1450" y="671"/>
                  </a:lnTo>
                  <a:lnTo>
                    <a:pt x="1456" y="672"/>
                  </a:lnTo>
                  <a:lnTo>
                    <a:pt x="1462" y="672"/>
                  </a:lnTo>
                  <a:lnTo>
                    <a:pt x="1468" y="670"/>
                  </a:lnTo>
                  <a:lnTo>
                    <a:pt x="1475" y="668"/>
                  </a:lnTo>
                  <a:lnTo>
                    <a:pt x="1490" y="660"/>
                  </a:lnTo>
                  <a:lnTo>
                    <a:pt x="1506" y="652"/>
                  </a:lnTo>
                  <a:lnTo>
                    <a:pt x="1514" y="648"/>
                  </a:lnTo>
                  <a:lnTo>
                    <a:pt x="1523" y="646"/>
                  </a:lnTo>
                  <a:lnTo>
                    <a:pt x="1532" y="644"/>
                  </a:lnTo>
                  <a:lnTo>
                    <a:pt x="1540" y="643"/>
                  </a:lnTo>
                  <a:lnTo>
                    <a:pt x="1541" y="663"/>
                  </a:lnTo>
                  <a:lnTo>
                    <a:pt x="1542" y="678"/>
                  </a:lnTo>
                  <a:lnTo>
                    <a:pt x="1544" y="680"/>
                  </a:lnTo>
                  <a:lnTo>
                    <a:pt x="1545" y="683"/>
                  </a:lnTo>
                  <a:lnTo>
                    <a:pt x="1547" y="686"/>
                  </a:lnTo>
                  <a:lnTo>
                    <a:pt x="1550" y="689"/>
                  </a:lnTo>
                  <a:lnTo>
                    <a:pt x="1558" y="695"/>
                  </a:lnTo>
                  <a:lnTo>
                    <a:pt x="1571" y="700"/>
                  </a:lnTo>
                  <a:lnTo>
                    <a:pt x="1577" y="703"/>
                  </a:lnTo>
                  <a:lnTo>
                    <a:pt x="1583" y="709"/>
                  </a:lnTo>
                  <a:lnTo>
                    <a:pt x="1589" y="716"/>
                  </a:lnTo>
                  <a:lnTo>
                    <a:pt x="1595" y="723"/>
                  </a:lnTo>
                  <a:lnTo>
                    <a:pt x="1605" y="740"/>
                  </a:lnTo>
                  <a:lnTo>
                    <a:pt x="1615" y="756"/>
                  </a:lnTo>
                  <a:lnTo>
                    <a:pt x="1621" y="765"/>
                  </a:lnTo>
                  <a:lnTo>
                    <a:pt x="1626" y="771"/>
                  </a:lnTo>
                  <a:lnTo>
                    <a:pt x="1631" y="775"/>
                  </a:lnTo>
                  <a:lnTo>
                    <a:pt x="1636" y="779"/>
                  </a:lnTo>
                  <a:lnTo>
                    <a:pt x="1639" y="779"/>
                  </a:lnTo>
                  <a:lnTo>
                    <a:pt x="1643" y="780"/>
                  </a:lnTo>
                  <a:lnTo>
                    <a:pt x="1646" y="779"/>
                  </a:lnTo>
                  <a:lnTo>
                    <a:pt x="1649" y="778"/>
                  </a:lnTo>
                  <a:lnTo>
                    <a:pt x="1653" y="777"/>
                  </a:lnTo>
                  <a:lnTo>
                    <a:pt x="1656" y="775"/>
                  </a:lnTo>
                  <a:lnTo>
                    <a:pt x="1660" y="772"/>
                  </a:lnTo>
                  <a:lnTo>
                    <a:pt x="1663" y="768"/>
                  </a:lnTo>
                  <a:lnTo>
                    <a:pt x="1746" y="674"/>
                  </a:lnTo>
                  <a:lnTo>
                    <a:pt x="1750" y="682"/>
                  </a:lnTo>
                  <a:lnTo>
                    <a:pt x="1754" y="692"/>
                  </a:lnTo>
                  <a:lnTo>
                    <a:pt x="1758" y="702"/>
                  </a:lnTo>
                  <a:lnTo>
                    <a:pt x="1761" y="714"/>
                  </a:lnTo>
                  <a:lnTo>
                    <a:pt x="1768" y="735"/>
                  </a:lnTo>
                  <a:lnTo>
                    <a:pt x="1773" y="755"/>
                  </a:lnTo>
                  <a:lnTo>
                    <a:pt x="1775" y="765"/>
                  </a:lnTo>
                  <a:lnTo>
                    <a:pt x="1775" y="773"/>
                  </a:lnTo>
                  <a:lnTo>
                    <a:pt x="1774" y="781"/>
                  </a:lnTo>
                  <a:lnTo>
                    <a:pt x="1773" y="788"/>
                  </a:lnTo>
                  <a:lnTo>
                    <a:pt x="1767" y="800"/>
                  </a:lnTo>
                  <a:lnTo>
                    <a:pt x="1758" y="812"/>
                  </a:lnTo>
                  <a:lnTo>
                    <a:pt x="1755" y="817"/>
                  </a:lnTo>
                  <a:lnTo>
                    <a:pt x="1752" y="823"/>
                  </a:lnTo>
                  <a:lnTo>
                    <a:pt x="1750" y="829"/>
                  </a:lnTo>
                  <a:lnTo>
                    <a:pt x="1748" y="836"/>
                  </a:lnTo>
                  <a:lnTo>
                    <a:pt x="1748" y="842"/>
                  </a:lnTo>
                  <a:lnTo>
                    <a:pt x="1749" y="849"/>
                  </a:lnTo>
                  <a:lnTo>
                    <a:pt x="1752" y="858"/>
                  </a:lnTo>
                  <a:lnTo>
                    <a:pt x="1757" y="867"/>
                  </a:lnTo>
                  <a:lnTo>
                    <a:pt x="1762" y="875"/>
                  </a:lnTo>
                  <a:lnTo>
                    <a:pt x="1765" y="884"/>
                  </a:lnTo>
                  <a:lnTo>
                    <a:pt x="1766" y="891"/>
                  </a:lnTo>
                  <a:lnTo>
                    <a:pt x="1764" y="898"/>
                  </a:lnTo>
                  <a:lnTo>
                    <a:pt x="1760" y="904"/>
                  </a:lnTo>
                  <a:lnTo>
                    <a:pt x="1756" y="911"/>
                  </a:lnTo>
                  <a:lnTo>
                    <a:pt x="1751" y="916"/>
                  </a:lnTo>
                  <a:lnTo>
                    <a:pt x="1745" y="921"/>
                  </a:lnTo>
                  <a:lnTo>
                    <a:pt x="1732" y="933"/>
                  </a:lnTo>
                  <a:lnTo>
                    <a:pt x="1720" y="943"/>
                  </a:lnTo>
                  <a:lnTo>
                    <a:pt x="1715" y="948"/>
                  </a:lnTo>
                  <a:lnTo>
                    <a:pt x="1711" y="955"/>
                  </a:lnTo>
                  <a:lnTo>
                    <a:pt x="1708" y="962"/>
                  </a:lnTo>
                  <a:lnTo>
                    <a:pt x="1707" y="968"/>
                  </a:lnTo>
                  <a:lnTo>
                    <a:pt x="1710" y="970"/>
                  </a:lnTo>
                  <a:lnTo>
                    <a:pt x="1715" y="971"/>
                  </a:lnTo>
                  <a:lnTo>
                    <a:pt x="1719" y="972"/>
                  </a:lnTo>
                  <a:lnTo>
                    <a:pt x="1724" y="973"/>
                  </a:lnTo>
                  <a:lnTo>
                    <a:pt x="1733" y="974"/>
                  </a:lnTo>
                  <a:lnTo>
                    <a:pt x="1743" y="975"/>
                  </a:lnTo>
                  <a:lnTo>
                    <a:pt x="1747" y="976"/>
                  </a:lnTo>
                  <a:lnTo>
                    <a:pt x="1751" y="977"/>
                  </a:lnTo>
                  <a:lnTo>
                    <a:pt x="1754" y="980"/>
                  </a:lnTo>
                  <a:lnTo>
                    <a:pt x="1756" y="983"/>
                  </a:lnTo>
                  <a:lnTo>
                    <a:pt x="1757" y="987"/>
                  </a:lnTo>
                  <a:lnTo>
                    <a:pt x="1758" y="992"/>
                  </a:lnTo>
                  <a:lnTo>
                    <a:pt x="1757" y="998"/>
                  </a:lnTo>
                  <a:lnTo>
                    <a:pt x="1755" y="1006"/>
                  </a:lnTo>
                  <a:lnTo>
                    <a:pt x="1744" y="1015"/>
                  </a:lnTo>
                  <a:lnTo>
                    <a:pt x="1731" y="1024"/>
                  </a:lnTo>
                  <a:lnTo>
                    <a:pt x="1719" y="1033"/>
                  </a:lnTo>
                  <a:lnTo>
                    <a:pt x="1705" y="1040"/>
                  </a:lnTo>
                  <a:lnTo>
                    <a:pt x="1693" y="1047"/>
                  </a:lnTo>
                  <a:lnTo>
                    <a:pt x="1680" y="1056"/>
                  </a:lnTo>
                  <a:lnTo>
                    <a:pt x="1668" y="1064"/>
                  </a:lnTo>
                  <a:lnTo>
                    <a:pt x="1657" y="1073"/>
                  </a:lnTo>
                  <a:lnTo>
                    <a:pt x="1653" y="1079"/>
                  </a:lnTo>
                  <a:lnTo>
                    <a:pt x="1651" y="1084"/>
                  </a:lnTo>
                  <a:lnTo>
                    <a:pt x="1650" y="1089"/>
                  </a:lnTo>
                  <a:lnTo>
                    <a:pt x="1650" y="1094"/>
                  </a:lnTo>
                  <a:lnTo>
                    <a:pt x="1652" y="1106"/>
                  </a:lnTo>
                  <a:lnTo>
                    <a:pt x="1656" y="1118"/>
                  </a:lnTo>
                  <a:lnTo>
                    <a:pt x="1662" y="1131"/>
                  </a:lnTo>
                  <a:lnTo>
                    <a:pt x="1667" y="1143"/>
                  </a:lnTo>
                  <a:lnTo>
                    <a:pt x="1669" y="1150"/>
                  </a:lnTo>
                  <a:lnTo>
                    <a:pt x="1670" y="1156"/>
                  </a:lnTo>
                  <a:lnTo>
                    <a:pt x="1670" y="1162"/>
                  </a:lnTo>
                  <a:lnTo>
                    <a:pt x="1669" y="1168"/>
                  </a:lnTo>
                  <a:lnTo>
                    <a:pt x="1654" y="1173"/>
                  </a:lnTo>
                  <a:lnTo>
                    <a:pt x="1641" y="1176"/>
                  </a:lnTo>
                  <a:lnTo>
                    <a:pt x="1634" y="1178"/>
                  </a:lnTo>
                  <a:lnTo>
                    <a:pt x="1630" y="1182"/>
                  </a:lnTo>
                  <a:lnTo>
                    <a:pt x="1628" y="1185"/>
                  </a:lnTo>
                  <a:lnTo>
                    <a:pt x="1627" y="1188"/>
                  </a:lnTo>
                  <a:lnTo>
                    <a:pt x="1626" y="1192"/>
                  </a:lnTo>
                  <a:lnTo>
                    <a:pt x="1626" y="1197"/>
                  </a:lnTo>
                  <a:lnTo>
                    <a:pt x="1626" y="1215"/>
                  </a:lnTo>
                  <a:lnTo>
                    <a:pt x="1626" y="1230"/>
                  </a:lnTo>
                  <a:lnTo>
                    <a:pt x="1626" y="1236"/>
                  </a:lnTo>
                  <a:lnTo>
                    <a:pt x="1625" y="1242"/>
                  </a:lnTo>
                  <a:lnTo>
                    <a:pt x="1624" y="1248"/>
                  </a:lnTo>
                  <a:lnTo>
                    <a:pt x="1623" y="1252"/>
                  </a:lnTo>
                  <a:lnTo>
                    <a:pt x="1621" y="1256"/>
                  </a:lnTo>
                  <a:lnTo>
                    <a:pt x="1618" y="1260"/>
                  </a:lnTo>
                  <a:lnTo>
                    <a:pt x="1613" y="1263"/>
                  </a:lnTo>
                  <a:lnTo>
                    <a:pt x="1608" y="1266"/>
                  </a:lnTo>
                  <a:lnTo>
                    <a:pt x="1602" y="1269"/>
                  </a:lnTo>
                  <a:lnTo>
                    <a:pt x="1595" y="1271"/>
                  </a:lnTo>
                  <a:lnTo>
                    <a:pt x="1586" y="1273"/>
                  </a:lnTo>
                  <a:lnTo>
                    <a:pt x="1576" y="1275"/>
                  </a:lnTo>
                  <a:lnTo>
                    <a:pt x="1563" y="1277"/>
                  </a:lnTo>
                  <a:lnTo>
                    <a:pt x="1551" y="1281"/>
                  </a:lnTo>
                  <a:lnTo>
                    <a:pt x="1539" y="1286"/>
                  </a:lnTo>
                  <a:lnTo>
                    <a:pt x="1530" y="1293"/>
                  </a:lnTo>
                  <a:lnTo>
                    <a:pt x="1521" y="1299"/>
                  </a:lnTo>
                  <a:lnTo>
                    <a:pt x="1513" y="1307"/>
                  </a:lnTo>
                  <a:lnTo>
                    <a:pt x="1507" y="1316"/>
                  </a:lnTo>
                  <a:lnTo>
                    <a:pt x="1501" y="1325"/>
                  </a:lnTo>
                  <a:lnTo>
                    <a:pt x="1497" y="1334"/>
                  </a:lnTo>
                  <a:lnTo>
                    <a:pt x="1493" y="1345"/>
                  </a:lnTo>
                  <a:lnTo>
                    <a:pt x="1492" y="1356"/>
                  </a:lnTo>
                  <a:lnTo>
                    <a:pt x="1491" y="1368"/>
                  </a:lnTo>
                  <a:lnTo>
                    <a:pt x="1491" y="1379"/>
                  </a:lnTo>
                  <a:lnTo>
                    <a:pt x="1493" y="1391"/>
                  </a:lnTo>
                  <a:lnTo>
                    <a:pt x="1497" y="1403"/>
                  </a:lnTo>
                  <a:lnTo>
                    <a:pt x="1501" y="1416"/>
                  </a:lnTo>
                  <a:lnTo>
                    <a:pt x="1508" y="1433"/>
                  </a:lnTo>
                  <a:lnTo>
                    <a:pt x="1515" y="1451"/>
                  </a:lnTo>
                  <a:lnTo>
                    <a:pt x="1515" y="1455"/>
                  </a:lnTo>
                  <a:lnTo>
                    <a:pt x="1515" y="1459"/>
                  </a:lnTo>
                  <a:lnTo>
                    <a:pt x="1514" y="1463"/>
                  </a:lnTo>
                  <a:lnTo>
                    <a:pt x="1513" y="1466"/>
                  </a:lnTo>
                  <a:lnTo>
                    <a:pt x="1510" y="1468"/>
                  </a:lnTo>
                  <a:lnTo>
                    <a:pt x="1507" y="1470"/>
                  </a:lnTo>
                  <a:lnTo>
                    <a:pt x="1502" y="1471"/>
                  </a:lnTo>
                  <a:lnTo>
                    <a:pt x="1496" y="1471"/>
                  </a:lnTo>
                  <a:lnTo>
                    <a:pt x="1478" y="1472"/>
                  </a:lnTo>
                  <a:lnTo>
                    <a:pt x="1466" y="1474"/>
                  </a:lnTo>
                  <a:lnTo>
                    <a:pt x="1462" y="1475"/>
                  </a:lnTo>
                  <a:lnTo>
                    <a:pt x="1458" y="1477"/>
                  </a:lnTo>
                  <a:lnTo>
                    <a:pt x="1455" y="1479"/>
                  </a:lnTo>
                  <a:lnTo>
                    <a:pt x="1453" y="1482"/>
                  </a:lnTo>
                  <a:lnTo>
                    <a:pt x="1444" y="1498"/>
                  </a:lnTo>
                  <a:lnTo>
                    <a:pt x="1433" y="1522"/>
                  </a:lnTo>
                  <a:lnTo>
                    <a:pt x="1428" y="1527"/>
                  </a:lnTo>
                  <a:lnTo>
                    <a:pt x="1422" y="1536"/>
                  </a:lnTo>
                  <a:lnTo>
                    <a:pt x="1416" y="1544"/>
                  </a:lnTo>
                  <a:lnTo>
                    <a:pt x="1411" y="1553"/>
                  </a:lnTo>
                  <a:lnTo>
                    <a:pt x="1409" y="1558"/>
                  </a:lnTo>
                  <a:lnTo>
                    <a:pt x="1408" y="1563"/>
                  </a:lnTo>
                  <a:lnTo>
                    <a:pt x="1408" y="1567"/>
                  </a:lnTo>
                  <a:lnTo>
                    <a:pt x="1408" y="1571"/>
                  </a:lnTo>
                  <a:lnTo>
                    <a:pt x="1409" y="1574"/>
                  </a:lnTo>
                  <a:lnTo>
                    <a:pt x="1411" y="1578"/>
                  </a:lnTo>
                  <a:lnTo>
                    <a:pt x="1414" y="1582"/>
                  </a:lnTo>
                  <a:lnTo>
                    <a:pt x="1418" y="1584"/>
                  </a:lnTo>
                  <a:lnTo>
                    <a:pt x="1436" y="1587"/>
                  </a:lnTo>
                  <a:lnTo>
                    <a:pt x="1460" y="1591"/>
                  </a:lnTo>
                  <a:lnTo>
                    <a:pt x="1472" y="1594"/>
                  </a:lnTo>
                  <a:lnTo>
                    <a:pt x="1482" y="1598"/>
                  </a:lnTo>
                  <a:lnTo>
                    <a:pt x="1486" y="1600"/>
                  </a:lnTo>
                  <a:lnTo>
                    <a:pt x="1489" y="1603"/>
                  </a:lnTo>
                  <a:lnTo>
                    <a:pt x="1491" y="1607"/>
                  </a:lnTo>
                  <a:lnTo>
                    <a:pt x="1492" y="1611"/>
                  </a:lnTo>
                  <a:lnTo>
                    <a:pt x="1506" y="1625"/>
                  </a:lnTo>
                  <a:lnTo>
                    <a:pt x="1523" y="1640"/>
                  </a:lnTo>
                  <a:lnTo>
                    <a:pt x="1533" y="1647"/>
                  </a:lnTo>
                  <a:lnTo>
                    <a:pt x="1541" y="1655"/>
                  </a:lnTo>
                  <a:lnTo>
                    <a:pt x="1545" y="1658"/>
                  </a:lnTo>
                  <a:lnTo>
                    <a:pt x="1547" y="1662"/>
                  </a:lnTo>
                  <a:lnTo>
                    <a:pt x="1549" y="1666"/>
                  </a:lnTo>
                  <a:lnTo>
                    <a:pt x="1551" y="1670"/>
                  </a:lnTo>
                  <a:lnTo>
                    <a:pt x="1552" y="1680"/>
                  </a:lnTo>
                  <a:lnTo>
                    <a:pt x="1553" y="1689"/>
                  </a:lnTo>
                  <a:lnTo>
                    <a:pt x="1553" y="1700"/>
                  </a:lnTo>
                  <a:lnTo>
                    <a:pt x="1552" y="1713"/>
                  </a:lnTo>
                  <a:lnTo>
                    <a:pt x="1551" y="1725"/>
                  </a:lnTo>
                  <a:lnTo>
                    <a:pt x="1548" y="1735"/>
                  </a:lnTo>
                  <a:lnTo>
                    <a:pt x="1546" y="1739"/>
                  </a:lnTo>
                  <a:lnTo>
                    <a:pt x="1544" y="1742"/>
                  </a:lnTo>
                  <a:lnTo>
                    <a:pt x="1540" y="1745"/>
                  </a:lnTo>
                  <a:lnTo>
                    <a:pt x="1537" y="1747"/>
                  </a:lnTo>
                  <a:lnTo>
                    <a:pt x="1534" y="1748"/>
                  </a:lnTo>
                  <a:lnTo>
                    <a:pt x="1531" y="1748"/>
                  </a:lnTo>
                  <a:lnTo>
                    <a:pt x="1527" y="1748"/>
                  </a:lnTo>
                  <a:lnTo>
                    <a:pt x="1523" y="1746"/>
                  </a:lnTo>
                  <a:lnTo>
                    <a:pt x="1519" y="1744"/>
                  </a:lnTo>
                  <a:lnTo>
                    <a:pt x="1514" y="1740"/>
                  </a:lnTo>
                  <a:lnTo>
                    <a:pt x="1510" y="1736"/>
                  </a:lnTo>
                  <a:lnTo>
                    <a:pt x="1505" y="1730"/>
                  </a:lnTo>
                  <a:lnTo>
                    <a:pt x="1479" y="1695"/>
                  </a:lnTo>
                  <a:lnTo>
                    <a:pt x="1473" y="1681"/>
                  </a:lnTo>
                  <a:lnTo>
                    <a:pt x="1464" y="1659"/>
                  </a:lnTo>
                  <a:lnTo>
                    <a:pt x="1459" y="1649"/>
                  </a:lnTo>
                  <a:lnTo>
                    <a:pt x="1455" y="1643"/>
                  </a:lnTo>
                  <a:lnTo>
                    <a:pt x="1452" y="1641"/>
                  </a:lnTo>
                  <a:lnTo>
                    <a:pt x="1450" y="1641"/>
                  </a:lnTo>
                  <a:lnTo>
                    <a:pt x="1448" y="1643"/>
                  </a:lnTo>
                  <a:lnTo>
                    <a:pt x="1446" y="1646"/>
                  </a:lnTo>
                  <a:lnTo>
                    <a:pt x="1440" y="1658"/>
                  </a:lnTo>
                  <a:lnTo>
                    <a:pt x="1431" y="1675"/>
                  </a:lnTo>
                  <a:lnTo>
                    <a:pt x="1429" y="1679"/>
                  </a:lnTo>
                  <a:lnTo>
                    <a:pt x="1426" y="1682"/>
                  </a:lnTo>
                  <a:lnTo>
                    <a:pt x="1423" y="1685"/>
                  </a:lnTo>
                  <a:lnTo>
                    <a:pt x="1419" y="1686"/>
                  </a:lnTo>
                  <a:lnTo>
                    <a:pt x="1416" y="1687"/>
                  </a:lnTo>
                  <a:lnTo>
                    <a:pt x="1414" y="1686"/>
                  </a:lnTo>
                  <a:lnTo>
                    <a:pt x="1411" y="1683"/>
                  </a:lnTo>
                  <a:lnTo>
                    <a:pt x="1409" y="1679"/>
                  </a:lnTo>
                  <a:lnTo>
                    <a:pt x="1406" y="1667"/>
                  </a:lnTo>
                  <a:lnTo>
                    <a:pt x="1404" y="1654"/>
                  </a:lnTo>
                  <a:lnTo>
                    <a:pt x="1402" y="1646"/>
                  </a:lnTo>
                  <a:lnTo>
                    <a:pt x="1399" y="1641"/>
                  </a:lnTo>
                  <a:lnTo>
                    <a:pt x="1397" y="1638"/>
                  </a:lnTo>
                  <a:lnTo>
                    <a:pt x="1393" y="1637"/>
                  </a:lnTo>
                  <a:lnTo>
                    <a:pt x="1390" y="1636"/>
                  </a:lnTo>
                  <a:lnTo>
                    <a:pt x="1387" y="1635"/>
                  </a:lnTo>
                  <a:lnTo>
                    <a:pt x="1364" y="1637"/>
                  </a:lnTo>
                  <a:lnTo>
                    <a:pt x="1344" y="1638"/>
                  </a:lnTo>
                  <a:lnTo>
                    <a:pt x="1336" y="1637"/>
                  </a:lnTo>
                  <a:lnTo>
                    <a:pt x="1327" y="1634"/>
                  </a:lnTo>
                  <a:lnTo>
                    <a:pt x="1321" y="1632"/>
                  </a:lnTo>
                  <a:lnTo>
                    <a:pt x="1317" y="1627"/>
                  </a:lnTo>
                  <a:lnTo>
                    <a:pt x="1312" y="1623"/>
                  </a:lnTo>
                  <a:lnTo>
                    <a:pt x="1307" y="1619"/>
                  </a:lnTo>
                  <a:lnTo>
                    <a:pt x="1294" y="1604"/>
                  </a:lnTo>
                  <a:lnTo>
                    <a:pt x="1282" y="1590"/>
                  </a:lnTo>
                  <a:lnTo>
                    <a:pt x="1276" y="1583"/>
                  </a:lnTo>
                  <a:lnTo>
                    <a:pt x="1268" y="1577"/>
                  </a:lnTo>
                  <a:lnTo>
                    <a:pt x="1260" y="1572"/>
                  </a:lnTo>
                  <a:lnTo>
                    <a:pt x="1252" y="1568"/>
                  </a:lnTo>
                  <a:lnTo>
                    <a:pt x="1246" y="1567"/>
                  </a:lnTo>
                  <a:lnTo>
                    <a:pt x="1241" y="1568"/>
                  </a:lnTo>
                  <a:lnTo>
                    <a:pt x="1237" y="1569"/>
                  </a:lnTo>
                  <a:lnTo>
                    <a:pt x="1233" y="1572"/>
                  </a:lnTo>
                  <a:lnTo>
                    <a:pt x="1224" y="1579"/>
                  </a:lnTo>
                  <a:lnTo>
                    <a:pt x="1216" y="1590"/>
                  </a:lnTo>
                  <a:lnTo>
                    <a:pt x="1209" y="1601"/>
                  </a:lnTo>
                  <a:lnTo>
                    <a:pt x="1202" y="1613"/>
                  </a:lnTo>
                  <a:lnTo>
                    <a:pt x="1193" y="1622"/>
                  </a:lnTo>
                  <a:lnTo>
                    <a:pt x="1185" y="1631"/>
                  </a:lnTo>
                  <a:lnTo>
                    <a:pt x="1179" y="1635"/>
                  </a:lnTo>
                  <a:lnTo>
                    <a:pt x="1174" y="1639"/>
                  </a:lnTo>
                  <a:lnTo>
                    <a:pt x="1171" y="1644"/>
                  </a:lnTo>
                  <a:lnTo>
                    <a:pt x="1170" y="1648"/>
                  </a:lnTo>
                  <a:lnTo>
                    <a:pt x="1169" y="1652"/>
                  </a:lnTo>
                  <a:lnTo>
                    <a:pt x="1169" y="1658"/>
                  </a:lnTo>
                  <a:lnTo>
                    <a:pt x="1170" y="1662"/>
                  </a:lnTo>
                  <a:lnTo>
                    <a:pt x="1171" y="1666"/>
                  </a:lnTo>
                  <a:lnTo>
                    <a:pt x="1174" y="1675"/>
                  </a:lnTo>
                  <a:lnTo>
                    <a:pt x="1178" y="1685"/>
                  </a:lnTo>
                  <a:lnTo>
                    <a:pt x="1179" y="1690"/>
                  </a:lnTo>
                  <a:lnTo>
                    <a:pt x="1180" y="1695"/>
                  </a:lnTo>
                  <a:lnTo>
                    <a:pt x="1180" y="1700"/>
                  </a:lnTo>
                  <a:lnTo>
                    <a:pt x="1179" y="1706"/>
                  </a:lnTo>
                  <a:lnTo>
                    <a:pt x="1170" y="1729"/>
                  </a:lnTo>
                  <a:lnTo>
                    <a:pt x="1163" y="1752"/>
                  </a:lnTo>
                  <a:lnTo>
                    <a:pt x="1159" y="1762"/>
                  </a:lnTo>
                  <a:lnTo>
                    <a:pt x="1154" y="1772"/>
                  </a:lnTo>
                  <a:lnTo>
                    <a:pt x="1147" y="1783"/>
                  </a:lnTo>
                  <a:lnTo>
                    <a:pt x="1140" y="1791"/>
                  </a:lnTo>
                  <a:lnTo>
                    <a:pt x="1133" y="1792"/>
                  </a:lnTo>
                  <a:lnTo>
                    <a:pt x="1124" y="1791"/>
                  </a:lnTo>
                  <a:lnTo>
                    <a:pt x="1117" y="1789"/>
                  </a:lnTo>
                  <a:lnTo>
                    <a:pt x="1110" y="1787"/>
                  </a:lnTo>
                  <a:lnTo>
                    <a:pt x="1104" y="1784"/>
                  </a:lnTo>
                  <a:lnTo>
                    <a:pt x="1097" y="1779"/>
                  </a:lnTo>
                  <a:lnTo>
                    <a:pt x="1092" y="1773"/>
                  </a:lnTo>
                  <a:lnTo>
                    <a:pt x="1088" y="1766"/>
                  </a:lnTo>
                  <a:lnTo>
                    <a:pt x="1082" y="1762"/>
                  </a:lnTo>
                  <a:lnTo>
                    <a:pt x="1074" y="1756"/>
                  </a:lnTo>
                  <a:lnTo>
                    <a:pt x="1068" y="1749"/>
                  </a:lnTo>
                  <a:lnTo>
                    <a:pt x="1061" y="1743"/>
                  </a:lnTo>
                  <a:lnTo>
                    <a:pt x="1058" y="1740"/>
                  </a:lnTo>
                  <a:lnTo>
                    <a:pt x="1053" y="1738"/>
                  </a:lnTo>
                  <a:lnTo>
                    <a:pt x="1050" y="1736"/>
                  </a:lnTo>
                  <a:lnTo>
                    <a:pt x="1046" y="1735"/>
                  </a:lnTo>
                  <a:lnTo>
                    <a:pt x="1042" y="1735"/>
                  </a:lnTo>
                  <a:lnTo>
                    <a:pt x="1038" y="1736"/>
                  </a:lnTo>
                  <a:lnTo>
                    <a:pt x="1034" y="1738"/>
                  </a:lnTo>
                  <a:lnTo>
                    <a:pt x="1028" y="1741"/>
                  </a:lnTo>
                  <a:lnTo>
                    <a:pt x="1021" y="1747"/>
                  </a:lnTo>
                  <a:lnTo>
                    <a:pt x="1015" y="1756"/>
                  </a:lnTo>
                  <a:lnTo>
                    <a:pt x="1011" y="1764"/>
                  </a:lnTo>
                  <a:lnTo>
                    <a:pt x="1009" y="1773"/>
                  </a:lnTo>
                  <a:lnTo>
                    <a:pt x="1007" y="1784"/>
                  </a:lnTo>
                  <a:lnTo>
                    <a:pt x="1006" y="1793"/>
                  </a:lnTo>
                  <a:lnTo>
                    <a:pt x="1006" y="1804"/>
                  </a:lnTo>
                  <a:lnTo>
                    <a:pt x="1006" y="1813"/>
                  </a:lnTo>
                  <a:lnTo>
                    <a:pt x="1006" y="1848"/>
                  </a:lnTo>
                  <a:lnTo>
                    <a:pt x="1006" y="1883"/>
                  </a:lnTo>
                  <a:lnTo>
                    <a:pt x="1004" y="1901"/>
                  </a:lnTo>
                  <a:lnTo>
                    <a:pt x="1002" y="1917"/>
                  </a:lnTo>
                  <a:lnTo>
                    <a:pt x="998" y="1934"/>
                  </a:lnTo>
                  <a:lnTo>
                    <a:pt x="994" y="1950"/>
                  </a:lnTo>
                  <a:lnTo>
                    <a:pt x="991" y="1955"/>
                  </a:lnTo>
                  <a:lnTo>
                    <a:pt x="988" y="1959"/>
                  </a:lnTo>
                  <a:lnTo>
                    <a:pt x="984" y="1964"/>
                  </a:lnTo>
                  <a:lnTo>
                    <a:pt x="979" y="1970"/>
                  </a:lnTo>
                  <a:lnTo>
                    <a:pt x="969" y="1979"/>
                  </a:lnTo>
                  <a:lnTo>
                    <a:pt x="960" y="1986"/>
                  </a:lnTo>
                  <a:lnTo>
                    <a:pt x="960" y="1986"/>
                  </a:lnTo>
                  <a:lnTo>
                    <a:pt x="946" y="1989"/>
                  </a:lnTo>
                  <a:lnTo>
                    <a:pt x="933" y="1992"/>
                  </a:lnTo>
                  <a:lnTo>
                    <a:pt x="920" y="1992"/>
                  </a:lnTo>
                  <a:lnTo>
                    <a:pt x="909" y="1992"/>
                  </a:lnTo>
                  <a:lnTo>
                    <a:pt x="896" y="1990"/>
                  </a:lnTo>
                  <a:lnTo>
                    <a:pt x="885" y="1988"/>
                  </a:lnTo>
                  <a:lnTo>
                    <a:pt x="873" y="1986"/>
                  </a:lnTo>
                  <a:lnTo>
                    <a:pt x="863" y="1982"/>
                  </a:lnTo>
                  <a:lnTo>
                    <a:pt x="840" y="1974"/>
                  </a:lnTo>
                  <a:lnTo>
                    <a:pt x="818" y="1964"/>
                  </a:lnTo>
                  <a:lnTo>
                    <a:pt x="796" y="1954"/>
                  </a:lnTo>
                  <a:lnTo>
                    <a:pt x="772" y="1942"/>
                  </a:lnTo>
                  <a:lnTo>
                    <a:pt x="754" y="1934"/>
                  </a:lnTo>
                  <a:lnTo>
                    <a:pt x="738" y="1926"/>
                  </a:lnTo>
                  <a:lnTo>
                    <a:pt x="723" y="1917"/>
                  </a:lnTo>
                  <a:lnTo>
                    <a:pt x="708" y="1909"/>
                  </a:lnTo>
                  <a:lnTo>
                    <a:pt x="695" y="1899"/>
                  </a:lnTo>
                  <a:lnTo>
                    <a:pt x="681" y="1888"/>
                  </a:lnTo>
                  <a:lnTo>
                    <a:pt x="668" y="1877"/>
                  </a:lnTo>
                  <a:lnTo>
                    <a:pt x="653" y="1863"/>
                  </a:lnTo>
                  <a:lnTo>
                    <a:pt x="645" y="1856"/>
                  </a:lnTo>
                  <a:lnTo>
                    <a:pt x="637" y="1847"/>
                  </a:lnTo>
                  <a:lnTo>
                    <a:pt x="630" y="1838"/>
                  </a:lnTo>
                  <a:lnTo>
                    <a:pt x="624" y="1828"/>
                  </a:lnTo>
                  <a:lnTo>
                    <a:pt x="609" y="1809"/>
                  </a:lnTo>
                  <a:lnTo>
                    <a:pt x="595" y="1790"/>
                  </a:lnTo>
                  <a:lnTo>
                    <a:pt x="587" y="1782"/>
                  </a:lnTo>
                  <a:lnTo>
                    <a:pt x="579" y="1773"/>
                  </a:lnTo>
                  <a:lnTo>
                    <a:pt x="571" y="1766"/>
                  </a:lnTo>
                  <a:lnTo>
                    <a:pt x="561" y="1760"/>
                  </a:lnTo>
                  <a:lnTo>
                    <a:pt x="551" y="1755"/>
                  </a:lnTo>
                  <a:lnTo>
                    <a:pt x="539" y="1752"/>
                  </a:lnTo>
                  <a:lnTo>
                    <a:pt x="527" y="1748"/>
                  </a:lnTo>
                  <a:lnTo>
                    <a:pt x="514" y="1747"/>
                  </a:lnTo>
                  <a:lnTo>
                    <a:pt x="503" y="1748"/>
                  </a:lnTo>
                  <a:lnTo>
                    <a:pt x="495" y="1751"/>
                  </a:lnTo>
                  <a:lnTo>
                    <a:pt x="492" y="1752"/>
                  </a:lnTo>
                  <a:lnTo>
                    <a:pt x="489" y="1754"/>
                  </a:lnTo>
                  <a:lnTo>
                    <a:pt x="487" y="1756"/>
                  </a:lnTo>
                  <a:lnTo>
                    <a:pt x="485" y="1759"/>
                  </a:lnTo>
                  <a:lnTo>
                    <a:pt x="484" y="1764"/>
                  </a:lnTo>
                  <a:lnTo>
                    <a:pt x="483" y="1771"/>
                  </a:lnTo>
                  <a:lnTo>
                    <a:pt x="483" y="1780"/>
                  </a:lnTo>
                  <a:lnTo>
                    <a:pt x="483" y="1790"/>
                  </a:lnTo>
                  <a:lnTo>
                    <a:pt x="482" y="1799"/>
                  </a:lnTo>
                  <a:lnTo>
                    <a:pt x="479" y="1807"/>
                  </a:lnTo>
                  <a:lnTo>
                    <a:pt x="474" y="1815"/>
                  </a:lnTo>
                  <a:lnTo>
                    <a:pt x="469" y="1824"/>
                  </a:lnTo>
                  <a:lnTo>
                    <a:pt x="461" y="1831"/>
                  </a:lnTo>
                  <a:lnTo>
                    <a:pt x="455" y="1838"/>
                  </a:lnTo>
                  <a:lnTo>
                    <a:pt x="448" y="1844"/>
                  </a:lnTo>
                  <a:lnTo>
                    <a:pt x="441" y="1850"/>
                  </a:lnTo>
                  <a:lnTo>
                    <a:pt x="440" y="1855"/>
                  </a:lnTo>
                  <a:lnTo>
                    <a:pt x="441" y="1860"/>
                  </a:lnTo>
                  <a:lnTo>
                    <a:pt x="444" y="1864"/>
                  </a:lnTo>
                  <a:lnTo>
                    <a:pt x="447" y="1868"/>
                  </a:lnTo>
                  <a:lnTo>
                    <a:pt x="453" y="1877"/>
                  </a:lnTo>
                  <a:lnTo>
                    <a:pt x="460" y="1883"/>
                  </a:lnTo>
                  <a:lnTo>
                    <a:pt x="468" y="1890"/>
                  </a:lnTo>
                  <a:lnTo>
                    <a:pt x="473" y="1899"/>
                  </a:lnTo>
                  <a:lnTo>
                    <a:pt x="474" y="1903"/>
                  </a:lnTo>
                  <a:lnTo>
                    <a:pt x="475" y="1907"/>
                  </a:lnTo>
                  <a:lnTo>
                    <a:pt x="474" y="1912"/>
                  </a:lnTo>
                  <a:lnTo>
                    <a:pt x="472" y="1917"/>
                  </a:lnTo>
                  <a:lnTo>
                    <a:pt x="459" y="1921"/>
                  </a:lnTo>
                  <a:lnTo>
                    <a:pt x="449" y="1923"/>
                  </a:lnTo>
                  <a:lnTo>
                    <a:pt x="441" y="1925"/>
                  </a:lnTo>
                  <a:lnTo>
                    <a:pt x="434" y="1925"/>
                  </a:lnTo>
                  <a:lnTo>
                    <a:pt x="427" y="1923"/>
                  </a:lnTo>
                  <a:lnTo>
                    <a:pt x="421" y="1918"/>
                  </a:lnTo>
                  <a:lnTo>
                    <a:pt x="412" y="1911"/>
                  </a:lnTo>
                  <a:lnTo>
                    <a:pt x="402" y="1902"/>
                  </a:lnTo>
                  <a:lnTo>
                    <a:pt x="314" y="1812"/>
                  </a:lnTo>
                  <a:lnTo>
                    <a:pt x="295" y="1776"/>
                  </a:lnTo>
                  <a:lnTo>
                    <a:pt x="290" y="1779"/>
                  </a:lnTo>
                  <a:lnTo>
                    <a:pt x="286" y="1783"/>
                  </a:lnTo>
                  <a:lnTo>
                    <a:pt x="282" y="1788"/>
                  </a:lnTo>
                  <a:lnTo>
                    <a:pt x="278" y="1793"/>
                  </a:lnTo>
                  <a:lnTo>
                    <a:pt x="272" y="1806"/>
                  </a:lnTo>
                  <a:lnTo>
                    <a:pt x="266" y="1819"/>
                  </a:lnTo>
                  <a:lnTo>
                    <a:pt x="260" y="1832"/>
                  </a:lnTo>
                  <a:lnTo>
                    <a:pt x="254" y="1842"/>
                  </a:lnTo>
                  <a:lnTo>
                    <a:pt x="250" y="1847"/>
                  </a:lnTo>
                  <a:lnTo>
                    <a:pt x="245" y="1850"/>
                  </a:lnTo>
                  <a:lnTo>
                    <a:pt x="240" y="1852"/>
                  </a:lnTo>
                  <a:lnTo>
                    <a:pt x="235" y="1853"/>
                  </a:lnTo>
                  <a:lnTo>
                    <a:pt x="231" y="1850"/>
                  </a:lnTo>
                  <a:lnTo>
                    <a:pt x="228" y="1845"/>
                  </a:lnTo>
                  <a:lnTo>
                    <a:pt x="225" y="1842"/>
                  </a:lnTo>
                  <a:lnTo>
                    <a:pt x="222" y="1838"/>
                  </a:lnTo>
                  <a:lnTo>
                    <a:pt x="219" y="1830"/>
                  </a:lnTo>
                  <a:lnTo>
                    <a:pt x="218" y="1820"/>
                  </a:lnTo>
                  <a:lnTo>
                    <a:pt x="218" y="1811"/>
                  </a:lnTo>
                  <a:lnTo>
                    <a:pt x="219" y="1802"/>
                  </a:lnTo>
                  <a:lnTo>
                    <a:pt x="221" y="1791"/>
                  </a:lnTo>
                  <a:lnTo>
                    <a:pt x="224" y="1782"/>
                  </a:lnTo>
                  <a:lnTo>
                    <a:pt x="229" y="1761"/>
                  </a:lnTo>
                  <a:lnTo>
                    <a:pt x="234" y="1742"/>
                  </a:lnTo>
                  <a:lnTo>
                    <a:pt x="235" y="1734"/>
                  </a:lnTo>
                  <a:lnTo>
                    <a:pt x="235" y="1725"/>
                  </a:lnTo>
                  <a:lnTo>
                    <a:pt x="234" y="1718"/>
                  </a:lnTo>
                  <a:lnTo>
                    <a:pt x="232" y="1712"/>
                  </a:lnTo>
                  <a:lnTo>
                    <a:pt x="227" y="1711"/>
                  </a:lnTo>
                  <a:lnTo>
                    <a:pt x="221" y="1711"/>
                  </a:lnTo>
                  <a:lnTo>
                    <a:pt x="215" y="1711"/>
                  </a:lnTo>
                  <a:lnTo>
                    <a:pt x="210" y="1712"/>
                  </a:lnTo>
                  <a:lnTo>
                    <a:pt x="199" y="1714"/>
                  </a:lnTo>
                  <a:lnTo>
                    <a:pt x="186" y="1718"/>
                  </a:lnTo>
                  <a:lnTo>
                    <a:pt x="162" y="1728"/>
                  </a:lnTo>
                  <a:lnTo>
                    <a:pt x="140" y="1734"/>
                  </a:lnTo>
                  <a:lnTo>
                    <a:pt x="126" y="1737"/>
                  </a:lnTo>
                  <a:lnTo>
                    <a:pt x="111" y="1740"/>
                  </a:lnTo>
                  <a:lnTo>
                    <a:pt x="96" y="1744"/>
                  </a:lnTo>
                  <a:lnTo>
                    <a:pt x="83" y="1747"/>
                  </a:lnTo>
                  <a:lnTo>
                    <a:pt x="83" y="1747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0" name="Freeform 167">
              <a:extLst>
                <a:ext uri="{FF2B5EF4-FFF2-40B4-BE49-F238E27FC236}">
                  <a16:creationId xmlns:a16="http://schemas.microsoft.com/office/drawing/2014/main" id="{8661616A-3F8B-4E3D-922D-07077D64D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102" y="5345927"/>
              <a:ext cx="495901" cy="370112"/>
            </a:xfrm>
            <a:custGeom>
              <a:avLst/>
              <a:gdLst>
                <a:gd name="T0" fmla="*/ 1696 w 1971"/>
                <a:gd name="T1" fmla="*/ 1399 h 1521"/>
                <a:gd name="T2" fmla="*/ 1743 w 1971"/>
                <a:gd name="T3" fmla="*/ 1336 h 1521"/>
                <a:gd name="T4" fmla="*/ 1750 w 1971"/>
                <a:gd name="T5" fmla="*/ 1226 h 1521"/>
                <a:gd name="T6" fmla="*/ 1798 w 1971"/>
                <a:gd name="T7" fmla="*/ 1100 h 1521"/>
                <a:gd name="T8" fmla="*/ 1903 w 1971"/>
                <a:gd name="T9" fmla="*/ 1071 h 1521"/>
                <a:gd name="T10" fmla="*/ 1869 w 1971"/>
                <a:gd name="T11" fmla="*/ 1028 h 1521"/>
                <a:gd name="T12" fmla="*/ 1830 w 1971"/>
                <a:gd name="T13" fmla="*/ 996 h 1521"/>
                <a:gd name="T14" fmla="*/ 1878 w 1971"/>
                <a:gd name="T15" fmla="*/ 965 h 1521"/>
                <a:gd name="T16" fmla="*/ 1971 w 1971"/>
                <a:gd name="T17" fmla="*/ 880 h 1521"/>
                <a:gd name="T18" fmla="*/ 1968 w 1971"/>
                <a:gd name="T19" fmla="*/ 726 h 1521"/>
                <a:gd name="T20" fmla="*/ 1950 w 1971"/>
                <a:gd name="T21" fmla="*/ 595 h 1521"/>
                <a:gd name="T22" fmla="*/ 1808 w 1971"/>
                <a:gd name="T23" fmla="*/ 643 h 1521"/>
                <a:gd name="T24" fmla="*/ 1795 w 1971"/>
                <a:gd name="T25" fmla="*/ 589 h 1521"/>
                <a:gd name="T26" fmla="*/ 1701 w 1971"/>
                <a:gd name="T27" fmla="*/ 657 h 1521"/>
                <a:gd name="T28" fmla="*/ 1629 w 1971"/>
                <a:gd name="T29" fmla="*/ 625 h 1521"/>
                <a:gd name="T30" fmla="*/ 1555 w 1971"/>
                <a:gd name="T31" fmla="*/ 515 h 1521"/>
                <a:gd name="T32" fmla="*/ 1601 w 1971"/>
                <a:gd name="T33" fmla="*/ 425 h 1521"/>
                <a:gd name="T34" fmla="*/ 1499 w 1971"/>
                <a:gd name="T35" fmla="*/ 325 h 1521"/>
                <a:gd name="T36" fmla="*/ 1362 w 1971"/>
                <a:gd name="T37" fmla="*/ 365 h 1521"/>
                <a:gd name="T38" fmla="*/ 1284 w 1971"/>
                <a:gd name="T39" fmla="*/ 299 h 1521"/>
                <a:gd name="T40" fmla="*/ 1144 w 1971"/>
                <a:gd name="T41" fmla="*/ 252 h 1521"/>
                <a:gd name="T42" fmla="*/ 1122 w 1971"/>
                <a:gd name="T43" fmla="*/ 154 h 1521"/>
                <a:gd name="T44" fmla="*/ 1066 w 1971"/>
                <a:gd name="T45" fmla="*/ 164 h 1521"/>
                <a:gd name="T46" fmla="*/ 999 w 1971"/>
                <a:gd name="T47" fmla="*/ 117 h 1521"/>
                <a:gd name="T48" fmla="*/ 913 w 1971"/>
                <a:gd name="T49" fmla="*/ 154 h 1521"/>
                <a:gd name="T50" fmla="*/ 803 w 1971"/>
                <a:gd name="T51" fmla="*/ 101 h 1521"/>
                <a:gd name="T52" fmla="*/ 552 w 1971"/>
                <a:gd name="T53" fmla="*/ 78 h 1521"/>
                <a:gd name="T54" fmla="*/ 560 w 1971"/>
                <a:gd name="T55" fmla="*/ 149 h 1521"/>
                <a:gd name="T56" fmla="*/ 542 w 1971"/>
                <a:gd name="T57" fmla="*/ 233 h 1521"/>
                <a:gd name="T58" fmla="*/ 511 w 1971"/>
                <a:gd name="T59" fmla="*/ 344 h 1521"/>
                <a:gd name="T60" fmla="*/ 366 w 1971"/>
                <a:gd name="T61" fmla="*/ 448 h 1521"/>
                <a:gd name="T62" fmla="*/ 271 w 1971"/>
                <a:gd name="T63" fmla="*/ 443 h 1521"/>
                <a:gd name="T64" fmla="*/ 223 w 1971"/>
                <a:gd name="T65" fmla="*/ 487 h 1521"/>
                <a:gd name="T66" fmla="*/ 133 w 1971"/>
                <a:gd name="T67" fmla="*/ 574 h 1521"/>
                <a:gd name="T68" fmla="*/ 97 w 1971"/>
                <a:gd name="T69" fmla="*/ 729 h 1521"/>
                <a:gd name="T70" fmla="*/ 34 w 1971"/>
                <a:gd name="T71" fmla="*/ 705 h 1521"/>
                <a:gd name="T72" fmla="*/ 85 w 1971"/>
                <a:gd name="T73" fmla="*/ 846 h 1521"/>
                <a:gd name="T74" fmla="*/ 199 w 1971"/>
                <a:gd name="T75" fmla="*/ 936 h 1521"/>
                <a:gd name="T76" fmla="*/ 371 w 1971"/>
                <a:gd name="T77" fmla="*/ 959 h 1521"/>
                <a:gd name="T78" fmla="*/ 455 w 1971"/>
                <a:gd name="T79" fmla="*/ 1157 h 1521"/>
                <a:gd name="T80" fmla="*/ 501 w 1971"/>
                <a:gd name="T81" fmla="*/ 1199 h 1521"/>
                <a:gd name="T82" fmla="*/ 597 w 1971"/>
                <a:gd name="T83" fmla="*/ 1185 h 1521"/>
                <a:gd name="T84" fmla="*/ 633 w 1971"/>
                <a:gd name="T85" fmla="*/ 1100 h 1521"/>
                <a:gd name="T86" fmla="*/ 692 w 1971"/>
                <a:gd name="T87" fmla="*/ 994 h 1521"/>
                <a:gd name="T88" fmla="*/ 730 w 1971"/>
                <a:gd name="T89" fmla="*/ 917 h 1521"/>
                <a:gd name="T90" fmla="*/ 683 w 1971"/>
                <a:gd name="T91" fmla="*/ 843 h 1521"/>
                <a:gd name="T92" fmla="*/ 769 w 1971"/>
                <a:gd name="T93" fmla="*/ 784 h 1521"/>
                <a:gd name="T94" fmla="*/ 820 w 1971"/>
                <a:gd name="T95" fmla="*/ 670 h 1521"/>
                <a:gd name="T96" fmla="*/ 880 w 1971"/>
                <a:gd name="T97" fmla="*/ 603 h 1521"/>
                <a:gd name="T98" fmla="*/ 912 w 1971"/>
                <a:gd name="T99" fmla="*/ 670 h 1521"/>
                <a:gd name="T100" fmla="*/ 988 w 1971"/>
                <a:gd name="T101" fmla="*/ 628 h 1521"/>
                <a:gd name="T102" fmla="*/ 1091 w 1971"/>
                <a:gd name="T103" fmla="*/ 662 h 1521"/>
                <a:gd name="T104" fmla="*/ 1161 w 1971"/>
                <a:gd name="T105" fmla="*/ 719 h 1521"/>
                <a:gd name="T106" fmla="*/ 1235 w 1971"/>
                <a:gd name="T107" fmla="*/ 700 h 1521"/>
                <a:gd name="T108" fmla="*/ 1362 w 1971"/>
                <a:gd name="T109" fmla="*/ 736 h 1521"/>
                <a:gd name="T110" fmla="*/ 1461 w 1971"/>
                <a:gd name="T111" fmla="*/ 831 h 1521"/>
                <a:gd name="T112" fmla="*/ 1512 w 1971"/>
                <a:gd name="T113" fmla="*/ 948 h 1521"/>
                <a:gd name="T114" fmla="*/ 1536 w 1971"/>
                <a:gd name="T115" fmla="*/ 1027 h 1521"/>
                <a:gd name="T116" fmla="*/ 1519 w 1971"/>
                <a:gd name="T117" fmla="*/ 1219 h 1521"/>
                <a:gd name="T118" fmla="*/ 1433 w 1971"/>
                <a:gd name="T119" fmla="*/ 1289 h 1521"/>
                <a:gd name="T120" fmla="*/ 1541 w 1971"/>
                <a:gd name="T121" fmla="*/ 1373 h 1521"/>
                <a:gd name="T122" fmla="*/ 1593 w 1971"/>
                <a:gd name="T123" fmla="*/ 1357 h 1521"/>
                <a:gd name="T124" fmla="*/ 1674 w 1971"/>
                <a:gd name="T125" fmla="*/ 1521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71" h="1521">
                  <a:moveTo>
                    <a:pt x="1712" y="1514"/>
                  </a:moveTo>
                  <a:lnTo>
                    <a:pt x="1702" y="1460"/>
                  </a:lnTo>
                  <a:lnTo>
                    <a:pt x="1707" y="1451"/>
                  </a:lnTo>
                  <a:lnTo>
                    <a:pt x="1709" y="1443"/>
                  </a:lnTo>
                  <a:lnTo>
                    <a:pt x="1710" y="1436"/>
                  </a:lnTo>
                  <a:lnTo>
                    <a:pt x="1710" y="1431"/>
                  </a:lnTo>
                  <a:lnTo>
                    <a:pt x="1710" y="1426"/>
                  </a:lnTo>
                  <a:lnTo>
                    <a:pt x="1709" y="1422"/>
                  </a:lnTo>
                  <a:lnTo>
                    <a:pt x="1707" y="1417"/>
                  </a:lnTo>
                  <a:lnTo>
                    <a:pt x="1704" y="1413"/>
                  </a:lnTo>
                  <a:lnTo>
                    <a:pt x="1699" y="1407"/>
                  </a:lnTo>
                  <a:lnTo>
                    <a:pt x="1696" y="1399"/>
                  </a:lnTo>
                  <a:lnTo>
                    <a:pt x="1694" y="1394"/>
                  </a:lnTo>
                  <a:lnTo>
                    <a:pt x="1694" y="1389"/>
                  </a:lnTo>
                  <a:lnTo>
                    <a:pt x="1694" y="1383"/>
                  </a:lnTo>
                  <a:lnTo>
                    <a:pt x="1695" y="1377"/>
                  </a:lnTo>
                  <a:lnTo>
                    <a:pt x="1697" y="1371"/>
                  </a:lnTo>
                  <a:lnTo>
                    <a:pt x="1699" y="1368"/>
                  </a:lnTo>
                  <a:lnTo>
                    <a:pt x="1702" y="1364"/>
                  </a:lnTo>
                  <a:lnTo>
                    <a:pt x="1706" y="1361"/>
                  </a:lnTo>
                  <a:lnTo>
                    <a:pt x="1715" y="1356"/>
                  </a:lnTo>
                  <a:lnTo>
                    <a:pt x="1724" y="1351"/>
                  </a:lnTo>
                  <a:lnTo>
                    <a:pt x="1734" y="1344"/>
                  </a:lnTo>
                  <a:lnTo>
                    <a:pt x="1743" y="1336"/>
                  </a:lnTo>
                  <a:lnTo>
                    <a:pt x="1747" y="1332"/>
                  </a:lnTo>
                  <a:lnTo>
                    <a:pt x="1750" y="1327"/>
                  </a:lnTo>
                  <a:lnTo>
                    <a:pt x="1752" y="1321"/>
                  </a:lnTo>
                  <a:lnTo>
                    <a:pt x="1755" y="1314"/>
                  </a:lnTo>
                  <a:lnTo>
                    <a:pt x="1756" y="1305"/>
                  </a:lnTo>
                  <a:lnTo>
                    <a:pt x="1756" y="1295"/>
                  </a:lnTo>
                  <a:lnTo>
                    <a:pt x="1755" y="1286"/>
                  </a:lnTo>
                  <a:lnTo>
                    <a:pt x="1753" y="1276"/>
                  </a:lnTo>
                  <a:lnTo>
                    <a:pt x="1749" y="1257"/>
                  </a:lnTo>
                  <a:lnTo>
                    <a:pt x="1747" y="1238"/>
                  </a:lnTo>
                  <a:lnTo>
                    <a:pt x="1748" y="1233"/>
                  </a:lnTo>
                  <a:lnTo>
                    <a:pt x="1750" y="1226"/>
                  </a:lnTo>
                  <a:lnTo>
                    <a:pt x="1752" y="1220"/>
                  </a:lnTo>
                  <a:lnTo>
                    <a:pt x="1756" y="1214"/>
                  </a:lnTo>
                  <a:lnTo>
                    <a:pt x="1763" y="1200"/>
                  </a:lnTo>
                  <a:lnTo>
                    <a:pt x="1768" y="1190"/>
                  </a:lnTo>
                  <a:lnTo>
                    <a:pt x="1775" y="1167"/>
                  </a:lnTo>
                  <a:lnTo>
                    <a:pt x="1781" y="1141"/>
                  </a:lnTo>
                  <a:lnTo>
                    <a:pt x="1785" y="1128"/>
                  </a:lnTo>
                  <a:lnTo>
                    <a:pt x="1788" y="1117"/>
                  </a:lnTo>
                  <a:lnTo>
                    <a:pt x="1790" y="1112"/>
                  </a:lnTo>
                  <a:lnTo>
                    <a:pt x="1793" y="1106"/>
                  </a:lnTo>
                  <a:lnTo>
                    <a:pt x="1795" y="1103"/>
                  </a:lnTo>
                  <a:lnTo>
                    <a:pt x="1798" y="1100"/>
                  </a:lnTo>
                  <a:lnTo>
                    <a:pt x="1802" y="1097"/>
                  </a:lnTo>
                  <a:lnTo>
                    <a:pt x="1807" y="1095"/>
                  </a:lnTo>
                  <a:lnTo>
                    <a:pt x="1811" y="1094"/>
                  </a:lnTo>
                  <a:lnTo>
                    <a:pt x="1816" y="1094"/>
                  </a:lnTo>
                  <a:lnTo>
                    <a:pt x="1825" y="1095"/>
                  </a:lnTo>
                  <a:lnTo>
                    <a:pt x="1835" y="1096"/>
                  </a:lnTo>
                  <a:lnTo>
                    <a:pt x="1844" y="1096"/>
                  </a:lnTo>
                  <a:lnTo>
                    <a:pt x="1853" y="1094"/>
                  </a:lnTo>
                  <a:lnTo>
                    <a:pt x="1862" y="1092"/>
                  </a:lnTo>
                  <a:lnTo>
                    <a:pt x="1870" y="1089"/>
                  </a:lnTo>
                  <a:lnTo>
                    <a:pt x="1887" y="1080"/>
                  </a:lnTo>
                  <a:lnTo>
                    <a:pt x="1903" y="1071"/>
                  </a:lnTo>
                  <a:lnTo>
                    <a:pt x="1910" y="1070"/>
                  </a:lnTo>
                  <a:lnTo>
                    <a:pt x="1920" y="1069"/>
                  </a:lnTo>
                  <a:lnTo>
                    <a:pt x="1927" y="1067"/>
                  </a:lnTo>
                  <a:lnTo>
                    <a:pt x="1931" y="1066"/>
                  </a:lnTo>
                  <a:lnTo>
                    <a:pt x="1934" y="1064"/>
                  </a:lnTo>
                  <a:lnTo>
                    <a:pt x="1935" y="1062"/>
                  </a:lnTo>
                  <a:lnTo>
                    <a:pt x="1937" y="1054"/>
                  </a:lnTo>
                  <a:lnTo>
                    <a:pt x="1938" y="1038"/>
                  </a:lnTo>
                  <a:lnTo>
                    <a:pt x="1939" y="1019"/>
                  </a:lnTo>
                  <a:lnTo>
                    <a:pt x="1939" y="1007"/>
                  </a:lnTo>
                  <a:lnTo>
                    <a:pt x="1909" y="1017"/>
                  </a:lnTo>
                  <a:lnTo>
                    <a:pt x="1869" y="1028"/>
                  </a:lnTo>
                  <a:lnTo>
                    <a:pt x="1860" y="1029"/>
                  </a:lnTo>
                  <a:lnTo>
                    <a:pt x="1851" y="1029"/>
                  </a:lnTo>
                  <a:lnTo>
                    <a:pt x="1848" y="1028"/>
                  </a:lnTo>
                  <a:lnTo>
                    <a:pt x="1844" y="1027"/>
                  </a:lnTo>
                  <a:lnTo>
                    <a:pt x="1841" y="1026"/>
                  </a:lnTo>
                  <a:lnTo>
                    <a:pt x="1839" y="1023"/>
                  </a:lnTo>
                  <a:lnTo>
                    <a:pt x="1836" y="1021"/>
                  </a:lnTo>
                  <a:lnTo>
                    <a:pt x="1834" y="1017"/>
                  </a:lnTo>
                  <a:lnTo>
                    <a:pt x="1832" y="1013"/>
                  </a:lnTo>
                  <a:lnTo>
                    <a:pt x="1831" y="1008"/>
                  </a:lnTo>
                  <a:lnTo>
                    <a:pt x="1831" y="1003"/>
                  </a:lnTo>
                  <a:lnTo>
                    <a:pt x="1830" y="996"/>
                  </a:lnTo>
                  <a:lnTo>
                    <a:pt x="1831" y="990"/>
                  </a:lnTo>
                  <a:lnTo>
                    <a:pt x="1832" y="981"/>
                  </a:lnTo>
                  <a:lnTo>
                    <a:pt x="1833" y="976"/>
                  </a:lnTo>
                  <a:lnTo>
                    <a:pt x="1834" y="972"/>
                  </a:lnTo>
                  <a:lnTo>
                    <a:pt x="1835" y="969"/>
                  </a:lnTo>
                  <a:lnTo>
                    <a:pt x="1837" y="967"/>
                  </a:lnTo>
                  <a:lnTo>
                    <a:pt x="1839" y="966"/>
                  </a:lnTo>
                  <a:lnTo>
                    <a:pt x="1842" y="965"/>
                  </a:lnTo>
                  <a:lnTo>
                    <a:pt x="1844" y="964"/>
                  </a:lnTo>
                  <a:lnTo>
                    <a:pt x="1847" y="964"/>
                  </a:lnTo>
                  <a:lnTo>
                    <a:pt x="1861" y="965"/>
                  </a:lnTo>
                  <a:lnTo>
                    <a:pt x="1878" y="965"/>
                  </a:lnTo>
                  <a:lnTo>
                    <a:pt x="1882" y="964"/>
                  </a:lnTo>
                  <a:lnTo>
                    <a:pt x="1888" y="960"/>
                  </a:lnTo>
                  <a:lnTo>
                    <a:pt x="1894" y="957"/>
                  </a:lnTo>
                  <a:lnTo>
                    <a:pt x="1902" y="953"/>
                  </a:lnTo>
                  <a:lnTo>
                    <a:pt x="1917" y="942"/>
                  </a:lnTo>
                  <a:lnTo>
                    <a:pt x="1933" y="929"/>
                  </a:lnTo>
                  <a:lnTo>
                    <a:pt x="1947" y="916"/>
                  </a:lnTo>
                  <a:lnTo>
                    <a:pt x="1960" y="902"/>
                  </a:lnTo>
                  <a:lnTo>
                    <a:pt x="1964" y="896"/>
                  </a:lnTo>
                  <a:lnTo>
                    <a:pt x="1968" y="891"/>
                  </a:lnTo>
                  <a:lnTo>
                    <a:pt x="1970" y="884"/>
                  </a:lnTo>
                  <a:lnTo>
                    <a:pt x="1971" y="880"/>
                  </a:lnTo>
                  <a:lnTo>
                    <a:pt x="1970" y="867"/>
                  </a:lnTo>
                  <a:lnTo>
                    <a:pt x="1967" y="851"/>
                  </a:lnTo>
                  <a:lnTo>
                    <a:pt x="1964" y="836"/>
                  </a:lnTo>
                  <a:lnTo>
                    <a:pt x="1961" y="821"/>
                  </a:lnTo>
                  <a:lnTo>
                    <a:pt x="1958" y="805"/>
                  </a:lnTo>
                  <a:lnTo>
                    <a:pt x="1957" y="790"/>
                  </a:lnTo>
                  <a:lnTo>
                    <a:pt x="1957" y="782"/>
                  </a:lnTo>
                  <a:lnTo>
                    <a:pt x="1958" y="775"/>
                  </a:lnTo>
                  <a:lnTo>
                    <a:pt x="1960" y="768"/>
                  </a:lnTo>
                  <a:lnTo>
                    <a:pt x="1962" y="761"/>
                  </a:lnTo>
                  <a:lnTo>
                    <a:pt x="1965" y="748"/>
                  </a:lnTo>
                  <a:lnTo>
                    <a:pt x="1968" y="726"/>
                  </a:lnTo>
                  <a:lnTo>
                    <a:pt x="1970" y="699"/>
                  </a:lnTo>
                  <a:lnTo>
                    <a:pt x="1971" y="670"/>
                  </a:lnTo>
                  <a:lnTo>
                    <a:pt x="1970" y="656"/>
                  </a:lnTo>
                  <a:lnTo>
                    <a:pt x="1969" y="642"/>
                  </a:lnTo>
                  <a:lnTo>
                    <a:pt x="1968" y="630"/>
                  </a:lnTo>
                  <a:lnTo>
                    <a:pt x="1966" y="619"/>
                  </a:lnTo>
                  <a:lnTo>
                    <a:pt x="1963" y="610"/>
                  </a:lnTo>
                  <a:lnTo>
                    <a:pt x="1959" y="603"/>
                  </a:lnTo>
                  <a:lnTo>
                    <a:pt x="1957" y="599"/>
                  </a:lnTo>
                  <a:lnTo>
                    <a:pt x="1955" y="597"/>
                  </a:lnTo>
                  <a:lnTo>
                    <a:pt x="1953" y="596"/>
                  </a:lnTo>
                  <a:lnTo>
                    <a:pt x="1950" y="595"/>
                  </a:lnTo>
                  <a:lnTo>
                    <a:pt x="1944" y="596"/>
                  </a:lnTo>
                  <a:lnTo>
                    <a:pt x="1937" y="598"/>
                  </a:lnTo>
                  <a:lnTo>
                    <a:pt x="1928" y="602"/>
                  </a:lnTo>
                  <a:lnTo>
                    <a:pt x="1917" y="607"/>
                  </a:lnTo>
                  <a:lnTo>
                    <a:pt x="1893" y="617"/>
                  </a:lnTo>
                  <a:lnTo>
                    <a:pt x="1868" y="629"/>
                  </a:lnTo>
                  <a:lnTo>
                    <a:pt x="1856" y="634"/>
                  </a:lnTo>
                  <a:lnTo>
                    <a:pt x="1843" y="639"/>
                  </a:lnTo>
                  <a:lnTo>
                    <a:pt x="1833" y="642"/>
                  </a:lnTo>
                  <a:lnTo>
                    <a:pt x="1822" y="644"/>
                  </a:lnTo>
                  <a:lnTo>
                    <a:pt x="1814" y="644"/>
                  </a:lnTo>
                  <a:lnTo>
                    <a:pt x="1808" y="643"/>
                  </a:lnTo>
                  <a:lnTo>
                    <a:pt x="1806" y="642"/>
                  </a:lnTo>
                  <a:lnTo>
                    <a:pt x="1804" y="640"/>
                  </a:lnTo>
                  <a:lnTo>
                    <a:pt x="1802" y="637"/>
                  </a:lnTo>
                  <a:lnTo>
                    <a:pt x="1802" y="634"/>
                  </a:lnTo>
                  <a:lnTo>
                    <a:pt x="1805" y="623"/>
                  </a:lnTo>
                  <a:lnTo>
                    <a:pt x="1807" y="612"/>
                  </a:lnTo>
                  <a:lnTo>
                    <a:pt x="1808" y="607"/>
                  </a:lnTo>
                  <a:lnTo>
                    <a:pt x="1808" y="602"/>
                  </a:lnTo>
                  <a:lnTo>
                    <a:pt x="1807" y="597"/>
                  </a:lnTo>
                  <a:lnTo>
                    <a:pt x="1804" y="592"/>
                  </a:lnTo>
                  <a:lnTo>
                    <a:pt x="1800" y="591"/>
                  </a:lnTo>
                  <a:lnTo>
                    <a:pt x="1795" y="589"/>
                  </a:lnTo>
                  <a:lnTo>
                    <a:pt x="1789" y="587"/>
                  </a:lnTo>
                  <a:lnTo>
                    <a:pt x="1782" y="586"/>
                  </a:lnTo>
                  <a:lnTo>
                    <a:pt x="1768" y="584"/>
                  </a:lnTo>
                  <a:lnTo>
                    <a:pt x="1759" y="583"/>
                  </a:lnTo>
                  <a:lnTo>
                    <a:pt x="1756" y="583"/>
                  </a:lnTo>
                  <a:lnTo>
                    <a:pt x="1752" y="585"/>
                  </a:lnTo>
                  <a:lnTo>
                    <a:pt x="1749" y="588"/>
                  </a:lnTo>
                  <a:lnTo>
                    <a:pt x="1745" y="592"/>
                  </a:lnTo>
                  <a:lnTo>
                    <a:pt x="1738" y="603"/>
                  </a:lnTo>
                  <a:lnTo>
                    <a:pt x="1728" y="615"/>
                  </a:lnTo>
                  <a:lnTo>
                    <a:pt x="1713" y="639"/>
                  </a:lnTo>
                  <a:lnTo>
                    <a:pt x="1701" y="657"/>
                  </a:lnTo>
                  <a:lnTo>
                    <a:pt x="1698" y="659"/>
                  </a:lnTo>
                  <a:lnTo>
                    <a:pt x="1695" y="661"/>
                  </a:lnTo>
                  <a:lnTo>
                    <a:pt x="1691" y="662"/>
                  </a:lnTo>
                  <a:lnTo>
                    <a:pt x="1688" y="662"/>
                  </a:lnTo>
                  <a:lnTo>
                    <a:pt x="1684" y="662"/>
                  </a:lnTo>
                  <a:lnTo>
                    <a:pt x="1678" y="661"/>
                  </a:lnTo>
                  <a:lnTo>
                    <a:pt x="1674" y="659"/>
                  </a:lnTo>
                  <a:lnTo>
                    <a:pt x="1670" y="657"/>
                  </a:lnTo>
                  <a:lnTo>
                    <a:pt x="1660" y="651"/>
                  </a:lnTo>
                  <a:lnTo>
                    <a:pt x="1650" y="643"/>
                  </a:lnTo>
                  <a:lnTo>
                    <a:pt x="1640" y="634"/>
                  </a:lnTo>
                  <a:lnTo>
                    <a:pt x="1629" y="625"/>
                  </a:lnTo>
                  <a:lnTo>
                    <a:pt x="1629" y="625"/>
                  </a:lnTo>
                  <a:lnTo>
                    <a:pt x="1617" y="612"/>
                  </a:lnTo>
                  <a:lnTo>
                    <a:pt x="1606" y="599"/>
                  </a:lnTo>
                  <a:lnTo>
                    <a:pt x="1597" y="589"/>
                  </a:lnTo>
                  <a:lnTo>
                    <a:pt x="1591" y="581"/>
                  </a:lnTo>
                  <a:lnTo>
                    <a:pt x="1575" y="561"/>
                  </a:lnTo>
                  <a:lnTo>
                    <a:pt x="1564" y="545"/>
                  </a:lnTo>
                  <a:lnTo>
                    <a:pt x="1560" y="538"/>
                  </a:lnTo>
                  <a:lnTo>
                    <a:pt x="1557" y="533"/>
                  </a:lnTo>
                  <a:lnTo>
                    <a:pt x="1555" y="526"/>
                  </a:lnTo>
                  <a:lnTo>
                    <a:pt x="1555" y="521"/>
                  </a:lnTo>
                  <a:lnTo>
                    <a:pt x="1555" y="515"/>
                  </a:lnTo>
                  <a:lnTo>
                    <a:pt x="1557" y="509"/>
                  </a:lnTo>
                  <a:lnTo>
                    <a:pt x="1560" y="502"/>
                  </a:lnTo>
                  <a:lnTo>
                    <a:pt x="1563" y="495"/>
                  </a:lnTo>
                  <a:lnTo>
                    <a:pt x="1572" y="477"/>
                  </a:lnTo>
                  <a:lnTo>
                    <a:pt x="1584" y="456"/>
                  </a:lnTo>
                  <a:lnTo>
                    <a:pt x="1589" y="451"/>
                  </a:lnTo>
                  <a:lnTo>
                    <a:pt x="1593" y="447"/>
                  </a:lnTo>
                  <a:lnTo>
                    <a:pt x="1596" y="443"/>
                  </a:lnTo>
                  <a:lnTo>
                    <a:pt x="1598" y="439"/>
                  </a:lnTo>
                  <a:lnTo>
                    <a:pt x="1600" y="434"/>
                  </a:lnTo>
                  <a:lnTo>
                    <a:pt x="1601" y="429"/>
                  </a:lnTo>
                  <a:lnTo>
                    <a:pt x="1601" y="425"/>
                  </a:lnTo>
                  <a:lnTo>
                    <a:pt x="1600" y="420"/>
                  </a:lnTo>
                  <a:lnTo>
                    <a:pt x="1598" y="411"/>
                  </a:lnTo>
                  <a:lnTo>
                    <a:pt x="1593" y="402"/>
                  </a:lnTo>
                  <a:lnTo>
                    <a:pt x="1587" y="393"/>
                  </a:lnTo>
                  <a:lnTo>
                    <a:pt x="1578" y="384"/>
                  </a:lnTo>
                  <a:lnTo>
                    <a:pt x="1569" y="375"/>
                  </a:lnTo>
                  <a:lnTo>
                    <a:pt x="1560" y="367"/>
                  </a:lnTo>
                  <a:lnTo>
                    <a:pt x="1550" y="358"/>
                  </a:lnTo>
                  <a:lnTo>
                    <a:pt x="1540" y="351"/>
                  </a:lnTo>
                  <a:lnTo>
                    <a:pt x="1522" y="339"/>
                  </a:lnTo>
                  <a:lnTo>
                    <a:pt x="1507" y="329"/>
                  </a:lnTo>
                  <a:lnTo>
                    <a:pt x="1499" y="325"/>
                  </a:lnTo>
                  <a:lnTo>
                    <a:pt x="1491" y="322"/>
                  </a:lnTo>
                  <a:lnTo>
                    <a:pt x="1483" y="321"/>
                  </a:lnTo>
                  <a:lnTo>
                    <a:pt x="1475" y="320"/>
                  </a:lnTo>
                  <a:lnTo>
                    <a:pt x="1467" y="320"/>
                  </a:lnTo>
                  <a:lnTo>
                    <a:pt x="1459" y="321"/>
                  </a:lnTo>
                  <a:lnTo>
                    <a:pt x="1451" y="323"/>
                  </a:lnTo>
                  <a:lnTo>
                    <a:pt x="1444" y="326"/>
                  </a:lnTo>
                  <a:lnTo>
                    <a:pt x="1413" y="341"/>
                  </a:lnTo>
                  <a:lnTo>
                    <a:pt x="1383" y="356"/>
                  </a:lnTo>
                  <a:lnTo>
                    <a:pt x="1376" y="360"/>
                  </a:lnTo>
                  <a:lnTo>
                    <a:pt x="1369" y="363"/>
                  </a:lnTo>
                  <a:lnTo>
                    <a:pt x="1362" y="365"/>
                  </a:lnTo>
                  <a:lnTo>
                    <a:pt x="1355" y="366"/>
                  </a:lnTo>
                  <a:lnTo>
                    <a:pt x="1348" y="367"/>
                  </a:lnTo>
                  <a:lnTo>
                    <a:pt x="1342" y="367"/>
                  </a:lnTo>
                  <a:lnTo>
                    <a:pt x="1334" y="365"/>
                  </a:lnTo>
                  <a:lnTo>
                    <a:pt x="1328" y="362"/>
                  </a:lnTo>
                  <a:lnTo>
                    <a:pt x="1322" y="358"/>
                  </a:lnTo>
                  <a:lnTo>
                    <a:pt x="1316" y="352"/>
                  </a:lnTo>
                  <a:lnTo>
                    <a:pt x="1308" y="345"/>
                  </a:lnTo>
                  <a:lnTo>
                    <a:pt x="1302" y="337"/>
                  </a:lnTo>
                  <a:lnTo>
                    <a:pt x="1296" y="326"/>
                  </a:lnTo>
                  <a:lnTo>
                    <a:pt x="1290" y="314"/>
                  </a:lnTo>
                  <a:lnTo>
                    <a:pt x="1284" y="299"/>
                  </a:lnTo>
                  <a:lnTo>
                    <a:pt x="1278" y="282"/>
                  </a:lnTo>
                  <a:lnTo>
                    <a:pt x="1275" y="277"/>
                  </a:lnTo>
                  <a:lnTo>
                    <a:pt x="1271" y="273"/>
                  </a:lnTo>
                  <a:lnTo>
                    <a:pt x="1264" y="270"/>
                  </a:lnTo>
                  <a:lnTo>
                    <a:pt x="1256" y="267"/>
                  </a:lnTo>
                  <a:lnTo>
                    <a:pt x="1238" y="264"/>
                  </a:lnTo>
                  <a:lnTo>
                    <a:pt x="1217" y="261"/>
                  </a:lnTo>
                  <a:lnTo>
                    <a:pt x="1194" y="260"/>
                  </a:lnTo>
                  <a:lnTo>
                    <a:pt x="1172" y="258"/>
                  </a:lnTo>
                  <a:lnTo>
                    <a:pt x="1161" y="256"/>
                  </a:lnTo>
                  <a:lnTo>
                    <a:pt x="1152" y="254"/>
                  </a:lnTo>
                  <a:lnTo>
                    <a:pt x="1144" y="252"/>
                  </a:lnTo>
                  <a:lnTo>
                    <a:pt x="1137" y="249"/>
                  </a:lnTo>
                  <a:lnTo>
                    <a:pt x="1130" y="244"/>
                  </a:lnTo>
                  <a:lnTo>
                    <a:pt x="1125" y="237"/>
                  </a:lnTo>
                  <a:lnTo>
                    <a:pt x="1121" y="231"/>
                  </a:lnTo>
                  <a:lnTo>
                    <a:pt x="1119" y="225"/>
                  </a:lnTo>
                  <a:lnTo>
                    <a:pt x="1117" y="218"/>
                  </a:lnTo>
                  <a:lnTo>
                    <a:pt x="1117" y="209"/>
                  </a:lnTo>
                  <a:lnTo>
                    <a:pt x="1117" y="202"/>
                  </a:lnTo>
                  <a:lnTo>
                    <a:pt x="1119" y="194"/>
                  </a:lnTo>
                  <a:lnTo>
                    <a:pt x="1121" y="178"/>
                  </a:lnTo>
                  <a:lnTo>
                    <a:pt x="1122" y="161"/>
                  </a:lnTo>
                  <a:lnTo>
                    <a:pt x="1122" y="154"/>
                  </a:lnTo>
                  <a:lnTo>
                    <a:pt x="1121" y="147"/>
                  </a:lnTo>
                  <a:lnTo>
                    <a:pt x="1117" y="139"/>
                  </a:lnTo>
                  <a:lnTo>
                    <a:pt x="1113" y="133"/>
                  </a:lnTo>
                  <a:lnTo>
                    <a:pt x="1109" y="133"/>
                  </a:lnTo>
                  <a:lnTo>
                    <a:pt x="1106" y="134"/>
                  </a:lnTo>
                  <a:lnTo>
                    <a:pt x="1103" y="136"/>
                  </a:lnTo>
                  <a:lnTo>
                    <a:pt x="1099" y="138"/>
                  </a:lnTo>
                  <a:lnTo>
                    <a:pt x="1092" y="144"/>
                  </a:lnTo>
                  <a:lnTo>
                    <a:pt x="1086" y="150"/>
                  </a:lnTo>
                  <a:lnTo>
                    <a:pt x="1079" y="156"/>
                  </a:lnTo>
                  <a:lnTo>
                    <a:pt x="1071" y="162"/>
                  </a:lnTo>
                  <a:lnTo>
                    <a:pt x="1066" y="164"/>
                  </a:lnTo>
                  <a:lnTo>
                    <a:pt x="1061" y="167"/>
                  </a:lnTo>
                  <a:lnTo>
                    <a:pt x="1056" y="169"/>
                  </a:lnTo>
                  <a:lnTo>
                    <a:pt x="1051" y="170"/>
                  </a:lnTo>
                  <a:lnTo>
                    <a:pt x="1047" y="170"/>
                  </a:lnTo>
                  <a:lnTo>
                    <a:pt x="1041" y="170"/>
                  </a:lnTo>
                  <a:lnTo>
                    <a:pt x="1037" y="169"/>
                  </a:lnTo>
                  <a:lnTo>
                    <a:pt x="1034" y="168"/>
                  </a:lnTo>
                  <a:lnTo>
                    <a:pt x="1027" y="162"/>
                  </a:lnTo>
                  <a:lnTo>
                    <a:pt x="1021" y="156"/>
                  </a:lnTo>
                  <a:lnTo>
                    <a:pt x="1011" y="141"/>
                  </a:lnTo>
                  <a:lnTo>
                    <a:pt x="1003" y="125"/>
                  </a:lnTo>
                  <a:lnTo>
                    <a:pt x="999" y="117"/>
                  </a:lnTo>
                  <a:lnTo>
                    <a:pt x="993" y="111"/>
                  </a:lnTo>
                  <a:lnTo>
                    <a:pt x="989" y="106"/>
                  </a:lnTo>
                  <a:lnTo>
                    <a:pt x="984" y="102"/>
                  </a:lnTo>
                  <a:lnTo>
                    <a:pt x="981" y="102"/>
                  </a:lnTo>
                  <a:lnTo>
                    <a:pt x="979" y="101"/>
                  </a:lnTo>
                  <a:lnTo>
                    <a:pt x="976" y="102"/>
                  </a:lnTo>
                  <a:lnTo>
                    <a:pt x="972" y="103"/>
                  </a:lnTo>
                  <a:lnTo>
                    <a:pt x="964" y="107"/>
                  </a:lnTo>
                  <a:lnTo>
                    <a:pt x="956" y="115"/>
                  </a:lnTo>
                  <a:lnTo>
                    <a:pt x="939" y="132"/>
                  </a:lnTo>
                  <a:lnTo>
                    <a:pt x="926" y="146"/>
                  </a:lnTo>
                  <a:lnTo>
                    <a:pt x="913" y="154"/>
                  </a:lnTo>
                  <a:lnTo>
                    <a:pt x="903" y="160"/>
                  </a:lnTo>
                  <a:lnTo>
                    <a:pt x="897" y="162"/>
                  </a:lnTo>
                  <a:lnTo>
                    <a:pt x="893" y="163"/>
                  </a:lnTo>
                  <a:lnTo>
                    <a:pt x="889" y="163"/>
                  </a:lnTo>
                  <a:lnTo>
                    <a:pt x="885" y="163"/>
                  </a:lnTo>
                  <a:lnTo>
                    <a:pt x="877" y="161"/>
                  </a:lnTo>
                  <a:lnTo>
                    <a:pt x="869" y="158"/>
                  </a:lnTo>
                  <a:lnTo>
                    <a:pt x="855" y="146"/>
                  </a:lnTo>
                  <a:lnTo>
                    <a:pt x="837" y="128"/>
                  </a:lnTo>
                  <a:lnTo>
                    <a:pt x="828" y="120"/>
                  </a:lnTo>
                  <a:lnTo>
                    <a:pt x="816" y="110"/>
                  </a:lnTo>
                  <a:lnTo>
                    <a:pt x="803" y="101"/>
                  </a:lnTo>
                  <a:lnTo>
                    <a:pt x="787" y="92"/>
                  </a:lnTo>
                  <a:lnTo>
                    <a:pt x="596" y="0"/>
                  </a:lnTo>
                  <a:lnTo>
                    <a:pt x="596" y="0"/>
                  </a:lnTo>
                  <a:lnTo>
                    <a:pt x="595" y="18"/>
                  </a:lnTo>
                  <a:lnTo>
                    <a:pt x="592" y="37"/>
                  </a:lnTo>
                  <a:lnTo>
                    <a:pt x="589" y="46"/>
                  </a:lnTo>
                  <a:lnTo>
                    <a:pt x="585" y="54"/>
                  </a:lnTo>
                  <a:lnTo>
                    <a:pt x="581" y="62"/>
                  </a:lnTo>
                  <a:lnTo>
                    <a:pt x="574" y="68"/>
                  </a:lnTo>
                  <a:lnTo>
                    <a:pt x="568" y="73"/>
                  </a:lnTo>
                  <a:lnTo>
                    <a:pt x="561" y="76"/>
                  </a:lnTo>
                  <a:lnTo>
                    <a:pt x="552" y="78"/>
                  </a:lnTo>
                  <a:lnTo>
                    <a:pt x="545" y="79"/>
                  </a:lnTo>
                  <a:lnTo>
                    <a:pt x="537" y="81"/>
                  </a:lnTo>
                  <a:lnTo>
                    <a:pt x="529" y="83"/>
                  </a:lnTo>
                  <a:lnTo>
                    <a:pt x="523" y="85"/>
                  </a:lnTo>
                  <a:lnTo>
                    <a:pt x="518" y="89"/>
                  </a:lnTo>
                  <a:lnTo>
                    <a:pt x="519" y="97"/>
                  </a:lnTo>
                  <a:lnTo>
                    <a:pt x="521" y="104"/>
                  </a:lnTo>
                  <a:lnTo>
                    <a:pt x="524" y="110"/>
                  </a:lnTo>
                  <a:lnTo>
                    <a:pt x="527" y="116"/>
                  </a:lnTo>
                  <a:lnTo>
                    <a:pt x="538" y="128"/>
                  </a:lnTo>
                  <a:lnTo>
                    <a:pt x="549" y="138"/>
                  </a:lnTo>
                  <a:lnTo>
                    <a:pt x="560" y="149"/>
                  </a:lnTo>
                  <a:lnTo>
                    <a:pt x="570" y="159"/>
                  </a:lnTo>
                  <a:lnTo>
                    <a:pt x="573" y="164"/>
                  </a:lnTo>
                  <a:lnTo>
                    <a:pt x="576" y="171"/>
                  </a:lnTo>
                  <a:lnTo>
                    <a:pt x="578" y="178"/>
                  </a:lnTo>
                  <a:lnTo>
                    <a:pt x="579" y="185"/>
                  </a:lnTo>
                  <a:lnTo>
                    <a:pt x="578" y="191"/>
                  </a:lnTo>
                  <a:lnTo>
                    <a:pt x="576" y="197"/>
                  </a:lnTo>
                  <a:lnTo>
                    <a:pt x="572" y="202"/>
                  </a:lnTo>
                  <a:lnTo>
                    <a:pt x="568" y="208"/>
                  </a:lnTo>
                  <a:lnTo>
                    <a:pt x="558" y="219"/>
                  </a:lnTo>
                  <a:lnTo>
                    <a:pt x="549" y="227"/>
                  </a:lnTo>
                  <a:lnTo>
                    <a:pt x="542" y="233"/>
                  </a:lnTo>
                  <a:lnTo>
                    <a:pt x="537" y="239"/>
                  </a:lnTo>
                  <a:lnTo>
                    <a:pt x="534" y="244"/>
                  </a:lnTo>
                  <a:lnTo>
                    <a:pt x="530" y="249"/>
                  </a:lnTo>
                  <a:lnTo>
                    <a:pt x="529" y="255"/>
                  </a:lnTo>
                  <a:lnTo>
                    <a:pt x="528" y="261"/>
                  </a:lnTo>
                  <a:lnTo>
                    <a:pt x="527" y="269"/>
                  </a:lnTo>
                  <a:lnTo>
                    <a:pt x="527" y="278"/>
                  </a:lnTo>
                  <a:lnTo>
                    <a:pt x="527" y="293"/>
                  </a:lnTo>
                  <a:lnTo>
                    <a:pt x="525" y="306"/>
                  </a:lnTo>
                  <a:lnTo>
                    <a:pt x="522" y="320"/>
                  </a:lnTo>
                  <a:lnTo>
                    <a:pt x="517" y="332"/>
                  </a:lnTo>
                  <a:lnTo>
                    <a:pt x="511" y="344"/>
                  </a:lnTo>
                  <a:lnTo>
                    <a:pt x="504" y="355"/>
                  </a:lnTo>
                  <a:lnTo>
                    <a:pt x="496" y="367"/>
                  </a:lnTo>
                  <a:lnTo>
                    <a:pt x="488" y="378"/>
                  </a:lnTo>
                  <a:lnTo>
                    <a:pt x="479" y="380"/>
                  </a:lnTo>
                  <a:lnTo>
                    <a:pt x="471" y="382"/>
                  </a:lnTo>
                  <a:lnTo>
                    <a:pt x="463" y="385"/>
                  </a:lnTo>
                  <a:lnTo>
                    <a:pt x="455" y="388"/>
                  </a:lnTo>
                  <a:lnTo>
                    <a:pt x="441" y="395"/>
                  </a:lnTo>
                  <a:lnTo>
                    <a:pt x="427" y="404"/>
                  </a:lnTo>
                  <a:lnTo>
                    <a:pt x="401" y="423"/>
                  </a:lnTo>
                  <a:lnTo>
                    <a:pt x="377" y="441"/>
                  </a:lnTo>
                  <a:lnTo>
                    <a:pt x="366" y="448"/>
                  </a:lnTo>
                  <a:lnTo>
                    <a:pt x="353" y="454"/>
                  </a:lnTo>
                  <a:lnTo>
                    <a:pt x="347" y="458"/>
                  </a:lnTo>
                  <a:lnTo>
                    <a:pt x="340" y="460"/>
                  </a:lnTo>
                  <a:lnTo>
                    <a:pt x="333" y="461"/>
                  </a:lnTo>
                  <a:lnTo>
                    <a:pt x="326" y="461"/>
                  </a:lnTo>
                  <a:lnTo>
                    <a:pt x="320" y="461"/>
                  </a:lnTo>
                  <a:lnTo>
                    <a:pt x="313" y="461"/>
                  </a:lnTo>
                  <a:lnTo>
                    <a:pt x="304" y="459"/>
                  </a:lnTo>
                  <a:lnTo>
                    <a:pt x="297" y="457"/>
                  </a:lnTo>
                  <a:lnTo>
                    <a:pt x="289" y="453"/>
                  </a:lnTo>
                  <a:lnTo>
                    <a:pt x="280" y="448"/>
                  </a:lnTo>
                  <a:lnTo>
                    <a:pt x="271" y="443"/>
                  </a:lnTo>
                  <a:lnTo>
                    <a:pt x="261" y="437"/>
                  </a:lnTo>
                  <a:lnTo>
                    <a:pt x="253" y="432"/>
                  </a:lnTo>
                  <a:lnTo>
                    <a:pt x="247" y="429"/>
                  </a:lnTo>
                  <a:lnTo>
                    <a:pt x="244" y="428"/>
                  </a:lnTo>
                  <a:lnTo>
                    <a:pt x="241" y="429"/>
                  </a:lnTo>
                  <a:lnTo>
                    <a:pt x="239" y="429"/>
                  </a:lnTo>
                  <a:lnTo>
                    <a:pt x="236" y="430"/>
                  </a:lnTo>
                  <a:lnTo>
                    <a:pt x="232" y="435"/>
                  </a:lnTo>
                  <a:lnTo>
                    <a:pt x="229" y="440"/>
                  </a:lnTo>
                  <a:lnTo>
                    <a:pt x="227" y="446"/>
                  </a:lnTo>
                  <a:lnTo>
                    <a:pt x="225" y="453"/>
                  </a:lnTo>
                  <a:lnTo>
                    <a:pt x="223" y="487"/>
                  </a:lnTo>
                  <a:lnTo>
                    <a:pt x="222" y="514"/>
                  </a:lnTo>
                  <a:lnTo>
                    <a:pt x="220" y="522"/>
                  </a:lnTo>
                  <a:lnTo>
                    <a:pt x="217" y="531"/>
                  </a:lnTo>
                  <a:lnTo>
                    <a:pt x="212" y="537"/>
                  </a:lnTo>
                  <a:lnTo>
                    <a:pt x="208" y="543"/>
                  </a:lnTo>
                  <a:lnTo>
                    <a:pt x="202" y="548"/>
                  </a:lnTo>
                  <a:lnTo>
                    <a:pt x="196" y="553"/>
                  </a:lnTo>
                  <a:lnTo>
                    <a:pt x="188" y="557"/>
                  </a:lnTo>
                  <a:lnTo>
                    <a:pt x="181" y="560"/>
                  </a:lnTo>
                  <a:lnTo>
                    <a:pt x="166" y="566"/>
                  </a:lnTo>
                  <a:lnTo>
                    <a:pt x="149" y="570"/>
                  </a:lnTo>
                  <a:lnTo>
                    <a:pt x="133" y="574"/>
                  </a:lnTo>
                  <a:lnTo>
                    <a:pt x="119" y="578"/>
                  </a:lnTo>
                  <a:lnTo>
                    <a:pt x="118" y="593"/>
                  </a:lnTo>
                  <a:lnTo>
                    <a:pt x="119" y="619"/>
                  </a:lnTo>
                  <a:lnTo>
                    <a:pt x="119" y="651"/>
                  </a:lnTo>
                  <a:lnTo>
                    <a:pt x="117" y="682"/>
                  </a:lnTo>
                  <a:lnTo>
                    <a:pt x="114" y="696"/>
                  </a:lnTo>
                  <a:lnTo>
                    <a:pt x="111" y="709"/>
                  </a:lnTo>
                  <a:lnTo>
                    <a:pt x="109" y="714"/>
                  </a:lnTo>
                  <a:lnTo>
                    <a:pt x="107" y="718"/>
                  </a:lnTo>
                  <a:lnTo>
                    <a:pt x="104" y="723"/>
                  </a:lnTo>
                  <a:lnTo>
                    <a:pt x="101" y="726"/>
                  </a:lnTo>
                  <a:lnTo>
                    <a:pt x="97" y="729"/>
                  </a:lnTo>
                  <a:lnTo>
                    <a:pt x="93" y="730"/>
                  </a:lnTo>
                  <a:lnTo>
                    <a:pt x="88" y="730"/>
                  </a:lnTo>
                  <a:lnTo>
                    <a:pt x="83" y="729"/>
                  </a:lnTo>
                  <a:lnTo>
                    <a:pt x="78" y="727"/>
                  </a:lnTo>
                  <a:lnTo>
                    <a:pt x="71" y="724"/>
                  </a:lnTo>
                  <a:lnTo>
                    <a:pt x="64" y="719"/>
                  </a:lnTo>
                  <a:lnTo>
                    <a:pt x="57" y="713"/>
                  </a:lnTo>
                  <a:lnTo>
                    <a:pt x="52" y="710"/>
                  </a:lnTo>
                  <a:lnTo>
                    <a:pt x="48" y="707"/>
                  </a:lnTo>
                  <a:lnTo>
                    <a:pt x="43" y="706"/>
                  </a:lnTo>
                  <a:lnTo>
                    <a:pt x="38" y="705"/>
                  </a:lnTo>
                  <a:lnTo>
                    <a:pt x="34" y="705"/>
                  </a:lnTo>
                  <a:lnTo>
                    <a:pt x="30" y="706"/>
                  </a:lnTo>
                  <a:lnTo>
                    <a:pt x="27" y="708"/>
                  </a:lnTo>
                  <a:lnTo>
                    <a:pt x="23" y="710"/>
                  </a:lnTo>
                  <a:lnTo>
                    <a:pt x="15" y="715"/>
                  </a:lnTo>
                  <a:lnTo>
                    <a:pt x="9" y="724"/>
                  </a:lnTo>
                  <a:lnTo>
                    <a:pt x="4" y="732"/>
                  </a:lnTo>
                  <a:lnTo>
                    <a:pt x="0" y="741"/>
                  </a:lnTo>
                  <a:lnTo>
                    <a:pt x="0" y="741"/>
                  </a:lnTo>
                  <a:lnTo>
                    <a:pt x="77" y="818"/>
                  </a:lnTo>
                  <a:lnTo>
                    <a:pt x="78" y="825"/>
                  </a:lnTo>
                  <a:lnTo>
                    <a:pt x="81" y="835"/>
                  </a:lnTo>
                  <a:lnTo>
                    <a:pt x="85" y="846"/>
                  </a:lnTo>
                  <a:lnTo>
                    <a:pt x="90" y="856"/>
                  </a:lnTo>
                  <a:lnTo>
                    <a:pt x="103" y="878"/>
                  </a:lnTo>
                  <a:lnTo>
                    <a:pt x="113" y="895"/>
                  </a:lnTo>
                  <a:lnTo>
                    <a:pt x="120" y="903"/>
                  </a:lnTo>
                  <a:lnTo>
                    <a:pt x="127" y="910"/>
                  </a:lnTo>
                  <a:lnTo>
                    <a:pt x="134" y="917"/>
                  </a:lnTo>
                  <a:lnTo>
                    <a:pt x="143" y="922"/>
                  </a:lnTo>
                  <a:lnTo>
                    <a:pt x="151" y="926"/>
                  </a:lnTo>
                  <a:lnTo>
                    <a:pt x="160" y="929"/>
                  </a:lnTo>
                  <a:lnTo>
                    <a:pt x="170" y="932"/>
                  </a:lnTo>
                  <a:lnTo>
                    <a:pt x="179" y="934"/>
                  </a:lnTo>
                  <a:lnTo>
                    <a:pt x="199" y="936"/>
                  </a:lnTo>
                  <a:lnTo>
                    <a:pt x="220" y="936"/>
                  </a:lnTo>
                  <a:lnTo>
                    <a:pt x="241" y="936"/>
                  </a:lnTo>
                  <a:lnTo>
                    <a:pt x="263" y="936"/>
                  </a:lnTo>
                  <a:lnTo>
                    <a:pt x="283" y="936"/>
                  </a:lnTo>
                  <a:lnTo>
                    <a:pt x="304" y="937"/>
                  </a:lnTo>
                  <a:lnTo>
                    <a:pt x="315" y="939"/>
                  </a:lnTo>
                  <a:lnTo>
                    <a:pt x="325" y="940"/>
                  </a:lnTo>
                  <a:lnTo>
                    <a:pt x="334" y="942"/>
                  </a:lnTo>
                  <a:lnTo>
                    <a:pt x="344" y="945"/>
                  </a:lnTo>
                  <a:lnTo>
                    <a:pt x="353" y="949"/>
                  </a:lnTo>
                  <a:lnTo>
                    <a:pt x="363" y="953"/>
                  </a:lnTo>
                  <a:lnTo>
                    <a:pt x="371" y="959"/>
                  </a:lnTo>
                  <a:lnTo>
                    <a:pt x="378" y="966"/>
                  </a:lnTo>
                  <a:lnTo>
                    <a:pt x="387" y="973"/>
                  </a:lnTo>
                  <a:lnTo>
                    <a:pt x="393" y="982"/>
                  </a:lnTo>
                  <a:lnTo>
                    <a:pt x="400" y="993"/>
                  </a:lnTo>
                  <a:lnTo>
                    <a:pt x="405" y="1004"/>
                  </a:lnTo>
                  <a:lnTo>
                    <a:pt x="411" y="1018"/>
                  </a:lnTo>
                  <a:lnTo>
                    <a:pt x="417" y="1040"/>
                  </a:lnTo>
                  <a:lnTo>
                    <a:pt x="424" y="1067"/>
                  </a:lnTo>
                  <a:lnTo>
                    <a:pt x="433" y="1095"/>
                  </a:lnTo>
                  <a:lnTo>
                    <a:pt x="442" y="1123"/>
                  </a:lnTo>
                  <a:lnTo>
                    <a:pt x="451" y="1147"/>
                  </a:lnTo>
                  <a:lnTo>
                    <a:pt x="455" y="1157"/>
                  </a:lnTo>
                  <a:lnTo>
                    <a:pt x="460" y="1164"/>
                  </a:lnTo>
                  <a:lnTo>
                    <a:pt x="462" y="1167"/>
                  </a:lnTo>
                  <a:lnTo>
                    <a:pt x="464" y="1168"/>
                  </a:lnTo>
                  <a:lnTo>
                    <a:pt x="466" y="1170"/>
                  </a:lnTo>
                  <a:lnTo>
                    <a:pt x="467" y="1170"/>
                  </a:lnTo>
                  <a:lnTo>
                    <a:pt x="496" y="1219"/>
                  </a:lnTo>
                  <a:lnTo>
                    <a:pt x="496" y="1219"/>
                  </a:lnTo>
                  <a:lnTo>
                    <a:pt x="496" y="1214"/>
                  </a:lnTo>
                  <a:lnTo>
                    <a:pt x="497" y="1210"/>
                  </a:lnTo>
                  <a:lnTo>
                    <a:pt x="498" y="1206"/>
                  </a:lnTo>
                  <a:lnTo>
                    <a:pt x="499" y="1202"/>
                  </a:lnTo>
                  <a:lnTo>
                    <a:pt x="501" y="1199"/>
                  </a:lnTo>
                  <a:lnTo>
                    <a:pt x="504" y="1197"/>
                  </a:lnTo>
                  <a:lnTo>
                    <a:pt x="506" y="1195"/>
                  </a:lnTo>
                  <a:lnTo>
                    <a:pt x="511" y="1194"/>
                  </a:lnTo>
                  <a:lnTo>
                    <a:pt x="518" y="1192"/>
                  </a:lnTo>
                  <a:lnTo>
                    <a:pt x="526" y="1191"/>
                  </a:lnTo>
                  <a:lnTo>
                    <a:pt x="536" y="1190"/>
                  </a:lnTo>
                  <a:lnTo>
                    <a:pt x="546" y="1190"/>
                  </a:lnTo>
                  <a:lnTo>
                    <a:pt x="557" y="1190"/>
                  </a:lnTo>
                  <a:lnTo>
                    <a:pt x="567" y="1190"/>
                  </a:lnTo>
                  <a:lnTo>
                    <a:pt x="577" y="1189"/>
                  </a:lnTo>
                  <a:lnTo>
                    <a:pt x="587" y="1188"/>
                  </a:lnTo>
                  <a:lnTo>
                    <a:pt x="597" y="1185"/>
                  </a:lnTo>
                  <a:lnTo>
                    <a:pt x="606" y="1181"/>
                  </a:lnTo>
                  <a:lnTo>
                    <a:pt x="610" y="1177"/>
                  </a:lnTo>
                  <a:lnTo>
                    <a:pt x="613" y="1174"/>
                  </a:lnTo>
                  <a:lnTo>
                    <a:pt x="616" y="1171"/>
                  </a:lnTo>
                  <a:lnTo>
                    <a:pt x="619" y="1167"/>
                  </a:lnTo>
                  <a:lnTo>
                    <a:pt x="626" y="1153"/>
                  </a:lnTo>
                  <a:lnTo>
                    <a:pt x="632" y="1143"/>
                  </a:lnTo>
                  <a:lnTo>
                    <a:pt x="635" y="1133"/>
                  </a:lnTo>
                  <a:lnTo>
                    <a:pt x="636" y="1123"/>
                  </a:lnTo>
                  <a:lnTo>
                    <a:pt x="636" y="1115"/>
                  </a:lnTo>
                  <a:lnTo>
                    <a:pt x="635" y="1108"/>
                  </a:lnTo>
                  <a:lnTo>
                    <a:pt x="633" y="1100"/>
                  </a:lnTo>
                  <a:lnTo>
                    <a:pt x="631" y="1093"/>
                  </a:lnTo>
                  <a:lnTo>
                    <a:pt x="623" y="1079"/>
                  </a:lnTo>
                  <a:lnTo>
                    <a:pt x="616" y="1064"/>
                  </a:lnTo>
                  <a:lnTo>
                    <a:pt x="613" y="1055"/>
                  </a:lnTo>
                  <a:lnTo>
                    <a:pt x="611" y="1046"/>
                  </a:lnTo>
                  <a:lnTo>
                    <a:pt x="609" y="1036"/>
                  </a:lnTo>
                  <a:lnTo>
                    <a:pt x="609" y="1024"/>
                  </a:lnTo>
                  <a:lnTo>
                    <a:pt x="634" y="1017"/>
                  </a:lnTo>
                  <a:lnTo>
                    <a:pt x="657" y="1011"/>
                  </a:lnTo>
                  <a:lnTo>
                    <a:pt x="668" y="1006"/>
                  </a:lnTo>
                  <a:lnTo>
                    <a:pt x="680" y="1001"/>
                  </a:lnTo>
                  <a:lnTo>
                    <a:pt x="692" y="994"/>
                  </a:lnTo>
                  <a:lnTo>
                    <a:pt x="704" y="984"/>
                  </a:lnTo>
                  <a:lnTo>
                    <a:pt x="710" y="979"/>
                  </a:lnTo>
                  <a:lnTo>
                    <a:pt x="716" y="974"/>
                  </a:lnTo>
                  <a:lnTo>
                    <a:pt x="720" y="970"/>
                  </a:lnTo>
                  <a:lnTo>
                    <a:pt x="724" y="965"/>
                  </a:lnTo>
                  <a:lnTo>
                    <a:pt x="728" y="958"/>
                  </a:lnTo>
                  <a:lnTo>
                    <a:pt x="730" y="952"/>
                  </a:lnTo>
                  <a:lnTo>
                    <a:pt x="732" y="945"/>
                  </a:lnTo>
                  <a:lnTo>
                    <a:pt x="733" y="936"/>
                  </a:lnTo>
                  <a:lnTo>
                    <a:pt x="733" y="929"/>
                  </a:lnTo>
                  <a:lnTo>
                    <a:pt x="732" y="922"/>
                  </a:lnTo>
                  <a:lnTo>
                    <a:pt x="730" y="917"/>
                  </a:lnTo>
                  <a:lnTo>
                    <a:pt x="728" y="911"/>
                  </a:lnTo>
                  <a:lnTo>
                    <a:pt x="723" y="902"/>
                  </a:lnTo>
                  <a:lnTo>
                    <a:pt x="719" y="892"/>
                  </a:lnTo>
                  <a:lnTo>
                    <a:pt x="715" y="888"/>
                  </a:lnTo>
                  <a:lnTo>
                    <a:pt x="710" y="885"/>
                  </a:lnTo>
                  <a:lnTo>
                    <a:pt x="705" y="880"/>
                  </a:lnTo>
                  <a:lnTo>
                    <a:pt x="699" y="875"/>
                  </a:lnTo>
                  <a:lnTo>
                    <a:pt x="695" y="870"/>
                  </a:lnTo>
                  <a:lnTo>
                    <a:pt x="691" y="862"/>
                  </a:lnTo>
                  <a:lnTo>
                    <a:pt x="688" y="856"/>
                  </a:lnTo>
                  <a:lnTo>
                    <a:pt x="685" y="849"/>
                  </a:lnTo>
                  <a:lnTo>
                    <a:pt x="683" y="843"/>
                  </a:lnTo>
                  <a:lnTo>
                    <a:pt x="683" y="835"/>
                  </a:lnTo>
                  <a:lnTo>
                    <a:pt x="683" y="829"/>
                  </a:lnTo>
                  <a:lnTo>
                    <a:pt x="684" y="823"/>
                  </a:lnTo>
                  <a:lnTo>
                    <a:pt x="687" y="818"/>
                  </a:lnTo>
                  <a:lnTo>
                    <a:pt x="692" y="813"/>
                  </a:lnTo>
                  <a:lnTo>
                    <a:pt x="698" y="810"/>
                  </a:lnTo>
                  <a:lnTo>
                    <a:pt x="706" y="808"/>
                  </a:lnTo>
                  <a:lnTo>
                    <a:pt x="723" y="804"/>
                  </a:lnTo>
                  <a:lnTo>
                    <a:pt x="742" y="798"/>
                  </a:lnTo>
                  <a:lnTo>
                    <a:pt x="752" y="794"/>
                  </a:lnTo>
                  <a:lnTo>
                    <a:pt x="761" y="789"/>
                  </a:lnTo>
                  <a:lnTo>
                    <a:pt x="769" y="784"/>
                  </a:lnTo>
                  <a:lnTo>
                    <a:pt x="778" y="779"/>
                  </a:lnTo>
                  <a:lnTo>
                    <a:pt x="786" y="773"/>
                  </a:lnTo>
                  <a:lnTo>
                    <a:pt x="793" y="765"/>
                  </a:lnTo>
                  <a:lnTo>
                    <a:pt x="801" y="758"/>
                  </a:lnTo>
                  <a:lnTo>
                    <a:pt x="806" y="751"/>
                  </a:lnTo>
                  <a:lnTo>
                    <a:pt x="811" y="742"/>
                  </a:lnTo>
                  <a:lnTo>
                    <a:pt x="814" y="734"/>
                  </a:lnTo>
                  <a:lnTo>
                    <a:pt x="816" y="725"/>
                  </a:lnTo>
                  <a:lnTo>
                    <a:pt x="817" y="715"/>
                  </a:lnTo>
                  <a:lnTo>
                    <a:pt x="817" y="702"/>
                  </a:lnTo>
                  <a:lnTo>
                    <a:pt x="818" y="686"/>
                  </a:lnTo>
                  <a:lnTo>
                    <a:pt x="820" y="670"/>
                  </a:lnTo>
                  <a:lnTo>
                    <a:pt x="824" y="654"/>
                  </a:lnTo>
                  <a:lnTo>
                    <a:pt x="827" y="646"/>
                  </a:lnTo>
                  <a:lnTo>
                    <a:pt x="830" y="638"/>
                  </a:lnTo>
                  <a:lnTo>
                    <a:pt x="833" y="631"/>
                  </a:lnTo>
                  <a:lnTo>
                    <a:pt x="836" y="625"/>
                  </a:lnTo>
                  <a:lnTo>
                    <a:pt x="841" y="618"/>
                  </a:lnTo>
                  <a:lnTo>
                    <a:pt x="845" y="613"/>
                  </a:lnTo>
                  <a:lnTo>
                    <a:pt x="851" y="609"/>
                  </a:lnTo>
                  <a:lnTo>
                    <a:pt x="857" y="607"/>
                  </a:lnTo>
                  <a:lnTo>
                    <a:pt x="866" y="604"/>
                  </a:lnTo>
                  <a:lnTo>
                    <a:pt x="873" y="603"/>
                  </a:lnTo>
                  <a:lnTo>
                    <a:pt x="880" y="603"/>
                  </a:lnTo>
                  <a:lnTo>
                    <a:pt x="885" y="606"/>
                  </a:lnTo>
                  <a:lnTo>
                    <a:pt x="889" y="609"/>
                  </a:lnTo>
                  <a:lnTo>
                    <a:pt x="892" y="614"/>
                  </a:lnTo>
                  <a:lnTo>
                    <a:pt x="895" y="619"/>
                  </a:lnTo>
                  <a:lnTo>
                    <a:pt x="897" y="626"/>
                  </a:lnTo>
                  <a:lnTo>
                    <a:pt x="900" y="639"/>
                  </a:lnTo>
                  <a:lnTo>
                    <a:pt x="902" y="653"/>
                  </a:lnTo>
                  <a:lnTo>
                    <a:pt x="903" y="658"/>
                  </a:lnTo>
                  <a:lnTo>
                    <a:pt x="905" y="663"/>
                  </a:lnTo>
                  <a:lnTo>
                    <a:pt x="906" y="667"/>
                  </a:lnTo>
                  <a:lnTo>
                    <a:pt x="908" y="671"/>
                  </a:lnTo>
                  <a:lnTo>
                    <a:pt x="912" y="670"/>
                  </a:lnTo>
                  <a:lnTo>
                    <a:pt x="916" y="668"/>
                  </a:lnTo>
                  <a:lnTo>
                    <a:pt x="920" y="665"/>
                  </a:lnTo>
                  <a:lnTo>
                    <a:pt x="925" y="662"/>
                  </a:lnTo>
                  <a:lnTo>
                    <a:pt x="933" y="654"/>
                  </a:lnTo>
                  <a:lnTo>
                    <a:pt x="942" y="644"/>
                  </a:lnTo>
                  <a:lnTo>
                    <a:pt x="948" y="639"/>
                  </a:lnTo>
                  <a:lnTo>
                    <a:pt x="953" y="635"/>
                  </a:lnTo>
                  <a:lnTo>
                    <a:pt x="959" y="632"/>
                  </a:lnTo>
                  <a:lnTo>
                    <a:pt x="965" y="630"/>
                  </a:lnTo>
                  <a:lnTo>
                    <a:pt x="973" y="628"/>
                  </a:lnTo>
                  <a:lnTo>
                    <a:pt x="980" y="628"/>
                  </a:lnTo>
                  <a:lnTo>
                    <a:pt x="988" y="628"/>
                  </a:lnTo>
                  <a:lnTo>
                    <a:pt x="997" y="631"/>
                  </a:lnTo>
                  <a:lnTo>
                    <a:pt x="1007" y="634"/>
                  </a:lnTo>
                  <a:lnTo>
                    <a:pt x="1017" y="635"/>
                  </a:lnTo>
                  <a:lnTo>
                    <a:pt x="1028" y="636"/>
                  </a:lnTo>
                  <a:lnTo>
                    <a:pt x="1039" y="636"/>
                  </a:lnTo>
                  <a:lnTo>
                    <a:pt x="1050" y="636"/>
                  </a:lnTo>
                  <a:lnTo>
                    <a:pt x="1060" y="638"/>
                  </a:lnTo>
                  <a:lnTo>
                    <a:pt x="1070" y="640"/>
                  </a:lnTo>
                  <a:lnTo>
                    <a:pt x="1080" y="644"/>
                  </a:lnTo>
                  <a:lnTo>
                    <a:pt x="1084" y="649"/>
                  </a:lnTo>
                  <a:lnTo>
                    <a:pt x="1088" y="655"/>
                  </a:lnTo>
                  <a:lnTo>
                    <a:pt x="1091" y="662"/>
                  </a:lnTo>
                  <a:lnTo>
                    <a:pt x="1093" y="670"/>
                  </a:lnTo>
                  <a:lnTo>
                    <a:pt x="1099" y="687"/>
                  </a:lnTo>
                  <a:lnTo>
                    <a:pt x="1105" y="701"/>
                  </a:lnTo>
                  <a:lnTo>
                    <a:pt x="1107" y="704"/>
                  </a:lnTo>
                  <a:lnTo>
                    <a:pt x="1109" y="707"/>
                  </a:lnTo>
                  <a:lnTo>
                    <a:pt x="1113" y="709"/>
                  </a:lnTo>
                  <a:lnTo>
                    <a:pt x="1116" y="711"/>
                  </a:lnTo>
                  <a:lnTo>
                    <a:pt x="1125" y="715"/>
                  </a:lnTo>
                  <a:lnTo>
                    <a:pt x="1134" y="717"/>
                  </a:lnTo>
                  <a:lnTo>
                    <a:pt x="1144" y="718"/>
                  </a:lnTo>
                  <a:lnTo>
                    <a:pt x="1153" y="719"/>
                  </a:lnTo>
                  <a:lnTo>
                    <a:pt x="1161" y="719"/>
                  </a:lnTo>
                  <a:lnTo>
                    <a:pt x="1169" y="718"/>
                  </a:lnTo>
                  <a:lnTo>
                    <a:pt x="1177" y="716"/>
                  </a:lnTo>
                  <a:lnTo>
                    <a:pt x="1184" y="714"/>
                  </a:lnTo>
                  <a:lnTo>
                    <a:pt x="1190" y="712"/>
                  </a:lnTo>
                  <a:lnTo>
                    <a:pt x="1196" y="709"/>
                  </a:lnTo>
                  <a:lnTo>
                    <a:pt x="1204" y="703"/>
                  </a:lnTo>
                  <a:lnTo>
                    <a:pt x="1212" y="699"/>
                  </a:lnTo>
                  <a:lnTo>
                    <a:pt x="1215" y="696"/>
                  </a:lnTo>
                  <a:lnTo>
                    <a:pt x="1220" y="696"/>
                  </a:lnTo>
                  <a:lnTo>
                    <a:pt x="1225" y="696"/>
                  </a:lnTo>
                  <a:lnTo>
                    <a:pt x="1230" y="698"/>
                  </a:lnTo>
                  <a:lnTo>
                    <a:pt x="1235" y="700"/>
                  </a:lnTo>
                  <a:lnTo>
                    <a:pt x="1243" y="704"/>
                  </a:lnTo>
                  <a:lnTo>
                    <a:pt x="1251" y="709"/>
                  </a:lnTo>
                  <a:lnTo>
                    <a:pt x="1260" y="716"/>
                  </a:lnTo>
                  <a:lnTo>
                    <a:pt x="1264" y="719"/>
                  </a:lnTo>
                  <a:lnTo>
                    <a:pt x="1270" y="723"/>
                  </a:lnTo>
                  <a:lnTo>
                    <a:pt x="1276" y="725"/>
                  </a:lnTo>
                  <a:lnTo>
                    <a:pt x="1281" y="727"/>
                  </a:lnTo>
                  <a:lnTo>
                    <a:pt x="1294" y="730"/>
                  </a:lnTo>
                  <a:lnTo>
                    <a:pt x="1306" y="731"/>
                  </a:lnTo>
                  <a:lnTo>
                    <a:pt x="1333" y="733"/>
                  </a:lnTo>
                  <a:lnTo>
                    <a:pt x="1357" y="735"/>
                  </a:lnTo>
                  <a:lnTo>
                    <a:pt x="1362" y="736"/>
                  </a:lnTo>
                  <a:lnTo>
                    <a:pt x="1369" y="738"/>
                  </a:lnTo>
                  <a:lnTo>
                    <a:pt x="1376" y="741"/>
                  </a:lnTo>
                  <a:lnTo>
                    <a:pt x="1383" y="746"/>
                  </a:lnTo>
                  <a:lnTo>
                    <a:pt x="1400" y="755"/>
                  </a:lnTo>
                  <a:lnTo>
                    <a:pt x="1418" y="767"/>
                  </a:lnTo>
                  <a:lnTo>
                    <a:pt x="1433" y="780"/>
                  </a:lnTo>
                  <a:lnTo>
                    <a:pt x="1448" y="792"/>
                  </a:lnTo>
                  <a:lnTo>
                    <a:pt x="1453" y="799"/>
                  </a:lnTo>
                  <a:lnTo>
                    <a:pt x="1457" y="805"/>
                  </a:lnTo>
                  <a:lnTo>
                    <a:pt x="1459" y="810"/>
                  </a:lnTo>
                  <a:lnTo>
                    <a:pt x="1461" y="815"/>
                  </a:lnTo>
                  <a:lnTo>
                    <a:pt x="1461" y="831"/>
                  </a:lnTo>
                  <a:lnTo>
                    <a:pt x="1459" y="847"/>
                  </a:lnTo>
                  <a:lnTo>
                    <a:pt x="1458" y="854"/>
                  </a:lnTo>
                  <a:lnTo>
                    <a:pt x="1459" y="862"/>
                  </a:lnTo>
                  <a:lnTo>
                    <a:pt x="1459" y="870"/>
                  </a:lnTo>
                  <a:lnTo>
                    <a:pt x="1462" y="876"/>
                  </a:lnTo>
                  <a:lnTo>
                    <a:pt x="1465" y="885"/>
                  </a:lnTo>
                  <a:lnTo>
                    <a:pt x="1470" y="894"/>
                  </a:lnTo>
                  <a:lnTo>
                    <a:pt x="1477" y="902"/>
                  </a:lnTo>
                  <a:lnTo>
                    <a:pt x="1483" y="910"/>
                  </a:lnTo>
                  <a:lnTo>
                    <a:pt x="1498" y="926"/>
                  </a:lnTo>
                  <a:lnTo>
                    <a:pt x="1511" y="943"/>
                  </a:lnTo>
                  <a:lnTo>
                    <a:pt x="1512" y="948"/>
                  </a:lnTo>
                  <a:lnTo>
                    <a:pt x="1515" y="952"/>
                  </a:lnTo>
                  <a:lnTo>
                    <a:pt x="1518" y="955"/>
                  </a:lnTo>
                  <a:lnTo>
                    <a:pt x="1521" y="958"/>
                  </a:lnTo>
                  <a:lnTo>
                    <a:pt x="1524" y="961"/>
                  </a:lnTo>
                  <a:lnTo>
                    <a:pt x="1528" y="965"/>
                  </a:lnTo>
                  <a:lnTo>
                    <a:pt x="1531" y="968"/>
                  </a:lnTo>
                  <a:lnTo>
                    <a:pt x="1533" y="972"/>
                  </a:lnTo>
                  <a:lnTo>
                    <a:pt x="1537" y="979"/>
                  </a:lnTo>
                  <a:lnTo>
                    <a:pt x="1538" y="988"/>
                  </a:lnTo>
                  <a:lnTo>
                    <a:pt x="1538" y="997"/>
                  </a:lnTo>
                  <a:lnTo>
                    <a:pt x="1538" y="1007"/>
                  </a:lnTo>
                  <a:lnTo>
                    <a:pt x="1536" y="1027"/>
                  </a:lnTo>
                  <a:lnTo>
                    <a:pt x="1535" y="1045"/>
                  </a:lnTo>
                  <a:lnTo>
                    <a:pt x="1537" y="1080"/>
                  </a:lnTo>
                  <a:lnTo>
                    <a:pt x="1541" y="1119"/>
                  </a:lnTo>
                  <a:lnTo>
                    <a:pt x="1542" y="1139"/>
                  </a:lnTo>
                  <a:lnTo>
                    <a:pt x="1541" y="1158"/>
                  </a:lnTo>
                  <a:lnTo>
                    <a:pt x="1541" y="1167"/>
                  </a:lnTo>
                  <a:lnTo>
                    <a:pt x="1539" y="1175"/>
                  </a:lnTo>
                  <a:lnTo>
                    <a:pt x="1537" y="1184"/>
                  </a:lnTo>
                  <a:lnTo>
                    <a:pt x="1533" y="1192"/>
                  </a:lnTo>
                  <a:lnTo>
                    <a:pt x="1529" y="1202"/>
                  </a:lnTo>
                  <a:lnTo>
                    <a:pt x="1524" y="1211"/>
                  </a:lnTo>
                  <a:lnTo>
                    <a:pt x="1519" y="1219"/>
                  </a:lnTo>
                  <a:lnTo>
                    <a:pt x="1513" y="1225"/>
                  </a:lnTo>
                  <a:lnTo>
                    <a:pt x="1507" y="1232"/>
                  </a:lnTo>
                  <a:lnTo>
                    <a:pt x="1500" y="1237"/>
                  </a:lnTo>
                  <a:lnTo>
                    <a:pt x="1494" y="1241"/>
                  </a:lnTo>
                  <a:lnTo>
                    <a:pt x="1487" y="1245"/>
                  </a:lnTo>
                  <a:lnTo>
                    <a:pt x="1472" y="1253"/>
                  </a:lnTo>
                  <a:lnTo>
                    <a:pt x="1457" y="1260"/>
                  </a:lnTo>
                  <a:lnTo>
                    <a:pt x="1442" y="1268"/>
                  </a:lnTo>
                  <a:lnTo>
                    <a:pt x="1426" y="1280"/>
                  </a:lnTo>
                  <a:lnTo>
                    <a:pt x="1427" y="1282"/>
                  </a:lnTo>
                  <a:lnTo>
                    <a:pt x="1429" y="1286"/>
                  </a:lnTo>
                  <a:lnTo>
                    <a:pt x="1433" y="1289"/>
                  </a:lnTo>
                  <a:lnTo>
                    <a:pt x="1438" y="1293"/>
                  </a:lnTo>
                  <a:lnTo>
                    <a:pt x="1450" y="1303"/>
                  </a:lnTo>
                  <a:lnTo>
                    <a:pt x="1464" y="1312"/>
                  </a:lnTo>
                  <a:lnTo>
                    <a:pt x="1478" y="1322"/>
                  </a:lnTo>
                  <a:lnTo>
                    <a:pt x="1493" y="1332"/>
                  </a:lnTo>
                  <a:lnTo>
                    <a:pt x="1504" y="1340"/>
                  </a:lnTo>
                  <a:lnTo>
                    <a:pt x="1512" y="1346"/>
                  </a:lnTo>
                  <a:lnTo>
                    <a:pt x="1518" y="1355"/>
                  </a:lnTo>
                  <a:lnTo>
                    <a:pt x="1525" y="1361"/>
                  </a:lnTo>
                  <a:lnTo>
                    <a:pt x="1531" y="1367"/>
                  </a:lnTo>
                  <a:lnTo>
                    <a:pt x="1538" y="1371"/>
                  </a:lnTo>
                  <a:lnTo>
                    <a:pt x="1541" y="1373"/>
                  </a:lnTo>
                  <a:lnTo>
                    <a:pt x="1545" y="1374"/>
                  </a:lnTo>
                  <a:lnTo>
                    <a:pt x="1548" y="1374"/>
                  </a:lnTo>
                  <a:lnTo>
                    <a:pt x="1552" y="1373"/>
                  </a:lnTo>
                  <a:lnTo>
                    <a:pt x="1555" y="1371"/>
                  </a:lnTo>
                  <a:lnTo>
                    <a:pt x="1560" y="1369"/>
                  </a:lnTo>
                  <a:lnTo>
                    <a:pt x="1565" y="1367"/>
                  </a:lnTo>
                  <a:lnTo>
                    <a:pt x="1569" y="1363"/>
                  </a:lnTo>
                  <a:lnTo>
                    <a:pt x="1574" y="1360"/>
                  </a:lnTo>
                  <a:lnTo>
                    <a:pt x="1579" y="1357"/>
                  </a:lnTo>
                  <a:lnTo>
                    <a:pt x="1584" y="1356"/>
                  </a:lnTo>
                  <a:lnTo>
                    <a:pt x="1589" y="1356"/>
                  </a:lnTo>
                  <a:lnTo>
                    <a:pt x="1593" y="1357"/>
                  </a:lnTo>
                  <a:lnTo>
                    <a:pt x="1598" y="1359"/>
                  </a:lnTo>
                  <a:lnTo>
                    <a:pt x="1602" y="1361"/>
                  </a:lnTo>
                  <a:lnTo>
                    <a:pt x="1606" y="1365"/>
                  </a:lnTo>
                  <a:lnTo>
                    <a:pt x="1615" y="1375"/>
                  </a:lnTo>
                  <a:lnTo>
                    <a:pt x="1623" y="1386"/>
                  </a:lnTo>
                  <a:lnTo>
                    <a:pt x="1630" y="1400"/>
                  </a:lnTo>
                  <a:lnTo>
                    <a:pt x="1638" y="1415"/>
                  </a:lnTo>
                  <a:lnTo>
                    <a:pt x="1650" y="1448"/>
                  </a:lnTo>
                  <a:lnTo>
                    <a:pt x="1661" y="1479"/>
                  </a:lnTo>
                  <a:lnTo>
                    <a:pt x="1668" y="1505"/>
                  </a:lnTo>
                  <a:lnTo>
                    <a:pt x="1674" y="1521"/>
                  </a:lnTo>
                  <a:lnTo>
                    <a:pt x="1674" y="1521"/>
                  </a:lnTo>
                  <a:lnTo>
                    <a:pt x="1684" y="1520"/>
                  </a:lnTo>
                  <a:lnTo>
                    <a:pt x="1693" y="1519"/>
                  </a:lnTo>
                  <a:lnTo>
                    <a:pt x="1702" y="1516"/>
                  </a:lnTo>
                  <a:lnTo>
                    <a:pt x="1712" y="1514"/>
                  </a:lnTo>
                  <a:lnTo>
                    <a:pt x="1712" y="1514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1" name="Freeform 168">
              <a:extLst>
                <a:ext uri="{FF2B5EF4-FFF2-40B4-BE49-F238E27FC236}">
                  <a16:creationId xmlns:a16="http://schemas.microsoft.com/office/drawing/2014/main" id="{76DE6068-44AE-47AC-90C2-903A0C18B7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5102" y="5345927"/>
              <a:ext cx="495901" cy="370112"/>
            </a:xfrm>
            <a:custGeom>
              <a:avLst/>
              <a:gdLst>
                <a:gd name="T0" fmla="*/ 1696 w 1971"/>
                <a:gd name="T1" fmla="*/ 1399 h 1521"/>
                <a:gd name="T2" fmla="*/ 1743 w 1971"/>
                <a:gd name="T3" fmla="*/ 1336 h 1521"/>
                <a:gd name="T4" fmla="*/ 1750 w 1971"/>
                <a:gd name="T5" fmla="*/ 1226 h 1521"/>
                <a:gd name="T6" fmla="*/ 1798 w 1971"/>
                <a:gd name="T7" fmla="*/ 1100 h 1521"/>
                <a:gd name="T8" fmla="*/ 1903 w 1971"/>
                <a:gd name="T9" fmla="*/ 1071 h 1521"/>
                <a:gd name="T10" fmla="*/ 1869 w 1971"/>
                <a:gd name="T11" fmla="*/ 1028 h 1521"/>
                <a:gd name="T12" fmla="*/ 1830 w 1971"/>
                <a:gd name="T13" fmla="*/ 996 h 1521"/>
                <a:gd name="T14" fmla="*/ 1878 w 1971"/>
                <a:gd name="T15" fmla="*/ 965 h 1521"/>
                <a:gd name="T16" fmla="*/ 1971 w 1971"/>
                <a:gd name="T17" fmla="*/ 880 h 1521"/>
                <a:gd name="T18" fmla="*/ 1968 w 1971"/>
                <a:gd name="T19" fmla="*/ 726 h 1521"/>
                <a:gd name="T20" fmla="*/ 1950 w 1971"/>
                <a:gd name="T21" fmla="*/ 595 h 1521"/>
                <a:gd name="T22" fmla="*/ 1808 w 1971"/>
                <a:gd name="T23" fmla="*/ 643 h 1521"/>
                <a:gd name="T24" fmla="*/ 1795 w 1971"/>
                <a:gd name="T25" fmla="*/ 589 h 1521"/>
                <a:gd name="T26" fmla="*/ 1701 w 1971"/>
                <a:gd name="T27" fmla="*/ 657 h 1521"/>
                <a:gd name="T28" fmla="*/ 1629 w 1971"/>
                <a:gd name="T29" fmla="*/ 625 h 1521"/>
                <a:gd name="T30" fmla="*/ 1555 w 1971"/>
                <a:gd name="T31" fmla="*/ 515 h 1521"/>
                <a:gd name="T32" fmla="*/ 1601 w 1971"/>
                <a:gd name="T33" fmla="*/ 425 h 1521"/>
                <a:gd name="T34" fmla="*/ 1499 w 1971"/>
                <a:gd name="T35" fmla="*/ 325 h 1521"/>
                <a:gd name="T36" fmla="*/ 1362 w 1971"/>
                <a:gd name="T37" fmla="*/ 365 h 1521"/>
                <a:gd name="T38" fmla="*/ 1284 w 1971"/>
                <a:gd name="T39" fmla="*/ 299 h 1521"/>
                <a:gd name="T40" fmla="*/ 1144 w 1971"/>
                <a:gd name="T41" fmla="*/ 252 h 1521"/>
                <a:gd name="T42" fmla="*/ 1122 w 1971"/>
                <a:gd name="T43" fmla="*/ 154 h 1521"/>
                <a:gd name="T44" fmla="*/ 1066 w 1971"/>
                <a:gd name="T45" fmla="*/ 164 h 1521"/>
                <a:gd name="T46" fmla="*/ 999 w 1971"/>
                <a:gd name="T47" fmla="*/ 117 h 1521"/>
                <a:gd name="T48" fmla="*/ 913 w 1971"/>
                <a:gd name="T49" fmla="*/ 154 h 1521"/>
                <a:gd name="T50" fmla="*/ 803 w 1971"/>
                <a:gd name="T51" fmla="*/ 101 h 1521"/>
                <a:gd name="T52" fmla="*/ 552 w 1971"/>
                <a:gd name="T53" fmla="*/ 78 h 1521"/>
                <a:gd name="T54" fmla="*/ 560 w 1971"/>
                <a:gd name="T55" fmla="*/ 149 h 1521"/>
                <a:gd name="T56" fmla="*/ 542 w 1971"/>
                <a:gd name="T57" fmla="*/ 233 h 1521"/>
                <a:gd name="T58" fmla="*/ 511 w 1971"/>
                <a:gd name="T59" fmla="*/ 344 h 1521"/>
                <a:gd name="T60" fmla="*/ 366 w 1971"/>
                <a:gd name="T61" fmla="*/ 448 h 1521"/>
                <a:gd name="T62" fmla="*/ 271 w 1971"/>
                <a:gd name="T63" fmla="*/ 443 h 1521"/>
                <a:gd name="T64" fmla="*/ 223 w 1971"/>
                <a:gd name="T65" fmla="*/ 487 h 1521"/>
                <a:gd name="T66" fmla="*/ 133 w 1971"/>
                <a:gd name="T67" fmla="*/ 574 h 1521"/>
                <a:gd name="T68" fmla="*/ 97 w 1971"/>
                <a:gd name="T69" fmla="*/ 729 h 1521"/>
                <a:gd name="T70" fmla="*/ 34 w 1971"/>
                <a:gd name="T71" fmla="*/ 705 h 1521"/>
                <a:gd name="T72" fmla="*/ 85 w 1971"/>
                <a:gd name="T73" fmla="*/ 846 h 1521"/>
                <a:gd name="T74" fmla="*/ 199 w 1971"/>
                <a:gd name="T75" fmla="*/ 936 h 1521"/>
                <a:gd name="T76" fmla="*/ 371 w 1971"/>
                <a:gd name="T77" fmla="*/ 959 h 1521"/>
                <a:gd name="T78" fmla="*/ 455 w 1971"/>
                <a:gd name="T79" fmla="*/ 1157 h 1521"/>
                <a:gd name="T80" fmla="*/ 501 w 1971"/>
                <a:gd name="T81" fmla="*/ 1199 h 1521"/>
                <a:gd name="T82" fmla="*/ 597 w 1971"/>
                <a:gd name="T83" fmla="*/ 1185 h 1521"/>
                <a:gd name="T84" fmla="*/ 633 w 1971"/>
                <a:gd name="T85" fmla="*/ 1100 h 1521"/>
                <a:gd name="T86" fmla="*/ 692 w 1971"/>
                <a:gd name="T87" fmla="*/ 994 h 1521"/>
                <a:gd name="T88" fmla="*/ 730 w 1971"/>
                <a:gd name="T89" fmla="*/ 917 h 1521"/>
                <a:gd name="T90" fmla="*/ 683 w 1971"/>
                <a:gd name="T91" fmla="*/ 843 h 1521"/>
                <a:gd name="T92" fmla="*/ 769 w 1971"/>
                <a:gd name="T93" fmla="*/ 784 h 1521"/>
                <a:gd name="T94" fmla="*/ 820 w 1971"/>
                <a:gd name="T95" fmla="*/ 670 h 1521"/>
                <a:gd name="T96" fmla="*/ 880 w 1971"/>
                <a:gd name="T97" fmla="*/ 603 h 1521"/>
                <a:gd name="T98" fmla="*/ 912 w 1971"/>
                <a:gd name="T99" fmla="*/ 670 h 1521"/>
                <a:gd name="T100" fmla="*/ 988 w 1971"/>
                <a:gd name="T101" fmla="*/ 628 h 1521"/>
                <a:gd name="T102" fmla="*/ 1091 w 1971"/>
                <a:gd name="T103" fmla="*/ 662 h 1521"/>
                <a:gd name="T104" fmla="*/ 1161 w 1971"/>
                <a:gd name="T105" fmla="*/ 719 h 1521"/>
                <a:gd name="T106" fmla="*/ 1235 w 1971"/>
                <a:gd name="T107" fmla="*/ 700 h 1521"/>
                <a:gd name="T108" fmla="*/ 1362 w 1971"/>
                <a:gd name="T109" fmla="*/ 736 h 1521"/>
                <a:gd name="T110" fmla="*/ 1461 w 1971"/>
                <a:gd name="T111" fmla="*/ 831 h 1521"/>
                <a:gd name="T112" fmla="*/ 1512 w 1971"/>
                <a:gd name="T113" fmla="*/ 948 h 1521"/>
                <a:gd name="T114" fmla="*/ 1536 w 1971"/>
                <a:gd name="T115" fmla="*/ 1027 h 1521"/>
                <a:gd name="T116" fmla="*/ 1519 w 1971"/>
                <a:gd name="T117" fmla="*/ 1219 h 1521"/>
                <a:gd name="T118" fmla="*/ 1433 w 1971"/>
                <a:gd name="T119" fmla="*/ 1289 h 1521"/>
                <a:gd name="T120" fmla="*/ 1541 w 1971"/>
                <a:gd name="T121" fmla="*/ 1373 h 1521"/>
                <a:gd name="T122" fmla="*/ 1593 w 1971"/>
                <a:gd name="T123" fmla="*/ 1357 h 1521"/>
                <a:gd name="T124" fmla="*/ 1674 w 1971"/>
                <a:gd name="T125" fmla="*/ 1521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71" h="1521">
                  <a:moveTo>
                    <a:pt x="1712" y="1514"/>
                  </a:moveTo>
                  <a:lnTo>
                    <a:pt x="1702" y="1460"/>
                  </a:lnTo>
                  <a:lnTo>
                    <a:pt x="1707" y="1451"/>
                  </a:lnTo>
                  <a:lnTo>
                    <a:pt x="1709" y="1443"/>
                  </a:lnTo>
                  <a:lnTo>
                    <a:pt x="1710" y="1436"/>
                  </a:lnTo>
                  <a:lnTo>
                    <a:pt x="1710" y="1431"/>
                  </a:lnTo>
                  <a:lnTo>
                    <a:pt x="1710" y="1426"/>
                  </a:lnTo>
                  <a:lnTo>
                    <a:pt x="1709" y="1422"/>
                  </a:lnTo>
                  <a:lnTo>
                    <a:pt x="1707" y="1417"/>
                  </a:lnTo>
                  <a:lnTo>
                    <a:pt x="1704" y="1413"/>
                  </a:lnTo>
                  <a:lnTo>
                    <a:pt x="1699" y="1407"/>
                  </a:lnTo>
                  <a:lnTo>
                    <a:pt x="1696" y="1399"/>
                  </a:lnTo>
                  <a:lnTo>
                    <a:pt x="1694" y="1394"/>
                  </a:lnTo>
                  <a:lnTo>
                    <a:pt x="1694" y="1389"/>
                  </a:lnTo>
                  <a:lnTo>
                    <a:pt x="1694" y="1383"/>
                  </a:lnTo>
                  <a:lnTo>
                    <a:pt x="1695" y="1377"/>
                  </a:lnTo>
                  <a:lnTo>
                    <a:pt x="1697" y="1371"/>
                  </a:lnTo>
                  <a:lnTo>
                    <a:pt x="1699" y="1368"/>
                  </a:lnTo>
                  <a:lnTo>
                    <a:pt x="1702" y="1364"/>
                  </a:lnTo>
                  <a:lnTo>
                    <a:pt x="1706" y="1361"/>
                  </a:lnTo>
                  <a:lnTo>
                    <a:pt x="1715" y="1356"/>
                  </a:lnTo>
                  <a:lnTo>
                    <a:pt x="1724" y="1351"/>
                  </a:lnTo>
                  <a:lnTo>
                    <a:pt x="1734" y="1344"/>
                  </a:lnTo>
                  <a:lnTo>
                    <a:pt x="1743" y="1336"/>
                  </a:lnTo>
                  <a:lnTo>
                    <a:pt x="1747" y="1332"/>
                  </a:lnTo>
                  <a:lnTo>
                    <a:pt x="1750" y="1327"/>
                  </a:lnTo>
                  <a:lnTo>
                    <a:pt x="1752" y="1321"/>
                  </a:lnTo>
                  <a:lnTo>
                    <a:pt x="1755" y="1314"/>
                  </a:lnTo>
                  <a:lnTo>
                    <a:pt x="1756" y="1305"/>
                  </a:lnTo>
                  <a:lnTo>
                    <a:pt x="1756" y="1295"/>
                  </a:lnTo>
                  <a:lnTo>
                    <a:pt x="1755" y="1286"/>
                  </a:lnTo>
                  <a:lnTo>
                    <a:pt x="1753" y="1276"/>
                  </a:lnTo>
                  <a:lnTo>
                    <a:pt x="1749" y="1257"/>
                  </a:lnTo>
                  <a:lnTo>
                    <a:pt x="1747" y="1238"/>
                  </a:lnTo>
                  <a:lnTo>
                    <a:pt x="1748" y="1233"/>
                  </a:lnTo>
                  <a:lnTo>
                    <a:pt x="1750" y="1226"/>
                  </a:lnTo>
                  <a:lnTo>
                    <a:pt x="1752" y="1220"/>
                  </a:lnTo>
                  <a:lnTo>
                    <a:pt x="1756" y="1214"/>
                  </a:lnTo>
                  <a:lnTo>
                    <a:pt x="1763" y="1200"/>
                  </a:lnTo>
                  <a:lnTo>
                    <a:pt x="1768" y="1190"/>
                  </a:lnTo>
                  <a:lnTo>
                    <a:pt x="1775" y="1167"/>
                  </a:lnTo>
                  <a:lnTo>
                    <a:pt x="1781" y="1141"/>
                  </a:lnTo>
                  <a:lnTo>
                    <a:pt x="1785" y="1128"/>
                  </a:lnTo>
                  <a:lnTo>
                    <a:pt x="1788" y="1117"/>
                  </a:lnTo>
                  <a:lnTo>
                    <a:pt x="1790" y="1112"/>
                  </a:lnTo>
                  <a:lnTo>
                    <a:pt x="1793" y="1106"/>
                  </a:lnTo>
                  <a:lnTo>
                    <a:pt x="1795" y="1103"/>
                  </a:lnTo>
                  <a:lnTo>
                    <a:pt x="1798" y="1100"/>
                  </a:lnTo>
                  <a:lnTo>
                    <a:pt x="1802" y="1097"/>
                  </a:lnTo>
                  <a:lnTo>
                    <a:pt x="1807" y="1095"/>
                  </a:lnTo>
                  <a:lnTo>
                    <a:pt x="1811" y="1094"/>
                  </a:lnTo>
                  <a:lnTo>
                    <a:pt x="1816" y="1094"/>
                  </a:lnTo>
                  <a:lnTo>
                    <a:pt x="1825" y="1095"/>
                  </a:lnTo>
                  <a:lnTo>
                    <a:pt x="1835" y="1096"/>
                  </a:lnTo>
                  <a:lnTo>
                    <a:pt x="1844" y="1096"/>
                  </a:lnTo>
                  <a:lnTo>
                    <a:pt x="1853" y="1094"/>
                  </a:lnTo>
                  <a:lnTo>
                    <a:pt x="1862" y="1092"/>
                  </a:lnTo>
                  <a:lnTo>
                    <a:pt x="1870" y="1089"/>
                  </a:lnTo>
                  <a:lnTo>
                    <a:pt x="1887" y="1080"/>
                  </a:lnTo>
                  <a:lnTo>
                    <a:pt x="1903" y="1071"/>
                  </a:lnTo>
                  <a:lnTo>
                    <a:pt x="1910" y="1070"/>
                  </a:lnTo>
                  <a:lnTo>
                    <a:pt x="1920" y="1069"/>
                  </a:lnTo>
                  <a:lnTo>
                    <a:pt x="1927" y="1067"/>
                  </a:lnTo>
                  <a:lnTo>
                    <a:pt x="1931" y="1066"/>
                  </a:lnTo>
                  <a:lnTo>
                    <a:pt x="1934" y="1064"/>
                  </a:lnTo>
                  <a:lnTo>
                    <a:pt x="1935" y="1062"/>
                  </a:lnTo>
                  <a:lnTo>
                    <a:pt x="1937" y="1054"/>
                  </a:lnTo>
                  <a:lnTo>
                    <a:pt x="1938" y="1038"/>
                  </a:lnTo>
                  <a:lnTo>
                    <a:pt x="1939" y="1019"/>
                  </a:lnTo>
                  <a:lnTo>
                    <a:pt x="1939" y="1007"/>
                  </a:lnTo>
                  <a:lnTo>
                    <a:pt x="1909" y="1017"/>
                  </a:lnTo>
                  <a:lnTo>
                    <a:pt x="1869" y="1028"/>
                  </a:lnTo>
                  <a:lnTo>
                    <a:pt x="1860" y="1029"/>
                  </a:lnTo>
                  <a:lnTo>
                    <a:pt x="1851" y="1029"/>
                  </a:lnTo>
                  <a:lnTo>
                    <a:pt x="1848" y="1028"/>
                  </a:lnTo>
                  <a:lnTo>
                    <a:pt x="1844" y="1027"/>
                  </a:lnTo>
                  <a:lnTo>
                    <a:pt x="1841" y="1026"/>
                  </a:lnTo>
                  <a:lnTo>
                    <a:pt x="1839" y="1023"/>
                  </a:lnTo>
                  <a:lnTo>
                    <a:pt x="1836" y="1021"/>
                  </a:lnTo>
                  <a:lnTo>
                    <a:pt x="1834" y="1017"/>
                  </a:lnTo>
                  <a:lnTo>
                    <a:pt x="1832" y="1013"/>
                  </a:lnTo>
                  <a:lnTo>
                    <a:pt x="1831" y="1008"/>
                  </a:lnTo>
                  <a:lnTo>
                    <a:pt x="1831" y="1003"/>
                  </a:lnTo>
                  <a:lnTo>
                    <a:pt x="1830" y="996"/>
                  </a:lnTo>
                  <a:lnTo>
                    <a:pt x="1831" y="990"/>
                  </a:lnTo>
                  <a:lnTo>
                    <a:pt x="1832" y="981"/>
                  </a:lnTo>
                  <a:lnTo>
                    <a:pt x="1833" y="976"/>
                  </a:lnTo>
                  <a:lnTo>
                    <a:pt x="1834" y="972"/>
                  </a:lnTo>
                  <a:lnTo>
                    <a:pt x="1835" y="969"/>
                  </a:lnTo>
                  <a:lnTo>
                    <a:pt x="1837" y="967"/>
                  </a:lnTo>
                  <a:lnTo>
                    <a:pt x="1839" y="966"/>
                  </a:lnTo>
                  <a:lnTo>
                    <a:pt x="1842" y="965"/>
                  </a:lnTo>
                  <a:lnTo>
                    <a:pt x="1844" y="964"/>
                  </a:lnTo>
                  <a:lnTo>
                    <a:pt x="1847" y="964"/>
                  </a:lnTo>
                  <a:lnTo>
                    <a:pt x="1861" y="965"/>
                  </a:lnTo>
                  <a:lnTo>
                    <a:pt x="1878" y="965"/>
                  </a:lnTo>
                  <a:lnTo>
                    <a:pt x="1882" y="964"/>
                  </a:lnTo>
                  <a:lnTo>
                    <a:pt x="1888" y="960"/>
                  </a:lnTo>
                  <a:lnTo>
                    <a:pt x="1894" y="957"/>
                  </a:lnTo>
                  <a:lnTo>
                    <a:pt x="1902" y="953"/>
                  </a:lnTo>
                  <a:lnTo>
                    <a:pt x="1917" y="942"/>
                  </a:lnTo>
                  <a:lnTo>
                    <a:pt x="1933" y="929"/>
                  </a:lnTo>
                  <a:lnTo>
                    <a:pt x="1947" y="916"/>
                  </a:lnTo>
                  <a:lnTo>
                    <a:pt x="1960" y="902"/>
                  </a:lnTo>
                  <a:lnTo>
                    <a:pt x="1964" y="896"/>
                  </a:lnTo>
                  <a:lnTo>
                    <a:pt x="1968" y="891"/>
                  </a:lnTo>
                  <a:lnTo>
                    <a:pt x="1970" y="884"/>
                  </a:lnTo>
                  <a:lnTo>
                    <a:pt x="1971" y="880"/>
                  </a:lnTo>
                  <a:lnTo>
                    <a:pt x="1970" y="867"/>
                  </a:lnTo>
                  <a:lnTo>
                    <a:pt x="1967" y="851"/>
                  </a:lnTo>
                  <a:lnTo>
                    <a:pt x="1964" y="836"/>
                  </a:lnTo>
                  <a:lnTo>
                    <a:pt x="1961" y="821"/>
                  </a:lnTo>
                  <a:lnTo>
                    <a:pt x="1958" y="805"/>
                  </a:lnTo>
                  <a:lnTo>
                    <a:pt x="1957" y="790"/>
                  </a:lnTo>
                  <a:lnTo>
                    <a:pt x="1957" y="782"/>
                  </a:lnTo>
                  <a:lnTo>
                    <a:pt x="1958" y="775"/>
                  </a:lnTo>
                  <a:lnTo>
                    <a:pt x="1960" y="768"/>
                  </a:lnTo>
                  <a:lnTo>
                    <a:pt x="1962" y="761"/>
                  </a:lnTo>
                  <a:lnTo>
                    <a:pt x="1965" y="748"/>
                  </a:lnTo>
                  <a:lnTo>
                    <a:pt x="1968" y="726"/>
                  </a:lnTo>
                  <a:lnTo>
                    <a:pt x="1970" y="699"/>
                  </a:lnTo>
                  <a:lnTo>
                    <a:pt x="1971" y="670"/>
                  </a:lnTo>
                  <a:lnTo>
                    <a:pt x="1970" y="656"/>
                  </a:lnTo>
                  <a:lnTo>
                    <a:pt x="1969" y="642"/>
                  </a:lnTo>
                  <a:lnTo>
                    <a:pt x="1968" y="630"/>
                  </a:lnTo>
                  <a:lnTo>
                    <a:pt x="1966" y="619"/>
                  </a:lnTo>
                  <a:lnTo>
                    <a:pt x="1963" y="610"/>
                  </a:lnTo>
                  <a:lnTo>
                    <a:pt x="1959" y="603"/>
                  </a:lnTo>
                  <a:lnTo>
                    <a:pt x="1957" y="599"/>
                  </a:lnTo>
                  <a:lnTo>
                    <a:pt x="1955" y="597"/>
                  </a:lnTo>
                  <a:lnTo>
                    <a:pt x="1953" y="596"/>
                  </a:lnTo>
                  <a:lnTo>
                    <a:pt x="1950" y="595"/>
                  </a:lnTo>
                  <a:lnTo>
                    <a:pt x="1944" y="596"/>
                  </a:lnTo>
                  <a:lnTo>
                    <a:pt x="1937" y="598"/>
                  </a:lnTo>
                  <a:lnTo>
                    <a:pt x="1928" y="602"/>
                  </a:lnTo>
                  <a:lnTo>
                    <a:pt x="1917" y="607"/>
                  </a:lnTo>
                  <a:lnTo>
                    <a:pt x="1893" y="617"/>
                  </a:lnTo>
                  <a:lnTo>
                    <a:pt x="1868" y="629"/>
                  </a:lnTo>
                  <a:lnTo>
                    <a:pt x="1856" y="634"/>
                  </a:lnTo>
                  <a:lnTo>
                    <a:pt x="1843" y="639"/>
                  </a:lnTo>
                  <a:lnTo>
                    <a:pt x="1833" y="642"/>
                  </a:lnTo>
                  <a:lnTo>
                    <a:pt x="1822" y="644"/>
                  </a:lnTo>
                  <a:lnTo>
                    <a:pt x="1814" y="644"/>
                  </a:lnTo>
                  <a:lnTo>
                    <a:pt x="1808" y="643"/>
                  </a:lnTo>
                  <a:lnTo>
                    <a:pt x="1806" y="642"/>
                  </a:lnTo>
                  <a:lnTo>
                    <a:pt x="1804" y="640"/>
                  </a:lnTo>
                  <a:lnTo>
                    <a:pt x="1802" y="637"/>
                  </a:lnTo>
                  <a:lnTo>
                    <a:pt x="1802" y="634"/>
                  </a:lnTo>
                  <a:lnTo>
                    <a:pt x="1805" y="623"/>
                  </a:lnTo>
                  <a:lnTo>
                    <a:pt x="1807" y="612"/>
                  </a:lnTo>
                  <a:lnTo>
                    <a:pt x="1808" y="607"/>
                  </a:lnTo>
                  <a:lnTo>
                    <a:pt x="1808" y="602"/>
                  </a:lnTo>
                  <a:lnTo>
                    <a:pt x="1807" y="597"/>
                  </a:lnTo>
                  <a:lnTo>
                    <a:pt x="1804" y="592"/>
                  </a:lnTo>
                  <a:lnTo>
                    <a:pt x="1800" y="591"/>
                  </a:lnTo>
                  <a:lnTo>
                    <a:pt x="1795" y="589"/>
                  </a:lnTo>
                  <a:lnTo>
                    <a:pt x="1789" y="587"/>
                  </a:lnTo>
                  <a:lnTo>
                    <a:pt x="1782" y="586"/>
                  </a:lnTo>
                  <a:lnTo>
                    <a:pt x="1768" y="584"/>
                  </a:lnTo>
                  <a:lnTo>
                    <a:pt x="1759" y="583"/>
                  </a:lnTo>
                  <a:lnTo>
                    <a:pt x="1756" y="583"/>
                  </a:lnTo>
                  <a:lnTo>
                    <a:pt x="1752" y="585"/>
                  </a:lnTo>
                  <a:lnTo>
                    <a:pt x="1749" y="588"/>
                  </a:lnTo>
                  <a:lnTo>
                    <a:pt x="1745" y="592"/>
                  </a:lnTo>
                  <a:lnTo>
                    <a:pt x="1738" y="603"/>
                  </a:lnTo>
                  <a:lnTo>
                    <a:pt x="1728" y="615"/>
                  </a:lnTo>
                  <a:lnTo>
                    <a:pt x="1713" y="639"/>
                  </a:lnTo>
                  <a:lnTo>
                    <a:pt x="1701" y="657"/>
                  </a:lnTo>
                  <a:lnTo>
                    <a:pt x="1698" y="659"/>
                  </a:lnTo>
                  <a:lnTo>
                    <a:pt x="1695" y="661"/>
                  </a:lnTo>
                  <a:lnTo>
                    <a:pt x="1691" y="662"/>
                  </a:lnTo>
                  <a:lnTo>
                    <a:pt x="1688" y="662"/>
                  </a:lnTo>
                  <a:lnTo>
                    <a:pt x="1684" y="662"/>
                  </a:lnTo>
                  <a:lnTo>
                    <a:pt x="1678" y="661"/>
                  </a:lnTo>
                  <a:lnTo>
                    <a:pt x="1674" y="659"/>
                  </a:lnTo>
                  <a:lnTo>
                    <a:pt x="1670" y="657"/>
                  </a:lnTo>
                  <a:lnTo>
                    <a:pt x="1660" y="651"/>
                  </a:lnTo>
                  <a:lnTo>
                    <a:pt x="1650" y="643"/>
                  </a:lnTo>
                  <a:lnTo>
                    <a:pt x="1640" y="634"/>
                  </a:lnTo>
                  <a:lnTo>
                    <a:pt x="1629" y="625"/>
                  </a:lnTo>
                  <a:lnTo>
                    <a:pt x="1629" y="625"/>
                  </a:lnTo>
                  <a:lnTo>
                    <a:pt x="1617" y="612"/>
                  </a:lnTo>
                  <a:lnTo>
                    <a:pt x="1606" y="599"/>
                  </a:lnTo>
                  <a:lnTo>
                    <a:pt x="1597" y="589"/>
                  </a:lnTo>
                  <a:lnTo>
                    <a:pt x="1591" y="581"/>
                  </a:lnTo>
                  <a:lnTo>
                    <a:pt x="1575" y="561"/>
                  </a:lnTo>
                  <a:lnTo>
                    <a:pt x="1564" y="545"/>
                  </a:lnTo>
                  <a:lnTo>
                    <a:pt x="1560" y="538"/>
                  </a:lnTo>
                  <a:lnTo>
                    <a:pt x="1557" y="533"/>
                  </a:lnTo>
                  <a:lnTo>
                    <a:pt x="1555" y="526"/>
                  </a:lnTo>
                  <a:lnTo>
                    <a:pt x="1555" y="521"/>
                  </a:lnTo>
                  <a:lnTo>
                    <a:pt x="1555" y="515"/>
                  </a:lnTo>
                  <a:lnTo>
                    <a:pt x="1557" y="509"/>
                  </a:lnTo>
                  <a:lnTo>
                    <a:pt x="1560" y="502"/>
                  </a:lnTo>
                  <a:lnTo>
                    <a:pt x="1563" y="495"/>
                  </a:lnTo>
                  <a:lnTo>
                    <a:pt x="1572" y="477"/>
                  </a:lnTo>
                  <a:lnTo>
                    <a:pt x="1584" y="456"/>
                  </a:lnTo>
                  <a:lnTo>
                    <a:pt x="1589" y="451"/>
                  </a:lnTo>
                  <a:lnTo>
                    <a:pt x="1593" y="447"/>
                  </a:lnTo>
                  <a:lnTo>
                    <a:pt x="1596" y="443"/>
                  </a:lnTo>
                  <a:lnTo>
                    <a:pt x="1598" y="439"/>
                  </a:lnTo>
                  <a:lnTo>
                    <a:pt x="1600" y="434"/>
                  </a:lnTo>
                  <a:lnTo>
                    <a:pt x="1601" y="429"/>
                  </a:lnTo>
                  <a:lnTo>
                    <a:pt x="1601" y="425"/>
                  </a:lnTo>
                  <a:lnTo>
                    <a:pt x="1600" y="420"/>
                  </a:lnTo>
                  <a:lnTo>
                    <a:pt x="1598" y="411"/>
                  </a:lnTo>
                  <a:lnTo>
                    <a:pt x="1593" y="402"/>
                  </a:lnTo>
                  <a:lnTo>
                    <a:pt x="1587" y="393"/>
                  </a:lnTo>
                  <a:lnTo>
                    <a:pt x="1578" y="384"/>
                  </a:lnTo>
                  <a:lnTo>
                    <a:pt x="1569" y="375"/>
                  </a:lnTo>
                  <a:lnTo>
                    <a:pt x="1560" y="367"/>
                  </a:lnTo>
                  <a:lnTo>
                    <a:pt x="1550" y="358"/>
                  </a:lnTo>
                  <a:lnTo>
                    <a:pt x="1540" y="351"/>
                  </a:lnTo>
                  <a:lnTo>
                    <a:pt x="1522" y="339"/>
                  </a:lnTo>
                  <a:lnTo>
                    <a:pt x="1507" y="329"/>
                  </a:lnTo>
                  <a:lnTo>
                    <a:pt x="1499" y="325"/>
                  </a:lnTo>
                  <a:lnTo>
                    <a:pt x="1491" y="322"/>
                  </a:lnTo>
                  <a:lnTo>
                    <a:pt x="1483" y="321"/>
                  </a:lnTo>
                  <a:lnTo>
                    <a:pt x="1475" y="320"/>
                  </a:lnTo>
                  <a:lnTo>
                    <a:pt x="1467" y="320"/>
                  </a:lnTo>
                  <a:lnTo>
                    <a:pt x="1459" y="321"/>
                  </a:lnTo>
                  <a:lnTo>
                    <a:pt x="1451" y="323"/>
                  </a:lnTo>
                  <a:lnTo>
                    <a:pt x="1444" y="326"/>
                  </a:lnTo>
                  <a:lnTo>
                    <a:pt x="1413" y="341"/>
                  </a:lnTo>
                  <a:lnTo>
                    <a:pt x="1383" y="356"/>
                  </a:lnTo>
                  <a:lnTo>
                    <a:pt x="1376" y="360"/>
                  </a:lnTo>
                  <a:lnTo>
                    <a:pt x="1369" y="363"/>
                  </a:lnTo>
                  <a:lnTo>
                    <a:pt x="1362" y="365"/>
                  </a:lnTo>
                  <a:lnTo>
                    <a:pt x="1355" y="366"/>
                  </a:lnTo>
                  <a:lnTo>
                    <a:pt x="1348" y="367"/>
                  </a:lnTo>
                  <a:lnTo>
                    <a:pt x="1342" y="367"/>
                  </a:lnTo>
                  <a:lnTo>
                    <a:pt x="1334" y="365"/>
                  </a:lnTo>
                  <a:lnTo>
                    <a:pt x="1328" y="362"/>
                  </a:lnTo>
                  <a:lnTo>
                    <a:pt x="1322" y="358"/>
                  </a:lnTo>
                  <a:lnTo>
                    <a:pt x="1316" y="352"/>
                  </a:lnTo>
                  <a:lnTo>
                    <a:pt x="1308" y="345"/>
                  </a:lnTo>
                  <a:lnTo>
                    <a:pt x="1302" y="337"/>
                  </a:lnTo>
                  <a:lnTo>
                    <a:pt x="1296" y="326"/>
                  </a:lnTo>
                  <a:lnTo>
                    <a:pt x="1290" y="314"/>
                  </a:lnTo>
                  <a:lnTo>
                    <a:pt x="1284" y="299"/>
                  </a:lnTo>
                  <a:lnTo>
                    <a:pt x="1278" y="282"/>
                  </a:lnTo>
                  <a:lnTo>
                    <a:pt x="1275" y="277"/>
                  </a:lnTo>
                  <a:lnTo>
                    <a:pt x="1271" y="273"/>
                  </a:lnTo>
                  <a:lnTo>
                    <a:pt x="1264" y="270"/>
                  </a:lnTo>
                  <a:lnTo>
                    <a:pt x="1256" y="267"/>
                  </a:lnTo>
                  <a:lnTo>
                    <a:pt x="1238" y="264"/>
                  </a:lnTo>
                  <a:lnTo>
                    <a:pt x="1217" y="261"/>
                  </a:lnTo>
                  <a:lnTo>
                    <a:pt x="1194" y="260"/>
                  </a:lnTo>
                  <a:lnTo>
                    <a:pt x="1172" y="258"/>
                  </a:lnTo>
                  <a:lnTo>
                    <a:pt x="1161" y="256"/>
                  </a:lnTo>
                  <a:lnTo>
                    <a:pt x="1152" y="254"/>
                  </a:lnTo>
                  <a:lnTo>
                    <a:pt x="1144" y="252"/>
                  </a:lnTo>
                  <a:lnTo>
                    <a:pt x="1137" y="249"/>
                  </a:lnTo>
                  <a:lnTo>
                    <a:pt x="1130" y="244"/>
                  </a:lnTo>
                  <a:lnTo>
                    <a:pt x="1125" y="237"/>
                  </a:lnTo>
                  <a:lnTo>
                    <a:pt x="1121" y="231"/>
                  </a:lnTo>
                  <a:lnTo>
                    <a:pt x="1119" y="225"/>
                  </a:lnTo>
                  <a:lnTo>
                    <a:pt x="1117" y="218"/>
                  </a:lnTo>
                  <a:lnTo>
                    <a:pt x="1117" y="209"/>
                  </a:lnTo>
                  <a:lnTo>
                    <a:pt x="1117" y="202"/>
                  </a:lnTo>
                  <a:lnTo>
                    <a:pt x="1119" y="194"/>
                  </a:lnTo>
                  <a:lnTo>
                    <a:pt x="1121" y="178"/>
                  </a:lnTo>
                  <a:lnTo>
                    <a:pt x="1122" y="161"/>
                  </a:lnTo>
                  <a:lnTo>
                    <a:pt x="1122" y="154"/>
                  </a:lnTo>
                  <a:lnTo>
                    <a:pt x="1121" y="147"/>
                  </a:lnTo>
                  <a:lnTo>
                    <a:pt x="1117" y="139"/>
                  </a:lnTo>
                  <a:lnTo>
                    <a:pt x="1113" y="133"/>
                  </a:lnTo>
                  <a:lnTo>
                    <a:pt x="1109" y="133"/>
                  </a:lnTo>
                  <a:lnTo>
                    <a:pt x="1106" y="134"/>
                  </a:lnTo>
                  <a:lnTo>
                    <a:pt x="1103" y="136"/>
                  </a:lnTo>
                  <a:lnTo>
                    <a:pt x="1099" y="138"/>
                  </a:lnTo>
                  <a:lnTo>
                    <a:pt x="1092" y="144"/>
                  </a:lnTo>
                  <a:lnTo>
                    <a:pt x="1086" y="150"/>
                  </a:lnTo>
                  <a:lnTo>
                    <a:pt x="1079" y="156"/>
                  </a:lnTo>
                  <a:lnTo>
                    <a:pt x="1071" y="162"/>
                  </a:lnTo>
                  <a:lnTo>
                    <a:pt x="1066" y="164"/>
                  </a:lnTo>
                  <a:lnTo>
                    <a:pt x="1061" y="167"/>
                  </a:lnTo>
                  <a:lnTo>
                    <a:pt x="1056" y="169"/>
                  </a:lnTo>
                  <a:lnTo>
                    <a:pt x="1051" y="170"/>
                  </a:lnTo>
                  <a:lnTo>
                    <a:pt x="1047" y="170"/>
                  </a:lnTo>
                  <a:lnTo>
                    <a:pt x="1041" y="170"/>
                  </a:lnTo>
                  <a:lnTo>
                    <a:pt x="1037" y="169"/>
                  </a:lnTo>
                  <a:lnTo>
                    <a:pt x="1034" y="168"/>
                  </a:lnTo>
                  <a:lnTo>
                    <a:pt x="1027" y="162"/>
                  </a:lnTo>
                  <a:lnTo>
                    <a:pt x="1021" y="156"/>
                  </a:lnTo>
                  <a:lnTo>
                    <a:pt x="1011" y="141"/>
                  </a:lnTo>
                  <a:lnTo>
                    <a:pt x="1003" y="125"/>
                  </a:lnTo>
                  <a:lnTo>
                    <a:pt x="999" y="117"/>
                  </a:lnTo>
                  <a:lnTo>
                    <a:pt x="993" y="111"/>
                  </a:lnTo>
                  <a:lnTo>
                    <a:pt x="989" y="106"/>
                  </a:lnTo>
                  <a:lnTo>
                    <a:pt x="984" y="102"/>
                  </a:lnTo>
                  <a:lnTo>
                    <a:pt x="981" y="102"/>
                  </a:lnTo>
                  <a:lnTo>
                    <a:pt x="979" y="101"/>
                  </a:lnTo>
                  <a:lnTo>
                    <a:pt x="976" y="102"/>
                  </a:lnTo>
                  <a:lnTo>
                    <a:pt x="972" y="103"/>
                  </a:lnTo>
                  <a:lnTo>
                    <a:pt x="964" y="107"/>
                  </a:lnTo>
                  <a:lnTo>
                    <a:pt x="956" y="115"/>
                  </a:lnTo>
                  <a:lnTo>
                    <a:pt x="939" y="132"/>
                  </a:lnTo>
                  <a:lnTo>
                    <a:pt x="926" y="146"/>
                  </a:lnTo>
                  <a:lnTo>
                    <a:pt x="913" y="154"/>
                  </a:lnTo>
                  <a:lnTo>
                    <a:pt x="903" y="160"/>
                  </a:lnTo>
                  <a:lnTo>
                    <a:pt x="897" y="162"/>
                  </a:lnTo>
                  <a:lnTo>
                    <a:pt x="893" y="163"/>
                  </a:lnTo>
                  <a:lnTo>
                    <a:pt x="889" y="163"/>
                  </a:lnTo>
                  <a:lnTo>
                    <a:pt x="885" y="163"/>
                  </a:lnTo>
                  <a:lnTo>
                    <a:pt x="877" y="161"/>
                  </a:lnTo>
                  <a:lnTo>
                    <a:pt x="869" y="158"/>
                  </a:lnTo>
                  <a:lnTo>
                    <a:pt x="855" y="146"/>
                  </a:lnTo>
                  <a:lnTo>
                    <a:pt x="837" y="128"/>
                  </a:lnTo>
                  <a:lnTo>
                    <a:pt x="828" y="120"/>
                  </a:lnTo>
                  <a:lnTo>
                    <a:pt x="816" y="110"/>
                  </a:lnTo>
                  <a:lnTo>
                    <a:pt x="803" y="101"/>
                  </a:lnTo>
                  <a:lnTo>
                    <a:pt x="787" y="92"/>
                  </a:lnTo>
                  <a:lnTo>
                    <a:pt x="596" y="0"/>
                  </a:lnTo>
                  <a:lnTo>
                    <a:pt x="596" y="0"/>
                  </a:lnTo>
                  <a:lnTo>
                    <a:pt x="595" y="18"/>
                  </a:lnTo>
                  <a:lnTo>
                    <a:pt x="592" y="37"/>
                  </a:lnTo>
                  <a:lnTo>
                    <a:pt x="589" y="46"/>
                  </a:lnTo>
                  <a:lnTo>
                    <a:pt x="585" y="54"/>
                  </a:lnTo>
                  <a:lnTo>
                    <a:pt x="581" y="62"/>
                  </a:lnTo>
                  <a:lnTo>
                    <a:pt x="574" y="68"/>
                  </a:lnTo>
                  <a:lnTo>
                    <a:pt x="568" y="73"/>
                  </a:lnTo>
                  <a:lnTo>
                    <a:pt x="561" y="76"/>
                  </a:lnTo>
                  <a:lnTo>
                    <a:pt x="552" y="78"/>
                  </a:lnTo>
                  <a:lnTo>
                    <a:pt x="545" y="79"/>
                  </a:lnTo>
                  <a:lnTo>
                    <a:pt x="537" y="81"/>
                  </a:lnTo>
                  <a:lnTo>
                    <a:pt x="529" y="83"/>
                  </a:lnTo>
                  <a:lnTo>
                    <a:pt x="523" y="85"/>
                  </a:lnTo>
                  <a:lnTo>
                    <a:pt x="518" y="89"/>
                  </a:lnTo>
                  <a:lnTo>
                    <a:pt x="519" y="97"/>
                  </a:lnTo>
                  <a:lnTo>
                    <a:pt x="521" y="104"/>
                  </a:lnTo>
                  <a:lnTo>
                    <a:pt x="524" y="110"/>
                  </a:lnTo>
                  <a:lnTo>
                    <a:pt x="527" y="116"/>
                  </a:lnTo>
                  <a:lnTo>
                    <a:pt x="538" y="128"/>
                  </a:lnTo>
                  <a:lnTo>
                    <a:pt x="549" y="138"/>
                  </a:lnTo>
                  <a:lnTo>
                    <a:pt x="560" y="149"/>
                  </a:lnTo>
                  <a:lnTo>
                    <a:pt x="570" y="159"/>
                  </a:lnTo>
                  <a:lnTo>
                    <a:pt x="573" y="164"/>
                  </a:lnTo>
                  <a:lnTo>
                    <a:pt x="576" y="171"/>
                  </a:lnTo>
                  <a:lnTo>
                    <a:pt x="578" y="178"/>
                  </a:lnTo>
                  <a:lnTo>
                    <a:pt x="579" y="185"/>
                  </a:lnTo>
                  <a:lnTo>
                    <a:pt x="578" y="191"/>
                  </a:lnTo>
                  <a:lnTo>
                    <a:pt x="576" y="197"/>
                  </a:lnTo>
                  <a:lnTo>
                    <a:pt x="572" y="202"/>
                  </a:lnTo>
                  <a:lnTo>
                    <a:pt x="568" y="208"/>
                  </a:lnTo>
                  <a:lnTo>
                    <a:pt x="558" y="219"/>
                  </a:lnTo>
                  <a:lnTo>
                    <a:pt x="549" y="227"/>
                  </a:lnTo>
                  <a:lnTo>
                    <a:pt x="542" y="233"/>
                  </a:lnTo>
                  <a:lnTo>
                    <a:pt x="537" y="239"/>
                  </a:lnTo>
                  <a:lnTo>
                    <a:pt x="534" y="244"/>
                  </a:lnTo>
                  <a:lnTo>
                    <a:pt x="530" y="249"/>
                  </a:lnTo>
                  <a:lnTo>
                    <a:pt x="529" y="255"/>
                  </a:lnTo>
                  <a:lnTo>
                    <a:pt x="528" y="261"/>
                  </a:lnTo>
                  <a:lnTo>
                    <a:pt x="527" y="269"/>
                  </a:lnTo>
                  <a:lnTo>
                    <a:pt x="527" y="278"/>
                  </a:lnTo>
                  <a:lnTo>
                    <a:pt x="527" y="293"/>
                  </a:lnTo>
                  <a:lnTo>
                    <a:pt x="525" y="306"/>
                  </a:lnTo>
                  <a:lnTo>
                    <a:pt x="522" y="320"/>
                  </a:lnTo>
                  <a:lnTo>
                    <a:pt x="517" y="332"/>
                  </a:lnTo>
                  <a:lnTo>
                    <a:pt x="511" y="344"/>
                  </a:lnTo>
                  <a:lnTo>
                    <a:pt x="504" y="355"/>
                  </a:lnTo>
                  <a:lnTo>
                    <a:pt x="496" y="367"/>
                  </a:lnTo>
                  <a:lnTo>
                    <a:pt x="488" y="378"/>
                  </a:lnTo>
                  <a:lnTo>
                    <a:pt x="479" y="380"/>
                  </a:lnTo>
                  <a:lnTo>
                    <a:pt x="471" y="382"/>
                  </a:lnTo>
                  <a:lnTo>
                    <a:pt x="463" y="385"/>
                  </a:lnTo>
                  <a:lnTo>
                    <a:pt x="455" y="388"/>
                  </a:lnTo>
                  <a:lnTo>
                    <a:pt x="441" y="395"/>
                  </a:lnTo>
                  <a:lnTo>
                    <a:pt x="427" y="404"/>
                  </a:lnTo>
                  <a:lnTo>
                    <a:pt x="401" y="423"/>
                  </a:lnTo>
                  <a:lnTo>
                    <a:pt x="377" y="441"/>
                  </a:lnTo>
                  <a:lnTo>
                    <a:pt x="366" y="448"/>
                  </a:lnTo>
                  <a:lnTo>
                    <a:pt x="353" y="454"/>
                  </a:lnTo>
                  <a:lnTo>
                    <a:pt x="347" y="458"/>
                  </a:lnTo>
                  <a:lnTo>
                    <a:pt x="340" y="460"/>
                  </a:lnTo>
                  <a:lnTo>
                    <a:pt x="333" y="461"/>
                  </a:lnTo>
                  <a:lnTo>
                    <a:pt x="326" y="461"/>
                  </a:lnTo>
                  <a:lnTo>
                    <a:pt x="320" y="461"/>
                  </a:lnTo>
                  <a:lnTo>
                    <a:pt x="313" y="461"/>
                  </a:lnTo>
                  <a:lnTo>
                    <a:pt x="304" y="459"/>
                  </a:lnTo>
                  <a:lnTo>
                    <a:pt x="297" y="457"/>
                  </a:lnTo>
                  <a:lnTo>
                    <a:pt x="289" y="453"/>
                  </a:lnTo>
                  <a:lnTo>
                    <a:pt x="280" y="448"/>
                  </a:lnTo>
                  <a:lnTo>
                    <a:pt x="271" y="443"/>
                  </a:lnTo>
                  <a:lnTo>
                    <a:pt x="261" y="437"/>
                  </a:lnTo>
                  <a:lnTo>
                    <a:pt x="253" y="432"/>
                  </a:lnTo>
                  <a:lnTo>
                    <a:pt x="247" y="429"/>
                  </a:lnTo>
                  <a:lnTo>
                    <a:pt x="244" y="428"/>
                  </a:lnTo>
                  <a:lnTo>
                    <a:pt x="241" y="429"/>
                  </a:lnTo>
                  <a:lnTo>
                    <a:pt x="239" y="429"/>
                  </a:lnTo>
                  <a:lnTo>
                    <a:pt x="236" y="430"/>
                  </a:lnTo>
                  <a:lnTo>
                    <a:pt x="232" y="435"/>
                  </a:lnTo>
                  <a:lnTo>
                    <a:pt x="229" y="440"/>
                  </a:lnTo>
                  <a:lnTo>
                    <a:pt x="227" y="446"/>
                  </a:lnTo>
                  <a:lnTo>
                    <a:pt x="225" y="453"/>
                  </a:lnTo>
                  <a:lnTo>
                    <a:pt x="223" y="487"/>
                  </a:lnTo>
                  <a:lnTo>
                    <a:pt x="222" y="514"/>
                  </a:lnTo>
                  <a:lnTo>
                    <a:pt x="220" y="522"/>
                  </a:lnTo>
                  <a:lnTo>
                    <a:pt x="217" y="531"/>
                  </a:lnTo>
                  <a:lnTo>
                    <a:pt x="212" y="537"/>
                  </a:lnTo>
                  <a:lnTo>
                    <a:pt x="208" y="543"/>
                  </a:lnTo>
                  <a:lnTo>
                    <a:pt x="202" y="548"/>
                  </a:lnTo>
                  <a:lnTo>
                    <a:pt x="196" y="553"/>
                  </a:lnTo>
                  <a:lnTo>
                    <a:pt x="188" y="557"/>
                  </a:lnTo>
                  <a:lnTo>
                    <a:pt x="181" y="560"/>
                  </a:lnTo>
                  <a:lnTo>
                    <a:pt x="166" y="566"/>
                  </a:lnTo>
                  <a:lnTo>
                    <a:pt x="149" y="570"/>
                  </a:lnTo>
                  <a:lnTo>
                    <a:pt x="133" y="574"/>
                  </a:lnTo>
                  <a:lnTo>
                    <a:pt x="119" y="578"/>
                  </a:lnTo>
                  <a:lnTo>
                    <a:pt x="118" y="593"/>
                  </a:lnTo>
                  <a:lnTo>
                    <a:pt x="119" y="619"/>
                  </a:lnTo>
                  <a:lnTo>
                    <a:pt x="119" y="651"/>
                  </a:lnTo>
                  <a:lnTo>
                    <a:pt x="117" y="682"/>
                  </a:lnTo>
                  <a:lnTo>
                    <a:pt x="114" y="696"/>
                  </a:lnTo>
                  <a:lnTo>
                    <a:pt x="111" y="709"/>
                  </a:lnTo>
                  <a:lnTo>
                    <a:pt x="109" y="714"/>
                  </a:lnTo>
                  <a:lnTo>
                    <a:pt x="107" y="718"/>
                  </a:lnTo>
                  <a:lnTo>
                    <a:pt x="104" y="723"/>
                  </a:lnTo>
                  <a:lnTo>
                    <a:pt x="101" y="726"/>
                  </a:lnTo>
                  <a:lnTo>
                    <a:pt x="97" y="729"/>
                  </a:lnTo>
                  <a:lnTo>
                    <a:pt x="93" y="730"/>
                  </a:lnTo>
                  <a:lnTo>
                    <a:pt x="88" y="730"/>
                  </a:lnTo>
                  <a:lnTo>
                    <a:pt x="83" y="729"/>
                  </a:lnTo>
                  <a:lnTo>
                    <a:pt x="78" y="727"/>
                  </a:lnTo>
                  <a:lnTo>
                    <a:pt x="71" y="724"/>
                  </a:lnTo>
                  <a:lnTo>
                    <a:pt x="64" y="719"/>
                  </a:lnTo>
                  <a:lnTo>
                    <a:pt x="57" y="713"/>
                  </a:lnTo>
                  <a:lnTo>
                    <a:pt x="52" y="710"/>
                  </a:lnTo>
                  <a:lnTo>
                    <a:pt x="48" y="707"/>
                  </a:lnTo>
                  <a:lnTo>
                    <a:pt x="43" y="706"/>
                  </a:lnTo>
                  <a:lnTo>
                    <a:pt x="38" y="705"/>
                  </a:lnTo>
                  <a:lnTo>
                    <a:pt x="34" y="705"/>
                  </a:lnTo>
                  <a:lnTo>
                    <a:pt x="30" y="706"/>
                  </a:lnTo>
                  <a:lnTo>
                    <a:pt x="27" y="708"/>
                  </a:lnTo>
                  <a:lnTo>
                    <a:pt x="23" y="710"/>
                  </a:lnTo>
                  <a:lnTo>
                    <a:pt x="15" y="715"/>
                  </a:lnTo>
                  <a:lnTo>
                    <a:pt x="9" y="724"/>
                  </a:lnTo>
                  <a:lnTo>
                    <a:pt x="4" y="732"/>
                  </a:lnTo>
                  <a:lnTo>
                    <a:pt x="0" y="741"/>
                  </a:lnTo>
                  <a:lnTo>
                    <a:pt x="0" y="741"/>
                  </a:lnTo>
                  <a:lnTo>
                    <a:pt x="77" y="818"/>
                  </a:lnTo>
                  <a:lnTo>
                    <a:pt x="78" y="825"/>
                  </a:lnTo>
                  <a:lnTo>
                    <a:pt x="81" y="835"/>
                  </a:lnTo>
                  <a:lnTo>
                    <a:pt x="85" y="846"/>
                  </a:lnTo>
                  <a:lnTo>
                    <a:pt x="90" y="856"/>
                  </a:lnTo>
                  <a:lnTo>
                    <a:pt x="103" y="878"/>
                  </a:lnTo>
                  <a:lnTo>
                    <a:pt x="113" y="895"/>
                  </a:lnTo>
                  <a:lnTo>
                    <a:pt x="120" y="903"/>
                  </a:lnTo>
                  <a:lnTo>
                    <a:pt x="127" y="910"/>
                  </a:lnTo>
                  <a:lnTo>
                    <a:pt x="134" y="917"/>
                  </a:lnTo>
                  <a:lnTo>
                    <a:pt x="143" y="922"/>
                  </a:lnTo>
                  <a:lnTo>
                    <a:pt x="151" y="926"/>
                  </a:lnTo>
                  <a:lnTo>
                    <a:pt x="160" y="929"/>
                  </a:lnTo>
                  <a:lnTo>
                    <a:pt x="170" y="932"/>
                  </a:lnTo>
                  <a:lnTo>
                    <a:pt x="179" y="934"/>
                  </a:lnTo>
                  <a:lnTo>
                    <a:pt x="199" y="936"/>
                  </a:lnTo>
                  <a:lnTo>
                    <a:pt x="220" y="936"/>
                  </a:lnTo>
                  <a:lnTo>
                    <a:pt x="241" y="936"/>
                  </a:lnTo>
                  <a:lnTo>
                    <a:pt x="263" y="936"/>
                  </a:lnTo>
                  <a:lnTo>
                    <a:pt x="283" y="936"/>
                  </a:lnTo>
                  <a:lnTo>
                    <a:pt x="304" y="937"/>
                  </a:lnTo>
                  <a:lnTo>
                    <a:pt x="315" y="939"/>
                  </a:lnTo>
                  <a:lnTo>
                    <a:pt x="325" y="940"/>
                  </a:lnTo>
                  <a:lnTo>
                    <a:pt x="334" y="942"/>
                  </a:lnTo>
                  <a:lnTo>
                    <a:pt x="344" y="945"/>
                  </a:lnTo>
                  <a:lnTo>
                    <a:pt x="353" y="949"/>
                  </a:lnTo>
                  <a:lnTo>
                    <a:pt x="363" y="953"/>
                  </a:lnTo>
                  <a:lnTo>
                    <a:pt x="371" y="959"/>
                  </a:lnTo>
                  <a:lnTo>
                    <a:pt x="378" y="966"/>
                  </a:lnTo>
                  <a:lnTo>
                    <a:pt x="387" y="973"/>
                  </a:lnTo>
                  <a:lnTo>
                    <a:pt x="393" y="982"/>
                  </a:lnTo>
                  <a:lnTo>
                    <a:pt x="400" y="993"/>
                  </a:lnTo>
                  <a:lnTo>
                    <a:pt x="405" y="1004"/>
                  </a:lnTo>
                  <a:lnTo>
                    <a:pt x="411" y="1018"/>
                  </a:lnTo>
                  <a:lnTo>
                    <a:pt x="417" y="1040"/>
                  </a:lnTo>
                  <a:lnTo>
                    <a:pt x="424" y="1067"/>
                  </a:lnTo>
                  <a:lnTo>
                    <a:pt x="433" y="1095"/>
                  </a:lnTo>
                  <a:lnTo>
                    <a:pt x="442" y="1123"/>
                  </a:lnTo>
                  <a:lnTo>
                    <a:pt x="451" y="1147"/>
                  </a:lnTo>
                  <a:lnTo>
                    <a:pt x="455" y="1157"/>
                  </a:lnTo>
                  <a:lnTo>
                    <a:pt x="460" y="1164"/>
                  </a:lnTo>
                  <a:lnTo>
                    <a:pt x="462" y="1167"/>
                  </a:lnTo>
                  <a:lnTo>
                    <a:pt x="464" y="1168"/>
                  </a:lnTo>
                  <a:lnTo>
                    <a:pt x="466" y="1170"/>
                  </a:lnTo>
                  <a:lnTo>
                    <a:pt x="467" y="1170"/>
                  </a:lnTo>
                  <a:lnTo>
                    <a:pt x="496" y="1219"/>
                  </a:lnTo>
                  <a:lnTo>
                    <a:pt x="496" y="1219"/>
                  </a:lnTo>
                  <a:lnTo>
                    <a:pt x="496" y="1214"/>
                  </a:lnTo>
                  <a:lnTo>
                    <a:pt x="497" y="1210"/>
                  </a:lnTo>
                  <a:lnTo>
                    <a:pt x="498" y="1206"/>
                  </a:lnTo>
                  <a:lnTo>
                    <a:pt x="499" y="1202"/>
                  </a:lnTo>
                  <a:lnTo>
                    <a:pt x="501" y="1199"/>
                  </a:lnTo>
                  <a:lnTo>
                    <a:pt x="504" y="1197"/>
                  </a:lnTo>
                  <a:lnTo>
                    <a:pt x="506" y="1195"/>
                  </a:lnTo>
                  <a:lnTo>
                    <a:pt x="511" y="1194"/>
                  </a:lnTo>
                  <a:lnTo>
                    <a:pt x="518" y="1192"/>
                  </a:lnTo>
                  <a:lnTo>
                    <a:pt x="526" y="1191"/>
                  </a:lnTo>
                  <a:lnTo>
                    <a:pt x="536" y="1190"/>
                  </a:lnTo>
                  <a:lnTo>
                    <a:pt x="546" y="1190"/>
                  </a:lnTo>
                  <a:lnTo>
                    <a:pt x="557" y="1190"/>
                  </a:lnTo>
                  <a:lnTo>
                    <a:pt x="567" y="1190"/>
                  </a:lnTo>
                  <a:lnTo>
                    <a:pt x="577" y="1189"/>
                  </a:lnTo>
                  <a:lnTo>
                    <a:pt x="587" y="1188"/>
                  </a:lnTo>
                  <a:lnTo>
                    <a:pt x="597" y="1185"/>
                  </a:lnTo>
                  <a:lnTo>
                    <a:pt x="606" y="1181"/>
                  </a:lnTo>
                  <a:lnTo>
                    <a:pt x="610" y="1177"/>
                  </a:lnTo>
                  <a:lnTo>
                    <a:pt x="613" y="1174"/>
                  </a:lnTo>
                  <a:lnTo>
                    <a:pt x="616" y="1171"/>
                  </a:lnTo>
                  <a:lnTo>
                    <a:pt x="619" y="1167"/>
                  </a:lnTo>
                  <a:lnTo>
                    <a:pt x="626" y="1153"/>
                  </a:lnTo>
                  <a:lnTo>
                    <a:pt x="632" y="1143"/>
                  </a:lnTo>
                  <a:lnTo>
                    <a:pt x="635" y="1133"/>
                  </a:lnTo>
                  <a:lnTo>
                    <a:pt x="636" y="1123"/>
                  </a:lnTo>
                  <a:lnTo>
                    <a:pt x="636" y="1115"/>
                  </a:lnTo>
                  <a:lnTo>
                    <a:pt x="635" y="1108"/>
                  </a:lnTo>
                  <a:lnTo>
                    <a:pt x="633" y="1100"/>
                  </a:lnTo>
                  <a:lnTo>
                    <a:pt x="631" y="1093"/>
                  </a:lnTo>
                  <a:lnTo>
                    <a:pt x="623" y="1079"/>
                  </a:lnTo>
                  <a:lnTo>
                    <a:pt x="616" y="1064"/>
                  </a:lnTo>
                  <a:lnTo>
                    <a:pt x="613" y="1055"/>
                  </a:lnTo>
                  <a:lnTo>
                    <a:pt x="611" y="1046"/>
                  </a:lnTo>
                  <a:lnTo>
                    <a:pt x="609" y="1036"/>
                  </a:lnTo>
                  <a:lnTo>
                    <a:pt x="609" y="1024"/>
                  </a:lnTo>
                  <a:lnTo>
                    <a:pt x="634" y="1017"/>
                  </a:lnTo>
                  <a:lnTo>
                    <a:pt x="657" y="1011"/>
                  </a:lnTo>
                  <a:lnTo>
                    <a:pt x="668" y="1006"/>
                  </a:lnTo>
                  <a:lnTo>
                    <a:pt x="680" y="1001"/>
                  </a:lnTo>
                  <a:lnTo>
                    <a:pt x="692" y="994"/>
                  </a:lnTo>
                  <a:lnTo>
                    <a:pt x="704" y="984"/>
                  </a:lnTo>
                  <a:lnTo>
                    <a:pt x="710" y="979"/>
                  </a:lnTo>
                  <a:lnTo>
                    <a:pt x="716" y="974"/>
                  </a:lnTo>
                  <a:lnTo>
                    <a:pt x="720" y="970"/>
                  </a:lnTo>
                  <a:lnTo>
                    <a:pt x="724" y="965"/>
                  </a:lnTo>
                  <a:lnTo>
                    <a:pt x="728" y="958"/>
                  </a:lnTo>
                  <a:lnTo>
                    <a:pt x="730" y="952"/>
                  </a:lnTo>
                  <a:lnTo>
                    <a:pt x="732" y="945"/>
                  </a:lnTo>
                  <a:lnTo>
                    <a:pt x="733" y="936"/>
                  </a:lnTo>
                  <a:lnTo>
                    <a:pt x="733" y="929"/>
                  </a:lnTo>
                  <a:lnTo>
                    <a:pt x="732" y="922"/>
                  </a:lnTo>
                  <a:lnTo>
                    <a:pt x="730" y="917"/>
                  </a:lnTo>
                  <a:lnTo>
                    <a:pt x="728" y="911"/>
                  </a:lnTo>
                  <a:lnTo>
                    <a:pt x="723" y="902"/>
                  </a:lnTo>
                  <a:lnTo>
                    <a:pt x="719" y="892"/>
                  </a:lnTo>
                  <a:lnTo>
                    <a:pt x="715" y="888"/>
                  </a:lnTo>
                  <a:lnTo>
                    <a:pt x="710" y="885"/>
                  </a:lnTo>
                  <a:lnTo>
                    <a:pt x="705" y="880"/>
                  </a:lnTo>
                  <a:lnTo>
                    <a:pt x="699" y="875"/>
                  </a:lnTo>
                  <a:lnTo>
                    <a:pt x="695" y="870"/>
                  </a:lnTo>
                  <a:lnTo>
                    <a:pt x="691" y="862"/>
                  </a:lnTo>
                  <a:lnTo>
                    <a:pt x="688" y="856"/>
                  </a:lnTo>
                  <a:lnTo>
                    <a:pt x="685" y="849"/>
                  </a:lnTo>
                  <a:lnTo>
                    <a:pt x="683" y="843"/>
                  </a:lnTo>
                  <a:lnTo>
                    <a:pt x="683" y="835"/>
                  </a:lnTo>
                  <a:lnTo>
                    <a:pt x="683" y="829"/>
                  </a:lnTo>
                  <a:lnTo>
                    <a:pt x="684" y="823"/>
                  </a:lnTo>
                  <a:lnTo>
                    <a:pt x="687" y="818"/>
                  </a:lnTo>
                  <a:lnTo>
                    <a:pt x="692" y="813"/>
                  </a:lnTo>
                  <a:lnTo>
                    <a:pt x="698" y="810"/>
                  </a:lnTo>
                  <a:lnTo>
                    <a:pt x="706" y="808"/>
                  </a:lnTo>
                  <a:lnTo>
                    <a:pt x="723" y="804"/>
                  </a:lnTo>
                  <a:lnTo>
                    <a:pt x="742" y="798"/>
                  </a:lnTo>
                  <a:lnTo>
                    <a:pt x="752" y="794"/>
                  </a:lnTo>
                  <a:lnTo>
                    <a:pt x="761" y="789"/>
                  </a:lnTo>
                  <a:lnTo>
                    <a:pt x="769" y="784"/>
                  </a:lnTo>
                  <a:lnTo>
                    <a:pt x="778" y="779"/>
                  </a:lnTo>
                  <a:lnTo>
                    <a:pt x="786" y="773"/>
                  </a:lnTo>
                  <a:lnTo>
                    <a:pt x="793" y="765"/>
                  </a:lnTo>
                  <a:lnTo>
                    <a:pt x="801" y="758"/>
                  </a:lnTo>
                  <a:lnTo>
                    <a:pt x="806" y="751"/>
                  </a:lnTo>
                  <a:lnTo>
                    <a:pt x="811" y="742"/>
                  </a:lnTo>
                  <a:lnTo>
                    <a:pt x="814" y="734"/>
                  </a:lnTo>
                  <a:lnTo>
                    <a:pt x="816" y="725"/>
                  </a:lnTo>
                  <a:lnTo>
                    <a:pt x="817" y="715"/>
                  </a:lnTo>
                  <a:lnTo>
                    <a:pt x="817" y="702"/>
                  </a:lnTo>
                  <a:lnTo>
                    <a:pt x="818" y="686"/>
                  </a:lnTo>
                  <a:lnTo>
                    <a:pt x="820" y="670"/>
                  </a:lnTo>
                  <a:lnTo>
                    <a:pt x="824" y="654"/>
                  </a:lnTo>
                  <a:lnTo>
                    <a:pt x="827" y="646"/>
                  </a:lnTo>
                  <a:lnTo>
                    <a:pt x="830" y="638"/>
                  </a:lnTo>
                  <a:lnTo>
                    <a:pt x="833" y="631"/>
                  </a:lnTo>
                  <a:lnTo>
                    <a:pt x="836" y="625"/>
                  </a:lnTo>
                  <a:lnTo>
                    <a:pt x="841" y="618"/>
                  </a:lnTo>
                  <a:lnTo>
                    <a:pt x="845" y="613"/>
                  </a:lnTo>
                  <a:lnTo>
                    <a:pt x="851" y="609"/>
                  </a:lnTo>
                  <a:lnTo>
                    <a:pt x="857" y="607"/>
                  </a:lnTo>
                  <a:lnTo>
                    <a:pt x="866" y="604"/>
                  </a:lnTo>
                  <a:lnTo>
                    <a:pt x="873" y="603"/>
                  </a:lnTo>
                  <a:lnTo>
                    <a:pt x="880" y="603"/>
                  </a:lnTo>
                  <a:lnTo>
                    <a:pt x="885" y="606"/>
                  </a:lnTo>
                  <a:lnTo>
                    <a:pt x="889" y="609"/>
                  </a:lnTo>
                  <a:lnTo>
                    <a:pt x="892" y="614"/>
                  </a:lnTo>
                  <a:lnTo>
                    <a:pt x="895" y="619"/>
                  </a:lnTo>
                  <a:lnTo>
                    <a:pt x="897" y="626"/>
                  </a:lnTo>
                  <a:lnTo>
                    <a:pt x="900" y="639"/>
                  </a:lnTo>
                  <a:lnTo>
                    <a:pt x="902" y="653"/>
                  </a:lnTo>
                  <a:lnTo>
                    <a:pt x="903" y="658"/>
                  </a:lnTo>
                  <a:lnTo>
                    <a:pt x="905" y="663"/>
                  </a:lnTo>
                  <a:lnTo>
                    <a:pt x="906" y="667"/>
                  </a:lnTo>
                  <a:lnTo>
                    <a:pt x="908" y="671"/>
                  </a:lnTo>
                  <a:lnTo>
                    <a:pt x="912" y="670"/>
                  </a:lnTo>
                  <a:lnTo>
                    <a:pt x="916" y="668"/>
                  </a:lnTo>
                  <a:lnTo>
                    <a:pt x="920" y="665"/>
                  </a:lnTo>
                  <a:lnTo>
                    <a:pt x="925" y="662"/>
                  </a:lnTo>
                  <a:lnTo>
                    <a:pt x="933" y="654"/>
                  </a:lnTo>
                  <a:lnTo>
                    <a:pt x="942" y="644"/>
                  </a:lnTo>
                  <a:lnTo>
                    <a:pt x="948" y="639"/>
                  </a:lnTo>
                  <a:lnTo>
                    <a:pt x="953" y="635"/>
                  </a:lnTo>
                  <a:lnTo>
                    <a:pt x="959" y="632"/>
                  </a:lnTo>
                  <a:lnTo>
                    <a:pt x="965" y="630"/>
                  </a:lnTo>
                  <a:lnTo>
                    <a:pt x="973" y="628"/>
                  </a:lnTo>
                  <a:lnTo>
                    <a:pt x="980" y="628"/>
                  </a:lnTo>
                  <a:lnTo>
                    <a:pt x="988" y="628"/>
                  </a:lnTo>
                  <a:lnTo>
                    <a:pt x="997" y="631"/>
                  </a:lnTo>
                  <a:lnTo>
                    <a:pt x="1007" y="634"/>
                  </a:lnTo>
                  <a:lnTo>
                    <a:pt x="1017" y="635"/>
                  </a:lnTo>
                  <a:lnTo>
                    <a:pt x="1028" y="636"/>
                  </a:lnTo>
                  <a:lnTo>
                    <a:pt x="1039" y="636"/>
                  </a:lnTo>
                  <a:lnTo>
                    <a:pt x="1050" y="636"/>
                  </a:lnTo>
                  <a:lnTo>
                    <a:pt x="1060" y="638"/>
                  </a:lnTo>
                  <a:lnTo>
                    <a:pt x="1070" y="640"/>
                  </a:lnTo>
                  <a:lnTo>
                    <a:pt x="1080" y="644"/>
                  </a:lnTo>
                  <a:lnTo>
                    <a:pt x="1084" y="649"/>
                  </a:lnTo>
                  <a:lnTo>
                    <a:pt x="1088" y="655"/>
                  </a:lnTo>
                  <a:lnTo>
                    <a:pt x="1091" y="662"/>
                  </a:lnTo>
                  <a:lnTo>
                    <a:pt x="1093" y="670"/>
                  </a:lnTo>
                  <a:lnTo>
                    <a:pt x="1099" y="687"/>
                  </a:lnTo>
                  <a:lnTo>
                    <a:pt x="1105" y="701"/>
                  </a:lnTo>
                  <a:lnTo>
                    <a:pt x="1107" y="704"/>
                  </a:lnTo>
                  <a:lnTo>
                    <a:pt x="1109" y="707"/>
                  </a:lnTo>
                  <a:lnTo>
                    <a:pt x="1113" y="709"/>
                  </a:lnTo>
                  <a:lnTo>
                    <a:pt x="1116" y="711"/>
                  </a:lnTo>
                  <a:lnTo>
                    <a:pt x="1125" y="715"/>
                  </a:lnTo>
                  <a:lnTo>
                    <a:pt x="1134" y="717"/>
                  </a:lnTo>
                  <a:lnTo>
                    <a:pt x="1144" y="718"/>
                  </a:lnTo>
                  <a:lnTo>
                    <a:pt x="1153" y="719"/>
                  </a:lnTo>
                  <a:lnTo>
                    <a:pt x="1161" y="719"/>
                  </a:lnTo>
                  <a:lnTo>
                    <a:pt x="1169" y="718"/>
                  </a:lnTo>
                  <a:lnTo>
                    <a:pt x="1177" y="716"/>
                  </a:lnTo>
                  <a:lnTo>
                    <a:pt x="1184" y="714"/>
                  </a:lnTo>
                  <a:lnTo>
                    <a:pt x="1190" y="712"/>
                  </a:lnTo>
                  <a:lnTo>
                    <a:pt x="1196" y="709"/>
                  </a:lnTo>
                  <a:lnTo>
                    <a:pt x="1204" y="703"/>
                  </a:lnTo>
                  <a:lnTo>
                    <a:pt x="1212" y="699"/>
                  </a:lnTo>
                  <a:lnTo>
                    <a:pt x="1215" y="696"/>
                  </a:lnTo>
                  <a:lnTo>
                    <a:pt x="1220" y="696"/>
                  </a:lnTo>
                  <a:lnTo>
                    <a:pt x="1225" y="696"/>
                  </a:lnTo>
                  <a:lnTo>
                    <a:pt x="1230" y="698"/>
                  </a:lnTo>
                  <a:lnTo>
                    <a:pt x="1235" y="700"/>
                  </a:lnTo>
                  <a:lnTo>
                    <a:pt x="1243" y="704"/>
                  </a:lnTo>
                  <a:lnTo>
                    <a:pt x="1251" y="709"/>
                  </a:lnTo>
                  <a:lnTo>
                    <a:pt x="1260" y="716"/>
                  </a:lnTo>
                  <a:lnTo>
                    <a:pt x="1264" y="719"/>
                  </a:lnTo>
                  <a:lnTo>
                    <a:pt x="1270" y="723"/>
                  </a:lnTo>
                  <a:lnTo>
                    <a:pt x="1276" y="725"/>
                  </a:lnTo>
                  <a:lnTo>
                    <a:pt x="1281" y="727"/>
                  </a:lnTo>
                  <a:lnTo>
                    <a:pt x="1294" y="730"/>
                  </a:lnTo>
                  <a:lnTo>
                    <a:pt x="1306" y="731"/>
                  </a:lnTo>
                  <a:lnTo>
                    <a:pt x="1333" y="733"/>
                  </a:lnTo>
                  <a:lnTo>
                    <a:pt x="1357" y="735"/>
                  </a:lnTo>
                  <a:lnTo>
                    <a:pt x="1362" y="736"/>
                  </a:lnTo>
                  <a:lnTo>
                    <a:pt x="1369" y="738"/>
                  </a:lnTo>
                  <a:lnTo>
                    <a:pt x="1376" y="741"/>
                  </a:lnTo>
                  <a:lnTo>
                    <a:pt x="1383" y="746"/>
                  </a:lnTo>
                  <a:lnTo>
                    <a:pt x="1400" y="755"/>
                  </a:lnTo>
                  <a:lnTo>
                    <a:pt x="1418" y="767"/>
                  </a:lnTo>
                  <a:lnTo>
                    <a:pt x="1433" y="780"/>
                  </a:lnTo>
                  <a:lnTo>
                    <a:pt x="1448" y="792"/>
                  </a:lnTo>
                  <a:lnTo>
                    <a:pt x="1453" y="799"/>
                  </a:lnTo>
                  <a:lnTo>
                    <a:pt x="1457" y="805"/>
                  </a:lnTo>
                  <a:lnTo>
                    <a:pt x="1459" y="810"/>
                  </a:lnTo>
                  <a:lnTo>
                    <a:pt x="1461" y="815"/>
                  </a:lnTo>
                  <a:lnTo>
                    <a:pt x="1461" y="831"/>
                  </a:lnTo>
                  <a:lnTo>
                    <a:pt x="1459" y="847"/>
                  </a:lnTo>
                  <a:lnTo>
                    <a:pt x="1458" y="854"/>
                  </a:lnTo>
                  <a:lnTo>
                    <a:pt x="1459" y="862"/>
                  </a:lnTo>
                  <a:lnTo>
                    <a:pt x="1459" y="870"/>
                  </a:lnTo>
                  <a:lnTo>
                    <a:pt x="1462" y="876"/>
                  </a:lnTo>
                  <a:lnTo>
                    <a:pt x="1465" y="885"/>
                  </a:lnTo>
                  <a:lnTo>
                    <a:pt x="1470" y="894"/>
                  </a:lnTo>
                  <a:lnTo>
                    <a:pt x="1477" y="902"/>
                  </a:lnTo>
                  <a:lnTo>
                    <a:pt x="1483" y="910"/>
                  </a:lnTo>
                  <a:lnTo>
                    <a:pt x="1498" y="926"/>
                  </a:lnTo>
                  <a:lnTo>
                    <a:pt x="1511" y="943"/>
                  </a:lnTo>
                  <a:lnTo>
                    <a:pt x="1512" y="948"/>
                  </a:lnTo>
                  <a:lnTo>
                    <a:pt x="1515" y="952"/>
                  </a:lnTo>
                  <a:lnTo>
                    <a:pt x="1518" y="955"/>
                  </a:lnTo>
                  <a:lnTo>
                    <a:pt x="1521" y="958"/>
                  </a:lnTo>
                  <a:lnTo>
                    <a:pt x="1524" y="961"/>
                  </a:lnTo>
                  <a:lnTo>
                    <a:pt x="1528" y="965"/>
                  </a:lnTo>
                  <a:lnTo>
                    <a:pt x="1531" y="968"/>
                  </a:lnTo>
                  <a:lnTo>
                    <a:pt x="1533" y="972"/>
                  </a:lnTo>
                  <a:lnTo>
                    <a:pt x="1537" y="979"/>
                  </a:lnTo>
                  <a:lnTo>
                    <a:pt x="1538" y="988"/>
                  </a:lnTo>
                  <a:lnTo>
                    <a:pt x="1538" y="997"/>
                  </a:lnTo>
                  <a:lnTo>
                    <a:pt x="1538" y="1007"/>
                  </a:lnTo>
                  <a:lnTo>
                    <a:pt x="1536" y="1027"/>
                  </a:lnTo>
                  <a:lnTo>
                    <a:pt x="1535" y="1045"/>
                  </a:lnTo>
                  <a:lnTo>
                    <a:pt x="1537" y="1080"/>
                  </a:lnTo>
                  <a:lnTo>
                    <a:pt x="1541" y="1119"/>
                  </a:lnTo>
                  <a:lnTo>
                    <a:pt x="1542" y="1139"/>
                  </a:lnTo>
                  <a:lnTo>
                    <a:pt x="1541" y="1158"/>
                  </a:lnTo>
                  <a:lnTo>
                    <a:pt x="1541" y="1167"/>
                  </a:lnTo>
                  <a:lnTo>
                    <a:pt x="1539" y="1175"/>
                  </a:lnTo>
                  <a:lnTo>
                    <a:pt x="1537" y="1184"/>
                  </a:lnTo>
                  <a:lnTo>
                    <a:pt x="1533" y="1192"/>
                  </a:lnTo>
                  <a:lnTo>
                    <a:pt x="1529" y="1202"/>
                  </a:lnTo>
                  <a:lnTo>
                    <a:pt x="1524" y="1211"/>
                  </a:lnTo>
                  <a:lnTo>
                    <a:pt x="1519" y="1219"/>
                  </a:lnTo>
                  <a:lnTo>
                    <a:pt x="1513" y="1225"/>
                  </a:lnTo>
                  <a:lnTo>
                    <a:pt x="1507" y="1232"/>
                  </a:lnTo>
                  <a:lnTo>
                    <a:pt x="1500" y="1237"/>
                  </a:lnTo>
                  <a:lnTo>
                    <a:pt x="1494" y="1241"/>
                  </a:lnTo>
                  <a:lnTo>
                    <a:pt x="1487" y="1245"/>
                  </a:lnTo>
                  <a:lnTo>
                    <a:pt x="1472" y="1253"/>
                  </a:lnTo>
                  <a:lnTo>
                    <a:pt x="1457" y="1260"/>
                  </a:lnTo>
                  <a:lnTo>
                    <a:pt x="1442" y="1268"/>
                  </a:lnTo>
                  <a:lnTo>
                    <a:pt x="1426" y="1280"/>
                  </a:lnTo>
                  <a:lnTo>
                    <a:pt x="1427" y="1282"/>
                  </a:lnTo>
                  <a:lnTo>
                    <a:pt x="1429" y="1286"/>
                  </a:lnTo>
                  <a:lnTo>
                    <a:pt x="1433" y="1289"/>
                  </a:lnTo>
                  <a:lnTo>
                    <a:pt x="1438" y="1293"/>
                  </a:lnTo>
                  <a:lnTo>
                    <a:pt x="1450" y="1303"/>
                  </a:lnTo>
                  <a:lnTo>
                    <a:pt x="1464" y="1312"/>
                  </a:lnTo>
                  <a:lnTo>
                    <a:pt x="1478" y="1322"/>
                  </a:lnTo>
                  <a:lnTo>
                    <a:pt x="1493" y="1332"/>
                  </a:lnTo>
                  <a:lnTo>
                    <a:pt x="1504" y="1340"/>
                  </a:lnTo>
                  <a:lnTo>
                    <a:pt x="1512" y="1346"/>
                  </a:lnTo>
                  <a:lnTo>
                    <a:pt x="1518" y="1355"/>
                  </a:lnTo>
                  <a:lnTo>
                    <a:pt x="1525" y="1361"/>
                  </a:lnTo>
                  <a:lnTo>
                    <a:pt x="1531" y="1367"/>
                  </a:lnTo>
                  <a:lnTo>
                    <a:pt x="1538" y="1371"/>
                  </a:lnTo>
                  <a:lnTo>
                    <a:pt x="1541" y="1373"/>
                  </a:lnTo>
                  <a:lnTo>
                    <a:pt x="1545" y="1374"/>
                  </a:lnTo>
                  <a:lnTo>
                    <a:pt x="1548" y="1374"/>
                  </a:lnTo>
                  <a:lnTo>
                    <a:pt x="1552" y="1373"/>
                  </a:lnTo>
                  <a:lnTo>
                    <a:pt x="1555" y="1371"/>
                  </a:lnTo>
                  <a:lnTo>
                    <a:pt x="1560" y="1369"/>
                  </a:lnTo>
                  <a:lnTo>
                    <a:pt x="1565" y="1367"/>
                  </a:lnTo>
                  <a:lnTo>
                    <a:pt x="1569" y="1363"/>
                  </a:lnTo>
                  <a:lnTo>
                    <a:pt x="1574" y="1360"/>
                  </a:lnTo>
                  <a:lnTo>
                    <a:pt x="1579" y="1357"/>
                  </a:lnTo>
                  <a:lnTo>
                    <a:pt x="1584" y="1356"/>
                  </a:lnTo>
                  <a:lnTo>
                    <a:pt x="1589" y="1356"/>
                  </a:lnTo>
                  <a:lnTo>
                    <a:pt x="1593" y="1357"/>
                  </a:lnTo>
                  <a:lnTo>
                    <a:pt x="1598" y="1359"/>
                  </a:lnTo>
                  <a:lnTo>
                    <a:pt x="1602" y="1361"/>
                  </a:lnTo>
                  <a:lnTo>
                    <a:pt x="1606" y="1365"/>
                  </a:lnTo>
                  <a:lnTo>
                    <a:pt x="1615" y="1375"/>
                  </a:lnTo>
                  <a:lnTo>
                    <a:pt x="1623" y="1386"/>
                  </a:lnTo>
                  <a:lnTo>
                    <a:pt x="1630" y="1400"/>
                  </a:lnTo>
                  <a:lnTo>
                    <a:pt x="1638" y="1415"/>
                  </a:lnTo>
                  <a:lnTo>
                    <a:pt x="1650" y="1448"/>
                  </a:lnTo>
                  <a:lnTo>
                    <a:pt x="1661" y="1479"/>
                  </a:lnTo>
                  <a:lnTo>
                    <a:pt x="1668" y="1505"/>
                  </a:lnTo>
                  <a:lnTo>
                    <a:pt x="1674" y="1521"/>
                  </a:lnTo>
                  <a:lnTo>
                    <a:pt x="1674" y="1521"/>
                  </a:lnTo>
                  <a:lnTo>
                    <a:pt x="1684" y="1520"/>
                  </a:lnTo>
                  <a:lnTo>
                    <a:pt x="1693" y="1519"/>
                  </a:lnTo>
                  <a:lnTo>
                    <a:pt x="1702" y="1516"/>
                  </a:lnTo>
                  <a:lnTo>
                    <a:pt x="1712" y="1514"/>
                  </a:lnTo>
                  <a:lnTo>
                    <a:pt x="1712" y="1514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2" name="Freeform 169">
              <a:extLst>
                <a:ext uri="{FF2B5EF4-FFF2-40B4-BE49-F238E27FC236}">
                  <a16:creationId xmlns:a16="http://schemas.microsoft.com/office/drawing/2014/main" id="{99C1A0E1-AD6F-4270-88A0-76C119C1B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3773" y="5076357"/>
              <a:ext cx="535091" cy="422569"/>
            </a:xfrm>
            <a:custGeom>
              <a:avLst/>
              <a:gdLst>
                <a:gd name="T0" fmla="*/ 1006 w 2129"/>
                <a:gd name="T1" fmla="*/ 1625 h 1741"/>
                <a:gd name="T2" fmla="*/ 1047 w 2129"/>
                <a:gd name="T3" fmla="*/ 1527 h 1741"/>
                <a:gd name="T4" fmla="*/ 924 w 2129"/>
                <a:gd name="T5" fmla="*/ 1436 h 1741"/>
                <a:gd name="T6" fmla="*/ 783 w 2129"/>
                <a:gd name="T7" fmla="*/ 1481 h 1741"/>
                <a:gd name="T8" fmla="*/ 705 w 2129"/>
                <a:gd name="T9" fmla="*/ 1383 h 1741"/>
                <a:gd name="T10" fmla="*/ 566 w 2129"/>
                <a:gd name="T11" fmla="*/ 1334 h 1741"/>
                <a:gd name="T12" fmla="*/ 548 w 2129"/>
                <a:gd name="T13" fmla="*/ 1254 h 1741"/>
                <a:gd name="T14" fmla="*/ 476 w 2129"/>
                <a:gd name="T15" fmla="*/ 1278 h 1741"/>
                <a:gd name="T16" fmla="*/ 405 w 2129"/>
                <a:gd name="T17" fmla="*/ 1231 h 1741"/>
                <a:gd name="T18" fmla="*/ 277 w 2129"/>
                <a:gd name="T19" fmla="*/ 1236 h 1741"/>
                <a:gd name="T20" fmla="*/ 50 w 2129"/>
                <a:gd name="T21" fmla="*/ 1019 h 1741"/>
                <a:gd name="T22" fmla="*/ 55 w 2129"/>
                <a:gd name="T23" fmla="*/ 918 h 1741"/>
                <a:gd name="T24" fmla="*/ 19 w 2129"/>
                <a:gd name="T25" fmla="*/ 829 h 1741"/>
                <a:gd name="T26" fmla="*/ 47 w 2129"/>
                <a:gd name="T27" fmla="*/ 686 h 1741"/>
                <a:gd name="T28" fmla="*/ 214 w 2129"/>
                <a:gd name="T29" fmla="*/ 632 h 1741"/>
                <a:gd name="T30" fmla="*/ 293 w 2129"/>
                <a:gd name="T31" fmla="*/ 604 h 1741"/>
                <a:gd name="T32" fmla="*/ 358 w 2129"/>
                <a:gd name="T33" fmla="*/ 595 h 1741"/>
                <a:gd name="T34" fmla="*/ 395 w 2129"/>
                <a:gd name="T35" fmla="*/ 615 h 1741"/>
                <a:gd name="T36" fmla="*/ 404 w 2129"/>
                <a:gd name="T37" fmla="*/ 503 h 1741"/>
                <a:gd name="T38" fmla="*/ 447 w 2129"/>
                <a:gd name="T39" fmla="*/ 546 h 1741"/>
                <a:gd name="T40" fmla="*/ 553 w 2129"/>
                <a:gd name="T41" fmla="*/ 498 h 1741"/>
                <a:gd name="T42" fmla="*/ 622 w 2129"/>
                <a:gd name="T43" fmla="*/ 545 h 1741"/>
                <a:gd name="T44" fmla="*/ 656 w 2129"/>
                <a:gd name="T45" fmla="*/ 493 h 1741"/>
                <a:gd name="T46" fmla="*/ 704 w 2129"/>
                <a:gd name="T47" fmla="*/ 413 h 1741"/>
                <a:gd name="T48" fmla="*/ 778 w 2129"/>
                <a:gd name="T49" fmla="*/ 489 h 1741"/>
                <a:gd name="T50" fmla="*/ 843 w 2129"/>
                <a:gd name="T51" fmla="*/ 521 h 1741"/>
                <a:gd name="T52" fmla="*/ 841 w 2129"/>
                <a:gd name="T53" fmla="*/ 372 h 1741"/>
                <a:gd name="T54" fmla="*/ 978 w 2129"/>
                <a:gd name="T55" fmla="*/ 342 h 1741"/>
                <a:gd name="T56" fmla="*/ 1022 w 2129"/>
                <a:gd name="T57" fmla="*/ 260 h 1741"/>
                <a:gd name="T58" fmla="*/ 1087 w 2129"/>
                <a:gd name="T59" fmla="*/ 184 h 1741"/>
                <a:gd name="T60" fmla="*/ 1048 w 2129"/>
                <a:gd name="T61" fmla="*/ 85 h 1741"/>
                <a:gd name="T62" fmla="*/ 1102 w 2129"/>
                <a:gd name="T63" fmla="*/ 50 h 1741"/>
                <a:gd name="T64" fmla="*/ 1224 w 2129"/>
                <a:gd name="T65" fmla="*/ 87 h 1741"/>
                <a:gd name="T66" fmla="*/ 1327 w 2129"/>
                <a:gd name="T67" fmla="*/ 112 h 1741"/>
                <a:gd name="T68" fmla="*/ 1432 w 2129"/>
                <a:gd name="T69" fmla="*/ 1 h 1741"/>
                <a:gd name="T70" fmla="*/ 1414 w 2129"/>
                <a:gd name="T71" fmla="*/ 140 h 1741"/>
                <a:gd name="T72" fmla="*/ 1344 w 2129"/>
                <a:gd name="T73" fmla="*/ 252 h 1741"/>
                <a:gd name="T74" fmla="*/ 1394 w 2129"/>
                <a:gd name="T75" fmla="*/ 324 h 1741"/>
                <a:gd name="T76" fmla="*/ 1479 w 2129"/>
                <a:gd name="T77" fmla="*/ 203 h 1741"/>
                <a:gd name="T78" fmla="*/ 1591 w 2129"/>
                <a:gd name="T79" fmla="*/ 226 h 1741"/>
                <a:gd name="T80" fmla="*/ 1640 w 2129"/>
                <a:gd name="T81" fmla="*/ 161 h 1741"/>
                <a:gd name="T82" fmla="*/ 1705 w 2129"/>
                <a:gd name="T83" fmla="*/ 217 h 1741"/>
                <a:gd name="T84" fmla="*/ 1784 w 2129"/>
                <a:gd name="T85" fmla="*/ 232 h 1741"/>
                <a:gd name="T86" fmla="*/ 1776 w 2129"/>
                <a:gd name="T87" fmla="*/ 362 h 1741"/>
                <a:gd name="T88" fmla="*/ 1735 w 2129"/>
                <a:gd name="T89" fmla="*/ 482 h 1741"/>
                <a:gd name="T90" fmla="*/ 1794 w 2129"/>
                <a:gd name="T91" fmla="*/ 578 h 1741"/>
                <a:gd name="T92" fmla="*/ 1772 w 2129"/>
                <a:gd name="T93" fmla="*/ 639 h 1741"/>
                <a:gd name="T94" fmla="*/ 1714 w 2129"/>
                <a:gd name="T95" fmla="*/ 701 h 1741"/>
                <a:gd name="T96" fmla="*/ 1749 w 2129"/>
                <a:gd name="T97" fmla="*/ 738 h 1741"/>
                <a:gd name="T98" fmla="*/ 1873 w 2129"/>
                <a:gd name="T99" fmla="*/ 723 h 1741"/>
                <a:gd name="T100" fmla="*/ 1939 w 2129"/>
                <a:gd name="T101" fmla="*/ 786 h 1741"/>
                <a:gd name="T102" fmla="*/ 1956 w 2129"/>
                <a:gd name="T103" fmla="*/ 862 h 1741"/>
                <a:gd name="T104" fmla="*/ 1934 w 2129"/>
                <a:gd name="T105" fmla="*/ 947 h 1741"/>
                <a:gd name="T106" fmla="*/ 2008 w 2129"/>
                <a:gd name="T107" fmla="*/ 909 h 1741"/>
                <a:gd name="T108" fmla="*/ 2127 w 2129"/>
                <a:gd name="T109" fmla="*/ 900 h 1741"/>
                <a:gd name="T110" fmla="*/ 1981 w 2129"/>
                <a:gd name="T111" fmla="*/ 1045 h 1741"/>
                <a:gd name="T112" fmla="*/ 1796 w 2129"/>
                <a:gd name="T113" fmla="*/ 1197 h 1741"/>
                <a:gd name="T114" fmla="*/ 1769 w 2129"/>
                <a:gd name="T115" fmla="*/ 1364 h 1741"/>
                <a:gd name="T116" fmla="*/ 1650 w 2129"/>
                <a:gd name="T117" fmla="*/ 1550 h 1741"/>
                <a:gd name="T118" fmla="*/ 1537 w 2129"/>
                <a:gd name="T119" fmla="*/ 1636 h 1741"/>
                <a:gd name="T120" fmla="*/ 1206 w 2129"/>
                <a:gd name="T121" fmla="*/ 1658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29" h="1741">
                  <a:moveTo>
                    <a:pt x="1078" y="1741"/>
                  </a:moveTo>
                  <a:lnTo>
                    <a:pt x="1066" y="1728"/>
                  </a:lnTo>
                  <a:lnTo>
                    <a:pt x="1055" y="1715"/>
                  </a:lnTo>
                  <a:lnTo>
                    <a:pt x="1046" y="1705"/>
                  </a:lnTo>
                  <a:lnTo>
                    <a:pt x="1040" y="1697"/>
                  </a:lnTo>
                  <a:lnTo>
                    <a:pt x="1024" y="1677"/>
                  </a:lnTo>
                  <a:lnTo>
                    <a:pt x="1013" y="1661"/>
                  </a:lnTo>
                  <a:lnTo>
                    <a:pt x="1009" y="1654"/>
                  </a:lnTo>
                  <a:lnTo>
                    <a:pt x="1006" y="1649"/>
                  </a:lnTo>
                  <a:lnTo>
                    <a:pt x="1004" y="1642"/>
                  </a:lnTo>
                  <a:lnTo>
                    <a:pt x="1004" y="1637"/>
                  </a:lnTo>
                  <a:lnTo>
                    <a:pt x="1004" y="1631"/>
                  </a:lnTo>
                  <a:lnTo>
                    <a:pt x="1006" y="1625"/>
                  </a:lnTo>
                  <a:lnTo>
                    <a:pt x="1009" y="1618"/>
                  </a:lnTo>
                  <a:lnTo>
                    <a:pt x="1012" y="1611"/>
                  </a:lnTo>
                  <a:lnTo>
                    <a:pt x="1021" y="1593"/>
                  </a:lnTo>
                  <a:lnTo>
                    <a:pt x="1033" y="1572"/>
                  </a:lnTo>
                  <a:lnTo>
                    <a:pt x="1038" y="1567"/>
                  </a:lnTo>
                  <a:lnTo>
                    <a:pt x="1042" y="1563"/>
                  </a:lnTo>
                  <a:lnTo>
                    <a:pt x="1045" y="1559"/>
                  </a:lnTo>
                  <a:lnTo>
                    <a:pt x="1047" y="1555"/>
                  </a:lnTo>
                  <a:lnTo>
                    <a:pt x="1049" y="1550"/>
                  </a:lnTo>
                  <a:lnTo>
                    <a:pt x="1050" y="1545"/>
                  </a:lnTo>
                  <a:lnTo>
                    <a:pt x="1050" y="1541"/>
                  </a:lnTo>
                  <a:lnTo>
                    <a:pt x="1049" y="1536"/>
                  </a:lnTo>
                  <a:lnTo>
                    <a:pt x="1047" y="1527"/>
                  </a:lnTo>
                  <a:lnTo>
                    <a:pt x="1042" y="1518"/>
                  </a:lnTo>
                  <a:lnTo>
                    <a:pt x="1036" y="1509"/>
                  </a:lnTo>
                  <a:lnTo>
                    <a:pt x="1027" y="1500"/>
                  </a:lnTo>
                  <a:lnTo>
                    <a:pt x="1018" y="1491"/>
                  </a:lnTo>
                  <a:lnTo>
                    <a:pt x="1009" y="1483"/>
                  </a:lnTo>
                  <a:lnTo>
                    <a:pt x="999" y="1474"/>
                  </a:lnTo>
                  <a:lnTo>
                    <a:pt x="989" y="1467"/>
                  </a:lnTo>
                  <a:lnTo>
                    <a:pt x="971" y="1455"/>
                  </a:lnTo>
                  <a:lnTo>
                    <a:pt x="956" y="1445"/>
                  </a:lnTo>
                  <a:lnTo>
                    <a:pt x="948" y="1441"/>
                  </a:lnTo>
                  <a:lnTo>
                    <a:pt x="940" y="1438"/>
                  </a:lnTo>
                  <a:lnTo>
                    <a:pt x="932" y="1437"/>
                  </a:lnTo>
                  <a:lnTo>
                    <a:pt x="924" y="1436"/>
                  </a:lnTo>
                  <a:lnTo>
                    <a:pt x="916" y="1436"/>
                  </a:lnTo>
                  <a:lnTo>
                    <a:pt x="908" y="1437"/>
                  </a:lnTo>
                  <a:lnTo>
                    <a:pt x="900" y="1439"/>
                  </a:lnTo>
                  <a:lnTo>
                    <a:pt x="893" y="1442"/>
                  </a:lnTo>
                  <a:lnTo>
                    <a:pt x="862" y="1457"/>
                  </a:lnTo>
                  <a:lnTo>
                    <a:pt x="832" y="1472"/>
                  </a:lnTo>
                  <a:lnTo>
                    <a:pt x="825" y="1476"/>
                  </a:lnTo>
                  <a:lnTo>
                    <a:pt x="818" y="1479"/>
                  </a:lnTo>
                  <a:lnTo>
                    <a:pt x="811" y="1481"/>
                  </a:lnTo>
                  <a:lnTo>
                    <a:pt x="804" y="1482"/>
                  </a:lnTo>
                  <a:lnTo>
                    <a:pt x="797" y="1483"/>
                  </a:lnTo>
                  <a:lnTo>
                    <a:pt x="791" y="1483"/>
                  </a:lnTo>
                  <a:lnTo>
                    <a:pt x="783" y="1481"/>
                  </a:lnTo>
                  <a:lnTo>
                    <a:pt x="777" y="1478"/>
                  </a:lnTo>
                  <a:lnTo>
                    <a:pt x="771" y="1474"/>
                  </a:lnTo>
                  <a:lnTo>
                    <a:pt x="765" y="1468"/>
                  </a:lnTo>
                  <a:lnTo>
                    <a:pt x="757" y="1461"/>
                  </a:lnTo>
                  <a:lnTo>
                    <a:pt x="751" y="1453"/>
                  </a:lnTo>
                  <a:lnTo>
                    <a:pt x="745" y="1442"/>
                  </a:lnTo>
                  <a:lnTo>
                    <a:pt x="739" y="1430"/>
                  </a:lnTo>
                  <a:lnTo>
                    <a:pt x="733" y="1415"/>
                  </a:lnTo>
                  <a:lnTo>
                    <a:pt x="727" y="1398"/>
                  </a:lnTo>
                  <a:lnTo>
                    <a:pt x="724" y="1393"/>
                  </a:lnTo>
                  <a:lnTo>
                    <a:pt x="720" y="1389"/>
                  </a:lnTo>
                  <a:lnTo>
                    <a:pt x="713" y="1386"/>
                  </a:lnTo>
                  <a:lnTo>
                    <a:pt x="705" y="1383"/>
                  </a:lnTo>
                  <a:lnTo>
                    <a:pt x="687" y="1380"/>
                  </a:lnTo>
                  <a:lnTo>
                    <a:pt x="666" y="1377"/>
                  </a:lnTo>
                  <a:lnTo>
                    <a:pt x="643" y="1376"/>
                  </a:lnTo>
                  <a:lnTo>
                    <a:pt x="621" y="1374"/>
                  </a:lnTo>
                  <a:lnTo>
                    <a:pt x="610" y="1372"/>
                  </a:lnTo>
                  <a:lnTo>
                    <a:pt x="601" y="1370"/>
                  </a:lnTo>
                  <a:lnTo>
                    <a:pt x="593" y="1368"/>
                  </a:lnTo>
                  <a:lnTo>
                    <a:pt x="586" y="1365"/>
                  </a:lnTo>
                  <a:lnTo>
                    <a:pt x="579" y="1360"/>
                  </a:lnTo>
                  <a:lnTo>
                    <a:pt x="574" y="1353"/>
                  </a:lnTo>
                  <a:lnTo>
                    <a:pt x="570" y="1347"/>
                  </a:lnTo>
                  <a:lnTo>
                    <a:pt x="568" y="1341"/>
                  </a:lnTo>
                  <a:lnTo>
                    <a:pt x="566" y="1334"/>
                  </a:lnTo>
                  <a:lnTo>
                    <a:pt x="566" y="1325"/>
                  </a:lnTo>
                  <a:lnTo>
                    <a:pt x="566" y="1318"/>
                  </a:lnTo>
                  <a:lnTo>
                    <a:pt x="568" y="1310"/>
                  </a:lnTo>
                  <a:lnTo>
                    <a:pt x="570" y="1294"/>
                  </a:lnTo>
                  <a:lnTo>
                    <a:pt x="571" y="1277"/>
                  </a:lnTo>
                  <a:lnTo>
                    <a:pt x="571" y="1270"/>
                  </a:lnTo>
                  <a:lnTo>
                    <a:pt x="570" y="1263"/>
                  </a:lnTo>
                  <a:lnTo>
                    <a:pt x="566" y="1255"/>
                  </a:lnTo>
                  <a:lnTo>
                    <a:pt x="562" y="1249"/>
                  </a:lnTo>
                  <a:lnTo>
                    <a:pt x="558" y="1249"/>
                  </a:lnTo>
                  <a:lnTo>
                    <a:pt x="555" y="1250"/>
                  </a:lnTo>
                  <a:lnTo>
                    <a:pt x="552" y="1252"/>
                  </a:lnTo>
                  <a:lnTo>
                    <a:pt x="548" y="1254"/>
                  </a:lnTo>
                  <a:lnTo>
                    <a:pt x="541" y="1260"/>
                  </a:lnTo>
                  <a:lnTo>
                    <a:pt x="535" y="1266"/>
                  </a:lnTo>
                  <a:lnTo>
                    <a:pt x="528" y="1272"/>
                  </a:lnTo>
                  <a:lnTo>
                    <a:pt x="520" y="1278"/>
                  </a:lnTo>
                  <a:lnTo>
                    <a:pt x="515" y="1280"/>
                  </a:lnTo>
                  <a:lnTo>
                    <a:pt x="510" y="1283"/>
                  </a:lnTo>
                  <a:lnTo>
                    <a:pt x="505" y="1285"/>
                  </a:lnTo>
                  <a:lnTo>
                    <a:pt x="500" y="1286"/>
                  </a:lnTo>
                  <a:lnTo>
                    <a:pt x="496" y="1286"/>
                  </a:lnTo>
                  <a:lnTo>
                    <a:pt x="490" y="1286"/>
                  </a:lnTo>
                  <a:lnTo>
                    <a:pt x="486" y="1285"/>
                  </a:lnTo>
                  <a:lnTo>
                    <a:pt x="483" y="1284"/>
                  </a:lnTo>
                  <a:lnTo>
                    <a:pt x="476" y="1278"/>
                  </a:lnTo>
                  <a:lnTo>
                    <a:pt x="470" y="1272"/>
                  </a:lnTo>
                  <a:lnTo>
                    <a:pt x="460" y="1257"/>
                  </a:lnTo>
                  <a:lnTo>
                    <a:pt x="452" y="1241"/>
                  </a:lnTo>
                  <a:lnTo>
                    <a:pt x="448" y="1233"/>
                  </a:lnTo>
                  <a:lnTo>
                    <a:pt x="442" y="1227"/>
                  </a:lnTo>
                  <a:lnTo>
                    <a:pt x="438" y="1222"/>
                  </a:lnTo>
                  <a:lnTo>
                    <a:pt x="433" y="1218"/>
                  </a:lnTo>
                  <a:lnTo>
                    <a:pt x="430" y="1218"/>
                  </a:lnTo>
                  <a:lnTo>
                    <a:pt x="428" y="1217"/>
                  </a:lnTo>
                  <a:lnTo>
                    <a:pt x="425" y="1218"/>
                  </a:lnTo>
                  <a:lnTo>
                    <a:pt x="421" y="1219"/>
                  </a:lnTo>
                  <a:lnTo>
                    <a:pt x="413" y="1223"/>
                  </a:lnTo>
                  <a:lnTo>
                    <a:pt x="405" y="1231"/>
                  </a:lnTo>
                  <a:lnTo>
                    <a:pt x="388" y="1248"/>
                  </a:lnTo>
                  <a:lnTo>
                    <a:pt x="375" y="1262"/>
                  </a:lnTo>
                  <a:lnTo>
                    <a:pt x="362" y="1270"/>
                  </a:lnTo>
                  <a:lnTo>
                    <a:pt x="352" y="1276"/>
                  </a:lnTo>
                  <a:lnTo>
                    <a:pt x="346" y="1278"/>
                  </a:lnTo>
                  <a:lnTo>
                    <a:pt x="342" y="1279"/>
                  </a:lnTo>
                  <a:lnTo>
                    <a:pt x="338" y="1279"/>
                  </a:lnTo>
                  <a:lnTo>
                    <a:pt x="334" y="1279"/>
                  </a:lnTo>
                  <a:lnTo>
                    <a:pt x="326" y="1277"/>
                  </a:lnTo>
                  <a:lnTo>
                    <a:pt x="318" y="1274"/>
                  </a:lnTo>
                  <a:lnTo>
                    <a:pt x="304" y="1262"/>
                  </a:lnTo>
                  <a:lnTo>
                    <a:pt x="286" y="1244"/>
                  </a:lnTo>
                  <a:lnTo>
                    <a:pt x="277" y="1236"/>
                  </a:lnTo>
                  <a:lnTo>
                    <a:pt x="265" y="1226"/>
                  </a:lnTo>
                  <a:lnTo>
                    <a:pt x="252" y="1217"/>
                  </a:lnTo>
                  <a:lnTo>
                    <a:pt x="236" y="1208"/>
                  </a:lnTo>
                  <a:lnTo>
                    <a:pt x="45" y="1116"/>
                  </a:lnTo>
                  <a:lnTo>
                    <a:pt x="45" y="1116"/>
                  </a:lnTo>
                  <a:lnTo>
                    <a:pt x="56" y="1097"/>
                  </a:lnTo>
                  <a:lnTo>
                    <a:pt x="66" y="1080"/>
                  </a:lnTo>
                  <a:lnTo>
                    <a:pt x="70" y="1072"/>
                  </a:lnTo>
                  <a:lnTo>
                    <a:pt x="73" y="1063"/>
                  </a:lnTo>
                  <a:lnTo>
                    <a:pt x="76" y="1053"/>
                  </a:lnTo>
                  <a:lnTo>
                    <a:pt x="76" y="1042"/>
                  </a:lnTo>
                  <a:lnTo>
                    <a:pt x="62" y="1029"/>
                  </a:lnTo>
                  <a:lnTo>
                    <a:pt x="50" y="1019"/>
                  </a:lnTo>
                  <a:lnTo>
                    <a:pt x="46" y="1012"/>
                  </a:lnTo>
                  <a:lnTo>
                    <a:pt x="44" y="1006"/>
                  </a:lnTo>
                  <a:lnTo>
                    <a:pt x="44" y="997"/>
                  </a:lnTo>
                  <a:lnTo>
                    <a:pt x="45" y="984"/>
                  </a:lnTo>
                  <a:lnTo>
                    <a:pt x="50" y="972"/>
                  </a:lnTo>
                  <a:lnTo>
                    <a:pt x="58" y="955"/>
                  </a:lnTo>
                  <a:lnTo>
                    <a:pt x="61" y="946"/>
                  </a:lnTo>
                  <a:lnTo>
                    <a:pt x="63" y="938"/>
                  </a:lnTo>
                  <a:lnTo>
                    <a:pt x="64" y="934"/>
                  </a:lnTo>
                  <a:lnTo>
                    <a:pt x="64" y="931"/>
                  </a:lnTo>
                  <a:lnTo>
                    <a:pt x="63" y="928"/>
                  </a:lnTo>
                  <a:lnTo>
                    <a:pt x="62" y="926"/>
                  </a:lnTo>
                  <a:lnTo>
                    <a:pt x="55" y="918"/>
                  </a:lnTo>
                  <a:lnTo>
                    <a:pt x="44" y="910"/>
                  </a:lnTo>
                  <a:lnTo>
                    <a:pt x="33" y="902"/>
                  </a:lnTo>
                  <a:lnTo>
                    <a:pt x="21" y="893"/>
                  </a:lnTo>
                  <a:lnTo>
                    <a:pt x="16" y="888"/>
                  </a:lnTo>
                  <a:lnTo>
                    <a:pt x="11" y="884"/>
                  </a:lnTo>
                  <a:lnTo>
                    <a:pt x="7" y="879"/>
                  </a:lnTo>
                  <a:lnTo>
                    <a:pt x="3" y="874"/>
                  </a:lnTo>
                  <a:lnTo>
                    <a:pt x="1" y="868"/>
                  </a:lnTo>
                  <a:lnTo>
                    <a:pt x="0" y="863"/>
                  </a:lnTo>
                  <a:lnTo>
                    <a:pt x="1" y="857"/>
                  </a:lnTo>
                  <a:lnTo>
                    <a:pt x="3" y="851"/>
                  </a:lnTo>
                  <a:lnTo>
                    <a:pt x="11" y="840"/>
                  </a:lnTo>
                  <a:lnTo>
                    <a:pt x="19" y="829"/>
                  </a:lnTo>
                  <a:lnTo>
                    <a:pt x="23" y="822"/>
                  </a:lnTo>
                  <a:lnTo>
                    <a:pt x="26" y="817"/>
                  </a:lnTo>
                  <a:lnTo>
                    <a:pt x="30" y="811"/>
                  </a:lnTo>
                  <a:lnTo>
                    <a:pt x="32" y="805"/>
                  </a:lnTo>
                  <a:lnTo>
                    <a:pt x="36" y="785"/>
                  </a:lnTo>
                  <a:lnTo>
                    <a:pt x="37" y="764"/>
                  </a:lnTo>
                  <a:lnTo>
                    <a:pt x="38" y="743"/>
                  </a:lnTo>
                  <a:lnTo>
                    <a:pt x="40" y="722"/>
                  </a:lnTo>
                  <a:lnTo>
                    <a:pt x="40" y="714"/>
                  </a:lnTo>
                  <a:lnTo>
                    <a:pt x="41" y="707"/>
                  </a:lnTo>
                  <a:lnTo>
                    <a:pt x="43" y="699"/>
                  </a:lnTo>
                  <a:lnTo>
                    <a:pt x="45" y="692"/>
                  </a:lnTo>
                  <a:lnTo>
                    <a:pt x="47" y="686"/>
                  </a:lnTo>
                  <a:lnTo>
                    <a:pt x="50" y="681"/>
                  </a:lnTo>
                  <a:lnTo>
                    <a:pt x="55" y="675"/>
                  </a:lnTo>
                  <a:lnTo>
                    <a:pt x="59" y="670"/>
                  </a:lnTo>
                  <a:lnTo>
                    <a:pt x="68" y="662"/>
                  </a:lnTo>
                  <a:lnTo>
                    <a:pt x="80" y="654"/>
                  </a:lnTo>
                  <a:lnTo>
                    <a:pt x="92" y="648"/>
                  </a:lnTo>
                  <a:lnTo>
                    <a:pt x="106" y="643"/>
                  </a:lnTo>
                  <a:lnTo>
                    <a:pt x="119" y="640"/>
                  </a:lnTo>
                  <a:lnTo>
                    <a:pt x="134" y="637"/>
                  </a:lnTo>
                  <a:lnTo>
                    <a:pt x="148" y="635"/>
                  </a:lnTo>
                  <a:lnTo>
                    <a:pt x="163" y="634"/>
                  </a:lnTo>
                  <a:lnTo>
                    <a:pt x="190" y="633"/>
                  </a:lnTo>
                  <a:lnTo>
                    <a:pt x="214" y="632"/>
                  </a:lnTo>
                  <a:lnTo>
                    <a:pt x="214" y="632"/>
                  </a:lnTo>
                  <a:lnTo>
                    <a:pt x="216" y="637"/>
                  </a:lnTo>
                  <a:lnTo>
                    <a:pt x="218" y="641"/>
                  </a:lnTo>
                  <a:lnTo>
                    <a:pt x="220" y="644"/>
                  </a:lnTo>
                  <a:lnTo>
                    <a:pt x="223" y="645"/>
                  </a:lnTo>
                  <a:lnTo>
                    <a:pt x="229" y="646"/>
                  </a:lnTo>
                  <a:lnTo>
                    <a:pt x="233" y="646"/>
                  </a:lnTo>
                  <a:lnTo>
                    <a:pt x="237" y="646"/>
                  </a:lnTo>
                  <a:lnTo>
                    <a:pt x="241" y="645"/>
                  </a:lnTo>
                  <a:lnTo>
                    <a:pt x="251" y="641"/>
                  </a:lnTo>
                  <a:lnTo>
                    <a:pt x="259" y="636"/>
                  </a:lnTo>
                  <a:lnTo>
                    <a:pt x="277" y="621"/>
                  </a:lnTo>
                  <a:lnTo>
                    <a:pt x="293" y="604"/>
                  </a:lnTo>
                  <a:lnTo>
                    <a:pt x="302" y="597"/>
                  </a:lnTo>
                  <a:lnTo>
                    <a:pt x="310" y="590"/>
                  </a:lnTo>
                  <a:lnTo>
                    <a:pt x="317" y="584"/>
                  </a:lnTo>
                  <a:lnTo>
                    <a:pt x="326" y="579"/>
                  </a:lnTo>
                  <a:lnTo>
                    <a:pt x="329" y="578"/>
                  </a:lnTo>
                  <a:lnTo>
                    <a:pt x="332" y="577"/>
                  </a:lnTo>
                  <a:lnTo>
                    <a:pt x="336" y="576"/>
                  </a:lnTo>
                  <a:lnTo>
                    <a:pt x="339" y="577"/>
                  </a:lnTo>
                  <a:lnTo>
                    <a:pt x="342" y="578"/>
                  </a:lnTo>
                  <a:lnTo>
                    <a:pt x="345" y="579"/>
                  </a:lnTo>
                  <a:lnTo>
                    <a:pt x="350" y="581"/>
                  </a:lnTo>
                  <a:lnTo>
                    <a:pt x="352" y="586"/>
                  </a:lnTo>
                  <a:lnTo>
                    <a:pt x="358" y="595"/>
                  </a:lnTo>
                  <a:lnTo>
                    <a:pt x="363" y="607"/>
                  </a:lnTo>
                  <a:lnTo>
                    <a:pt x="365" y="613"/>
                  </a:lnTo>
                  <a:lnTo>
                    <a:pt x="368" y="618"/>
                  </a:lnTo>
                  <a:lnTo>
                    <a:pt x="371" y="622"/>
                  </a:lnTo>
                  <a:lnTo>
                    <a:pt x="375" y="624"/>
                  </a:lnTo>
                  <a:lnTo>
                    <a:pt x="379" y="625"/>
                  </a:lnTo>
                  <a:lnTo>
                    <a:pt x="384" y="626"/>
                  </a:lnTo>
                  <a:lnTo>
                    <a:pt x="387" y="625"/>
                  </a:lnTo>
                  <a:lnTo>
                    <a:pt x="390" y="625"/>
                  </a:lnTo>
                  <a:lnTo>
                    <a:pt x="392" y="623"/>
                  </a:lnTo>
                  <a:lnTo>
                    <a:pt x="393" y="621"/>
                  </a:lnTo>
                  <a:lnTo>
                    <a:pt x="394" y="618"/>
                  </a:lnTo>
                  <a:lnTo>
                    <a:pt x="395" y="615"/>
                  </a:lnTo>
                  <a:lnTo>
                    <a:pt x="395" y="607"/>
                  </a:lnTo>
                  <a:lnTo>
                    <a:pt x="394" y="596"/>
                  </a:lnTo>
                  <a:lnTo>
                    <a:pt x="393" y="585"/>
                  </a:lnTo>
                  <a:lnTo>
                    <a:pt x="391" y="573"/>
                  </a:lnTo>
                  <a:lnTo>
                    <a:pt x="389" y="561"/>
                  </a:lnTo>
                  <a:lnTo>
                    <a:pt x="389" y="548"/>
                  </a:lnTo>
                  <a:lnTo>
                    <a:pt x="389" y="537"/>
                  </a:lnTo>
                  <a:lnTo>
                    <a:pt x="390" y="525"/>
                  </a:lnTo>
                  <a:lnTo>
                    <a:pt x="392" y="520"/>
                  </a:lnTo>
                  <a:lnTo>
                    <a:pt x="394" y="515"/>
                  </a:lnTo>
                  <a:lnTo>
                    <a:pt x="397" y="511"/>
                  </a:lnTo>
                  <a:lnTo>
                    <a:pt x="400" y="506"/>
                  </a:lnTo>
                  <a:lnTo>
                    <a:pt x="404" y="503"/>
                  </a:lnTo>
                  <a:lnTo>
                    <a:pt x="409" y="500"/>
                  </a:lnTo>
                  <a:lnTo>
                    <a:pt x="414" y="498"/>
                  </a:lnTo>
                  <a:lnTo>
                    <a:pt x="421" y="496"/>
                  </a:lnTo>
                  <a:lnTo>
                    <a:pt x="426" y="496"/>
                  </a:lnTo>
                  <a:lnTo>
                    <a:pt x="429" y="498"/>
                  </a:lnTo>
                  <a:lnTo>
                    <a:pt x="432" y="500"/>
                  </a:lnTo>
                  <a:lnTo>
                    <a:pt x="433" y="504"/>
                  </a:lnTo>
                  <a:lnTo>
                    <a:pt x="436" y="515"/>
                  </a:lnTo>
                  <a:lnTo>
                    <a:pt x="438" y="526"/>
                  </a:lnTo>
                  <a:lnTo>
                    <a:pt x="439" y="531"/>
                  </a:lnTo>
                  <a:lnTo>
                    <a:pt x="440" y="537"/>
                  </a:lnTo>
                  <a:lnTo>
                    <a:pt x="443" y="542"/>
                  </a:lnTo>
                  <a:lnTo>
                    <a:pt x="447" y="546"/>
                  </a:lnTo>
                  <a:lnTo>
                    <a:pt x="450" y="548"/>
                  </a:lnTo>
                  <a:lnTo>
                    <a:pt x="455" y="550"/>
                  </a:lnTo>
                  <a:lnTo>
                    <a:pt x="462" y="550"/>
                  </a:lnTo>
                  <a:lnTo>
                    <a:pt x="470" y="548"/>
                  </a:lnTo>
                  <a:lnTo>
                    <a:pt x="483" y="544"/>
                  </a:lnTo>
                  <a:lnTo>
                    <a:pt x="496" y="539"/>
                  </a:lnTo>
                  <a:lnTo>
                    <a:pt x="508" y="535"/>
                  </a:lnTo>
                  <a:lnTo>
                    <a:pt x="520" y="529"/>
                  </a:lnTo>
                  <a:lnTo>
                    <a:pt x="530" y="522"/>
                  </a:lnTo>
                  <a:lnTo>
                    <a:pt x="540" y="514"/>
                  </a:lnTo>
                  <a:lnTo>
                    <a:pt x="545" y="509"/>
                  </a:lnTo>
                  <a:lnTo>
                    <a:pt x="549" y="504"/>
                  </a:lnTo>
                  <a:lnTo>
                    <a:pt x="553" y="498"/>
                  </a:lnTo>
                  <a:lnTo>
                    <a:pt x="556" y="491"/>
                  </a:lnTo>
                  <a:lnTo>
                    <a:pt x="560" y="493"/>
                  </a:lnTo>
                  <a:lnTo>
                    <a:pt x="564" y="496"/>
                  </a:lnTo>
                  <a:lnTo>
                    <a:pt x="569" y="500"/>
                  </a:lnTo>
                  <a:lnTo>
                    <a:pt x="573" y="506"/>
                  </a:lnTo>
                  <a:lnTo>
                    <a:pt x="583" y="520"/>
                  </a:lnTo>
                  <a:lnTo>
                    <a:pt x="595" y="532"/>
                  </a:lnTo>
                  <a:lnTo>
                    <a:pt x="601" y="539"/>
                  </a:lnTo>
                  <a:lnTo>
                    <a:pt x="607" y="543"/>
                  </a:lnTo>
                  <a:lnTo>
                    <a:pt x="611" y="544"/>
                  </a:lnTo>
                  <a:lnTo>
                    <a:pt x="614" y="545"/>
                  </a:lnTo>
                  <a:lnTo>
                    <a:pt x="619" y="545"/>
                  </a:lnTo>
                  <a:lnTo>
                    <a:pt x="622" y="545"/>
                  </a:lnTo>
                  <a:lnTo>
                    <a:pt x="626" y="545"/>
                  </a:lnTo>
                  <a:lnTo>
                    <a:pt x="630" y="543"/>
                  </a:lnTo>
                  <a:lnTo>
                    <a:pt x="634" y="541"/>
                  </a:lnTo>
                  <a:lnTo>
                    <a:pt x="638" y="539"/>
                  </a:lnTo>
                  <a:lnTo>
                    <a:pt x="643" y="535"/>
                  </a:lnTo>
                  <a:lnTo>
                    <a:pt x="647" y="530"/>
                  </a:lnTo>
                  <a:lnTo>
                    <a:pt x="651" y="524"/>
                  </a:lnTo>
                  <a:lnTo>
                    <a:pt x="656" y="518"/>
                  </a:lnTo>
                  <a:lnTo>
                    <a:pt x="658" y="513"/>
                  </a:lnTo>
                  <a:lnTo>
                    <a:pt x="660" y="508"/>
                  </a:lnTo>
                  <a:lnTo>
                    <a:pt x="660" y="504"/>
                  </a:lnTo>
                  <a:lnTo>
                    <a:pt x="659" y="501"/>
                  </a:lnTo>
                  <a:lnTo>
                    <a:pt x="656" y="493"/>
                  </a:lnTo>
                  <a:lnTo>
                    <a:pt x="651" y="487"/>
                  </a:lnTo>
                  <a:lnTo>
                    <a:pt x="645" y="479"/>
                  </a:lnTo>
                  <a:lnTo>
                    <a:pt x="638" y="473"/>
                  </a:lnTo>
                  <a:lnTo>
                    <a:pt x="633" y="467"/>
                  </a:lnTo>
                  <a:lnTo>
                    <a:pt x="629" y="459"/>
                  </a:lnTo>
                  <a:lnTo>
                    <a:pt x="629" y="455"/>
                  </a:lnTo>
                  <a:lnTo>
                    <a:pt x="630" y="450"/>
                  </a:lnTo>
                  <a:lnTo>
                    <a:pt x="632" y="447"/>
                  </a:lnTo>
                  <a:lnTo>
                    <a:pt x="636" y="443"/>
                  </a:lnTo>
                  <a:lnTo>
                    <a:pt x="646" y="435"/>
                  </a:lnTo>
                  <a:lnTo>
                    <a:pt x="658" y="429"/>
                  </a:lnTo>
                  <a:lnTo>
                    <a:pt x="684" y="420"/>
                  </a:lnTo>
                  <a:lnTo>
                    <a:pt x="704" y="413"/>
                  </a:lnTo>
                  <a:lnTo>
                    <a:pt x="713" y="413"/>
                  </a:lnTo>
                  <a:lnTo>
                    <a:pt x="721" y="413"/>
                  </a:lnTo>
                  <a:lnTo>
                    <a:pt x="728" y="415"/>
                  </a:lnTo>
                  <a:lnTo>
                    <a:pt x="735" y="417"/>
                  </a:lnTo>
                  <a:lnTo>
                    <a:pt x="741" y="419"/>
                  </a:lnTo>
                  <a:lnTo>
                    <a:pt x="746" y="422"/>
                  </a:lnTo>
                  <a:lnTo>
                    <a:pt x="751" y="426"/>
                  </a:lnTo>
                  <a:lnTo>
                    <a:pt x="754" y="430"/>
                  </a:lnTo>
                  <a:lnTo>
                    <a:pt x="761" y="441"/>
                  </a:lnTo>
                  <a:lnTo>
                    <a:pt x="767" y="451"/>
                  </a:lnTo>
                  <a:lnTo>
                    <a:pt x="771" y="464"/>
                  </a:lnTo>
                  <a:lnTo>
                    <a:pt x="774" y="476"/>
                  </a:lnTo>
                  <a:lnTo>
                    <a:pt x="778" y="489"/>
                  </a:lnTo>
                  <a:lnTo>
                    <a:pt x="781" y="500"/>
                  </a:lnTo>
                  <a:lnTo>
                    <a:pt x="786" y="512"/>
                  </a:lnTo>
                  <a:lnTo>
                    <a:pt x="793" y="521"/>
                  </a:lnTo>
                  <a:lnTo>
                    <a:pt x="796" y="525"/>
                  </a:lnTo>
                  <a:lnTo>
                    <a:pt x="800" y="528"/>
                  </a:lnTo>
                  <a:lnTo>
                    <a:pt x="805" y="531"/>
                  </a:lnTo>
                  <a:lnTo>
                    <a:pt x="810" y="535"/>
                  </a:lnTo>
                  <a:lnTo>
                    <a:pt x="817" y="536"/>
                  </a:lnTo>
                  <a:lnTo>
                    <a:pt x="823" y="537"/>
                  </a:lnTo>
                  <a:lnTo>
                    <a:pt x="831" y="537"/>
                  </a:lnTo>
                  <a:lnTo>
                    <a:pt x="840" y="537"/>
                  </a:lnTo>
                  <a:lnTo>
                    <a:pt x="842" y="529"/>
                  </a:lnTo>
                  <a:lnTo>
                    <a:pt x="843" y="521"/>
                  </a:lnTo>
                  <a:lnTo>
                    <a:pt x="844" y="513"/>
                  </a:lnTo>
                  <a:lnTo>
                    <a:pt x="843" y="503"/>
                  </a:lnTo>
                  <a:lnTo>
                    <a:pt x="841" y="482"/>
                  </a:lnTo>
                  <a:lnTo>
                    <a:pt x="838" y="461"/>
                  </a:lnTo>
                  <a:lnTo>
                    <a:pt x="833" y="440"/>
                  </a:lnTo>
                  <a:lnTo>
                    <a:pt x="831" y="418"/>
                  </a:lnTo>
                  <a:lnTo>
                    <a:pt x="831" y="407"/>
                  </a:lnTo>
                  <a:lnTo>
                    <a:pt x="831" y="397"/>
                  </a:lnTo>
                  <a:lnTo>
                    <a:pt x="832" y="387"/>
                  </a:lnTo>
                  <a:lnTo>
                    <a:pt x="835" y="378"/>
                  </a:lnTo>
                  <a:lnTo>
                    <a:pt x="837" y="376"/>
                  </a:lnTo>
                  <a:lnTo>
                    <a:pt x="839" y="374"/>
                  </a:lnTo>
                  <a:lnTo>
                    <a:pt x="841" y="372"/>
                  </a:lnTo>
                  <a:lnTo>
                    <a:pt x="843" y="370"/>
                  </a:lnTo>
                  <a:lnTo>
                    <a:pt x="849" y="368"/>
                  </a:lnTo>
                  <a:lnTo>
                    <a:pt x="857" y="367"/>
                  </a:lnTo>
                  <a:lnTo>
                    <a:pt x="876" y="366"/>
                  </a:lnTo>
                  <a:lnTo>
                    <a:pt x="898" y="367"/>
                  </a:lnTo>
                  <a:lnTo>
                    <a:pt x="920" y="368"/>
                  </a:lnTo>
                  <a:lnTo>
                    <a:pt x="942" y="367"/>
                  </a:lnTo>
                  <a:lnTo>
                    <a:pt x="951" y="366"/>
                  </a:lnTo>
                  <a:lnTo>
                    <a:pt x="960" y="362"/>
                  </a:lnTo>
                  <a:lnTo>
                    <a:pt x="967" y="358"/>
                  </a:lnTo>
                  <a:lnTo>
                    <a:pt x="972" y="353"/>
                  </a:lnTo>
                  <a:lnTo>
                    <a:pt x="975" y="348"/>
                  </a:lnTo>
                  <a:lnTo>
                    <a:pt x="978" y="342"/>
                  </a:lnTo>
                  <a:lnTo>
                    <a:pt x="979" y="335"/>
                  </a:lnTo>
                  <a:lnTo>
                    <a:pt x="980" y="328"/>
                  </a:lnTo>
                  <a:lnTo>
                    <a:pt x="982" y="313"/>
                  </a:lnTo>
                  <a:lnTo>
                    <a:pt x="984" y="298"/>
                  </a:lnTo>
                  <a:lnTo>
                    <a:pt x="984" y="290"/>
                  </a:lnTo>
                  <a:lnTo>
                    <a:pt x="986" y="284"/>
                  </a:lnTo>
                  <a:lnTo>
                    <a:pt x="987" y="278"/>
                  </a:lnTo>
                  <a:lnTo>
                    <a:pt x="989" y="272"/>
                  </a:lnTo>
                  <a:lnTo>
                    <a:pt x="993" y="267"/>
                  </a:lnTo>
                  <a:lnTo>
                    <a:pt x="997" y="264"/>
                  </a:lnTo>
                  <a:lnTo>
                    <a:pt x="1002" y="262"/>
                  </a:lnTo>
                  <a:lnTo>
                    <a:pt x="1009" y="261"/>
                  </a:lnTo>
                  <a:lnTo>
                    <a:pt x="1022" y="260"/>
                  </a:lnTo>
                  <a:lnTo>
                    <a:pt x="1037" y="258"/>
                  </a:lnTo>
                  <a:lnTo>
                    <a:pt x="1052" y="254"/>
                  </a:lnTo>
                  <a:lnTo>
                    <a:pt x="1067" y="249"/>
                  </a:lnTo>
                  <a:lnTo>
                    <a:pt x="1073" y="244"/>
                  </a:lnTo>
                  <a:lnTo>
                    <a:pt x="1079" y="240"/>
                  </a:lnTo>
                  <a:lnTo>
                    <a:pt x="1085" y="235"/>
                  </a:lnTo>
                  <a:lnTo>
                    <a:pt x="1090" y="230"/>
                  </a:lnTo>
                  <a:lnTo>
                    <a:pt x="1093" y="224"/>
                  </a:lnTo>
                  <a:lnTo>
                    <a:pt x="1095" y="217"/>
                  </a:lnTo>
                  <a:lnTo>
                    <a:pt x="1095" y="210"/>
                  </a:lnTo>
                  <a:lnTo>
                    <a:pt x="1095" y="202"/>
                  </a:lnTo>
                  <a:lnTo>
                    <a:pt x="1092" y="192"/>
                  </a:lnTo>
                  <a:lnTo>
                    <a:pt x="1087" y="184"/>
                  </a:lnTo>
                  <a:lnTo>
                    <a:pt x="1080" y="177"/>
                  </a:lnTo>
                  <a:lnTo>
                    <a:pt x="1074" y="170"/>
                  </a:lnTo>
                  <a:lnTo>
                    <a:pt x="1067" y="164"/>
                  </a:lnTo>
                  <a:lnTo>
                    <a:pt x="1061" y="158"/>
                  </a:lnTo>
                  <a:lnTo>
                    <a:pt x="1054" y="151"/>
                  </a:lnTo>
                  <a:lnTo>
                    <a:pt x="1050" y="143"/>
                  </a:lnTo>
                  <a:lnTo>
                    <a:pt x="1048" y="137"/>
                  </a:lnTo>
                  <a:lnTo>
                    <a:pt x="1047" y="130"/>
                  </a:lnTo>
                  <a:lnTo>
                    <a:pt x="1046" y="122"/>
                  </a:lnTo>
                  <a:lnTo>
                    <a:pt x="1045" y="113"/>
                  </a:lnTo>
                  <a:lnTo>
                    <a:pt x="1046" y="104"/>
                  </a:lnTo>
                  <a:lnTo>
                    <a:pt x="1046" y="94"/>
                  </a:lnTo>
                  <a:lnTo>
                    <a:pt x="1048" y="85"/>
                  </a:lnTo>
                  <a:lnTo>
                    <a:pt x="1050" y="75"/>
                  </a:lnTo>
                  <a:lnTo>
                    <a:pt x="1052" y="67"/>
                  </a:lnTo>
                  <a:lnTo>
                    <a:pt x="1055" y="59"/>
                  </a:lnTo>
                  <a:lnTo>
                    <a:pt x="1060" y="53"/>
                  </a:lnTo>
                  <a:lnTo>
                    <a:pt x="1064" y="47"/>
                  </a:lnTo>
                  <a:lnTo>
                    <a:pt x="1069" y="43"/>
                  </a:lnTo>
                  <a:lnTo>
                    <a:pt x="1075" y="42"/>
                  </a:lnTo>
                  <a:lnTo>
                    <a:pt x="1078" y="42"/>
                  </a:lnTo>
                  <a:lnTo>
                    <a:pt x="1082" y="43"/>
                  </a:lnTo>
                  <a:lnTo>
                    <a:pt x="1086" y="44"/>
                  </a:lnTo>
                  <a:lnTo>
                    <a:pt x="1089" y="46"/>
                  </a:lnTo>
                  <a:lnTo>
                    <a:pt x="1095" y="48"/>
                  </a:lnTo>
                  <a:lnTo>
                    <a:pt x="1102" y="50"/>
                  </a:lnTo>
                  <a:lnTo>
                    <a:pt x="1111" y="51"/>
                  </a:lnTo>
                  <a:lnTo>
                    <a:pt x="1119" y="53"/>
                  </a:lnTo>
                  <a:lnTo>
                    <a:pt x="1139" y="53"/>
                  </a:lnTo>
                  <a:lnTo>
                    <a:pt x="1159" y="53"/>
                  </a:lnTo>
                  <a:lnTo>
                    <a:pt x="1169" y="53"/>
                  </a:lnTo>
                  <a:lnTo>
                    <a:pt x="1179" y="53"/>
                  </a:lnTo>
                  <a:lnTo>
                    <a:pt x="1188" y="54"/>
                  </a:lnTo>
                  <a:lnTo>
                    <a:pt x="1196" y="56"/>
                  </a:lnTo>
                  <a:lnTo>
                    <a:pt x="1204" y="59"/>
                  </a:lnTo>
                  <a:lnTo>
                    <a:pt x="1210" y="63"/>
                  </a:lnTo>
                  <a:lnTo>
                    <a:pt x="1215" y="68"/>
                  </a:lnTo>
                  <a:lnTo>
                    <a:pt x="1219" y="74"/>
                  </a:lnTo>
                  <a:lnTo>
                    <a:pt x="1224" y="87"/>
                  </a:lnTo>
                  <a:lnTo>
                    <a:pt x="1231" y="98"/>
                  </a:lnTo>
                  <a:lnTo>
                    <a:pt x="1238" y="109"/>
                  </a:lnTo>
                  <a:lnTo>
                    <a:pt x="1244" y="117"/>
                  </a:lnTo>
                  <a:lnTo>
                    <a:pt x="1253" y="125"/>
                  </a:lnTo>
                  <a:lnTo>
                    <a:pt x="1260" y="131"/>
                  </a:lnTo>
                  <a:lnTo>
                    <a:pt x="1268" y="135"/>
                  </a:lnTo>
                  <a:lnTo>
                    <a:pt x="1277" y="137"/>
                  </a:lnTo>
                  <a:lnTo>
                    <a:pt x="1285" y="138"/>
                  </a:lnTo>
                  <a:lnTo>
                    <a:pt x="1293" y="136"/>
                  </a:lnTo>
                  <a:lnTo>
                    <a:pt x="1302" y="133"/>
                  </a:lnTo>
                  <a:lnTo>
                    <a:pt x="1310" y="129"/>
                  </a:lnTo>
                  <a:lnTo>
                    <a:pt x="1319" y="121"/>
                  </a:lnTo>
                  <a:lnTo>
                    <a:pt x="1327" y="112"/>
                  </a:lnTo>
                  <a:lnTo>
                    <a:pt x="1335" y="101"/>
                  </a:lnTo>
                  <a:lnTo>
                    <a:pt x="1342" y="87"/>
                  </a:lnTo>
                  <a:lnTo>
                    <a:pt x="1351" y="70"/>
                  </a:lnTo>
                  <a:lnTo>
                    <a:pt x="1359" y="55"/>
                  </a:lnTo>
                  <a:lnTo>
                    <a:pt x="1368" y="40"/>
                  </a:lnTo>
                  <a:lnTo>
                    <a:pt x="1378" y="26"/>
                  </a:lnTo>
                  <a:lnTo>
                    <a:pt x="1384" y="21"/>
                  </a:lnTo>
                  <a:lnTo>
                    <a:pt x="1390" y="16"/>
                  </a:lnTo>
                  <a:lnTo>
                    <a:pt x="1396" y="12"/>
                  </a:lnTo>
                  <a:lnTo>
                    <a:pt x="1404" y="8"/>
                  </a:lnTo>
                  <a:lnTo>
                    <a:pt x="1412" y="5"/>
                  </a:lnTo>
                  <a:lnTo>
                    <a:pt x="1421" y="2"/>
                  </a:lnTo>
                  <a:lnTo>
                    <a:pt x="1432" y="1"/>
                  </a:lnTo>
                  <a:lnTo>
                    <a:pt x="1443" y="0"/>
                  </a:lnTo>
                  <a:lnTo>
                    <a:pt x="1445" y="4"/>
                  </a:lnTo>
                  <a:lnTo>
                    <a:pt x="1448" y="7"/>
                  </a:lnTo>
                  <a:lnTo>
                    <a:pt x="1449" y="11"/>
                  </a:lnTo>
                  <a:lnTo>
                    <a:pt x="1450" y="15"/>
                  </a:lnTo>
                  <a:lnTo>
                    <a:pt x="1451" y="24"/>
                  </a:lnTo>
                  <a:lnTo>
                    <a:pt x="1450" y="36"/>
                  </a:lnTo>
                  <a:lnTo>
                    <a:pt x="1448" y="48"/>
                  </a:lnTo>
                  <a:lnTo>
                    <a:pt x="1445" y="61"/>
                  </a:lnTo>
                  <a:lnTo>
                    <a:pt x="1441" y="74"/>
                  </a:lnTo>
                  <a:lnTo>
                    <a:pt x="1436" y="88"/>
                  </a:lnTo>
                  <a:lnTo>
                    <a:pt x="1426" y="115"/>
                  </a:lnTo>
                  <a:lnTo>
                    <a:pt x="1414" y="140"/>
                  </a:lnTo>
                  <a:lnTo>
                    <a:pt x="1408" y="151"/>
                  </a:lnTo>
                  <a:lnTo>
                    <a:pt x="1402" y="159"/>
                  </a:lnTo>
                  <a:lnTo>
                    <a:pt x="1396" y="166"/>
                  </a:lnTo>
                  <a:lnTo>
                    <a:pt x="1392" y="171"/>
                  </a:lnTo>
                  <a:lnTo>
                    <a:pt x="1384" y="180"/>
                  </a:lnTo>
                  <a:lnTo>
                    <a:pt x="1376" y="188"/>
                  </a:lnTo>
                  <a:lnTo>
                    <a:pt x="1369" y="197"/>
                  </a:lnTo>
                  <a:lnTo>
                    <a:pt x="1363" y="205"/>
                  </a:lnTo>
                  <a:lnTo>
                    <a:pt x="1357" y="214"/>
                  </a:lnTo>
                  <a:lnTo>
                    <a:pt x="1353" y="223"/>
                  </a:lnTo>
                  <a:lnTo>
                    <a:pt x="1348" y="232"/>
                  </a:lnTo>
                  <a:lnTo>
                    <a:pt x="1346" y="241"/>
                  </a:lnTo>
                  <a:lnTo>
                    <a:pt x="1344" y="252"/>
                  </a:lnTo>
                  <a:lnTo>
                    <a:pt x="1343" y="261"/>
                  </a:lnTo>
                  <a:lnTo>
                    <a:pt x="1343" y="272"/>
                  </a:lnTo>
                  <a:lnTo>
                    <a:pt x="1344" y="282"/>
                  </a:lnTo>
                  <a:lnTo>
                    <a:pt x="1345" y="292"/>
                  </a:lnTo>
                  <a:lnTo>
                    <a:pt x="1348" y="303"/>
                  </a:lnTo>
                  <a:lnTo>
                    <a:pt x="1353" y="314"/>
                  </a:lnTo>
                  <a:lnTo>
                    <a:pt x="1358" y="325"/>
                  </a:lnTo>
                  <a:lnTo>
                    <a:pt x="1365" y="327"/>
                  </a:lnTo>
                  <a:lnTo>
                    <a:pt x="1371" y="327"/>
                  </a:lnTo>
                  <a:lnTo>
                    <a:pt x="1378" y="327"/>
                  </a:lnTo>
                  <a:lnTo>
                    <a:pt x="1384" y="326"/>
                  </a:lnTo>
                  <a:lnTo>
                    <a:pt x="1389" y="325"/>
                  </a:lnTo>
                  <a:lnTo>
                    <a:pt x="1394" y="324"/>
                  </a:lnTo>
                  <a:lnTo>
                    <a:pt x="1399" y="322"/>
                  </a:lnTo>
                  <a:lnTo>
                    <a:pt x="1403" y="319"/>
                  </a:lnTo>
                  <a:lnTo>
                    <a:pt x="1411" y="313"/>
                  </a:lnTo>
                  <a:lnTo>
                    <a:pt x="1417" y="305"/>
                  </a:lnTo>
                  <a:lnTo>
                    <a:pt x="1424" y="297"/>
                  </a:lnTo>
                  <a:lnTo>
                    <a:pt x="1430" y="287"/>
                  </a:lnTo>
                  <a:lnTo>
                    <a:pt x="1439" y="266"/>
                  </a:lnTo>
                  <a:lnTo>
                    <a:pt x="1450" y="244"/>
                  </a:lnTo>
                  <a:lnTo>
                    <a:pt x="1455" y="234"/>
                  </a:lnTo>
                  <a:lnTo>
                    <a:pt x="1461" y="224"/>
                  </a:lnTo>
                  <a:lnTo>
                    <a:pt x="1467" y="214"/>
                  </a:lnTo>
                  <a:lnTo>
                    <a:pt x="1476" y="206"/>
                  </a:lnTo>
                  <a:lnTo>
                    <a:pt x="1479" y="203"/>
                  </a:lnTo>
                  <a:lnTo>
                    <a:pt x="1483" y="201"/>
                  </a:lnTo>
                  <a:lnTo>
                    <a:pt x="1487" y="199"/>
                  </a:lnTo>
                  <a:lnTo>
                    <a:pt x="1491" y="198"/>
                  </a:lnTo>
                  <a:lnTo>
                    <a:pt x="1500" y="197"/>
                  </a:lnTo>
                  <a:lnTo>
                    <a:pt x="1509" y="198"/>
                  </a:lnTo>
                  <a:lnTo>
                    <a:pt x="1518" y="200"/>
                  </a:lnTo>
                  <a:lnTo>
                    <a:pt x="1528" y="203"/>
                  </a:lnTo>
                  <a:lnTo>
                    <a:pt x="1536" y="207"/>
                  </a:lnTo>
                  <a:lnTo>
                    <a:pt x="1546" y="211"/>
                  </a:lnTo>
                  <a:lnTo>
                    <a:pt x="1563" y="219"/>
                  </a:lnTo>
                  <a:lnTo>
                    <a:pt x="1579" y="225"/>
                  </a:lnTo>
                  <a:lnTo>
                    <a:pt x="1585" y="226"/>
                  </a:lnTo>
                  <a:lnTo>
                    <a:pt x="1591" y="226"/>
                  </a:lnTo>
                  <a:lnTo>
                    <a:pt x="1593" y="224"/>
                  </a:lnTo>
                  <a:lnTo>
                    <a:pt x="1597" y="223"/>
                  </a:lnTo>
                  <a:lnTo>
                    <a:pt x="1599" y="220"/>
                  </a:lnTo>
                  <a:lnTo>
                    <a:pt x="1600" y="217"/>
                  </a:lnTo>
                  <a:lnTo>
                    <a:pt x="1604" y="215"/>
                  </a:lnTo>
                  <a:lnTo>
                    <a:pt x="1607" y="211"/>
                  </a:lnTo>
                  <a:lnTo>
                    <a:pt x="1610" y="206"/>
                  </a:lnTo>
                  <a:lnTo>
                    <a:pt x="1612" y="199"/>
                  </a:lnTo>
                  <a:lnTo>
                    <a:pt x="1616" y="186"/>
                  </a:lnTo>
                  <a:lnTo>
                    <a:pt x="1620" y="177"/>
                  </a:lnTo>
                  <a:lnTo>
                    <a:pt x="1630" y="168"/>
                  </a:lnTo>
                  <a:lnTo>
                    <a:pt x="1637" y="162"/>
                  </a:lnTo>
                  <a:lnTo>
                    <a:pt x="1640" y="161"/>
                  </a:lnTo>
                  <a:lnTo>
                    <a:pt x="1644" y="160"/>
                  </a:lnTo>
                  <a:lnTo>
                    <a:pt x="1647" y="160"/>
                  </a:lnTo>
                  <a:lnTo>
                    <a:pt x="1649" y="161"/>
                  </a:lnTo>
                  <a:lnTo>
                    <a:pt x="1660" y="167"/>
                  </a:lnTo>
                  <a:lnTo>
                    <a:pt x="1675" y="179"/>
                  </a:lnTo>
                  <a:lnTo>
                    <a:pt x="1676" y="192"/>
                  </a:lnTo>
                  <a:lnTo>
                    <a:pt x="1679" y="203"/>
                  </a:lnTo>
                  <a:lnTo>
                    <a:pt x="1682" y="210"/>
                  </a:lnTo>
                  <a:lnTo>
                    <a:pt x="1685" y="215"/>
                  </a:lnTo>
                  <a:lnTo>
                    <a:pt x="1689" y="218"/>
                  </a:lnTo>
                  <a:lnTo>
                    <a:pt x="1695" y="219"/>
                  </a:lnTo>
                  <a:lnTo>
                    <a:pt x="1700" y="219"/>
                  </a:lnTo>
                  <a:lnTo>
                    <a:pt x="1705" y="217"/>
                  </a:lnTo>
                  <a:lnTo>
                    <a:pt x="1718" y="213"/>
                  </a:lnTo>
                  <a:lnTo>
                    <a:pt x="1731" y="207"/>
                  </a:lnTo>
                  <a:lnTo>
                    <a:pt x="1737" y="205"/>
                  </a:lnTo>
                  <a:lnTo>
                    <a:pt x="1745" y="203"/>
                  </a:lnTo>
                  <a:lnTo>
                    <a:pt x="1751" y="203"/>
                  </a:lnTo>
                  <a:lnTo>
                    <a:pt x="1757" y="204"/>
                  </a:lnTo>
                  <a:lnTo>
                    <a:pt x="1763" y="206"/>
                  </a:lnTo>
                  <a:lnTo>
                    <a:pt x="1769" y="209"/>
                  </a:lnTo>
                  <a:lnTo>
                    <a:pt x="1774" y="212"/>
                  </a:lnTo>
                  <a:lnTo>
                    <a:pt x="1777" y="216"/>
                  </a:lnTo>
                  <a:lnTo>
                    <a:pt x="1780" y="222"/>
                  </a:lnTo>
                  <a:lnTo>
                    <a:pt x="1782" y="227"/>
                  </a:lnTo>
                  <a:lnTo>
                    <a:pt x="1784" y="232"/>
                  </a:lnTo>
                  <a:lnTo>
                    <a:pt x="1784" y="237"/>
                  </a:lnTo>
                  <a:lnTo>
                    <a:pt x="1785" y="250"/>
                  </a:lnTo>
                  <a:lnTo>
                    <a:pt x="1784" y="261"/>
                  </a:lnTo>
                  <a:lnTo>
                    <a:pt x="1782" y="274"/>
                  </a:lnTo>
                  <a:lnTo>
                    <a:pt x="1779" y="284"/>
                  </a:lnTo>
                  <a:lnTo>
                    <a:pt x="1773" y="304"/>
                  </a:lnTo>
                  <a:lnTo>
                    <a:pt x="1768" y="324"/>
                  </a:lnTo>
                  <a:lnTo>
                    <a:pt x="1767" y="333"/>
                  </a:lnTo>
                  <a:lnTo>
                    <a:pt x="1767" y="343"/>
                  </a:lnTo>
                  <a:lnTo>
                    <a:pt x="1769" y="348"/>
                  </a:lnTo>
                  <a:lnTo>
                    <a:pt x="1770" y="353"/>
                  </a:lnTo>
                  <a:lnTo>
                    <a:pt x="1773" y="357"/>
                  </a:lnTo>
                  <a:lnTo>
                    <a:pt x="1776" y="362"/>
                  </a:lnTo>
                  <a:lnTo>
                    <a:pt x="1782" y="374"/>
                  </a:lnTo>
                  <a:lnTo>
                    <a:pt x="1786" y="383"/>
                  </a:lnTo>
                  <a:lnTo>
                    <a:pt x="1790" y="393"/>
                  </a:lnTo>
                  <a:lnTo>
                    <a:pt x="1790" y="402"/>
                  </a:lnTo>
                  <a:lnTo>
                    <a:pt x="1788" y="409"/>
                  </a:lnTo>
                  <a:lnTo>
                    <a:pt x="1786" y="417"/>
                  </a:lnTo>
                  <a:lnTo>
                    <a:pt x="1783" y="424"/>
                  </a:lnTo>
                  <a:lnTo>
                    <a:pt x="1778" y="431"/>
                  </a:lnTo>
                  <a:lnTo>
                    <a:pt x="1767" y="445"/>
                  </a:lnTo>
                  <a:lnTo>
                    <a:pt x="1754" y="459"/>
                  </a:lnTo>
                  <a:lnTo>
                    <a:pt x="1748" y="467"/>
                  </a:lnTo>
                  <a:lnTo>
                    <a:pt x="1740" y="474"/>
                  </a:lnTo>
                  <a:lnTo>
                    <a:pt x="1735" y="482"/>
                  </a:lnTo>
                  <a:lnTo>
                    <a:pt x="1730" y="492"/>
                  </a:lnTo>
                  <a:lnTo>
                    <a:pt x="1726" y="500"/>
                  </a:lnTo>
                  <a:lnTo>
                    <a:pt x="1725" y="507"/>
                  </a:lnTo>
                  <a:lnTo>
                    <a:pt x="1724" y="515"/>
                  </a:lnTo>
                  <a:lnTo>
                    <a:pt x="1726" y="521"/>
                  </a:lnTo>
                  <a:lnTo>
                    <a:pt x="1728" y="527"/>
                  </a:lnTo>
                  <a:lnTo>
                    <a:pt x="1731" y="533"/>
                  </a:lnTo>
                  <a:lnTo>
                    <a:pt x="1736" y="539"/>
                  </a:lnTo>
                  <a:lnTo>
                    <a:pt x="1742" y="544"/>
                  </a:lnTo>
                  <a:lnTo>
                    <a:pt x="1753" y="554"/>
                  </a:lnTo>
                  <a:lnTo>
                    <a:pt x="1767" y="563"/>
                  </a:lnTo>
                  <a:lnTo>
                    <a:pt x="1781" y="571"/>
                  </a:lnTo>
                  <a:lnTo>
                    <a:pt x="1794" y="578"/>
                  </a:lnTo>
                  <a:lnTo>
                    <a:pt x="1801" y="585"/>
                  </a:lnTo>
                  <a:lnTo>
                    <a:pt x="1807" y="593"/>
                  </a:lnTo>
                  <a:lnTo>
                    <a:pt x="1812" y="601"/>
                  </a:lnTo>
                  <a:lnTo>
                    <a:pt x="1816" y="612"/>
                  </a:lnTo>
                  <a:lnTo>
                    <a:pt x="1817" y="616"/>
                  </a:lnTo>
                  <a:lnTo>
                    <a:pt x="1817" y="620"/>
                  </a:lnTo>
                  <a:lnTo>
                    <a:pt x="1816" y="624"/>
                  </a:lnTo>
                  <a:lnTo>
                    <a:pt x="1813" y="628"/>
                  </a:lnTo>
                  <a:lnTo>
                    <a:pt x="1811" y="632"/>
                  </a:lnTo>
                  <a:lnTo>
                    <a:pt x="1807" y="635"/>
                  </a:lnTo>
                  <a:lnTo>
                    <a:pt x="1803" y="637"/>
                  </a:lnTo>
                  <a:lnTo>
                    <a:pt x="1797" y="638"/>
                  </a:lnTo>
                  <a:lnTo>
                    <a:pt x="1772" y="639"/>
                  </a:lnTo>
                  <a:lnTo>
                    <a:pt x="1738" y="639"/>
                  </a:lnTo>
                  <a:lnTo>
                    <a:pt x="1723" y="640"/>
                  </a:lnTo>
                  <a:lnTo>
                    <a:pt x="1708" y="643"/>
                  </a:lnTo>
                  <a:lnTo>
                    <a:pt x="1703" y="644"/>
                  </a:lnTo>
                  <a:lnTo>
                    <a:pt x="1699" y="647"/>
                  </a:lnTo>
                  <a:lnTo>
                    <a:pt x="1696" y="650"/>
                  </a:lnTo>
                  <a:lnTo>
                    <a:pt x="1694" y="653"/>
                  </a:lnTo>
                  <a:lnTo>
                    <a:pt x="1694" y="661"/>
                  </a:lnTo>
                  <a:lnTo>
                    <a:pt x="1695" y="667"/>
                  </a:lnTo>
                  <a:lnTo>
                    <a:pt x="1697" y="673"/>
                  </a:lnTo>
                  <a:lnTo>
                    <a:pt x="1700" y="678"/>
                  </a:lnTo>
                  <a:lnTo>
                    <a:pt x="1707" y="690"/>
                  </a:lnTo>
                  <a:lnTo>
                    <a:pt x="1714" y="701"/>
                  </a:lnTo>
                  <a:lnTo>
                    <a:pt x="1717" y="708"/>
                  </a:lnTo>
                  <a:lnTo>
                    <a:pt x="1718" y="714"/>
                  </a:lnTo>
                  <a:lnTo>
                    <a:pt x="1718" y="721"/>
                  </a:lnTo>
                  <a:lnTo>
                    <a:pt x="1718" y="729"/>
                  </a:lnTo>
                  <a:lnTo>
                    <a:pt x="1718" y="735"/>
                  </a:lnTo>
                  <a:lnTo>
                    <a:pt x="1719" y="742"/>
                  </a:lnTo>
                  <a:lnTo>
                    <a:pt x="1720" y="747"/>
                  </a:lnTo>
                  <a:lnTo>
                    <a:pt x="1723" y="754"/>
                  </a:lnTo>
                  <a:lnTo>
                    <a:pt x="1730" y="753"/>
                  </a:lnTo>
                  <a:lnTo>
                    <a:pt x="1735" y="750"/>
                  </a:lnTo>
                  <a:lnTo>
                    <a:pt x="1739" y="746"/>
                  </a:lnTo>
                  <a:lnTo>
                    <a:pt x="1745" y="742"/>
                  </a:lnTo>
                  <a:lnTo>
                    <a:pt x="1749" y="738"/>
                  </a:lnTo>
                  <a:lnTo>
                    <a:pt x="1753" y="734"/>
                  </a:lnTo>
                  <a:lnTo>
                    <a:pt x="1758" y="731"/>
                  </a:lnTo>
                  <a:lnTo>
                    <a:pt x="1764" y="729"/>
                  </a:lnTo>
                  <a:lnTo>
                    <a:pt x="1783" y="722"/>
                  </a:lnTo>
                  <a:lnTo>
                    <a:pt x="1804" y="717"/>
                  </a:lnTo>
                  <a:lnTo>
                    <a:pt x="1815" y="715"/>
                  </a:lnTo>
                  <a:lnTo>
                    <a:pt x="1824" y="713"/>
                  </a:lnTo>
                  <a:lnTo>
                    <a:pt x="1834" y="713"/>
                  </a:lnTo>
                  <a:lnTo>
                    <a:pt x="1843" y="713"/>
                  </a:lnTo>
                  <a:lnTo>
                    <a:pt x="1852" y="713"/>
                  </a:lnTo>
                  <a:lnTo>
                    <a:pt x="1859" y="715"/>
                  </a:lnTo>
                  <a:lnTo>
                    <a:pt x="1867" y="719"/>
                  </a:lnTo>
                  <a:lnTo>
                    <a:pt x="1873" y="723"/>
                  </a:lnTo>
                  <a:lnTo>
                    <a:pt x="1878" y="731"/>
                  </a:lnTo>
                  <a:lnTo>
                    <a:pt x="1881" y="738"/>
                  </a:lnTo>
                  <a:lnTo>
                    <a:pt x="1883" y="748"/>
                  </a:lnTo>
                  <a:lnTo>
                    <a:pt x="1884" y="761"/>
                  </a:lnTo>
                  <a:lnTo>
                    <a:pt x="1882" y="769"/>
                  </a:lnTo>
                  <a:lnTo>
                    <a:pt x="1882" y="776"/>
                  </a:lnTo>
                  <a:lnTo>
                    <a:pt x="1883" y="782"/>
                  </a:lnTo>
                  <a:lnTo>
                    <a:pt x="1885" y="788"/>
                  </a:lnTo>
                  <a:lnTo>
                    <a:pt x="1895" y="790"/>
                  </a:lnTo>
                  <a:lnTo>
                    <a:pt x="1904" y="790"/>
                  </a:lnTo>
                  <a:lnTo>
                    <a:pt x="1913" y="790"/>
                  </a:lnTo>
                  <a:lnTo>
                    <a:pt x="1922" y="789"/>
                  </a:lnTo>
                  <a:lnTo>
                    <a:pt x="1939" y="786"/>
                  </a:lnTo>
                  <a:lnTo>
                    <a:pt x="1953" y="785"/>
                  </a:lnTo>
                  <a:lnTo>
                    <a:pt x="1959" y="785"/>
                  </a:lnTo>
                  <a:lnTo>
                    <a:pt x="1965" y="787"/>
                  </a:lnTo>
                  <a:lnTo>
                    <a:pt x="1969" y="790"/>
                  </a:lnTo>
                  <a:lnTo>
                    <a:pt x="1972" y="795"/>
                  </a:lnTo>
                  <a:lnTo>
                    <a:pt x="1973" y="802"/>
                  </a:lnTo>
                  <a:lnTo>
                    <a:pt x="1973" y="811"/>
                  </a:lnTo>
                  <a:lnTo>
                    <a:pt x="1972" y="823"/>
                  </a:lnTo>
                  <a:lnTo>
                    <a:pt x="1969" y="838"/>
                  </a:lnTo>
                  <a:lnTo>
                    <a:pt x="1967" y="844"/>
                  </a:lnTo>
                  <a:lnTo>
                    <a:pt x="1964" y="851"/>
                  </a:lnTo>
                  <a:lnTo>
                    <a:pt x="1960" y="857"/>
                  </a:lnTo>
                  <a:lnTo>
                    <a:pt x="1956" y="862"/>
                  </a:lnTo>
                  <a:lnTo>
                    <a:pt x="1947" y="871"/>
                  </a:lnTo>
                  <a:lnTo>
                    <a:pt x="1938" y="882"/>
                  </a:lnTo>
                  <a:lnTo>
                    <a:pt x="1933" y="886"/>
                  </a:lnTo>
                  <a:lnTo>
                    <a:pt x="1929" y="891"/>
                  </a:lnTo>
                  <a:lnTo>
                    <a:pt x="1925" y="897"/>
                  </a:lnTo>
                  <a:lnTo>
                    <a:pt x="1923" y="902"/>
                  </a:lnTo>
                  <a:lnTo>
                    <a:pt x="1921" y="908"/>
                  </a:lnTo>
                  <a:lnTo>
                    <a:pt x="1921" y="914"/>
                  </a:lnTo>
                  <a:lnTo>
                    <a:pt x="1921" y="922"/>
                  </a:lnTo>
                  <a:lnTo>
                    <a:pt x="1923" y="929"/>
                  </a:lnTo>
                  <a:lnTo>
                    <a:pt x="1926" y="936"/>
                  </a:lnTo>
                  <a:lnTo>
                    <a:pt x="1930" y="941"/>
                  </a:lnTo>
                  <a:lnTo>
                    <a:pt x="1934" y="947"/>
                  </a:lnTo>
                  <a:lnTo>
                    <a:pt x="1939" y="950"/>
                  </a:lnTo>
                  <a:lnTo>
                    <a:pt x="1944" y="952"/>
                  </a:lnTo>
                  <a:lnTo>
                    <a:pt x="1949" y="952"/>
                  </a:lnTo>
                  <a:lnTo>
                    <a:pt x="1954" y="952"/>
                  </a:lnTo>
                  <a:lnTo>
                    <a:pt x="1960" y="951"/>
                  </a:lnTo>
                  <a:lnTo>
                    <a:pt x="1966" y="949"/>
                  </a:lnTo>
                  <a:lnTo>
                    <a:pt x="1971" y="947"/>
                  </a:lnTo>
                  <a:lnTo>
                    <a:pt x="1976" y="943"/>
                  </a:lnTo>
                  <a:lnTo>
                    <a:pt x="1981" y="939"/>
                  </a:lnTo>
                  <a:lnTo>
                    <a:pt x="1991" y="931"/>
                  </a:lnTo>
                  <a:lnTo>
                    <a:pt x="1998" y="921"/>
                  </a:lnTo>
                  <a:lnTo>
                    <a:pt x="2003" y="914"/>
                  </a:lnTo>
                  <a:lnTo>
                    <a:pt x="2008" y="909"/>
                  </a:lnTo>
                  <a:lnTo>
                    <a:pt x="2015" y="904"/>
                  </a:lnTo>
                  <a:lnTo>
                    <a:pt x="2021" y="900"/>
                  </a:lnTo>
                  <a:lnTo>
                    <a:pt x="2028" y="895"/>
                  </a:lnTo>
                  <a:lnTo>
                    <a:pt x="2037" y="892"/>
                  </a:lnTo>
                  <a:lnTo>
                    <a:pt x="2045" y="890"/>
                  </a:lnTo>
                  <a:lnTo>
                    <a:pt x="2053" y="888"/>
                  </a:lnTo>
                  <a:lnTo>
                    <a:pt x="2071" y="885"/>
                  </a:lnTo>
                  <a:lnTo>
                    <a:pt x="2090" y="883"/>
                  </a:lnTo>
                  <a:lnTo>
                    <a:pt x="2110" y="883"/>
                  </a:lnTo>
                  <a:lnTo>
                    <a:pt x="2129" y="883"/>
                  </a:lnTo>
                  <a:lnTo>
                    <a:pt x="2129" y="883"/>
                  </a:lnTo>
                  <a:lnTo>
                    <a:pt x="2128" y="891"/>
                  </a:lnTo>
                  <a:lnTo>
                    <a:pt x="2127" y="900"/>
                  </a:lnTo>
                  <a:lnTo>
                    <a:pt x="2125" y="908"/>
                  </a:lnTo>
                  <a:lnTo>
                    <a:pt x="2123" y="916"/>
                  </a:lnTo>
                  <a:lnTo>
                    <a:pt x="2117" y="931"/>
                  </a:lnTo>
                  <a:lnTo>
                    <a:pt x="2110" y="943"/>
                  </a:lnTo>
                  <a:lnTo>
                    <a:pt x="2100" y="956"/>
                  </a:lnTo>
                  <a:lnTo>
                    <a:pt x="2090" y="967"/>
                  </a:lnTo>
                  <a:lnTo>
                    <a:pt x="2078" y="978"/>
                  </a:lnTo>
                  <a:lnTo>
                    <a:pt x="2067" y="987"/>
                  </a:lnTo>
                  <a:lnTo>
                    <a:pt x="2041" y="1005"/>
                  </a:lnTo>
                  <a:lnTo>
                    <a:pt x="2016" y="1022"/>
                  </a:lnTo>
                  <a:lnTo>
                    <a:pt x="2003" y="1029"/>
                  </a:lnTo>
                  <a:lnTo>
                    <a:pt x="1992" y="1037"/>
                  </a:lnTo>
                  <a:lnTo>
                    <a:pt x="1981" y="1045"/>
                  </a:lnTo>
                  <a:lnTo>
                    <a:pt x="1972" y="1053"/>
                  </a:lnTo>
                  <a:lnTo>
                    <a:pt x="1959" y="1064"/>
                  </a:lnTo>
                  <a:lnTo>
                    <a:pt x="1945" y="1075"/>
                  </a:lnTo>
                  <a:lnTo>
                    <a:pt x="1930" y="1085"/>
                  </a:lnTo>
                  <a:lnTo>
                    <a:pt x="1916" y="1095"/>
                  </a:lnTo>
                  <a:lnTo>
                    <a:pt x="1884" y="1115"/>
                  </a:lnTo>
                  <a:lnTo>
                    <a:pt x="1854" y="1135"/>
                  </a:lnTo>
                  <a:lnTo>
                    <a:pt x="1840" y="1146"/>
                  </a:lnTo>
                  <a:lnTo>
                    <a:pt x="1826" y="1157"/>
                  </a:lnTo>
                  <a:lnTo>
                    <a:pt x="1815" y="1170"/>
                  </a:lnTo>
                  <a:lnTo>
                    <a:pt x="1804" y="1183"/>
                  </a:lnTo>
                  <a:lnTo>
                    <a:pt x="1800" y="1190"/>
                  </a:lnTo>
                  <a:lnTo>
                    <a:pt x="1796" y="1197"/>
                  </a:lnTo>
                  <a:lnTo>
                    <a:pt x="1793" y="1205"/>
                  </a:lnTo>
                  <a:lnTo>
                    <a:pt x="1790" y="1213"/>
                  </a:lnTo>
                  <a:lnTo>
                    <a:pt x="1787" y="1221"/>
                  </a:lnTo>
                  <a:lnTo>
                    <a:pt x="1785" y="1229"/>
                  </a:lnTo>
                  <a:lnTo>
                    <a:pt x="1784" y="1239"/>
                  </a:lnTo>
                  <a:lnTo>
                    <a:pt x="1784" y="1248"/>
                  </a:lnTo>
                  <a:lnTo>
                    <a:pt x="1784" y="1269"/>
                  </a:lnTo>
                  <a:lnTo>
                    <a:pt x="1783" y="1290"/>
                  </a:lnTo>
                  <a:lnTo>
                    <a:pt x="1781" y="1312"/>
                  </a:lnTo>
                  <a:lnTo>
                    <a:pt x="1778" y="1334"/>
                  </a:lnTo>
                  <a:lnTo>
                    <a:pt x="1775" y="1344"/>
                  </a:lnTo>
                  <a:lnTo>
                    <a:pt x="1773" y="1355"/>
                  </a:lnTo>
                  <a:lnTo>
                    <a:pt x="1769" y="1364"/>
                  </a:lnTo>
                  <a:lnTo>
                    <a:pt x="1764" y="1373"/>
                  </a:lnTo>
                  <a:lnTo>
                    <a:pt x="1759" y="1383"/>
                  </a:lnTo>
                  <a:lnTo>
                    <a:pt x="1754" y="1391"/>
                  </a:lnTo>
                  <a:lnTo>
                    <a:pt x="1747" y="1398"/>
                  </a:lnTo>
                  <a:lnTo>
                    <a:pt x="1739" y="1405"/>
                  </a:lnTo>
                  <a:lnTo>
                    <a:pt x="1731" y="1413"/>
                  </a:lnTo>
                  <a:lnTo>
                    <a:pt x="1722" y="1422"/>
                  </a:lnTo>
                  <a:lnTo>
                    <a:pt x="1713" y="1432"/>
                  </a:lnTo>
                  <a:lnTo>
                    <a:pt x="1705" y="1443"/>
                  </a:lnTo>
                  <a:lnTo>
                    <a:pt x="1689" y="1468"/>
                  </a:lnTo>
                  <a:lnTo>
                    <a:pt x="1675" y="1494"/>
                  </a:lnTo>
                  <a:lnTo>
                    <a:pt x="1661" y="1522"/>
                  </a:lnTo>
                  <a:lnTo>
                    <a:pt x="1650" y="1550"/>
                  </a:lnTo>
                  <a:lnTo>
                    <a:pt x="1638" y="1575"/>
                  </a:lnTo>
                  <a:lnTo>
                    <a:pt x="1629" y="1598"/>
                  </a:lnTo>
                  <a:lnTo>
                    <a:pt x="1626" y="1604"/>
                  </a:lnTo>
                  <a:lnTo>
                    <a:pt x="1622" y="1609"/>
                  </a:lnTo>
                  <a:lnTo>
                    <a:pt x="1617" y="1614"/>
                  </a:lnTo>
                  <a:lnTo>
                    <a:pt x="1612" y="1618"/>
                  </a:lnTo>
                  <a:lnTo>
                    <a:pt x="1606" y="1623"/>
                  </a:lnTo>
                  <a:lnTo>
                    <a:pt x="1600" y="1626"/>
                  </a:lnTo>
                  <a:lnTo>
                    <a:pt x="1593" y="1628"/>
                  </a:lnTo>
                  <a:lnTo>
                    <a:pt x="1586" y="1630"/>
                  </a:lnTo>
                  <a:lnTo>
                    <a:pt x="1571" y="1633"/>
                  </a:lnTo>
                  <a:lnTo>
                    <a:pt x="1555" y="1635"/>
                  </a:lnTo>
                  <a:lnTo>
                    <a:pt x="1537" y="1636"/>
                  </a:lnTo>
                  <a:lnTo>
                    <a:pt x="1519" y="1635"/>
                  </a:lnTo>
                  <a:lnTo>
                    <a:pt x="1483" y="1633"/>
                  </a:lnTo>
                  <a:lnTo>
                    <a:pt x="1446" y="1631"/>
                  </a:lnTo>
                  <a:lnTo>
                    <a:pt x="1430" y="1631"/>
                  </a:lnTo>
                  <a:lnTo>
                    <a:pt x="1414" y="1631"/>
                  </a:lnTo>
                  <a:lnTo>
                    <a:pt x="1400" y="1632"/>
                  </a:lnTo>
                  <a:lnTo>
                    <a:pt x="1387" y="1635"/>
                  </a:lnTo>
                  <a:lnTo>
                    <a:pt x="1362" y="1640"/>
                  </a:lnTo>
                  <a:lnTo>
                    <a:pt x="1334" y="1647"/>
                  </a:lnTo>
                  <a:lnTo>
                    <a:pt x="1303" y="1651"/>
                  </a:lnTo>
                  <a:lnTo>
                    <a:pt x="1270" y="1655"/>
                  </a:lnTo>
                  <a:lnTo>
                    <a:pt x="1237" y="1657"/>
                  </a:lnTo>
                  <a:lnTo>
                    <a:pt x="1206" y="1658"/>
                  </a:lnTo>
                  <a:lnTo>
                    <a:pt x="1191" y="1658"/>
                  </a:lnTo>
                  <a:lnTo>
                    <a:pt x="1176" y="1658"/>
                  </a:lnTo>
                  <a:lnTo>
                    <a:pt x="1164" y="1656"/>
                  </a:lnTo>
                  <a:lnTo>
                    <a:pt x="1151" y="1655"/>
                  </a:lnTo>
                  <a:lnTo>
                    <a:pt x="1078" y="1741"/>
                  </a:lnTo>
                  <a:lnTo>
                    <a:pt x="1078" y="1741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3" name="Freeform 170">
              <a:extLst>
                <a:ext uri="{FF2B5EF4-FFF2-40B4-BE49-F238E27FC236}">
                  <a16:creationId xmlns:a16="http://schemas.microsoft.com/office/drawing/2014/main" id="{8F634FD4-BDCF-494A-874A-EE71B3DCF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3773" y="5076357"/>
              <a:ext cx="535091" cy="422569"/>
            </a:xfrm>
            <a:custGeom>
              <a:avLst/>
              <a:gdLst>
                <a:gd name="T0" fmla="*/ 1006 w 2129"/>
                <a:gd name="T1" fmla="*/ 1625 h 1741"/>
                <a:gd name="T2" fmla="*/ 1047 w 2129"/>
                <a:gd name="T3" fmla="*/ 1527 h 1741"/>
                <a:gd name="T4" fmla="*/ 924 w 2129"/>
                <a:gd name="T5" fmla="*/ 1436 h 1741"/>
                <a:gd name="T6" fmla="*/ 783 w 2129"/>
                <a:gd name="T7" fmla="*/ 1481 h 1741"/>
                <a:gd name="T8" fmla="*/ 705 w 2129"/>
                <a:gd name="T9" fmla="*/ 1383 h 1741"/>
                <a:gd name="T10" fmla="*/ 566 w 2129"/>
                <a:gd name="T11" fmla="*/ 1334 h 1741"/>
                <a:gd name="T12" fmla="*/ 548 w 2129"/>
                <a:gd name="T13" fmla="*/ 1254 h 1741"/>
                <a:gd name="T14" fmla="*/ 476 w 2129"/>
                <a:gd name="T15" fmla="*/ 1278 h 1741"/>
                <a:gd name="T16" fmla="*/ 405 w 2129"/>
                <a:gd name="T17" fmla="*/ 1231 h 1741"/>
                <a:gd name="T18" fmla="*/ 277 w 2129"/>
                <a:gd name="T19" fmla="*/ 1236 h 1741"/>
                <a:gd name="T20" fmla="*/ 50 w 2129"/>
                <a:gd name="T21" fmla="*/ 1019 h 1741"/>
                <a:gd name="T22" fmla="*/ 55 w 2129"/>
                <a:gd name="T23" fmla="*/ 918 h 1741"/>
                <a:gd name="T24" fmla="*/ 19 w 2129"/>
                <a:gd name="T25" fmla="*/ 829 h 1741"/>
                <a:gd name="T26" fmla="*/ 47 w 2129"/>
                <a:gd name="T27" fmla="*/ 686 h 1741"/>
                <a:gd name="T28" fmla="*/ 214 w 2129"/>
                <a:gd name="T29" fmla="*/ 632 h 1741"/>
                <a:gd name="T30" fmla="*/ 293 w 2129"/>
                <a:gd name="T31" fmla="*/ 604 h 1741"/>
                <a:gd name="T32" fmla="*/ 358 w 2129"/>
                <a:gd name="T33" fmla="*/ 595 h 1741"/>
                <a:gd name="T34" fmla="*/ 395 w 2129"/>
                <a:gd name="T35" fmla="*/ 615 h 1741"/>
                <a:gd name="T36" fmla="*/ 404 w 2129"/>
                <a:gd name="T37" fmla="*/ 503 h 1741"/>
                <a:gd name="T38" fmla="*/ 447 w 2129"/>
                <a:gd name="T39" fmla="*/ 546 h 1741"/>
                <a:gd name="T40" fmla="*/ 553 w 2129"/>
                <a:gd name="T41" fmla="*/ 498 h 1741"/>
                <a:gd name="T42" fmla="*/ 622 w 2129"/>
                <a:gd name="T43" fmla="*/ 545 h 1741"/>
                <a:gd name="T44" fmla="*/ 656 w 2129"/>
                <a:gd name="T45" fmla="*/ 493 h 1741"/>
                <a:gd name="T46" fmla="*/ 704 w 2129"/>
                <a:gd name="T47" fmla="*/ 413 h 1741"/>
                <a:gd name="T48" fmla="*/ 778 w 2129"/>
                <a:gd name="T49" fmla="*/ 489 h 1741"/>
                <a:gd name="T50" fmla="*/ 843 w 2129"/>
                <a:gd name="T51" fmla="*/ 521 h 1741"/>
                <a:gd name="T52" fmla="*/ 841 w 2129"/>
                <a:gd name="T53" fmla="*/ 372 h 1741"/>
                <a:gd name="T54" fmla="*/ 978 w 2129"/>
                <a:gd name="T55" fmla="*/ 342 h 1741"/>
                <a:gd name="T56" fmla="*/ 1022 w 2129"/>
                <a:gd name="T57" fmla="*/ 260 h 1741"/>
                <a:gd name="T58" fmla="*/ 1087 w 2129"/>
                <a:gd name="T59" fmla="*/ 184 h 1741"/>
                <a:gd name="T60" fmla="*/ 1048 w 2129"/>
                <a:gd name="T61" fmla="*/ 85 h 1741"/>
                <a:gd name="T62" fmla="*/ 1102 w 2129"/>
                <a:gd name="T63" fmla="*/ 50 h 1741"/>
                <a:gd name="T64" fmla="*/ 1224 w 2129"/>
                <a:gd name="T65" fmla="*/ 87 h 1741"/>
                <a:gd name="T66" fmla="*/ 1327 w 2129"/>
                <a:gd name="T67" fmla="*/ 112 h 1741"/>
                <a:gd name="T68" fmla="*/ 1432 w 2129"/>
                <a:gd name="T69" fmla="*/ 1 h 1741"/>
                <a:gd name="T70" fmla="*/ 1414 w 2129"/>
                <a:gd name="T71" fmla="*/ 140 h 1741"/>
                <a:gd name="T72" fmla="*/ 1344 w 2129"/>
                <a:gd name="T73" fmla="*/ 252 h 1741"/>
                <a:gd name="T74" fmla="*/ 1394 w 2129"/>
                <a:gd name="T75" fmla="*/ 324 h 1741"/>
                <a:gd name="T76" fmla="*/ 1479 w 2129"/>
                <a:gd name="T77" fmla="*/ 203 h 1741"/>
                <a:gd name="T78" fmla="*/ 1591 w 2129"/>
                <a:gd name="T79" fmla="*/ 226 h 1741"/>
                <a:gd name="T80" fmla="*/ 1640 w 2129"/>
                <a:gd name="T81" fmla="*/ 161 h 1741"/>
                <a:gd name="T82" fmla="*/ 1705 w 2129"/>
                <a:gd name="T83" fmla="*/ 217 h 1741"/>
                <a:gd name="T84" fmla="*/ 1784 w 2129"/>
                <a:gd name="T85" fmla="*/ 232 h 1741"/>
                <a:gd name="T86" fmla="*/ 1776 w 2129"/>
                <a:gd name="T87" fmla="*/ 362 h 1741"/>
                <a:gd name="T88" fmla="*/ 1735 w 2129"/>
                <a:gd name="T89" fmla="*/ 482 h 1741"/>
                <a:gd name="T90" fmla="*/ 1794 w 2129"/>
                <a:gd name="T91" fmla="*/ 578 h 1741"/>
                <a:gd name="T92" fmla="*/ 1772 w 2129"/>
                <a:gd name="T93" fmla="*/ 639 h 1741"/>
                <a:gd name="T94" fmla="*/ 1714 w 2129"/>
                <a:gd name="T95" fmla="*/ 701 h 1741"/>
                <a:gd name="T96" fmla="*/ 1749 w 2129"/>
                <a:gd name="T97" fmla="*/ 738 h 1741"/>
                <a:gd name="T98" fmla="*/ 1873 w 2129"/>
                <a:gd name="T99" fmla="*/ 723 h 1741"/>
                <a:gd name="T100" fmla="*/ 1939 w 2129"/>
                <a:gd name="T101" fmla="*/ 786 h 1741"/>
                <a:gd name="T102" fmla="*/ 1956 w 2129"/>
                <a:gd name="T103" fmla="*/ 862 h 1741"/>
                <a:gd name="T104" fmla="*/ 1934 w 2129"/>
                <a:gd name="T105" fmla="*/ 947 h 1741"/>
                <a:gd name="T106" fmla="*/ 2008 w 2129"/>
                <a:gd name="T107" fmla="*/ 909 h 1741"/>
                <a:gd name="T108" fmla="*/ 2127 w 2129"/>
                <a:gd name="T109" fmla="*/ 900 h 1741"/>
                <a:gd name="T110" fmla="*/ 1981 w 2129"/>
                <a:gd name="T111" fmla="*/ 1045 h 1741"/>
                <a:gd name="T112" fmla="*/ 1796 w 2129"/>
                <a:gd name="T113" fmla="*/ 1197 h 1741"/>
                <a:gd name="T114" fmla="*/ 1769 w 2129"/>
                <a:gd name="T115" fmla="*/ 1364 h 1741"/>
                <a:gd name="T116" fmla="*/ 1650 w 2129"/>
                <a:gd name="T117" fmla="*/ 1550 h 1741"/>
                <a:gd name="T118" fmla="*/ 1537 w 2129"/>
                <a:gd name="T119" fmla="*/ 1636 h 1741"/>
                <a:gd name="T120" fmla="*/ 1206 w 2129"/>
                <a:gd name="T121" fmla="*/ 1658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29" h="1741">
                  <a:moveTo>
                    <a:pt x="1078" y="1741"/>
                  </a:moveTo>
                  <a:lnTo>
                    <a:pt x="1066" y="1728"/>
                  </a:lnTo>
                  <a:lnTo>
                    <a:pt x="1055" y="1715"/>
                  </a:lnTo>
                  <a:lnTo>
                    <a:pt x="1046" y="1705"/>
                  </a:lnTo>
                  <a:lnTo>
                    <a:pt x="1040" y="1697"/>
                  </a:lnTo>
                  <a:lnTo>
                    <a:pt x="1024" y="1677"/>
                  </a:lnTo>
                  <a:lnTo>
                    <a:pt x="1013" y="1661"/>
                  </a:lnTo>
                  <a:lnTo>
                    <a:pt x="1009" y="1654"/>
                  </a:lnTo>
                  <a:lnTo>
                    <a:pt x="1006" y="1649"/>
                  </a:lnTo>
                  <a:lnTo>
                    <a:pt x="1004" y="1642"/>
                  </a:lnTo>
                  <a:lnTo>
                    <a:pt x="1004" y="1637"/>
                  </a:lnTo>
                  <a:lnTo>
                    <a:pt x="1004" y="1631"/>
                  </a:lnTo>
                  <a:lnTo>
                    <a:pt x="1006" y="1625"/>
                  </a:lnTo>
                  <a:lnTo>
                    <a:pt x="1009" y="1618"/>
                  </a:lnTo>
                  <a:lnTo>
                    <a:pt x="1012" y="1611"/>
                  </a:lnTo>
                  <a:lnTo>
                    <a:pt x="1021" y="1593"/>
                  </a:lnTo>
                  <a:lnTo>
                    <a:pt x="1033" y="1572"/>
                  </a:lnTo>
                  <a:lnTo>
                    <a:pt x="1038" y="1567"/>
                  </a:lnTo>
                  <a:lnTo>
                    <a:pt x="1042" y="1563"/>
                  </a:lnTo>
                  <a:lnTo>
                    <a:pt x="1045" y="1559"/>
                  </a:lnTo>
                  <a:lnTo>
                    <a:pt x="1047" y="1555"/>
                  </a:lnTo>
                  <a:lnTo>
                    <a:pt x="1049" y="1550"/>
                  </a:lnTo>
                  <a:lnTo>
                    <a:pt x="1050" y="1545"/>
                  </a:lnTo>
                  <a:lnTo>
                    <a:pt x="1050" y="1541"/>
                  </a:lnTo>
                  <a:lnTo>
                    <a:pt x="1049" y="1536"/>
                  </a:lnTo>
                  <a:lnTo>
                    <a:pt x="1047" y="1527"/>
                  </a:lnTo>
                  <a:lnTo>
                    <a:pt x="1042" y="1518"/>
                  </a:lnTo>
                  <a:lnTo>
                    <a:pt x="1036" y="1509"/>
                  </a:lnTo>
                  <a:lnTo>
                    <a:pt x="1027" y="1500"/>
                  </a:lnTo>
                  <a:lnTo>
                    <a:pt x="1018" y="1491"/>
                  </a:lnTo>
                  <a:lnTo>
                    <a:pt x="1009" y="1483"/>
                  </a:lnTo>
                  <a:lnTo>
                    <a:pt x="999" y="1474"/>
                  </a:lnTo>
                  <a:lnTo>
                    <a:pt x="989" y="1467"/>
                  </a:lnTo>
                  <a:lnTo>
                    <a:pt x="971" y="1455"/>
                  </a:lnTo>
                  <a:lnTo>
                    <a:pt x="956" y="1445"/>
                  </a:lnTo>
                  <a:lnTo>
                    <a:pt x="948" y="1441"/>
                  </a:lnTo>
                  <a:lnTo>
                    <a:pt x="940" y="1438"/>
                  </a:lnTo>
                  <a:lnTo>
                    <a:pt x="932" y="1437"/>
                  </a:lnTo>
                  <a:lnTo>
                    <a:pt x="924" y="1436"/>
                  </a:lnTo>
                  <a:lnTo>
                    <a:pt x="916" y="1436"/>
                  </a:lnTo>
                  <a:lnTo>
                    <a:pt x="908" y="1437"/>
                  </a:lnTo>
                  <a:lnTo>
                    <a:pt x="900" y="1439"/>
                  </a:lnTo>
                  <a:lnTo>
                    <a:pt x="893" y="1442"/>
                  </a:lnTo>
                  <a:lnTo>
                    <a:pt x="862" y="1457"/>
                  </a:lnTo>
                  <a:lnTo>
                    <a:pt x="832" y="1472"/>
                  </a:lnTo>
                  <a:lnTo>
                    <a:pt x="825" y="1476"/>
                  </a:lnTo>
                  <a:lnTo>
                    <a:pt x="818" y="1479"/>
                  </a:lnTo>
                  <a:lnTo>
                    <a:pt x="811" y="1481"/>
                  </a:lnTo>
                  <a:lnTo>
                    <a:pt x="804" y="1482"/>
                  </a:lnTo>
                  <a:lnTo>
                    <a:pt x="797" y="1483"/>
                  </a:lnTo>
                  <a:lnTo>
                    <a:pt x="791" y="1483"/>
                  </a:lnTo>
                  <a:lnTo>
                    <a:pt x="783" y="1481"/>
                  </a:lnTo>
                  <a:lnTo>
                    <a:pt x="777" y="1478"/>
                  </a:lnTo>
                  <a:lnTo>
                    <a:pt x="771" y="1474"/>
                  </a:lnTo>
                  <a:lnTo>
                    <a:pt x="765" y="1468"/>
                  </a:lnTo>
                  <a:lnTo>
                    <a:pt x="757" y="1461"/>
                  </a:lnTo>
                  <a:lnTo>
                    <a:pt x="751" y="1453"/>
                  </a:lnTo>
                  <a:lnTo>
                    <a:pt x="745" y="1442"/>
                  </a:lnTo>
                  <a:lnTo>
                    <a:pt x="739" y="1430"/>
                  </a:lnTo>
                  <a:lnTo>
                    <a:pt x="733" y="1415"/>
                  </a:lnTo>
                  <a:lnTo>
                    <a:pt x="727" y="1398"/>
                  </a:lnTo>
                  <a:lnTo>
                    <a:pt x="724" y="1393"/>
                  </a:lnTo>
                  <a:lnTo>
                    <a:pt x="720" y="1389"/>
                  </a:lnTo>
                  <a:lnTo>
                    <a:pt x="713" y="1386"/>
                  </a:lnTo>
                  <a:lnTo>
                    <a:pt x="705" y="1383"/>
                  </a:lnTo>
                  <a:lnTo>
                    <a:pt x="687" y="1380"/>
                  </a:lnTo>
                  <a:lnTo>
                    <a:pt x="666" y="1377"/>
                  </a:lnTo>
                  <a:lnTo>
                    <a:pt x="643" y="1376"/>
                  </a:lnTo>
                  <a:lnTo>
                    <a:pt x="621" y="1374"/>
                  </a:lnTo>
                  <a:lnTo>
                    <a:pt x="610" y="1372"/>
                  </a:lnTo>
                  <a:lnTo>
                    <a:pt x="601" y="1370"/>
                  </a:lnTo>
                  <a:lnTo>
                    <a:pt x="593" y="1368"/>
                  </a:lnTo>
                  <a:lnTo>
                    <a:pt x="586" y="1365"/>
                  </a:lnTo>
                  <a:lnTo>
                    <a:pt x="579" y="1360"/>
                  </a:lnTo>
                  <a:lnTo>
                    <a:pt x="574" y="1353"/>
                  </a:lnTo>
                  <a:lnTo>
                    <a:pt x="570" y="1347"/>
                  </a:lnTo>
                  <a:lnTo>
                    <a:pt x="568" y="1341"/>
                  </a:lnTo>
                  <a:lnTo>
                    <a:pt x="566" y="1334"/>
                  </a:lnTo>
                  <a:lnTo>
                    <a:pt x="566" y="1325"/>
                  </a:lnTo>
                  <a:lnTo>
                    <a:pt x="566" y="1318"/>
                  </a:lnTo>
                  <a:lnTo>
                    <a:pt x="568" y="1310"/>
                  </a:lnTo>
                  <a:lnTo>
                    <a:pt x="570" y="1294"/>
                  </a:lnTo>
                  <a:lnTo>
                    <a:pt x="571" y="1277"/>
                  </a:lnTo>
                  <a:lnTo>
                    <a:pt x="571" y="1270"/>
                  </a:lnTo>
                  <a:lnTo>
                    <a:pt x="570" y="1263"/>
                  </a:lnTo>
                  <a:lnTo>
                    <a:pt x="566" y="1255"/>
                  </a:lnTo>
                  <a:lnTo>
                    <a:pt x="562" y="1249"/>
                  </a:lnTo>
                  <a:lnTo>
                    <a:pt x="558" y="1249"/>
                  </a:lnTo>
                  <a:lnTo>
                    <a:pt x="555" y="1250"/>
                  </a:lnTo>
                  <a:lnTo>
                    <a:pt x="552" y="1252"/>
                  </a:lnTo>
                  <a:lnTo>
                    <a:pt x="548" y="1254"/>
                  </a:lnTo>
                  <a:lnTo>
                    <a:pt x="541" y="1260"/>
                  </a:lnTo>
                  <a:lnTo>
                    <a:pt x="535" y="1266"/>
                  </a:lnTo>
                  <a:lnTo>
                    <a:pt x="528" y="1272"/>
                  </a:lnTo>
                  <a:lnTo>
                    <a:pt x="520" y="1278"/>
                  </a:lnTo>
                  <a:lnTo>
                    <a:pt x="515" y="1280"/>
                  </a:lnTo>
                  <a:lnTo>
                    <a:pt x="510" y="1283"/>
                  </a:lnTo>
                  <a:lnTo>
                    <a:pt x="505" y="1285"/>
                  </a:lnTo>
                  <a:lnTo>
                    <a:pt x="500" y="1286"/>
                  </a:lnTo>
                  <a:lnTo>
                    <a:pt x="496" y="1286"/>
                  </a:lnTo>
                  <a:lnTo>
                    <a:pt x="490" y="1286"/>
                  </a:lnTo>
                  <a:lnTo>
                    <a:pt x="486" y="1285"/>
                  </a:lnTo>
                  <a:lnTo>
                    <a:pt x="483" y="1284"/>
                  </a:lnTo>
                  <a:lnTo>
                    <a:pt x="476" y="1278"/>
                  </a:lnTo>
                  <a:lnTo>
                    <a:pt x="470" y="1272"/>
                  </a:lnTo>
                  <a:lnTo>
                    <a:pt x="460" y="1257"/>
                  </a:lnTo>
                  <a:lnTo>
                    <a:pt x="452" y="1241"/>
                  </a:lnTo>
                  <a:lnTo>
                    <a:pt x="448" y="1233"/>
                  </a:lnTo>
                  <a:lnTo>
                    <a:pt x="442" y="1227"/>
                  </a:lnTo>
                  <a:lnTo>
                    <a:pt x="438" y="1222"/>
                  </a:lnTo>
                  <a:lnTo>
                    <a:pt x="433" y="1218"/>
                  </a:lnTo>
                  <a:lnTo>
                    <a:pt x="430" y="1218"/>
                  </a:lnTo>
                  <a:lnTo>
                    <a:pt x="428" y="1217"/>
                  </a:lnTo>
                  <a:lnTo>
                    <a:pt x="425" y="1218"/>
                  </a:lnTo>
                  <a:lnTo>
                    <a:pt x="421" y="1219"/>
                  </a:lnTo>
                  <a:lnTo>
                    <a:pt x="413" y="1223"/>
                  </a:lnTo>
                  <a:lnTo>
                    <a:pt x="405" y="1231"/>
                  </a:lnTo>
                  <a:lnTo>
                    <a:pt x="388" y="1248"/>
                  </a:lnTo>
                  <a:lnTo>
                    <a:pt x="375" y="1262"/>
                  </a:lnTo>
                  <a:lnTo>
                    <a:pt x="362" y="1270"/>
                  </a:lnTo>
                  <a:lnTo>
                    <a:pt x="352" y="1276"/>
                  </a:lnTo>
                  <a:lnTo>
                    <a:pt x="346" y="1278"/>
                  </a:lnTo>
                  <a:lnTo>
                    <a:pt x="342" y="1279"/>
                  </a:lnTo>
                  <a:lnTo>
                    <a:pt x="338" y="1279"/>
                  </a:lnTo>
                  <a:lnTo>
                    <a:pt x="334" y="1279"/>
                  </a:lnTo>
                  <a:lnTo>
                    <a:pt x="326" y="1277"/>
                  </a:lnTo>
                  <a:lnTo>
                    <a:pt x="318" y="1274"/>
                  </a:lnTo>
                  <a:lnTo>
                    <a:pt x="304" y="1262"/>
                  </a:lnTo>
                  <a:lnTo>
                    <a:pt x="286" y="1244"/>
                  </a:lnTo>
                  <a:lnTo>
                    <a:pt x="277" y="1236"/>
                  </a:lnTo>
                  <a:lnTo>
                    <a:pt x="265" y="1226"/>
                  </a:lnTo>
                  <a:lnTo>
                    <a:pt x="252" y="1217"/>
                  </a:lnTo>
                  <a:lnTo>
                    <a:pt x="236" y="1208"/>
                  </a:lnTo>
                  <a:lnTo>
                    <a:pt x="45" y="1116"/>
                  </a:lnTo>
                  <a:lnTo>
                    <a:pt x="45" y="1116"/>
                  </a:lnTo>
                  <a:lnTo>
                    <a:pt x="56" y="1097"/>
                  </a:lnTo>
                  <a:lnTo>
                    <a:pt x="66" y="1080"/>
                  </a:lnTo>
                  <a:lnTo>
                    <a:pt x="70" y="1072"/>
                  </a:lnTo>
                  <a:lnTo>
                    <a:pt x="73" y="1063"/>
                  </a:lnTo>
                  <a:lnTo>
                    <a:pt x="76" y="1053"/>
                  </a:lnTo>
                  <a:lnTo>
                    <a:pt x="76" y="1042"/>
                  </a:lnTo>
                  <a:lnTo>
                    <a:pt x="62" y="1029"/>
                  </a:lnTo>
                  <a:lnTo>
                    <a:pt x="50" y="1019"/>
                  </a:lnTo>
                  <a:lnTo>
                    <a:pt x="46" y="1012"/>
                  </a:lnTo>
                  <a:lnTo>
                    <a:pt x="44" y="1006"/>
                  </a:lnTo>
                  <a:lnTo>
                    <a:pt x="44" y="997"/>
                  </a:lnTo>
                  <a:lnTo>
                    <a:pt x="45" y="984"/>
                  </a:lnTo>
                  <a:lnTo>
                    <a:pt x="50" y="972"/>
                  </a:lnTo>
                  <a:lnTo>
                    <a:pt x="58" y="955"/>
                  </a:lnTo>
                  <a:lnTo>
                    <a:pt x="61" y="946"/>
                  </a:lnTo>
                  <a:lnTo>
                    <a:pt x="63" y="938"/>
                  </a:lnTo>
                  <a:lnTo>
                    <a:pt x="64" y="934"/>
                  </a:lnTo>
                  <a:lnTo>
                    <a:pt x="64" y="931"/>
                  </a:lnTo>
                  <a:lnTo>
                    <a:pt x="63" y="928"/>
                  </a:lnTo>
                  <a:lnTo>
                    <a:pt x="62" y="926"/>
                  </a:lnTo>
                  <a:lnTo>
                    <a:pt x="55" y="918"/>
                  </a:lnTo>
                  <a:lnTo>
                    <a:pt x="44" y="910"/>
                  </a:lnTo>
                  <a:lnTo>
                    <a:pt x="33" y="902"/>
                  </a:lnTo>
                  <a:lnTo>
                    <a:pt x="21" y="893"/>
                  </a:lnTo>
                  <a:lnTo>
                    <a:pt x="16" y="888"/>
                  </a:lnTo>
                  <a:lnTo>
                    <a:pt x="11" y="884"/>
                  </a:lnTo>
                  <a:lnTo>
                    <a:pt x="7" y="879"/>
                  </a:lnTo>
                  <a:lnTo>
                    <a:pt x="3" y="874"/>
                  </a:lnTo>
                  <a:lnTo>
                    <a:pt x="1" y="868"/>
                  </a:lnTo>
                  <a:lnTo>
                    <a:pt x="0" y="863"/>
                  </a:lnTo>
                  <a:lnTo>
                    <a:pt x="1" y="857"/>
                  </a:lnTo>
                  <a:lnTo>
                    <a:pt x="3" y="851"/>
                  </a:lnTo>
                  <a:lnTo>
                    <a:pt x="11" y="840"/>
                  </a:lnTo>
                  <a:lnTo>
                    <a:pt x="19" y="829"/>
                  </a:lnTo>
                  <a:lnTo>
                    <a:pt x="23" y="822"/>
                  </a:lnTo>
                  <a:lnTo>
                    <a:pt x="26" y="817"/>
                  </a:lnTo>
                  <a:lnTo>
                    <a:pt x="30" y="811"/>
                  </a:lnTo>
                  <a:lnTo>
                    <a:pt x="32" y="805"/>
                  </a:lnTo>
                  <a:lnTo>
                    <a:pt x="36" y="785"/>
                  </a:lnTo>
                  <a:lnTo>
                    <a:pt x="37" y="764"/>
                  </a:lnTo>
                  <a:lnTo>
                    <a:pt x="38" y="743"/>
                  </a:lnTo>
                  <a:lnTo>
                    <a:pt x="40" y="722"/>
                  </a:lnTo>
                  <a:lnTo>
                    <a:pt x="40" y="714"/>
                  </a:lnTo>
                  <a:lnTo>
                    <a:pt x="41" y="707"/>
                  </a:lnTo>
                  <a:lnTo>
                    <a:pt x="43" y="699"/>
                  </a:lnTo>
                  <a:lnTo>
                    <a:pt x="45" y="692"/>
                  </a:lnTo>
                  <a:lnTo>
                    <a:pt x="47" y="686"/>
                  </a:lnTo>
                  <a:lnTo>
                    <a:pt x="50" y="681"/>
                  </a:lnTo>
                  <a:lnTo>
                    <a:pt x="55" y="675"/>
                  </a:lnTo>
                  <a:lnTo>
                    <a:pt x="59" y="670"/>
                  </a:lnTo>
                  <a:lnTo>
                    <a:pt x="68" y="662"/>
                  </a:lnTo>
                  <a:lnTo>
                    <a:pt x="80" y="654"/>
                  </a:lnTo>
                  <a:lnTo>
                    <a:pt x="92" y="648"/>
                  </a:lnTo>
                  <a:lnTo>
                    <a:pt x="106" y="643"/>
                  </a:lnTo>
                  <a:lnTo>
                    <a:pt x="119" y="640"/>
                  </a:lnTo>
                  <a:lnTo>
                    <a:pt x="134" y="637"/>
                  </a:lnTo>
                  <a:lnTo>
                    <a:pt x="148" y="635"/>
                  </a:lnTo>
                  <a:lnTo>
                    <a:pt x="163" y="634"/>
                  </a:lnTo>
                  <a:lnTo>
                    <a:pt x="190" y="633"/>
                  </a:lnTo>
                  <a:lnTo>
                    <a:pt x="214" y="632"/>
                  </a:lnTo>
                  <a:lnTo>
                    <a:pt x="214" y="632"/>
                  </a:lnTo>
                  <a:lnTo>
                    <a:pt x="216" y="637"/>
                  </a:lnTo>
                  <a:lnTo>
                    <a:pt x="218" y="641"/>
                  </a:lnTo>
                  <a:lnTo>
                    <a:pt x="220" y="644"/>
                  </a:lnTo>
                  <a:lnTo>
                    <a:pt x="223" y="645"/>
                  </a:lnTo>
                  <a:lnTo>
                    <a:pt x="229" y="646"/>
                  </a:lnTo>
                  <a:lnTo>
                    <a:pt x="233" y="646"/>
                  </a:lnTo>
                  <a:lnTo>
                    <a:pt x="237" y="646"/>
                  </a:lnTo>
                  <a:lnTo>
                    <a:pt x="241" y="645"/>
                  </a:lnTo>
                  <a:lnTo>
                    <a:pt x="251" y="641"/>
                  </a:lnTo>
                  <a:lnTo>
                    <a:pt x="259" y="636"/>
                  </a:lnTo>
                  <a:lnTo>
                    <a:pt x="277" y="621"/>
                  </a:lnTo>
                  <a:lnTo>
                    <a:pt x="293" y="604"/>
                  </a:lnTo>
                  <a:lnTo>
                    <a:pt x="302" y="597"/>
                  </a:lnTo>
                  <a:lnTo>
                    <a:pt x="310" y="590"/>
                  </a:lnTo>
                  <a:lnTo>
                    <a:pt x="317" y="584"/>
                  </a:lnTo>
                  <a:lnTo>
                    <a:pt x="326" y="579"/>
                  </a:lnTo>
                  <a:lnTo>
                    <a:pt x="329" y="578"/>
                  </a:lnTo>
                  <a:lnTo>
                    <a:pt x="332" y="577"/>
                  </a:lnTo>
                  <a:lnTo>
                    <a:pt x="336" y="576"/>
                  </a:lnTo>
                  <a:lnTo>
                    <a:pt x="339" y="577"/>
                  </a:lnTo>
                  <a:lnTo>
                    <a:pt x="342" y="578"/>
                  </a:lnTo>
                  <a:lnTo>
                    <a:pt x="345" y="579"/>
                  </a:lnTo>
                  <a:lnTo>
                    <a:pt x="350" y="581"/>
                  </a:lnTo>
                  <a:lnTo>
                    <a:pt x="352" y="586"/>
                  </a:lnTo>
                  <a:lnTo>
                    <a:pt x="358" y="595"/>
                  </a:lnTo>
                  <a:lnTo>
                    <a:pt x="363" y="607"/>
                  </a:lnTo>
                  <a:lnTo>
                    <a:pt x="365" y="613"/>
                  </a:lnTo>
                  <a:lnTo>
                    <a:pt x="368" y="618"/>
                  </a:lnTo>
                  <a:lnTo>
                    <a:pt x="371" y="622"/>
                  </a:lnTo>
                  <a:lnTo>
                    <a:pt x="375" y="624"/>
                  </a:lnTo>
                  <a:lnTo>
                    <a:pt x="379" y="625"/>
                  </a:lnTo>
                  <a:lnTo>
                    <a:pt x="384" y="626"/>
                  </a:lnTo>
                  <a:lnTo>
                    <a:pt x="387" y="625"/>
                  </a:lnTo>
                  <a:lnTo>
                    <a:pt x="390" y="625"/>
                  </a:lnTo>
                  <a:lnTo>
                    <a:pt x="392" y="623"/>
                  </a:lnTo>
                  <a:lnTo>
                    <a:pt x="393" y="621"/>
                  </a:lnTo>
                  <a:lnTo>
                    <a:pt x="394" y="618"/>
                  </a:lnTo>
                  <a:lnTo>
                    <a:pt x="395" y="615"/>
                  </a:lnTo>
                  <a:lnTo>
                    <a:pt x="395" y="607"/>
                  </a:lnTo>
                  <a:lnTo>
                    <a:pt x="394" y="596"/>
                  </a:lnTo>
                  <a:lnTo>
                    <a:pt x="393" y="585"/>
                  </a:lnTo>
                  <a:lnTo>
                    <a:pt x="391" y="573"/>
                  </a:lnTo>
                  <a:lnTo>
                    <a:pt x="389" y="561"/>
                  </a:lnTo>
                  <a:lnTo>
                    <a:pt x="389" y="548"/>
                  </a:lnTo>
                  <a:lnTo>
                    <a:pt x="389" y="537"/>
                  </a:lnTo>
                  <a:lnTo>
                    <a:pt x="390" y="525"/>
                  </a:lnTo>
                  <a:lnTo>
                    <a:pt x="392" y="520"/>
                  </a:lnTo>
                  <a:lnTo>
                    <a:pt x="394" y="515"/>
                  </a:lnTo>
                  <a:lnTo>
                    <a:pt x="397" y="511"/>
                  </a:lnTo>
                  <a:lnTo>
                    <a:pt x="400" y="506"/>
                  </a:lnTo>
                  <a:lnTo>
                    <a:pt x="404" y="503"/>
                  </a:lnTo>
                  <a:lnTo>
                    <a:pt x="409" y="500"/>
                  </a:lnTo>
                  <a:lnTo>
                    <a:pt x="414" y="498"/>
                  </a:lnTo>
                  <a:lnTo>
                    <a:pt x="421" y="496"/>
                  </a:lnTo>
                  <a:lnTo>
                    <a:pt x="426" y="496"/>
                  </a:lnTo>
                  <a:lnTo>
                    <a:pt x="429" y="498"/>
                  </a:lnTo>
                  <a:lnTo>
                    <a:pt x="432" y="500"/>
                  </a:lnTo>
                  <a:lnTo>
                    <a:pt x="433" y="504"/>
                  </a:lnTo>
                  <a:lnTo>
                    <a:pt x="436" y="515"/>
                  </a:lnTo>
                  <a:lnTo>
                    <a:pt x="438" y="526"/>
                  </a:lnTo>
                  <a:lnTo>
                    <a:pt x="439" y="531"/>
                  </a:lnTo>
                  <a:lnTo>
                    <a:pt x="440" y="537"/>
                  </a:lnTo>
                  <a:lnTo>
                    <a:pt x="443" y="542"/>
                  </a:lnTo>
                  <a:lnTo>
                    <a:pt x="447" y="546"/>
                  </a:lnTo>
                  <a:lnTo>
                    <a:pt x="450" y="548"/>
                  </a:lnTo>
                  <a:lnTo>
                    <a:pt x="455" y="550"/>
                  </a:lnTo>
                  <a:lnTo>
                    <a:pt x="462" y="550"/>
                  </a:lnTo>
                  <a:lnTo>
                    <a:pt x="470" y="548"/>
                  </a:lnTo>
                  <a:lnTo>
                    <a:pt x="483" y="544"/>
                  </a:lnTo>
                  <a:lnTo>
                    <a:pt x="496" y="539"/>
                  </a:lnTo>
                  <a:lnTo>
                    <a:pt x="508" y="535"/>
                  </a:lnTo>
                  <a:lnTo>
                    <a:pt x="520" y="529"/>
                  </a:lnTo>
                  <a:lnTo>
                    <a:pt x="530" y="522"/>
                  </a:lnTo>
                  <a:lnTo>
                    <a:pt x="540" y="514"/>
                  </a:lnTo>
                  <a:lnTo>
                    <a:pt x="545" y="509"/>
                  </a:lnTo>
                  <a:lnTo>
                    <a:pt x="549" y="504"/>
                  </a:lnTo>
                  <a:lnTo>
                    <a:pt x="553" y="498"/>
                  </a:lnTo>
                  <a:lnTo>
                    <a:pt x="556" y="491"/>
                  </a:lnTo>
                  <a:lnTo>
                    <a:pt x="560" y="493"/>
                  </a:lnTo>
                  <a:lnTo>
                    <a:pt x="564" y="496"/>
                  </a:lnTo>
                  <a:lnTo>
                    <a:pt x="569" y="500"/>
                  </a:lnTo>
                  <a:lnTo>
                    <a:pt x="573" y="506"/>
                  </a:lnTo>
                  <a:lnTo>
                    <a:pt x="583" y="520"/>
                  </a:lnTo>
                  <a:lnTo>
                    <a:pt x="595" y="532"/>
                  </a:lnTo>
                  <a:lnTo>
                    <a:pt x="601" y="539"/>
                  </a:lnTo>
                  <a:lnTo>
                    <a:pt x="607" y="543"/>
                  </a:lnTo>
                  <a:lnTo>
                    <a:pt x="611" y="544"/>
                  </a:lnTo>
                  <a:lnTo>
                    <a:pt x="614" y="545"/>
                  </a:lnTo>
                  <a:lnTo>
                    <a:pt x="619" y="545"/>
                  </a:lnTo>
                  <a:lnTo>
                    <a:pt x="622" y="545"/>
                  </a:lnTo>
                  <a:lnTo>
                    <a:pt x="626" y="545"/>
                  </a:lnTo>
                  <a:lnTo>
                    <a:pt x="630" y="543"/>
                  </a:lnTo>
                  <a:lnTo>
                    <a:pt x="634" y="541"/>
                  </a:lnTo>
                  <a:lnTo>
                    <a:pt x="638" y="539"/>
                  </a:lnTo>
                  <a:lnTo>
                    <a:pt x="643" y="535"/>
                  </a:lnTo>
                  <a:lnTo>
                    <a:pt x="647" y="530"/>
                  </a:lnTo>
                  <a:lnTo>
                    <a:pt x="651" y="524"/>
                  </a:lnTo>
                  <a:lnTo>
                    <a:pt x="656" y="518"/>
                  </a:lnTo>
                  <a:lnTo>
                    <a:pt x="658" y="513"/>
                  </a:lnTo>
                  <a:lnTo>
                    <a:pt x="660" y="508"/>
                  </a:lnTo>
                  <a:lnTo>
                    <a:pt x="660" y="504"/>
                  </a:lnTo>
                  <a:lnTo>
                    <a:pt x="659" y="501"/>
                  </a:lnTo>
                  <a:lnTo>
                    <a:pt x="656" y="493"/>
                  </a:lnTo>
                  <a:lnTo>
                    <a:pt x="651" y="487"/>
                  </a:lnTo>
                  <a:lnTo>
                    <a:pt x="645" y="479"/>
                  </a:lnTo>
                  <a:lnTo>
                    <a:pt x="638" y="473"/>
                  </a:lnTo>
                  <a:lnTo>
                    <a:pt x="633" y="467"/>
                  </a:lnTo>
                  <a:lnTo>
                    <a:pt x="629" y="459"/>
                  </a:lnTo>
                  <a:lnTo>
                    <a:pt x="629" y="455"/>
                  </a:lnTo>
                  <a:lnTo>
                    <a:pt x="630" y="450"/>
                  </a:lnTo>
                  <a:lnTo>
                    <a:pt x="632" y="447"/>
                  </a:lnTo>
                  <a:lnTo>
                    <a:pt x="636" y="443"/>
                  </a:lnTo>
                  <a:lnTo>
                    <a:pt x="646" y="435"/>
                  </a:lnTo>
                  <a:lnTo>
                    <a:pt x="658" y="429"/>
                  </a:lnTo>
                  <a:lnTo>
                    <a:pt x="684" y="420"/>
                  </a:lnTo>
                  <a:lnTo>
                    <a:pt x="704" y="413"/>
                  </a:lnTo>
                  <a:lnTo>
                    <a:pt x="713" y="413"/>
                  </a:lnTo>
                  <a:lnTo>
                    <a:pt x="721" y="413"/>
                  </a:lnTo>
                  <a:lnTo>
                    <a:pt x="728" y="415"/>
                  </a:lnTo>
                  <a:lnTo>
                    <a:pt x="735" y="417"/>
                  </a:lnTo>
                  <a:lnTo>
                    <a:pt x="741" y="419"/>
                  </a:lnTo>
                  <a:lnTo>
                    <a:pt x="746" y="422"/>
                  </a:lnTo>
                  <a:lnTo>
                    <a:pt x="751" y="426"/>
                  </a:lnTo>
                  <a:lnTo>
                    <a:pt x="754" y="430"/>
                  </a:lnTo>
                  <a:lnTo>
                    <a:pt x="761" y="441"/>
                  </a:lnTo>
                  <a:lnTo>
                    <a:pt x="767" y="451"/>
                  </a:lnTo>
                  <a:lnTo>
                    <a:pt x="771" y="464"/>
                  </a:lnTo>
                  <a:lnTo>
                    <a:pt x="774" y="476"/>
                  </a:lnTo>
                  <a:lnTo>
                    <a:pt x="778" y="489"/>
                  </a:lnTo>
                  <a:lnTo>
                    <a:pt x="781" y="500"/>
                  </a:lnTo>
                  <a:lnTo>
                    <a:pt x="786" y="512"/>
                  </a:lnTo>
                  <a:lnTo>
                    <a:pt x="793" y="521"/>
                  </a:lnTo>
                  <a:lnTo>
                    <a:pt x="796" y="525"/>
                  </a:lnTo>
                  <a:lnTo>
                    <a:pt x="800" y="528"/>
                  </a:lnTo>
                  <a:lnTo>
                    <a:pt x="805" y="531"/>
                  </a:lnTo>
                  <a:lnTo>
                    <a:pt x="810" y="535"/>
                  </a:lnTo>
                  <a:lnTo>
                    <a:pt x="817" y="536"/>
                  </a:lnTo>
                  <a:lnTo>
                    <a:pt x="823" y="537"/>
                  </a:lnTo>
                  <a:lnTo>
                    <a:pt x="831" y="537"/>
                  </a:lnTo>
                  <a:lnTo>
                    <a:pt x="840" y="537"/>
                  </a:lnTo>
                  <a:lnTo>
                    <a:pt x="842" y="529"/>
                  </a:lnTo>
                  <a:lnTo>
                    <a:pt x="843" y="521"/>
                  </a:lnTo>
                  <a:lnTo>
                    <a:pt x="844" y="513"/>
                  </a:lnTo>
                  <a:lnTo>
                    <a:pt x="843" y="503"/>
                  </a:lnTo>
                  <a:lnTo>
                    <a:pt x="841" y="482"/>
                  </a:lnTo>
                  <a:lnTo>
                    <a:pt x="838" y="461"/>
                  </a:lnTo>
                  <a:lnTo>
                    <a:pt x="833" y="440"/>
                  </a:lnTo>
                  <a:lnTo>
                    <a:pt x="831" y="418"/>
                  </a:lnTo>
                  <a:lnTo>
                    <a:pt x="831" y="407"/>
                  </a:lnTo>
                  <a:lnTo>
                    <a:pt x="831" y="397"/>
                  </a:lnTo>
                  <a:lnTo>
                    <a:pt x="832" y="387"/>
                  </a:lnTo>
                  <a:lnTo>
                    <a:pt x="835" y="378"/>
                  </a:lnTo>
                  <a:lnTo>
                    <a:pt x="837" y="376"/>
                  </a:lnTo>
                  <a:lnTo>
                    <a:pt x="839" y="374"/>
                  </a:lnTo>
                  <a:lnTo>
                    <a:pt x="841" y="372"/>
                  </a:lnTo>
                  <a:lnTo>
                    <a:pt x="843" y="370"/>
                  </a:lnTo>
                  <a:lnTo>
                    <a:pt x="849" y="368"/>
                  </a:lnTo>
                  <a:lnTo>
                    <a:pt x="857" y="367"/>
                  </a:lnTo>
                  <a:lnTo>
                    <a:pt x="876" y="366"/>
                  </a:lnTo>
                  <a:lnTo>
                    <a:pt x="898" y="367"/>
                  </a:lnTo>
                  <a:lnTo>
                    <a:pt x="920" y="368"/>
                  </a:lnTo>
                  <a:lnTo>
                    <a:pt x="942" y="367"/>
                  </a:lnTo>
                  <a:lnTo>
                    <a:pt x="951" y="366"/>
                  </a:lnTo>
                  <a:lnTo>
                    <a:pt x="960" y="362"/>
                  </a:lnTo>
                  <a:lnTo>
                    <a:pt x="967" y="358"/>
                  </a:lnTo>
                  <a:lnTo>
                    <a:pt x="972" y="353"/>
                  </a:lnTo>
                  <a:lnTo>
                    <a:pt x="975" y="348"/>
                  </a:lnTo>
                  <a:lnTo>
                    <a:pt x="978" y="342"/>
                  </a:lnTo>
                  <a:lnTo>
                    <a:pt x="979" y="335"/>
                  </a:lnTo>
                  <a:lnTo>
                    <a:pt x="980" y="328"/>
                  </a:lnTo>
                  <a:lnTo>
                    <a:pt x="982" y="313"/>
                  </a:lnTo>
                  <a:lnTo>
                    <a:pt x="984" y="298"/>
                  </a:lnTo>
                  <a:lnTo>
                    <a:pt x="984" y="290"/>
                  </a:lnTo>
                  <a:lnTo>
                    <a:pt x="986" y="284"/>
                  </a:lnTo>
                  <a:lnTo>
                    <a:pt x="987" y="278"/>
                  </a:lnTo>
                  <a:lnTo>
                    <a:pt x="989" y="272"/>
                  </a:lnTo>
                  <a:lnTo>
                    <a:pt x="993" y="267"/>
                  </a:lnTo>
                  <a:lnTo>
                    <a:pt x="997" y="264"/>
                  </a:lnTo>
                  <a:lnTo>
                    <a:pt x="1002" y="262"/>
                  </a:lnTo>
                  <a:lnTo>
                    <a:pt x="1009" y="261"/>
                  </a:lnTo>
                  <a:lnTo>
                    <a:pt x="1022" y="260"/>
                  </a:lnTo>
                  <a:lnTo>
                    <a:pt x="1037" y="258"/>
                  </a:lnTo>
                  <a:lnTo>
                    <a:pt x="1052" y="254"/>
                  </a:lnTo>
                  <a:lnTo>
                    <a:pt x="1067" y="249"/>
                  </a:lnTo>
                  <a:lnTo>
                    <a:pt x="1073" y="244"/>
                  </a:lnTo>
                  <a:lnTo>
                    <a:pt x="1079" y="240"/>
                  </a:lnTo>
                  <a:lnTo>
                    <a:pt x="1085" y="235"/>
                  </a:lnTo>
                  <a:lnTo>
                    <a:pt x="1090" y="230"/>
                  </a:lnTo>
                  <a:lnTo>
                    <a:pt x="1093" y="224"/>
                  </a:lnTo>
                  <a:lnTo>
                    <a:pt x="1095" y="217"/>
                  </a:lnTo>
                  <a:lnTo>
                    <a:pt x="1095" y="210"/>
                  </a:lnTo>
                  <a:lnTo>
                    <a:pt x="1095" y="202"/>
                  </a:lnTo>
                  <a:lnTo>
                    <a:pt x="1092" y="192"/>
                  </a:lnTo>
                  <a:lnTo>
                    <a:pt x="1087" y="184"/>
                  </a:lnTo>
                  <a:lnTo>
                    <a:pt x="1080" y="177"/>
                  </a:lnTo>
                  <a:lnTo>
                    <a:pt x="1074" y="170"/>
                  </a:lnTo>
                  <a:lnTo>
                    <a:pt x="1067" y="164"/>
                  </a:lnTo>
                  <a:lnTo>
                    <a:pt x="1061" y="158"/>
                  </a:lnTo>
                  <a:lnTo>
                    <a:pt x="1054" y="151"/>
                  </a:lnTo>
                  <a:lnTo>
                    <a:pt x="1050" y="143"/>
                  </a:lnTo>
                  <a:lnTo>
                    <a:pt x="1048" y="137"/>
                  </a:lnTo>
                  <a:lnTo>
                    <a:pt x="1047" y="130"/>
                  </a:lnTo>
                  <a:lnTo>
                    <a:pt x="1046" y="122"/>
                  </a:lnTo>
                  <a:lnTo>
                    <a:pt x="1045" y="113"/>
                  </a:lnTo>
                  <a:lnTo>
                    <a:pt x="1046" y="104"/>
                  </a:lnTo>
                  <a:lnTo>
                    <a:pt x="1046" y="94"/>
                  </a:lnTo>
                  <a:lnTo>
                    <a:pt x="1048" y="85"/>
                  </a:lnTo>
                  <a:lnTo>
                    <a:pt x="1050" y="75"/>
                  </a:lnTo>
                  <a:lnTo>
                    <a:pt x="1052" y="67"/>
                  </a:lnTo>
                  <a:lnTo>
                    <a:pt x="1055" y="59"/>
                  </a:lnTo>
                  <a:lnTo>
                    <a:pt x="1060" y="53"/>
                  </a:lnTo>
                  <a:lnTo>
                    <a:pt x="1064" y="47"/>
                  </a:lnTo>
                  <a:lnTo>
                    <a:pt x="1069" y="43"/>
                  </a:lnTo>
                  <a:lnTo>
                    <a:pt x="1075" y="42"/>
                  </a:lnTo>
                  <a:lnTo>
                    <a:pt x="1078" y="42"/>
                  </a:lnTo>
                  <a:lnTo>
                    <a:pt x="1082" y="43"/>
                  </a:lnTo>
                  <a:lnTo>
                    <a:pt x="1086" y="44"/>
                  </a:lnTo>
                  <a:lnTo>
                    <a:pt x="1089" y="46"/>
                  </a:lnTo>
                  <a:lnTo>
                    <a:pt x="1095" y="48"/>
                  </a:lnTo>
                  <a:lnTo>
                    <a:pt x="1102" y="50"/>
                  </a:lnTo>
                  <a:lnTo>
                    <a:pt x="1111" y="51"/>
                  </a:lnTo>
                  <a:lnTo>
                    <a:pt x="1119" y="53"/>
                  </a:lnTo>
                  <a:lnTo>
                    <a:pt x="1139" y="53"/>
                  </a:lnTo>
                  <a:lnTo>
                    <a:pt x="1159" y="53"/>
                  </a:lnTo>
                  <a:lnTo>
                    <a:pt x="1169" y="53"/>
                  </a:lnTo>
                  <a:lnTo>
                    <a:pt x="1179" y="53"/>
                  </a:lnTo>
                  <a:lnTo>
                    <a:pt x="1188" y="54"/>
                  </a:lnTo>
                  <a:lnTo>
                    <a:pt x="1196" y="56"/>
                  </a:lnTo>
                  <a:lnTo>
                    <a:pt x="1204" y="59"/>
                  </a:lnTo>
                  <a:lnTo>
                    <a:pt x="1210" y="63"/>
                  </a:lnTo>
                  <a:lnTo>
                    <a:pt x="1215" y="68"/>
                  </a:lnTo>
                  <a:lnTo>
                    <a:pt x="1219" y="74"/>
                  </a:lnTo>
                  <a:lnTo>
                    <a:pt x="1224" y="87"/>
                  </a:lnTo>
                  <a:lnTo>
                    <a:pt x="1231" y="98"/>
                  </a:lnTo>
                  <a:lnTo>
                    <a:pt x="1238" y="109"/>
                  </a:lnTo>
                  <a:lnTo>
                    <a:pt x="1244" y="117"/>
                  </a:lnTo>
                  <a:lnTo>
                    <a:pt x="1253" y="125"/>
                  </a:lnTo>
                  <a:lnTo>
                    <a:pt x="1260" y="131"/>
                  </a:lnTo>
                  <a:lnTo>
                    <a:pt x="1268" y="135"/>
                  </a:lnTo>
                  <a:lnTo>
                    <a:pt x="1277" y="137"/>
                  </a:lnTo>
                  <a:lnTo>
                    <a:pt x="1285" y="138"/>
                  </a:lnTo>
                  <a:lnTo>
                    <a:pt x="1293" y="136"/>
                  </a:lnTo>
                  <a:lnTo>
                    <a:pt x="1302" y="133"/>
                  </a:lnTo>
                  <a:lnTo>
                    <a:pt x="1310" y="129"/>
                  </a:lnTo>
                  <a:lnTo>
                    <a:pt x="1319" y="121"/>
                  </a:lnTo>
                  <a:lnTo>
                    <a:pt x="1327" y="112"/>
                  </a:lnTo>
                  <a:lnTo>
                    <a:pt x="1335" y="101"/>
                  </a:lnTo>
                  <a:lnTo>
                    <a:pt x="1342" y="87"/>
                  </a:lnTo>
                  <a:lnTo>
                    <a:pt x="1351" y="70"/>
                  </a:lnTo>
                  <a:lnTo>
                    <a:pt x="1359" y="55"/>
                  </a:lnTo>
                  <a:lnTo>
                    <a:pt x="1368" y="40"/>
                  </a:lnTo>
                  <a:lnTo>
                    <a:pt x="1378" y="26"/>
                  </a:lnTo>
                  <a:lnTo>
                    <a:pt x="1384" y="21"/>
                  </a:lnTo>
                  <a:lnTo>
                    <a:pt x="1390" y="16"/>
                  </a:lnTo>
                  <a:lnTo>
                    <a:pt x="1396" y="12"/>
                  </a:lnTo>
                  <a:lnTo>
                    <a:pt x="1404" y="8"/>
                  </a:lnTo>
                  <a:lnTo>
                    <a:pt x="1412" y="5"/>
                  </a:lnTo>
                  <a:lnTo>
                    <a:pt x="1421" y="2"/>
                  </a:lnTo>
                  <a:lnTo>
                    <a:pt x="1432" y="1"/>
                  </a:lnTo>
                  <a:lnTo>
                    <a:pt x="1443" y="0"/>
                  </a:lnTo>
                  <a:lnTo>
                    <a:pt x="1445" y="4"/>
                  </a:lnTo>
                  <a:lnTo>
                    <a:pt x="1448" y="7"/>
                  </a:lnTo>
                  <a:lnTo>
                    <a:pt x="1449" y="11"/>
                  </a:lnTo>
                  <a:lnTo>
                    <a:pt x="1450" y="15"/>
                  </a:lnTo>
                  <a:lnTo>
                    <a:pt x="1451" y="24"/>
                  </a:lnTo>
                  <a:lnTo>
                    <a:pt x="1450" y="36"/>
                  </a:lnTo>
                  <a:lnTo>
                    <a:pt x="1448" y="48"/>
                  </a:lnTo>
                  <a:lnTo>
                    <a:pt x="1445" y="61"/>
                  </a:lnTo>
                  <a:lnTo>
                    <a:pt x="1441" y="74"/>
                  </a:lnTo>
                  <a:lnTo>
                    <a:pt x="1436" y="88"/>
                  </a:lnTo>
                  <a:lnTo>
                    <a:pt x="1426" y="115"/>
                  </a:lnTo>
                  <a:lnTo>
                    <a:pt x="1414" y="140"/>
                  </a:lnTo>
                  <a:lnTo>
                    <a:pt x="1408" y="151"/>
                  </a:lnTo>
                  <a:lnTo>
                    <a:pt x="1402" y="159"/>
                  </a:lnTo>
                  <a:lnTo>
                    <a:pt x="1396" y="166"/>
                  </a:lnTo>
                  <a:lnTo>
                    <a:pt x="1392" y="171"/>
                  </a:lnTo>
                  <a:lnTo>
                    <a:pt x="1384" y="180"/>
                  </a:lnTo>
                  <a:lnTo>
                    <a:pt x="1376" y="188"/>
                  </a:lnTo>
                  <a:lnTo>
                    <a:pt x="1369" y="197"/>
                  </a:lnTo>
                  <a:lnTo>
                    <a:pt x="1363" y="205"/>
                  </a:lnTo>
                  <a:lnTo>
                    <a:pt x="1357" y="214"/>
                  </a:lnTo>
                  <a:lnTo>
                    <a:pt x="1353" y="223"/>
                  </a:lnTo>
                  <a:lnTo>
                    <a:pt x="1348" y="232"/>
                  </a:lnTo>
                  <a:lnTo>
                    <a:pt x="1346" y="241"/>
                  </a:lnTo>
                  <a:lnTo>
                    <a:pt x="1344" y="252"/>
                  </a:lnTo>
                  <a:lnTo>
                    <a:pt x="1343" y="261"/>
                  </a:lnTo>
                  <a:lnTo>
                    <a:pt x="1343" y="272"/>
                  </a:lnTo>
                  <a:lnTo>
                    <a:pt x="1344" y="282"/>
                  </a:lnTo>
                  <a:lnTo>
                    <a:pt x="1345" y="292"/>
                  </a:lnTo>
                  <a:lnTo>
                    <a:pt x="1348" y="303"/>
                  </a:lnTo>
                  <a:lnTo>
                    <a:pt x="1353" y="314"/>
                  </a:lnTo>
                  <a:lnTo>
                    <a:pt x="1358" y="325"/>
                  </a:lnTo>
                  <a:lnTo>
                    <a:pt x="1365" y="327"/>
                  </a:lnTo>
                  <a:lnTo>
                    <a:pt x="1371" y="327"/>
                  </a:lnTo>
                  <a:lnTo>
                    <a:pt x="1378" y="327"/>
                  </a:lnTo>
                  <a:lnTo>
                    <a:pt x="1384" y="326"/>
                  </a:lnTo>
                  <a:lnTo>
                    <a:pt x="1389" y="325"/>
                  </a:lnTo>
                  <a:lnTo>
                    <a:pt x="1394" y="324"/>
                  </a:lnTo>
                  <a:lnTo>
                    <a:pt x="1399" y="322"/>
                  </a:lnTo>
                  <a:lnTo>
                    <a:pt x="1403" y="319"/>
                  </a:lnTo>
                  <a:lnTo>
                    <a:pt x="1411" y="313"/>
                  </a:lnTo>
                  <a:lnTo>
                    <a:pt x="1417" y="305"/>
                  </a:lnTo>
                  <a:lnTo>
                    <a:pt x="1424" y="297"/>
                  </a:lnTo>
                  <a:lnTo>
                    <a:pt x="1430" y="287"/>
                  </a:lnTo>
                  <a:lnTo>
                    <a:pt x="1439" y="266"/>
                  </a:lnTo>
                  <a:lnTo>
                    <a:pt x="1450" y="244"/>
                  </a:lnTo>
                  <a:lnTo>
                    <a:pt x="1455" y="234"/>
                  </a:lnTo>
                  <a:lnTo>
                    <a:pt x="1461" y="224"/>
                  </a:lnTo>
                  <a:lnTo>
                    <a:pt x="1467" y="214"/>
                  </a:lnTo>
                  <a:lnTo>
                    <a:pt x="1476" y="206"/>
                  </a:lnTo>
                  <a:lnTo>
                    <a:pt x="1479" y="203"/>
                  </a:lnTo>
                  <a:lnTo>
                    <a:pt x="1483" y="201"/>
                  </a:lnTo>
                  <a:lnTo>
                    <a:pt x="1487" y="199"/>
                  </a:lnTo>
                  <a:lnTo>
                    <a:pt x="1491" y="198"/>
                  </a:lnTo>
                  <a:lnTo>
                    <a:pt x="1500" y="197"/>
                  </a:lnTo>
                  <a:lnTo>
                    <a:pt x="1509" y="198"/>
                  </a:lnTo>
                  <a:lnTo>
                    <a:pt x="1518" y="200"/>
                  </a:lnTo>
                  <a:lnTo>
                    <a:pt x="1528" y="203"/>
                  </a:lnTo>
                  <a:lnTo>
                    <a:pt x="1536" y="207"/>
                  </a:lnTo>
                  <a:lnTo>
                    <a:pt x="1546" y="211"/>
                  </a:lnTo>
                  <a:lnTo>
                    <a:pt x="1563" y="219"/>
                  </a:lnTo>
                  <a:lnTo>
                    <a:pt x="1579" y="225"/>
                  </a:lnTo>
                  <a:lnTo>
                    <a:pt x="1585" y="226"/>
                  </a:lnTo>
                  <a:lnTo>
                    <a:pt x="1591" y="226"/>
                  </a:lnTo>
                  <a:lnTo>
                    <a:pt x="1593" y="224"/>
                  </a:lnTo>
                  <a:lnTo>
                    <a:pt x="1597" y="223"/>
                  </a:lnTo>
                  <a:lnTo>
                    <a:pt x="1599" y="220"/>
                  </a:lnTo>
                  <a:lnTo>
                    <a:pt x="1600" y="217"/>
                  </a:lnTo>
                  <a:lnTo>
                    <a:pt x="1604" y="215"/>
                  </a:lnTo>
                  <a:lnTo>
                    <a:pt x="1607" y="211"/>
                  </a:lnTo>
                  <a:lnTo>
                    <a:pt x="1610" y="206"/>
                  </a:lnTo>
                  <a:lnTo>
                    <a:pt x="1612" y="199"/>
                  </a:lnTo>
                  <a:lnTo>
                    <a:pt x="1616" y="186"/>
                  </a:lnTo>
                  <a:lnTo>
                    <a:pt x="1620" y="177"/>
                  </a:lnTo>
                  <a:lnTo>
                    <a:pt x="1630" y="168"/>
                  </a:lnTo>
                  <a:lnTo>
                    <a:pt x="1637" y="162"/>
                  </a:lnTo>
                  <a:lnTo>
                    <a:pt x="1640" y="161"/>
                  </a:lnTo>
                  <a:lnTo>
                    <a:pt x="1644" y="160"/>
                  </a:lnTo>
                  <a:lnTo>
                    <a:pt x="1647" y="160"/>
                  </a:lnTo>
                  <a:lnTo>
                    <a:pt x="1649" y="161"/>
                  </a:lnTo>
                  <a:lnTo>
                    <a:pt x="1660" y="167"/>
                  </a:lnTo>
                  <a:lnTo>
                    <a:pt x="1675" y="179"/>
                  </a:lnTo>
                  <a:lnTo>
                    <a:pt x="1676" y="192"/>
                  </a:lnTo>
                  <a:lnTo>
                    <a:pt x="1679" y="203"/>
                  </a:lnTo>
                  <a:lnTo>
                    <a:pt x="1682" y="210"/>
                  </a:lnTo>
                  <a:lnTo>
                    <a:pt x="1685" y="215"/>
                  </a:lnTo>
                  <a:lnTo>
                    <a:pt x="1689" y="218"/>
                  </a:lnTo>
                  <a:lnTo>
                    <a:pt x="1695" y="219"/>
                  </a:lnTo>
                  <a:lnTo>
                    <a:pt x="1700" y="219"/>
                  </a:lnTo>
                  <a:lnTo>
                    <a:pt x="1705" y="217"/>
                  </a:lnTo>
                  <a:lnTo>
                    <a:pt x="1718" y="213"/>
                  </a:lnTo>
                  <a:lnTo>
                    <a:pt x="1731" y="207"/>
                  </a:lnTo>
                  <a:lnTo>
                    <a:pt x="1737" y="205"/>
                  </a:lnTo>
                  <a:lnTo>
                    <a:pt x="1745" y="203"/>
                  </a:lnTo>
                  <a:lnTo>
                    <a:pt x="1751" y="203"/>
                  </a:lnTo>
                  <a:lnTo>
                    <a:pt x="1757" y="204"/>
                  </a:lnTo>
                  <a:lnTo>
                    <a:pt x="1763" y="206"/>
                  </a:lnTo>
                  <a:lnTo>
                    <a:pt x="1769" y="209"/>
                  </a:lnTo>
                  <a:lnTo>
                    <a:pt x="1774" y="212"/>
                  </a:lnTo>
                  <a:lnTo>
                    <a:pt x="1777" y="216"/>
                  </a:lnTo>
                  <a:lnTo>
                    <a:pt x="1780" y="222"/>
                  </a:lnTo>
                  <a:lnTo>
                    <a:pt x="1782" y="227"/>
                  </a:lnTo>
                  <a:lnTo>
                    <a:pt x="1784" y="232"/>
                  </a:lnTo>
                  <a:lnTo>
                    <a:pt x="1784" y="237"/>
                  </a:lnTo>
                  <a:lnTo>
                    <a:pt x="1785" y="250"/>
                  </a:lnTo>
                  <a:lnTo>
                    <a:pt x="1784" y="261"/>
                  </a:lnTo>
                  <a:lnTo>
                    <a:pt x="1782" y="274"/>
                  </a:lnTo>
                  <a:lnTo>
                    <a:pt x="1779" y="284"/>
                  </a:lnTo>
                  <a:lnTo>
                    <a:pt x="1773" y="304"/>
                  </a:lnTo>
                  <a:lnTo>
                    <a:pt x="1768" y="324"/>
                  </a:lnTo>
                  <a:lnTo>
                    <a:pt x="1767" y="333"/>
                  </a:lnTo>
                  <a:lnTo>
                    <a:pt x="1767" y="343"/>
                  </a:lnTo>
                  <a:lnTo>
                    <a:pt x="1769" y="348"/>
                  </a:lnTo>
                  <a:lnTo>
                    <a:pt x="1770" y="353"/>
                  </a:lnTo>
                  <a:lnTo>
                    <a:pt x="1773" y="357"/>
                  </a:lnTo>
                  <a:lnTo>
                    <a:pt x="1776" y="362"/>
                  </a:lnTo>
                  <a:lnTo>
                    <a:pt x="1782" y="374"/>
                  </a:lnTo>
                  <a:lnTo>
                    <a:pt x="1786" y="383"/>
                  </a:lnTo>
                  <a:lnTo>
                    <a:pt x="1790" y="393"/>
                  </a:lnTo>
                  <a:lnTo>
                    <a:pt x="1790" y="402"/>
                  </a:lnTo>
                  <a:lnTo>
                    <a:pt x="1788" y="409"/>
                  </a:lnTo>
                  <a:lnTo>
                    <a:pt x="1786" y="417"/>
                  </a:lnTo>
                  <a:lnTo>
                    <a:pt x="1783" y="424"/>
                  </a:lnTo>
                  <a:lnTo>
                    <a:pt x="1778" y="431"/>
                  </a:lnTo>
                  <a:lnTo>
                    <a:pt x="1767" y="445"/>
                  </a:lnTo>
                  <a:lnTo>
                    <a:pt x="1754" y="459"/>
                  </a:lnTo>
                  <a:lnTo>
                    <a:pt x="1748" y="467"/>
                  </a:lnTo>
                  <a:lnTo>
                    <a:pt x="1740" y="474"/>
                  </a:lnTo>
                  <a:lnTo>
                    <a:pt x="1735" y="482"/>
                  </a:lnTo>
                  <a:lnTo>
                    <a:pt x="1730" y="492"/>
                  </a:lnTo>
                  <a:lnTo>
                    <a:pt x="1726" y="500"/>
                  </a:lnTo>
                  <a:lnTo>
                    <a:pt x="1725" y="507"/>
                  </a:lnTo>
                  <a:lnTo>
                    <a:pt x="1724" y="515"/>
                  </a:lnTo>
                  <a:lnTo>
                    <a:pt x="1726" y="521"/>
                  </a:lnTo>
                  <a:lnTo>
                    <a:pt x="1728" y="527"/>
                  </a:lnTo>
                  <a:lnTo>
                    <a:pt x="1731" y="533"/>
                  </a:lnTo>
                  <a:lnTo>
                    <a:pt x="1736" y="539"/>
                  </a:lnTo>
                  <a:lnTo>
                    <a:pt x="1742" y="544"/>
                  </a:lnTo>
                  <a:lnTo>
                    <a:pt x="1753" y="554"/>
                  </a:lnTo>
                  <a:lnTo>
                    <a:pt x="1767" y="563"/>
                  </a:lnTo>
                  <a:lnTo>
                    <a:pt x="1781" y="571"/>
                  </a:lnTo>
                  <a:lnTo>
                    <a:pt x="1794" y="578"/>
                  </a:lnTo>
                  <a:lnTo>
                    <a:pt x="1801" y="585"/>
                  </a:lnTo>
                  <a:lnTo>
                    <a:pt x="1807" y="593"/>
                  </a:lnTo>
                  <a:lnTo>
                    <a:pt x="1812" y="601"/>
                  </a:lnTo>
                  <a:lnTo>
                    <a:pt x="1816" y="612"/>
                  </a:lnTo>
                  <a:lnTo>
                    <a:pt x="1817" y="616"/>
                  </a:lnTo>
                  <a:lnTo>
                    <a:pt x="1817" y="620"/>
                  </a:lnTo>
                  <a:lnTo>
                    <a:pt x="1816" y="624"/>
                  </a:lnTo>
                  <a:lnTo>
                    <a:pt x="1813" y="628"/>
                  </a:lnTo>
                  <a:lnTo>
                    <a:pt x="1811" y="632"/>
                  </a:lnTo>
                  <a:lnTo>
                    <a:pt x="1807" y="635"/>
                  </a:lnTo>
                  <a:lnTo>
                    <a:pt x="1803" y="637"/>
                  </a:lnTo>
                  <a:lnTo>
                    <a:pt x="1797" y="638"/>
                  </a:lnTo>
                  <a:lnTo>
                    <a:pt x="1772" y="639"/>
                  </a:lnTo>
                  <a:lnTo>
                    <a:pt x="1738" y="639"/>
                  </a:lnTo>
                  <a:lnTo>
                    <a:pt x="1723" y="640"/>
                  </a:lnTo>
                  <a:lnTo>
                    <a:pt x="1708" y="643"/>
                  </a:lnTo>
                  <a:lnTo>
                    <a:pt x="1703" y="644"/>
                  </a:lnTo>
                  <a:lnTo>
                    <a:pt x="1699" y="647"/>
                  </a:lnTo>
                  <a:lnTo>
                    <a:pt x="1696" y="650"/>
                  </a:lnTo>
                  <a:lnTo>
                    <a:pt x="1694" y="653"/>
                  </a:lnTo>
                  <a:lnTo>
                    <a:pt x="1694" y="661"/>
                  </a:lnTo>
                  <a:lnTo>
                    <a:pt x="1695" y="667"/>
                  </a:lnTo>
                  <a:lnTo>
                    <a:pt x="1697" y="673"/>
                  </a:lnTo>
                  <a:lnTo>
                    <a:pt x="1700" y="678"/>
                  </a:lnTo>
                  <a:lnTo>
                    <a:pt x="1707" y="690"/>
                  </a:lnTo>
                  <a:lnTo>
                    <a:pt x="1714" y="701"/>
                  </a:lnTo>
                  <a:lnTo>
                    <a:pt x="1717" y="708"/>
                  </a:lnTo>
                  <a:lnTo>
                    <a:pt x="1718" y="714"/>
                  </a:lnTo>
                  <a:lnTo>
                    <a:pt x="1718" y="721"/>
                  </a:lnTo>
                  <a:lnTo>
                    <a:pt x="1718" y="729"/>
                  </a:lnTo>
                  <a:lnTo>
                    <a:pt x="1718" y="735"/>
                  </a:lnTo>
                  <a:lnTo>
                    <a:pt x="1719" y="742"/>
                  </a:lnTo>
                  <a:lnTo>
                    <a:pt x="1720" y="747"/>
                  </a:lnTo>
                  <a:lnTo>
                    <a:pt x="1723" y="754"/>
                  </a:lnTo>
                  <a:lnTo>
                    <a:pt x="1730" y="753"/>
                  </a:lnTo>
                  <a:lnTo>
                    <a:pt x="1735" y="750"/>
                  </a:lnTo>
                  <a:lnTo>
                    <a:pt x="1739" y="746"/>
                  </a:lnTo>
                  <a:lnTo>
                    <a:pt x="1745" y="742"/>
                  </a:lnTo>
                  <a:lnTo>
                    <a:pt x="1749" y="738"/>
                  </a:lnTo>
                  <a:lnTo>
                    <a:pt x="1753" y="734"/>
                  </a:lnTo>
                  <a:lnTo>
                    <a:pt x="1758" y="731"/>
                  </a:lnTo>
                  <a:lnTo>
                    <a:pt x="1764" y="729"/>
                  </a:lnTo>
                  <a:lnTo>
                    <a:pt x="1783" y="722"/>
                  </a:lnTo>
                  <a:lnTo>
                    <a:pt x="1804" y="717"/>
                  </a:lnTo>
                  <a:lnTo>
                    <a:pt x="1815" y="715"/>
                  </a:lnTo>
                  <a:lnTo>
                    <a:pt x="1824" y="713"/>
                  </a:lnTo>
                  <a:lnTo>
                    <a:pt x="1834" y="713"/>
                  </a:lnTo>
                  <a:lnTo>
                    <a:pt x="1843" y="713"/>
                  </a:lnTo>
                  <a:lnTo>
                    <a:pt x="1852" y="713"/>
                  </a:lnTo>
                  <a:lnTo>
                    <a:pt x="1859" y="715"/>
                  </a:lnTo>
                  <a:lnTo>
                    <a:pt x="1867" y="719"/>
                  </a:lnTo>
                  <a:lnTo>
                    <a:pt x="1873" y="723"/>
                  </a:lnTo>
                  <a:lnTo>
                    <a:pt x="1878" y="731"/>
                  </a:lnTo>
                  <a:lnTo>
                    <a:pt x="1881" y="738"/>
                  </a:lnTo>
                  <a:lnTo>
                    <a:pt x="1883" y="748"/>
                  </a:lnTo>
                  <a:lnTo>
                    <a:pt x="1884" y="761"/>
                  </a:lnTo>
                  <a:lnTo>
                    <a:pt x="1882" y="769"/>
                  </a:lnTo>
                  <a:lnTo>
                    <a:pt x="1882" y="776"/>
                  </a:lnTo>
                  <a:lnTo>
                    <a:pt x="1883" y="782"/>
                  </a:lnTo>
                  <a:lnTo>
                    <a:pt x="1885" y="788"/>
                  </a:lnTo>
                  <a:lnTo>
                    <a:pt x="1895" y="790"/>
                  </a:lnTo>
                  <a:lnTo>
                    <a:pt x="1904" y="790"/>
                  </a:lnTo>
                  <a:lnTo>
                    <a:pt x="1913" y="790"/>
                  </a:lnTo>
                  <a:lnTo>
                    <a:pt x="1922" y="789"/>
                  </a:lnTo>
                  <a:lnTo>
                    <a:pt x="1939" y="786"/>
                  </a:lnTo>
                  <a:lnTo>
                    <a:pt x="1953" y="785"/>
                  </a:lnTo>
                  <a:lnTo>
                    <a:pt x="1959" y="785"/>
                  </a:lnTo>
                  <a:lnTo>
                    <a:pt x="1965" y="787"/>
                  </a:lnTo>
                  <a:lnTo>
                    <a:pt x="1969" y="790"/>
                  </a:lnTo>
                  <a:lnTo>
                    <a:pt x="1972" y="795"/>
                  </a:lnTo>
                  <a:lnTo>
                    <a:pt x="1973" y="802"/>
                  </a:lnTo>
                  <a:lnTo>
                    <a:pt x="1973" y="811"/>
                  </a:lnTo>
                  <a:lnTo>
                    <a:pt x="1972" y="823"/>
                  </a:lnTo>
                  <a:lnTo>
                    <a:pt x="1969" y="838"/>
                  </a:lnTo>
                  <a:lnTo>
                    <a:pt x="1967" y="844"/>
                  </a:lnTo>
                  <a:lnTo>
                    <a:pt x="1964" y="851"/>
                  </a:lnTo>
                  <a:lnTo>
                    <a:pt x="1960" y="857"/>
                  </a:lnTo>
                  <a:lnTo>
                    <a:pt x="1956" y="862"/>
                  </a:lnTo>
                  <a:lnTo>
                    <a:pt x="1947" y="871"/>
                  </a:lnTo>
                  <a:lnTo>
                    <a:pt x="1938" y="882"/>
                  </a:lnTo>
                  <a:lnTo>
                    <a:pt x="1933" y="886"/>
                  </a:lnTo>
                  <a:lnTo>
                    <a:pt x="1929" y="891"/>
                  </a:lnTo>
                  <a:lnTo>
                    <a:pt x="1925" y="897"/>
                  </a:lnTo>
                  <a:lnTo>
                    <a:pt x="1923" y="902"/>
                  </a:lnTo>
                  <a:lnTo>
                    <a:pt x="1921" y="908"/>
                  </a:lnTo>
                  <a:lnTo>
                    <a:pt x="1921" y="914"/>
                  </a:lnTo>
                  <a:lnTo>
                    <a:pt x="1921" y="922"/>
                  </a:lnTo>
                  <a:lnTo>
                    <a:pt x="1923" y="929"/>
                  </a:lnTo>
                  <a:lnTo>
                    <a:pt x="1926" y="936"/>
                  </a:lnTo>
                  <a:lnTo>
                    <a:pt x="1930" y="941"/>
                  </a:lnTo>
                  <a:lnTo>
                    <a:pt x="1934" y="947"/>
                  </a:lnTo>
                  <a:lnTo>
                    <a:pt x="1939" y="950"/>
                  </a:lnTo>
                  <a:lnTo>
                    <a:pt x="1944" y="952"/>
                  </a:lnTo>
                  <a:lnTo>
                    <a:pt x="1949" y="952"/>
                  </a:lnTo>
                  <a:lnTo>
                    <a:pt x="1954" y="952"/>
                  </a:lnTo>
                  <a:lnTo>
                    <a:pt x="1960" y="951"/>
                  </a:lnTo>
                  <a:lnTo>
                    <a:pt x="1966" y="949"/>
                  </a:lnTo>
                  <a:lnTo>
                    <a:pt x="1971" y="947"/>
                  </a:lnTo>
                  <a:lnTo>
                    <a:pt x="1976" y="943"/>
                  </a:lnTo>
                  <a:lnTo>
                    <a:pt x="1981" y="939"/>
                  </a:lnTo>
                  <a:lnTo>
                    <a:pt x="1991" y="931"/>
                  </a:lnTo>
                  <a:lnTo>
                    <a:pt x="1998" y="921"/>
                  </a:lnTo>
                  <a:lnTo>
                    <a:pt x="2003" y="914"/>
                  </a:lnTo>
                  <a:lnTo>
                    <a:pt x="2008" y="909"/>
                  </a:lnTo>
                  <a:lnTo>
                    <a:pt x="2015" y="904"/>
                  </a:lnTo>
                  <a:lnTo>
                    <a:pt x="2021" y="900"/>
                  </a:lnTo>
                  <a:lnTo>
                    <a:pt x="2028" y="895"/>
                  </a:lnTo>
                  <a:lnTo>
                    <a:pt x="2037" y="892"/>
                  </a:lnTo>
                  <a:lnTo>
                    <a:pt x="2045" y="890"/>
                  </a:lnTo>
                  <a:lnTo>
                    <a:pt x="2053" y="888"/>
                  </a:lnTo>
                  <a:lnTo>
                    <a:pt x="2071" y="885"/>
                  </a:lnTo>
                  <a:lnTo>
                    <a:pt x="2090" y="883"/>
                  </a:lnTo>
                  <a:lnTo>
                    <a:pt x="2110" y="883"/>
                  </a:lnTo>
                  <a:lnTo>
                    <a:pt x="2129" y="883"/>
                  </a:lnTo>
                  <a:lnTo>
                    <a:pt x="2129" y="883"/>
                  </a:lnTo>
                  <a:lnTo>
                    <a:pt x="2128" y="891"/>
                  </a:lnTo>
                  <a:lnTo>
                    <a:pt x="2127" y="900"/>
                  </a:lnTo>
                  <a:lnTo>
                    <a:pt x="2125" y="908"/>
                  </a:lnTo>
                  <a:lnTo>
                    <a:pt x="2123" y="916"/>
                  </a:lnTo>
                  <a:lnTo>
                    <a:pt x="2117" y="931"/>
                  </a:lnTo>
                  <a:lnTo>
                    <a:pt x="2110" y="943"/>
                  </a:lnTo>
                  <a:lnTo>
                    <a:pt x="2100" y="956"/>
                  </a:lnTo>
                  <a:lnTo>
                    <a:pt x="2090" y="967"/>
                  </a:lnTo>
                  <a:lnTo>
                    <a:pt x="2078" y="978"/>
                  </a:lnTo>
                  <a:lnTo>
                    <a:pt x="2067" y="987"/>
                  </a:lnTo>
                  <a:lnTo>
                    <a:pt x="2041" y="1005"/>
                  </a:lnTo>
                  <a:lnTo>
                    <a:pt x="2016" y="1022"/>
                  </a:lnTo>
                  <a:lnTo>
                    <a:pt x="2003" y="1029"/>
                  </a:lnTo>
                  <a:lnTo>
                    <a:pt x="1992" y="1037"/>
                  </a:lnTo>
                  <a:lnTo>
                    <a:pt x="1981" y="1045"/>
                  </a:lnTo>
                  <a:lnTo>
                    <a:pt x="1972" y="1053"/>
                  </a:lnTo>
                  <a:lnTo>
                    <a:pt x="1959" y="1064"/>
                  </a:lnTo>
                  <a:lnTo>
                    <a:pt x="1945" y="1075"/>
                  </a:lnTo>
                  <a:lnTo>
                    <a:pt x="1930" y="1085"/>
                  </a:lnTo>
                  <a:lnTo>
                    <a:pt x="1916" y="1095"/>
                  </a:lnTo>
                  <a:lnTo>
                    <a:pt x="1884" y="1115"/>
                  </a:lnTo>
                  <a:lnTo>
                    <a:pt x="1854" y="1135"/>
                  </a:lnTo>
                  <a:lnTo>
                    <a:pt x="1840" y="1146"/>
                  </a:lnTo>
                  <a:lnTo>
                    <a:pt x="1826" y="1157"/>
                  </a:lnTo>
                  <a:lnTo>
                    <a:pt x="1815" y="1170"/>
                  </a:lnTo>
                  <a:lnTo>
                    <a:pt x="1804" y="1183"/>
                  </a:lnTo>
                  <a:lnTo>
                    <a:pt x="1800" y="1190"/>
                  </a:lnTo>
                  <a:lnTo>
                    <a:pt x="1796" y="1197"/>
                  </a:lnTo>
                  <a:lnTo>
                    <a:pt x="1793" y="1205"/>
                  </a:lnTo>
                  <a:lnTo>
                    <a:pt x="1790" y="1213"/>
                  </a:lnTo>
                  <a:lnTo>
                    <a:pt x="1787" y="1221"/>
                  </a:lnTo>
                  <a:lnTo>
                    <a:pt x="1785" y="1229"/>
                  </a:lnTo>
                  <a:lnTo>
                    <a:pt x="1784" y="1239"/>
                  </a:lnTo>
                  <a:lnTo>
                    <a:pt x="1784" y="1248"/>
                  </a:lnTo>
                  <a:lnTo>
                    <a:pt x="1784" y="1269"/>
                  </a:lnTo>
                  <a:lnTo>
                    <a:pt x="1783" y="1290"/>
                  </a:lnTo>
                  <a:lnTo>
                    <a:pt x="1781" y="1312"/>
                  </a:lnTo>
                  <a:lnTo>
                    <a:pt x="1778" y="1334"/>
                  </a:lnTo>
                  <a:lnTo>
                    <a:pt x="1775" y="1344"/>
                  </a:lnTo>
                  <a:lnTo>
                    <a:pt x="1773" y="1355"/>
                  </a:lnTo>
                  <a:lnTo>
                    <a:pt x="1769" y="1364"/>
                  </a:lnTo>
                  <a:lnTo>
                    <a:pt x="1764" y="1373"/>
                  </a:lnTo>
                  <a:lnTo>
                    <a:pt x="1759" y="1383"/>
                  </a:lnTo>
                  <a:lnTo>
                    <a:pt x="1754" y="1391"/>
                  </a:lnTo>
                  <a:lnTo>
                    <a:pt x="1747" y="1398"/>
                  </a:lnTo>
                  <a:lnTo>
                    <a:pt x="1739" y="1405"/>
                  </a:lnTo>
                  <a:lnTo>
                    <a:pt x="1731" y="1413"/>
                  </a:lnTo>
                  <a:lnTo>
                    <a:pt x="1722" y="1422"/>
                  </a:lnTo>
                  <a:lnTo>
                    <a:pt x="1713" y="1432"/>
                  </a:lnTo>
                  <a:lnTo>
                    <a:pt x="1705" y="1443"/>
                  </a:lnTo>
                  <a:lnTo>
                    <a:pt x="1689" y="1468"/>
                  </a:lnTo>
                  <a:lnTo>
                    <a:pt x="1675" y="1494"/>
                  </a:lnTo>
                  <a:lnTo>
                    <a:pt x="1661" y="1522"/>
                  </a:lnTo>
                  <a:lnTo>
                    <a:pt x="1650" y="1550"/>
                  </a:lnTo>
                  <a:lnTo>
                    <a:pt x="1638" y="1575"/>
                  </a:lnTo>
                  <a:lnTo>
                    <a:pt x="1629" y="1598"/>
                  </a:lnTo>
                  <a:lnTo>
                    <a:pt x="1626" y="1604"/>
                  </a:lnTo>
                  <a:lnTo>
                    <a:pt x="1622" y="1609"/>
                  </a:lnTo>
                  <a:lnTo>
                    <a:pt x="1617" y="1614"/>
                  </a:lnTo>
                  <a:lnTo>
                    <a:pt x="1612" y="1618"/>
                  </a:lnTo>
                  <a:lnTo>
                    <a:pt x="1606" y="1623"/>
                  </a:lnTo>
                  <a:lnTo>
                    <a:pt x="1600" y="1626"/>
                  </a:lnTo>
                  <a:lnTo>
                    <a:pt x="1593" y="1628"/>
                  </a:lnTo>
                  <a:lnTo>
                    <a:pt x="1586" y="1630"/>
                  </a:lnTo>
                  <a:lnTo>
                    <a:pt x="1571" y="1633"/>
                  </a:lnTo>
                  <a:lnTo>
                    <a:pt x="1555" y="1635"/>
                  </a:lnTo>
                  <a:lnTo>
                    <a:pt x="1537" y="1636"/>
                  </a:lnTo>
                  <a:lnTo>
                    <a:pt x="1519" y="1635"/>
                  </a:lnTo>
                  <a:lnTo>
                    <a:pt x="1483" y="1633"/>
                  </a:lnTo>
                  <a:lnTo>
                    <a:pt x="1446" y="1631"/>
                  </a:lnTo>
                  <a:lnTo>
                    <a:pt x="1430" y="1631"/>
                  </a:lnTo>
                  <a:lnTo>
                    <a:pt x="1414" y="1631"/>
                  </a:lnTo>
                  <a:lnTo>
                    <a:pt x="1400" y="1632"/>
                  </a:lnTo>
                  <a:lnTo>
                    <a:pt x="1387" y="1635"/>
                  </a:lnTo>
                  <a:lnTo>
                    <a:pt x="1362" y="1640"/>
                  </a:lnTo>
                  <a:lnTo>
                    <a:pt x="1334" y="1647"/>
                  </a:lnTo>
                  <a:lnTo>
                    <a:pt x="1303" y="1651"/>
                  </a:lnTo>
                  <a:lnTo>
                    <a:pt x="1270" y="1655"/>
                  </a:lnTo>
                  <a:lnTo>
                    <a:pt x="1237" y="1657"/>
                  </a:lnTo>
                  <a:lnTo>
                    <a:pt x="1206" y="1658"/>
                  </a:lnTo>
                  <a:lnTo>
                    <a:pt x="1191" y="1658"/>
                  </a:lnTo>
                  <a:lnTo>
                    <a:pt x="1176" y="1658"/>
                  </a:lnTo>
                  <a:lnTo>
                    <a:pt x="1164" y="1656"/>
                  </a:lnTo>
                  <a:lnTo>
                    <a:pt x="1151" y="1655"/>
                  </a:lnTo>
                  <a:lnTo>
                    <a:pt x="1078" y="1741"/>
                  </a:lnTo>
                  <a:lnTo>
                    <a:pt x="1078" y="1741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4" name="Freeform 171">
              <a:extLst>
                <a:ext uri="{FF2B5EF4-FFF2-40B4-BE49-F238E27FC236}">
                  <a16:creationId xmlns:a16="http://schemas.microsoft.com/office/drawing/2014/main" id="{37A9D53F-39EB-4C88-AEE0-68482339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1404" y="3337997"/>
              <a:ext cx="681299" cy="432769"/>
            </a:xfrm>
            <a:custGeom>
              <a:avLst/>
              <a:gdLst>
                <a:gd name="T0" fmla="*/ 202 w 2713"/>
                <a:gd name="T1" fmla="*/ 1685 h 1779"/>
                <a:gd name="T2" fmla="*/ 314 w 2713"/>
                <a:gd name="T3" fmla="*/ 1628 h 1779"/>
                <a:gd name="T4" fmla="*/ 439 w 2713"/>
                <a:gd name="T5" fmla="*/ 1599 h 1779"/>
                <a:gd name="T6" fmla="*/ 713 w 2713"/>
                <a:gd name="T7" fmla="*/ 1490 h 1779"/>
                <a:gd name="T8" fmla="*/ 975 w 2713"/>
                <a:gd name="T9" fmla="*/ 1325 h 1779"/>
                <a:gd name="T10" fmla="*/ 1173 w 2713"/>
                <a:gd name="T11" fmla="*/ 1299 h 1779"/>
                <a:gd name="T12" fmla="*/ 1258 w 2713"/>
                <a:gd name="T13" fmla="*/ 1193 h 1779"/>
                <a:gd name="T14" fmla="*/ 1435 w 2713"/>
                <a:gd name="T15" fmla="*/ 1133 h 1779"/>
                <a:gd name="T16" fmla="*/ 1504 w 2713"/>
                <a:gd name="T17" fmla="*/ 1043 h 1779"/>
                <a:gd name="T18" fmla="*/ 1611 w 2713"/>
                <a:gd name="T19" fmla="*/ 1025 h 1779"/>
                <a:gd name="T20" fmla="*/ 1612 w 2713"/>
                <a:gd name="T21" fmla="*/ 1100 h 1779"/>
                <a:gd name="T22" fmla="*/ 1691 w 2713"/>
                <a:gd name="T23" fmla="*/ 1120 h 1779"/>
                <a:gd name="T24" fmla="*/ 1766 w 2713"/>
                <a:gd name="T25" fmla="*/ 1121 h 1779"/>
                <a:gd name="T26" fmla="*/ 1929 w 2713"/>
                <a:gd name="T27" fmla="*/ 1196 h 1779"/>
                <a:gd name="T28" fmla="*/ 2015 w 2713"/>
                <a:gd name="T29" fmla="*/ 1300 h 1779"/>
                <a:gd name="T30" fmla="*/ 2276 w 2713"/>
                <a:gd name="T31" fmla="*/ 1369 h 1779"/>
                <a:gd name="T32" fmla="*/ 2223 w 2713"/>
                <a:gd name="T33" fmla="*/ 1184 h 1779"/>
                <a:gd name="T34" fmla="*/ 2388 w 2713"/>
                <a:gd name="T35" fmla="*/ 1178 h 1779"/>
                <a:gd name="T36" fmla="*/ 2456 w 2713"/>
                <a:gd name="T37" fmla="*/ 1141 h 1779"/>
                <a:gd name="T38" fmla="*/ 2555 w 2713"/>
                <a:gd name="T39" fmla="*/ 1072 h 1779"/>
                <a:gd name="T40" fmla="*/ 2552 w 2713"/>
                <a:gd name="T41" fmla="*/ 1002 h 1779"/>
                <a:gd name="T42" fmla="*/ 2651 w 2713"/>
                <a:gd name="T43" fmla="*/ 939 h 1779"/>
                <a:gd name="T44" fmla="*/ 2661 w 2713"/>
                <a:gd name="T45" fmla="*/ 827 h 1779"/>
                <a:gd name="T46" fmla="*/ 2712 w 2713"/>
                <a:gd name="T47" fmla="*/ 757 h 1779"/>
                <a:gd name="T48" fmla="*/ 2648 w 2713"/>
                <a:gd name="T49" fmla="*/ 750 h 1779"/>
                <a:gd name="T50" fmla="*/ 2572 w 2713"/>
                <a:gd name="T51" fmla="*/ 719 h 1779"/>
                <a:gd name="T52" fmla="*/ 2690 w 2713"/>
                <a:gd name="T53" fmla="*/ 610 h 1779"/>
                <a:gd name="T54" fmla="*/ 2581 w 2713"/>
                <a:gd name="T55" fmla="*/ 589 h 1779"/>
                <a:gd name="T56" fmla="*/ 2613 w 2713"/>
                <a:gd name="T57" fmla="*/ 500 h 1779"/>
                <a:gd name="T58" fmla="*/ 2705 w 2713"/>
                <a:gd name="T59" fmla="*/ 453 h 1779"/>
                <a:gd name="T60" fmla="*/ 2627 w 2713"/>
                <a:gd name="T61" fmla="*/ 214 h 1779"/>
                <a:gd name="T62" fmla="*/ 2674 w 2713"/>
                <a:gd name="T63" fmla="*/ 110 h 1779"/>
                <a:gd name="T64" fmla="*/ 2558 w 2713"/>
                <a:gd name="T65" fmla="*/ 59 h 1779"/>
                <a:gd name="T66" fmla="*/ 2352 w 2713"/>
                <a:gd name="T67" fmla="*/ 29 h 1779"/>
                <a:gd name="T68" fmla="*/ 2190 w 2713"/>
                <a:gd name="T69" fmla="*/ 2 h 1779"/>
                <a:gd name="T70" fmla="*/ 2033 w 2713"/>
                <a:gd name="T71" fmla="*/ 95 h 1779"/>
                <a:gd name="T72" fmla="*/ 1864 w 2713"/>
                <a:gd name="T73" fmla="*/ 95 h 1779"/>
                <a:gd name="T74" fmla="*/ 1673 w 2713"/>
                <a:gd name="T75" fmla="*/ 199 h 1779"/>
                <a:gd name="T76" fmla="*/ 1522 w 2713"/>
                <a:gd name="T77" fmla="*/ 216 h 1779"/>
                <a:gd name="T78" fmla="*/ 1332 w 2713"/>
                <a:gd name="T79" fmla="*/ 172 h 1779"/>
                <a:gd name="T80" fmla="*/ 1220 w 2713"/>
                <a:gd name="T81" fmla="*/ 290 h 1779"/>
                <a:gd name="T82" fmla="*/ 1058 w 2713"/>
                <a:gd name="T83" fmla="*/ 353 h 1779"/>
                <a:gd name="T84" fmla="*/ 842 w 2713"/>
                <a:gd name="T85" fmla="*/ 417 h 1779"/>
                <a:gd name="T86" fmla="*/ 528 w 2713"/>
                <a:gd name="T87" fmla="*/ 412 h 1779"/>
                <a:gd name="T88" fmla="*/ 290 w 2713"/>
                <a:gd name="T89" fmla="*/ 498 h 1779"/>
                <a:gd name="T90" fmla="*/ 305 w 2713"/>
                <a:gd name="T91" fmla="*/ 577 h 1779"/>
                <a:gd name="T92" fmla="*/ 371 w 2713"/>
                <a:gd name="T93" fmla="*/ 596 h 1779"/>
                <a:gd name="T94" fmla="*/ 295 w 2713"/>
                <a:gd name="T95" fmla="*/ 680 h 1779"/>
                <a:gd name="T96" fmla="*/ 227 w 2713"/>
                <a:gd name="T97" fmla="*/ 808 h 1779"/>
                <a:gd name="T98" fmla="*/ 288 w 2713"/>
                <a:gd name="T99" fmla="*/ 952 h 1779"/>
                <a:gd name="T100" fmla="*/ 316 w 2713"/>
                <a:gd name="T101" fmla="*/ 1216 h 1779"/>
                <a:gd name="T102" fmla="*/ 224 w 2713"/>
                <a:gd name="T103" fmla="*/ 1277 h 1779"/>
                <a:gd name="T104" fmla="*/ 89 w 2713"/>
                <a:gd name="T105" fmla="*/ 1339 h 1779"/>
                <a:gd name="T106" fmla="*/ 11 w 2713"/>
                <a:gd name="T107" fmla="*/ 1379 h 1779"/>
                <a:gd name="T108" fmla="*/ 35 w 2713"/>
                <a:gd name="T109" fmla="*/ 1452 h 1779"/>
                <a:gd name="T110" fmla="*/ 6 w 2713"/>
                <a:gd name="T111" fmla="*/ 1539 h 1779"/>
                <a:gd name="T112" fmla="*/ 19 w 2713"/>
                <a:gd name="T113" fmla="*/ 1610 h 1779"/>
                <a:gd name="T114" fmla="*/ 121 w 2713"/>
                <a:gd name="T115" fmla="*/ 1646 h 1779"/>
                <a:gd name="T116" fmla="*/ 115 w 2713"/>
                <a:gd name="T117" fmla="*/ 1747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13" h="1779">
                  <a:moveTo>
                    <a:pt x="120" y="1779"/>
                  </a:moveTo>
                  <a:lnTo>
                    <a:pt x="128" y="1773"/>
                  </a:lnTo>
                  <a:lnTo>
                    <a:pt x="131" y="1764"/>
                  </a:lnTo>
                  <a:lnTo>
                    <a:pt x="135" y="1754"/>
                  </a:lnTo>
                  <a:lnTo>
                    <a:pt x="141" y="1741"/>
                  </a:lnTo>
                  <a:lnTo>
                    <a:pt x="147" y="1730"/>
                  </a:lnTo>
                  <a:lnTo>
                    <a:pt x="153" y="1718"/>
                  </a:lnTo>
                  <a:lnTo>
                    <a:pt x="160" y="1708"/>
                  </a:lnTo>
                  <a:lnTo>
                    <a:pt x="168" y="1698"/>
                  </a:lnTo>
                  <a:lnTo>
                    <a:pt x="176" y="1692"/>
                  </a:lnTo>
                  <a:lnTo>
                    <a:pt x="183" y="1688"/>
                  </a:lnTo>
                  <a:lnTo>
                    <a:pt x="193" y="1686"/>
                  </a:lnTo>
                  <a:lnTo>
                    <a:pt x="202" y="1685"/>
                  </a:lnTo>
                  <a:lnTo>
                    <a:pt x="211" y="1684"/>
                  </a:lnTo>
                  <a:lnTo>
                    <a:pt x="222" y="1683"/>
                  </a:lnTo>
                  <a:lnTo>
                    <a:pt x="231" y="1680"/>
                  </a:lnTo>
                  <a:lnTo>
                    <a:pt x="236" y="1679"/>
                  </a:lnTo>
                  <a:lnTo>
                    <a:pt x="242" y="1677"/>
                  </a:lnTo>
                  <a:lnTo>
                    <a:pt x="246" y="1675"/>
                  </a:lnTo>
                  <a:lnTo>
                    <a:pt x="251" y="1672"/>
                  </a:lnTo>
                  <a:lnTo>
                    <a:pt x="272" y="1654"/>
                  </a:lnTo>
                  <a:lnTo>
                    <a:pt x="292" y="1639"/>
                  </a:lnTo>
                  <a:lnTo>
                    <a:pt x="296" y="1636"/>
                  </a:lnTo>
                  <a:lnTo>
                    <a:pt x="302" y="1632"/>
                  </a:lnTo>
                  <a:lnTo>
                    <a:pt x="307" y="1630"/>
                  </a:lnTo>
                  <a:lnTo>
                    <a:pt x="314" y="1628"/>
                  </a:lnTo>
                  <a:lnTo>
                    <a:pt x="320" y="1627"/>
                  </a:lnTo>
                  <a:lnTo>
                    <a:pt x="326" y="1627"/>
                  </a:lnTo>
                  <a:lnTo>
                    <a:pt x="333" y="1627"/>
                  </a:lnTo>
                  <a:lnTo>
                    <a:pt x="341" y="1628"/>
                  </a:lnTo>
                  <a:lnTo>
                    <a:pt x="351" y="1628"/>
                  </a:lnTo>
                  <a:lnTo>
                    <a:pt x="361" y="1628"/>
                  </a:lnTo>
                  <a:lnTo>
                    <a:pt x="370" y="1627"/>
                  </a:lnTo>
                  <a:lnTo>
                    <a:pt x="380" y="1625"/>
                  </a:lnTo>
                  <a:lnTo>
                    <a:pt x="390" y="1622"/>
                  </a:lnTo>
                  <a:lnTo>
                    <a:pt x="400" y="1619"/>
                  </a:lnTo>
                  <a:lnTo>
                    <a:pt x="410" y="1615"/>
                  </a:lnTo>
                  <a:lnTo>
                    <a:pt x="420" y="1610"/>
                  </a:lnTo>
                  <a:lnTo>
                    <a:pt x="439" y="1599"/>
                  </a:lnTo>
                  <a:lnTo>
                    <a:pt x="456" y="1587"/>
                  </a:lnTo>
                  <a:lnTo>
                    <a:pt x="473" y="1575"/>
                  </a:lnTo>
                  <a:lnTo>
                    <a:pt x="488" y="1564"/>
                  </a:lnTo>
                  <a:lnTo>
                    <a:pt x="500" y="1556"/>
                  </a:lnTo>
                  <a:lnTo>
                    <a:pt x="513" y="1549"/>
                  </a:lnTo>
                  <a:lnTo>
                    <a:pt x="526" y="1543"/>
                  </a:lnTo>
                  <a:lnTo>
                    <a:pt x="540" y="1538"/>
                  </a:lnTo>
                  <a:lnTo>
                    <a:pt x="569" y="1527"/>
                  </a:lnTo>
                  <a:lnTo>
                    <a:pt x="599" y="1519"/>
                  </a:lnTo>
                  <a:lnTo>
                    <a:pt x="628" y="1511"/>
                  </a:lnTo>
                  <a:lnTo>
                    <a:pt x="659" y="1504"/>
                  </a:lnTo>
                  <a:lnTo>
                    <a:pt x="687" y="1497"/>
                  </a:lnTo>
                  <a:lnTo>
                    <a:pt x="713" y="1490"/>
                  </a:lnTo>
                  <a:lnTo>
                    <a:pt x="737" y="1480"/>
                  </a:lnTo>
                  <a:lnTo>
                    <a:pt x="761" y="1469"/>
                  </a:lnTo>
                  <a:lnTo>
                    <a:pt x="784" y="1456"/>
                  </a:lnTo>
                  <a:lnTo>
                    <a:pt x="806" y="1443"/>
                  </a:lnTo>
                  <a:lnTo>
                    <a:pt x="829" y="1428"/>
                  </a:lnTo>
                  <a:lnTo>
                    <a:pt x="851" y="1413"/>
                  </a:lnTo>
                  <a:lnTo>
                    <a:pt x="871" y="1399"/>
                  </a:lnTo>
                  <a:lnTo>
                    <a:pt x="892" y="1383"/>
                  </a:lnTo>
                  <a:lnTo>
                    <a:pt x="914" y="1368"/>
                  </a:lnTo>
                  <a:lnTo>
                    <a:pt x="938" y="1349"/>
                  </a:lnTo>
                  <a:lnTo>
                    <a:pt x="951" y="1340"/>
                  </a:lnTo>
                  <a:lnTo>
                    <a:pt x="963" y="1332"/>
                  </a:lnTo>
                  <a:lnTo>
                    <a:pt x="975" y="1325"/>
                  </a:lnTo>
                  <a:lnTo>
                    <a:pt x="985" y="1320"/>
                  </a:lnTo>
                  <a:lnTo>
                    <a:pt x="988" y="1315"/>
                  </a:lnTo>
                  <a:lnTo>
                    <a:pt x="993" y="1312"/>
                  </a:lnTo>
                  <a:lnTo>
                    <a:pt x="998" y="1309"/>
                  </a:lnTo>
                  <a:lnTo>
                    <a:pt x="1004" y="1307"/>
                  </a:lnTo>
                  <a:lnTo>
                    <a:pt x="1015" y="1303"/>
                  </a:lnTo>
                  <a:lnTo>
                    <a:pt x="1029" y="1301"/>
                  </a:lnTo>
                  <a:lnTo>
                    <a:pt x="1056" y="1300"/>
                  </a:lnTo>
                  <a:lnTo>
                    <a:pt x="1079" y="1299"/>
                  </a:lnTo>
                  <a:lnTo>
                    <a:pt x="1119" y="1301"/>
                  </a:lnTo>
                  <a:lnTo>
                    <a:pt x="1155" y="1301"/>
                  </a:lnTo>
                  <a:lnTo>
                    <a:pt x="1164" y="1301"/>
                  </a:lnTo>
                  <a:lnTo>
                    <a:pt x="1173" y="1299"/>
                  </a:lnTo>
                  <a:lnTo>
                    <a:pt x="1182" y="1297"/>
                  </a:lnTo>
                  <a:lnTo>
                    <a:pt x="1190" y="1293"/>
                  </a:lnTo>
                  <a:lnTo>
                    <a:pt x="1198" y="1289"/>
                  </a:lnTo>
                  <a:lnTo>
                    <a:pt x="1206" y="1283"/>
                  </a:lnTo>
                  <a:lnTo>
                    <a:pt x="1213" y="1277"/>
                  </a:lnTo>
                  <a:lnTo>
                    <a:pt x="1222" y="1268"/>
                  </a:lnTo>
                  <a:lnTo>
                    <a:pt x="1227" y="1262"/>
                  </a:lnTo>
                  <a:lnTo>
                    <a:pt x="1231" y="1255"/>
                  </a:lnTo>
                  <a:lnTo>
                    <a:pt x="1235" y="1248"/>
                  </a:lnTo>
                  <a:lnTo>
                    <a:pt x="1239" y="1240"/>
                  </a:lnTo>
                  <a:lnTo>
                    <a:pt x="1246" y="1225"/>
                  </a:lnTo>
                  <a:lnTo>
                    <a:pt x="1252" y="1209"/>
                  </a:lnTo>
                  <a:lnTo>
                    <a:pt x="1258" y="1193"/>
                  </a:lnTo>
                  <a:lnTo>
                    <a:pt x="1264" y="1178"/>
                  </a:lnTo>
                  <a:lnTo>
                    <a:pt x="1272" y="1163"/>
                  </a:lnTo>
                  <a:lnTo>
                    <a:pt x="1281" y="1149"/>
                  </a:lnTo>
                  <a:lnTo>
                    <a:pt x="1285" y="1145"/>
                  </a:lnTo>
                  <a:lnTo>
                    <a:pt x="1290" y="1141"/>
                  </a:lnTo>
                  <a:lnTo>
                    <a:pt x="1296" y="1138"/>
                  </a:lnTo>
                  <a:lnTo>
                    <a:pt x="1302" y="1136"/>
                  </a:lnTo>
                  <a:lnTo>
                    <a:pt x="1316" y="1133"/>
                  </a:lnTo>
                  <a:lnTo>
                    <a:pt x="1330" y="1131"/>
                  </a:lnTo>
                  <a:lnTo>
                    <a:pt x="1365" y="1132"/>
                  </a:lnTo>
                  <a:lnTo>
                    <a:pt x="1400" y="1134"/>
                  </a:lnTo>
                  <a:lnTo>
                    <a:pt x="1418" y="1134"/>
                  </a:lnTo>
                  <a:lnTo>
                    <a:pt x="1435" y="1133"/>
                  </a:lnTo>
                  <a:lnTo>
                    <a:pt x="1444" y="1132"/>
                  </a:lnTo>
                  <a:lnTo>
                    <a:pt x="1451" y="1131"/>
                  </a:lnTo>
                  <a:lnTo>
                    <a:pt x="1459" y="1129"/>
                  </a:lnTo>
                  <a:lnTo>
                    <a:pt x="1466" y="1125"/>
                  </a:lnTo>
                  <a:lnTo>
                    <a:pt x="1473" y="1122"/>
                  </a:lnTo>
                  <a:lnTo>
                    <a:pt x="1479" y="1118"/>
                  </a:lnTo>
                  <a:lnTo>
                    <a:pt x="1484" y="1113"/>
                  </a:lnTo>
                  <a:lnTo>
                    <a:pt x="1490" y="1108"/>
                  </a:lnTo>
                  <a:lnTo>
                    <a:pt x="1494" y="1100"/>
                  </a:lnTo>
                  <a:lnTo>
                    <a:pt x="1498" y="1093"/>
                  </a:lnTo>
                  <a:lnTo>
                    <a:pt x="1501" y="1085"/>
                  </a:lnTo>
                  <a:lnTo>
                    <a:pt x="1503" y="1074"/>
                  </a:lnTo>
                  <a:lnTo>
                    <a:pt x="1504" y="1043"/>
                  </a:lnTo>
                  <a:lnTo>
                    <a:pt x="1504" y="1012"/>
                  </a:lnTo>
                  <a:lnTo>
                    <a:pt x="1505" y="1006"/>
                  </a:lnTo>
                  <a:lnTo>
                    <a:pt x="1507" y="999"/>
                  </a:lnTo>
                  <a:lnTo>
                    <a:pt x="1511" y="995"/>
                  </a:lnTo>
                  <a:lnTo>
                    <a:pt x="1515" y="992"/>
                  </a:lnTo>
                  <a:lnTo>
                    <a:pt x="1521" y="990"/>
                  </a:lnTo>
                  <a:lnTo>
                    <a:pt x="1527" y="989"/>
                  </a:lnTo>
                  <a:lnTo>
                    <a:pt x="1537" y="991"/>
                  </a:lnTo>
                  <a:lnTo>
                    <a:pt x="1547" y="994"/>
                  </a:lnTo>
                  <a:lnTo>
                    <a:pt x="1570" y="1002"/>
                  </a:lnTo>
                  <a:lnTo>
                    <a:pt x="1588" y="1011"/>
                  </a:lnTo>
                  <a:lnTo>
                    <a:pt x="1601" y="1019"/>
                  </a:lnTo>
                  <a:lnTo>
                    <a:pt x="1611" y="1025"/>
                  </a:lnTo>
                  <a:lnTo>
                    <a:pt x="1614" y="1029"/>
                  </a:lnTo>
                  <a:lnTo>
                    <a:pt x="1616" y="1033"/>
                  </a:lnTo>
                  <a:lnTo>
                    <a:pt x="1617" y="1036"/>
                  </a:lnTo>
                  <a:lnTo>
                    <a:pt x="1618" y="1039"/>
                  </a:lnTo>
                  <a:lnTo>
                    <a:pt x="1618" y="1044"/>
                  </a:lnTo>
                  <a:lnTo>
                    <a:pt x="1617" y="1050"/>
                  </a:lnTo>
                  <a:lnTo>
                    <a:pt x="1611" y="1062"/>
                  </a:lnTo>
                  <a:lnTo>
                    <a:pt x="1605" y="1074"/>
                  </a:lnTo>
                  <a:lnTo>
                    <a:pt x="1604" y="1081"/>
                  </a:lnTo>
                  <a:lnTo>
                    <a:pt x="1605" y="1088"/>
                  </a:lnTo>
                  <a:lnTo>
                    <a:pt x="1606" y="1092"/>
                  </a:lnTo>
                  <a:lnTo>
                    <a:pt x="1609" y="1096"/>
                  </a:lnTo>
                  <a:lnTo>
                    <a:pt x="1612" y="1100"/>
                  </a:lnTo>
                  <a:lnTo>
                    <a:pt x="1616" y="1105"/>
                  </a:lnTo>
                  <a:lnTo>
                    <a:pt x="1620" y="1109"/>
                  </a:lnTo>
                  <a:lnTo>
                    <a:pt x="1625" y="1113"/>
                  </a:lnTo>
                  <a:lnTo>
                    <a:pt x="1630" y="1116"/>
                  </a:lnTo>
                  <a:lnTo>
                    <a:pt x="1637" y="1119"/>
                  </a:lnTo>
                  <a:lnTo>
                    <a:pt x="1643" y="1121"/>
                  </a:lnTo>
                  <a:lnTo>
                    <a:pt x="1650" y="1123"/>
                  </a:lnTo>
                  <a:lnTo>
                    <a:pt x="1658" y="1124"/>
                  </a:lnTo>
                  <a:lnTo>
                    <a:pt x="1664" y="1124"/>
                  </a:lnTo>
                  <a:lnTo>
                    <a:pt x="1671" y="1124"/>
                  </a:lnTo>
                  <a:lnTo>
                    <a:pt x="1678" y="1123"/>
                  </a:lnTo>
                  <a:lnTo>
                    <a:pt x="1685" y="1122"/>
                  </a:lnTo>
                  <a:lnTo>
                    <a:pt x="1691" y="1120"/>
                  </a:lnTo>
                  <a:lnTo>
                    <a:pt x="1697" y="1118"/>
                  </a:lnTo>
                  <a:lnTo>
                    <a:pt x="1702" y="1115"/>
                  </a:lnTo>
                  <a:lnTo>
                    <a:pt x="1708" y="1111"/>
                  </a:lnTo>
                  <a:lnTo>
                    <a:pt x="1713" y="1106"/>
                  </a:lnTo>
                  <a:lnTo>
                    <a:pt x="1717" y="1100"/>
                  </a:lnTo>
                  <a:lnTo>
                    <a:pt x="1722" y="1097"/>
                  </a:lnTo>
                  <a:lnTo>
                    <a:pt x="1726" y="1095"/>
                  </a:lnTo>
                  <a:lnTo>
                    <a:pt x="1732" y="1094"/>
                  </a:lnTo>
                  <a:lnTo>
                    <a:pt x="1736" y="1095"/>
                  </a:lnTo>
                  <a:lnTo>
                    <a:pt x="1740" y="1097"/>
                  </a:lnTo>
                  <a:lnTo>
                    <a:pt x="1745" y="1099"/>
                  </a:lnTo>
                  <a:lnTo>
                    <a:pt x="1749" y="1103"/>
                  </a:lnTo>
                  <a:lnTo>
                    <a:pt x="1766" y="1121"/>
                  </a:lnTo>
                  <a:lnTo>
                    <a:pt x="1781" y="1139"/>
                  </a:lnTo>
                  <a:lnTo>
                    <a:pt x="1796" y="1154"/>
                  </a:lnTo>
                  <a:lnTo>
                    <a:pt x="1812" y="1165"/>
                  </a:lnTo>
                  <a:lnTo>
                    <a:pt x="1819" y="1170"/>
                  </a:lnTo>
                  <a:lnTo>
                    <a:pt x="1826" y="1175"/>
                  </a:lnTo>
                  <a:lnTo>
                    <a:pt x="1834" y="1178"/>
                  </a:lnTo>
                  <a:lnTo>
                    <a:pt x="1841" y="1181"/>
                  </a:lnTo>
                  <a:lnTo>
                    <a:pt x="1857" y="1186"/>
                  </a:lnTo>
                  <a:lnTo>
                    <a:pt x="1873" y="1189"/>
                  </a:lnTo>
                  <a:lnTo>
                    <a:pt x="1892" y="1191"/>
                  </a:lnTo>
                  <a:lnTo>
                    <a:pt x="1914" y="1192"/>
                  </a:lnTo>
                  <a:lnTo>
                    <a:pt x="1921" y="1193"/>
                  </a:lnTo>
                  <a:lnTo>
                    <a:pt x="1929" y="1196"/>
                  </a:lnTo>
                  <a:lnTo>
                    <a:pt x="1936" y="1200"/>
                  </a:lnTo>
                  <a:lnTo>
                    <a:pt x="1943" y="1204"/>
                  </a:lnTo>
                  <a:lnTo>
                    <a:pt x="1951" y="1210"/>
                  </a:lnTo>
                  <a:lnTo>
                    <a:pt x="1958" y="1216"/>
                  </a:lnTo>
                  <a:lnTo>
                    <a:pt x="1965" y="1222"/>
                  </a:lnTo>
                  <a:lnTo>
                    <a:pt x="1971" y="1231"/>
                  </a:lnTo>
                  <a:lnTo>
                    <a:pt x="1984" y="1246"/>
                  </a:lnTo>
                  <a:lnTo>
                    <a:pt x="1993" y="1263"/>
                  </a:lnTo>
                  <a:lnTo>
                    <a:pt x="1997" y="1270"/>
                  </a:lnTo>
                  <a:lnTo>
                    <a:pt x="2001" y="1279"/>
                  </a:lnTo>
                  <a:lnTo>
                    <a:pt x="2004" y="1286"/>
                  </a:lnTo>
                  <a:lnTo>
                    <a:pt x="2005" y="1292"/>
                  </a:lnTo>
                  <a:lnTo>
                    <a:pt x="2015" y="1300"/>
                  </a:lnTo>
                  <a:lnTo>
                    <a:pt x="2027" y="1306"/>
                  </a:lnTo>
                  <a:lnTo>
                    <a:pt x="2037" y="1311"/>
                  </a:lnTo>
                  <a:lnTo>
                    <a:pt x="2049" y="1316"/>
                  </a:lnTo>
                  <a:lnTo>
                    <a:pt x="2069" y="1324"/>
                  </a:lnTo>
                  <a:lnTo>
                    <a:pt x="2091" y="1330"/>
                  </a:lnTo>
                  <a:lnTo>
                    <a:pt x="2112" y="1336"/>
                  </a:lnTo>
                  <a:lnTo>
                    <a:pt x="2133" y="1342"/>
                  </a:lnTo>
                  <a:lnTo>
                    <a:pt x="2144" y="1346"/>
                  </a:lnTo>
                  <a:lnTo>
                    <a:pt x="2155" y="1350"/>
                  </a:lnTo>
                  <a:lnTo>
                    <a:pt x="2165" y="1354"/>
                  </a:lnTo>
                  <a:lnTo>
                    <a:pt x="2176" y="1359"/>
                  </a:lnTo>
                  <a:lnTo>
                    <a:pt x="2276" y="1369"/>
                  </a:lnTo>
                  <a:lnTo>
                    <a:pt x="2276" y="1369"/>
                  </a:lnTo>
                  <a:lnTo>
                    <a:pt x="2259" y="1342"/>
                  </a:lnTo>
                  <a:lnTo>
                    <a:pt x="2241" y="1317"/>
                  </a:lnTo>
                  <a:lnTo>
                    <a:pt x="2225" y="1292"/>
                  </a:lnTo>
                  <a:lnTo>
                    <a:pt x="2208" y="1267"/>
                  </a:lnTo>
                  <a:lnTo>
                    <a:pt x="2200" y="1255"/>
                  </a:lnTo>
                  <a:lnTo>
                    <a:pt x="2187" y="1234"/>
                  </a:lnTo>
                  <a:lnTo>
                    <a:pt x="2174" y="1209"/>
                  </a:lnTo>
                  <a:lnTo>
                    <a:pt x="2160" y="1186"/>
                  </a:lnTo>
                  <a:lnTo>
                    <a:pt x="2171" y="1185"/>
                  </a:lnTo>
                  <a:lnTo>
                    <a:pt x="2181" y="1184"/>
                  </a:lnTo>
                  <a:lnTo>
                    <a:pt x="2191" y="1183"/>
                  </a:lnTo>
                  <a:lnTo>
                    <a:pt x="2203" y="1184"/>
                  </a:lnTo>
                  <a:lnTo>
                    <a:pt x="2223" y="1184"/>
                  </a:lnTo>
                  <a:lnTo>
                    <a:pt x="2237" y="1185"/>
                  </a:lnTo>
                  <a:lnTo>
                    <a:pt x="2251" y="1184"/>
                  </a:lnTo>
                  <a:lnTo>
                    <a:pt x="2262" y="1182"/>
                  </a:lnTo>
                  <a:lnTo>
                    <a:pt x="2272" y="1178"/>
                  </a:lnTo>
                  <a:lnTo>
                    <a:pt x="2280" y="1173"/>
                  </a:lnTo>
                  <a:lnTo>
                    <a:pt x="2298" y="1164"/>
                  </a:lnTo>
                  <a:lnTo>
                    <a:pt x="2318" y="1155"/>
                  </a:lnTo>
                  <a:lnTo>
                    <a:pt x="2325" y="1154"/>
                  </a:lnTo>
                  <a:lnTo>
                    <a:pt x="2332" y="1155"/>
                  </a:lnTo>
                  <a:lnTo>
                    <a:pt x="2341" y="1157"/>
                  </a:lnTo>
                  <a:lnTo>
                    <a:pt x="2350" y="1160"/>
                  </a:lnTo>
                  <a:lnTo>
                    <a:pt x="2369" y="1169"/>
                  </a:lnTo>
                  <a:lnTo>
                    <a:pt x="2388" y="1178"/>
                  </a:lnTo>
                  <a:lnTo>
                    <a:pt x="2398" y="1182"/>
                  </a:lnTo>
                  <a:lnTo>
                    <a:pt x="2407" y="1184"/>
                  </a:lnTo>
                  <a:lnTo>
                    <a:pt x="2417" y="1184"/>
                  </a:lnTo>
                  <a:lnTo>
                    <a:pt x="2425" y="1183"/>
                  </a:lnTo>
                  <a:lnTo>
                    <a:pt x="2429" y="1181"/>
                  </a:lnTo>
                  <a:lnTo>
                    <a:pt x="2432" y="1179"/>
                  </a:lnTo>
                  <a:lnTo>
                    <a:pt x="2436" y="1176"/>
                  </a:lnTo>
                  <a:lnTo>
                    <a:pt x="2440" y="1171"/>
                  </a:lnTo>
                  <a:lnTo>
                    <a:pt x="2443" y="1167"/>
                  </a:lnTo>
                  <a:lnTo>
                    <a:pt x="2446" y="1162"/>
                  </a:lnTo>
                  <a:lnTo>
                    <a:pt x="2449" y="1156"/>
                  </a:lnTo>
                  <a:lnTo>
                    <a:pt x="2451" y="1148"/>
                  </a:lnTo>
                  <a:lnTo>
                    <a:pt x="2456" y="1141"/>
                  </a:lnTo>
                  <a:lnTo>
                    <a:pt x="2460" y="1134"/>
                  </a:lnTo>
                  <a:lnTo>
                    <a:pt x="2465" y="1125"/>
                  </a:lnTo>
                  <a:lnTo>
                    <a:pt x="2469" y="1118"/>
                  </a:lnTo>
                  <a:lnTo>
                    <a:pt x="2472" y="1110"/>
                  </a:lnTo>
                  <a:lnTo>
                    <a:pt x="2476" y="1103"/>
                  </a:lnTo>
                  <a:lnTo>
                    <a:pt x="2481" y="1095"/>
                  </a:lnTo>
                  <a:lnTo>
                    <a:pt x="2486" y="1090"/>
                  </a:lnTo>
                  <a:lnTo>
                    <a:pt x="2494" y="1085"/>
                  </a:lnTo>
                  <a:lnTo>
                    <a:pt x="2502" y="1081"/>
                  </a:lnTo>
                  <a:lnTo>
                    <a:pt x="2510" y="1079"/>
                  </a:lnTo>
                  <a:lnTo>
                    <a:pt x="2519" y="1076"/>
                  </a:lnTo>
                  <a:lnTo>
                    <a:pt x="2538" y="1074"/>
                  </a:lnTo>
                  <a:lnTo>
                    <a:pt x="2555" y="1072"/>
                  </a:lnTo>
                  <a:lnTo>
                    <a:pt x="2561" y="1071"/>
                  </a:lnTo>
                  <a:lnTo>
                    <a:pt x="2565" y="1070"/>
                  </a:lnTo>
                  <a:lnTo>
                    <a:pt x="2568" y="1068"/>
                  </a:lnTo>
                  <a:lnTo>
                    <a:pt x="2571" y="1066"/>
                  </a:lnTo>
                  <a:lnTo>
                    <a:pt x="2573" y="1063"/>
                  </a:lnTo>
                  <a:lnTo>
                    <a:pt x="2574" y="1061"/>
                  </a:lnTo>
                  <a:lnTo>
                    <a:pt x="2575" y="1058"/>
                  </a:lnTo>
                  <a:lnTo>
                    <a:pt x="2575" y="1053"/>
                  </a:lnTo>
                  <a:lnTo>
                    <a:pt x="2574" y="1046"/>
                  </a:lnTo>
                  <a:lnTo>
                    <a:pt x="2571" y="1038"/>
                  </a:lnTo>
                  <a:lnTo>
                    <a:pt x="2567" y="1029"/>
                  </a:lnTo>
                  <a:lnTo>
                    <a:pt x="2563" y="1020"/>
                  </a:lnTo>
                  <a:lnTo>
                    <a:pt x="2552" y="1002"/>
                  </a:lnTo>
                  <a:lnTo>
                    <a:pt x="2544" y="986"/>
                  </a:lnTo>
                  <a:lnTo>
                    <a:pt x="2541" y="977"/>
                  </a:lnTo>
                  <a:lnTo>
                    <a:pt x="2540" y="971"/>
                  </a:lnTo>
                  <a:lnTo>
                    <a:pt x="2540" y="969"/>
                  </a:lnTo>
                  <a:lnTo>
                    <a:pt x="2541" y="967"/>
                  </a:lnTo>
                  <a:lnTo>
                    <a:pt x="2542" y="965"/>
                  </a:lnTo>
                  <a:lnTo>
                    <a:pt x="2544" y="963"/>
                  </a:lnTo>
                  <a:lnTo>
                    <a:pt x="2555" y="956"/>
                  </a:lnTo>
                  <a:lnTo>
                    <a:pt x="2568" y="952"/>
                  </a:lnTo>
                  <a:lnTo>
                    <a:pt x="2581" y="948"/>
                  </a:lnTo>
                  <a:lnTo>
                    <a:pt x="2596" y="945"/>
                  </a:lnTo>
                  <a:lnTo>
                    <a:pt x="2625" y="941"/>
                  </a:lnTo>
                  <a:lnTo>
                    <a:pt x="2651" y="939"/>
                  </a:lnTo>
                  <a:lnTo>
                    <a:pt x="2655" y="939"/>
                  </a:lnTo>
                  <a:lnTo>
                    <a:pt x="2659" y="938"/>
                  </a:lnTo>
                  <a:lnTo>
                    <a:pt x="2662" y="937"/>
                  </a:lnTo>
                  <a:lnTo>
                    <a:pt x="2664" y="935"/>
                  </a:lnTo>
                  <a:lnTo>
                    <a:pt x="2668" y="930"/>
                  </a:lnTo>
                  <a:lnTo>
                    <a:pt x="2671" y="925"/>
                  </a:lnTo>
                  <a:lnTo>
                    <a:pt x="2672" y="919"/>
                  </a:lnTo>
                  <a:lnTo>
                    <a:pt x="2672" y="911"/>
                  </a:lnTo>
                  <a:lnTo>
                    <a:pt x="2672" y="902"/>
                  </a:lnTo>
                  <a:lnTo>
                    <a:pt x="2671" y="894"/>
                  </a:lnTo>
                  <a:lnTo>
                    <a:pt x="2664" y="858"/>
                  </a:lnTo>
                  <a:lnTo>
                    <a:pt x="2660" y="830"/>
                  </a:lnTo>
                  <a:lnTo>
                    <a:pt x="2661" y="827"/>
                  </a:lnTo>
                  <a:lnTo>
                    <a:pt x="2662" y="823"/>
                  </a:lnTo>
                  <a:lnTo>
                    <a:pt x="2664" y="820"/>
                  </a:lnTo>
                  <a:lnTo>
                    <a:pt x="2667" y="817"/>
                  </a:lnTo>
                  <a:lnTo>
                    <a:pt x="2674" y="809"/>
                  </a:lnTo>
                  <a:lnTo>
                    <a:pt x="2681" y="804"/>
                  </a:lnTo>
                  <a:lnTo>
                    <a:pt x="2690" y="798"/>
                  </a:lnTo>
                  <a:lnTo>
                    <a:pt x="2697" y="791"/>
                  </a:lnTo>
                  <a:lnTo>
                    <a:pt x="2701" y="787"/>
                  </a:lnTo>
                  <a:lnTo>
                    <a:pt x="2703" y="783"/>
                  </a:lnTo>
                  <a:lnTo>
                    <a:pt x="2706" y="779"/>
                  </a:lnTo>
                  <a:lnTo>
                    <a:pt x="2708" y="775"/>
                  </a:lnTo>
                  <a:lnTo>
                    <a:pt x="2711" y="766"/>
                  </a:lnTo>
                  <a:lnTo>
                    <a:pt x="2712" y="757"/>
                  </a:lnTo>
                  <a:lnTo>
                    <a:pt x="2713" y="750"/>
                  </a:lnTo>
                  <a:lnTo>
                    <a:pt x="2713" y="745"/>
                  </a:lnTo>
                  <a:lnTo>
                    <a:pt x="2713" y="739"/>
                  </a:lnTo>
                  <a:lnTo>
                    <a:pt x="2712" y="736"/>
                  </a:lnTo>
                  <a:lnTo>
                    <a:pt x="2710" y="733"/>
                  </a:lnTo>
                  <a:lnTo>
                    <a:pt x="2706" y="731"/>
                  </a:lnTo>
                  <a:lnTo>
                    <a:pt x="2704" y="730"/>
                  </a:lnTo>
                  <a:lnTo>
                    <a:pt x="2700" y="730"/>
                  </a:lnTo>
                  <a:lnTo>
                    <a:pt x="2697" y="730"/>
                  </a:lnTo>
                  <a:lnTo>
                    <a:pt x="2692" y="731"/>
                  </a:lnTo>
                  <a:lnTo>
                    <a:pt x="2682" y="734"/>
                  </a:lnTo>
                  <a:lnTo>
                    <a:pt x="2672" y="738"/>
                  </a:lnTo>
                  <a:lnTo>
                    <a:pt x="2648" y="750"/>
                  </a:lnTo>
                  <a:lnTo>
                    <a:pt x="2623" y="759"/>
                  </a:lnTo>
                  <a:lnTo>
                    <a:pt x="2612" y="762"/>
                  </a:lnTo>
                  <a:lnTo>
                    <a:pt x="2600" y="763"/>
                  </a:lnTo>
                  <a:lnTo>
                    <a:pt x="2595" y="762"/>
                  </a:lnTo>
                  <a:lnTo>
                    <a:pt x="2590" y="761"/>
                  </a:lnTo>
                  <a:lnTo>
                    <a:pt x="2586" y="759"/>
                  </a:lnTo>
                  <a:lnTo>
                    <a:pt x="2581" y="756"/>
                  </a:lnTo>
                  <a:lnTo>
                    <a:pt x="2574" y="749"/>
                  </a:lnTo>
                  <a:lnTo>
                    <a:pt x="2569" y="743"/>
                  </a:lnTo>
                  <a:lnTo>
                    <a:pt x="2567" y="735"/>
                  </a:lnTo>
                  <a:lnTo>
                    <a:pt x="2567" y="730"/>
                  </a:lnTo>
                  <a:lnTo>
                    <a:pt x="2569" y="724"/>
                  </a:lnTo>
                  <a:lnTo>
                    <a:pt x="2572" y="719"/>
                  </a:lnTo>
                  <a:lnTo>
                    <a:pt x="2576" y="714"/>
                  </a:lnTo>
                  <a:lnTo>
                    <a:pt x="2582" y="710"/>
                  </a:lnTo>
                  <a:lnTo>
                    <a:pt x="2611" y="696"/>
                  </a:lnTo>
                  <a:lnTo>
                    <a:pt x="2635" y="685"/>
                  </a:lnTo>
                  <a:lnTo>
                    <a:pt x="2644" y="679"/>
                  </a:lnTo>
                  <a:lnTo>
                    <a:pt x="2655" y="670"/>
                  </a:lnTo>
                  <a:lnTo>
                    <a:pt x="2667" y="657"/>
                  </a:lnTo>
                  <a:lnTo>
                    <a:pt x="2677" y="643"/>
                  </a:lnTo>
                  <a:lnTo>
                    <a:pt x="2682" y="636"/>
                  </a:lnTo>
                  <a:lnTo>
                    <a:pt x="2686" y="630"/>
                  </a:lnTo>
                  <a:lnTo>
                    <a:pt x="2689" y="623"/>
                  </a:lnTo>
                  <a:lnTo>
                    <a:pt x="2690" y="616"/>
                  </a:lnTo>
                  <a:lnTo>
                    <a:pt x="2690" y="610"/>
                  </a:lnTo>
                  <a:lnTo>
                    <a:pt x="2688" y="604"/>
                  </a:lnTo>
                  <a:lnTo>
                    <a:pt x="2685" y="599"/>
                  </a:lnTo>
                  <a:lnTo>
                    <a:pt x="2679" y="593"/>
                  </a:lnTo>
                  <a:lnTo>
                    <a:pt x="2674" y="591"/>
                  </a:lnTo>
                  <a:lnTo>
                    <a:pt x="2667" y="591"/>
                  </a:lnTo>
                  <a:lnTo>
                    <a:pt x="2657" y="591"/>
                  </a:lnTo>
                  <a:lnTo>
                    <a:pt x="2648" y="592"/>
                  </a:lnTo>
                  <a:lnTo>
                    <a:pt x="2626" y="594"/>
                  </a:lnTo>
                  <a:lnTo>
                    <a:pt x="2605" y="596"/>
                  </a:lnTo>
                  <a:lnTo>
                    <a:pt x="2596" y="594"/>
                  </a:lnTo>
                  <a:lnTo>
                    <a:pt x="2588" y="593"/>
                  </a:lnTo>
                  <a:lnTo>
                    <a:pt x="2584" y="591"/>
                  </a:lnTo>
                  <a:lnTo>
                    <a:pt x="2581" y="589"/>
                  </a:lnTo>
                  <a:lnTo>
                    <a:pt x="2579" y="587"/>
                  </a:lnTo>
                  <a:lnTo>
                    <a:pt x="2577" y="584"/>
                  </a:lnTo>
                  <a:lnTo>
                    <a:pt x="2576" y="581"/>
                  </a:lnTo>
                  <a:lnTo>
                    <a:pt x="2575" y="577"/>
                  </a:lnTo>
                  <a:lnTo>
                    <a:pt x="2575" y="573"/>
                  </a:lnTo>
                  <a:lnTo>
                    <a:pt x="2576" y="567"/>
                  </a:lnTo>
                  <a:lnTo>
                    <a:pt x="2578" y="561"/>
                  </a:lnTo>
                  <a:lnTo>
                    <a:pt x="2581" y="554"/>
                  </a:lnTo>
                  <a:lnTo>
                    <a:pt x="2584" y="546"/>
                  </a:lnTo>
                  <a:lnTo>
                    <a:pt x="2590" y="538"/>
                  </a:lnTo>
                  <a:lnTo>
                    <a:pt x="2598" y="522"/>
                  </a:lnTo>
                  <a:lnTo>
                    <a:pt x="2605" y="510"/>
                  </a:lnTo>
                  <a:lnTo>
                    <a:pt x="2613" y="500"/>
                  </a:lnTo>
                  <a:lnTo>
                    <a:pt x="2620" y="490"/>
                  </a:lnTo>
                  <a:lnTo>
                    <a:pt x="2625" y="487"/>
                  </a:lnTo>
                  <a:lnTo>
                    <a:pt x="2629" y="484"/>
                  </a:lnTo>
                  <a:lnTo>
                    <a:pt x="2636" y="482"/>
                  </a:lnTo>
                  <a:lnTo>
                    <a:pt x="2641" y="479"/>
                  </a:lnTo>
                  <a:lnTo>
                    <a:pt x="2655" y="476"/>
                  </a:lnTo>
                  <a:lnTo>
                    <a:pt x="2673" y="472"/>
                  </a:lnTo>
                  <a:lnTo>
                    <a:pt x="2681" y="470"/>
                  </a:lnTo>
                  <a:lnTo>
                    <a:pt x="2689" y="468"/>
                  </a:lnTo>
                  <a:lnTo>
                    <a:pt x="2695" y="465"/>
                  </a:lnTo>
                  <a:lnTo>
                    <a:pt x="2700" y="461"/>
                  </a:lnTo>
                  <a:lnTo>
                    <a:pt x="2703" y="457"/>
                  </a:lnTo>
                  <a:lnTo>
                    <a:pt x="2705" y="453"/>
                  </a:lnTo>
                  <a:lnTo>
                    <a:pt x="2708" y="447"/>
                  </a:lnTo>
                  <a:lnTo>
                    <a:pt x="2708" y="442"/>
                  </a:lnTo>
                  <a:lnTo>
                    <a:pt x="2706" y="430"/>
                  </a:lnTo>
                  <a:lnTo>
                    <a:pt x="2703" y="417"/>
                  </a:lnTo>
                  <a:lnTo>
                    <a:pt x="2698" y="404"/>
                  </a:lnTo>
                  <a:lnTo>
                    <a:pt x="2693" y="390"/>
                  </a:lnTo>
                  <a:lnTo>
                    <a:pt x="2684" y="369"/>
                  </a:lnTo>
                  <a:lnTo>
                    <a:pt x="2671" y="339"/>
                  </a:lnTo>
                  <a:lnTo>
                    <a:pt x="2656" y="304"/>
                  </a:lnTo>
                  <a:lnTo>
                    <a:pt x="2642" y="268"/>
                  </a:lnTo>
                  <a:lnTo>
                    <a:pt x="2636" y="249"/>
                  </a:lnTo>
                  <a:lnTo>
                    <a:pt x="2631" y="231"/>
                  </a:lnTo>
                  <a:lnTo>
                    <a:pt x="2627" y="214"/>
                  </a:lnTo>
                  <a:lnTo>
                    <a:pt x="2625" y="197"/>
                  </a:lnTo>
                  <a:lnTo>
                    <a:pt x="2624" y="190"/>
                  </a:lnTo>
                  <a:lnTo>
                    <a:pt x="2624" y="182"/>
                  </a:lnTo>
                  <a:lnTo>
                    <a:pt x="2625" y="175"/>
                  </a:lnTo>
                  <a:lnTo>
                    <a:pt x="2626" y="169"/>
                  </a:lnTo>
                  <a:lnTo>
                    <a:pt x="2627" y="163"/>
                  </a:lnTo>
                  <a:lnTo>
                    <a:pt x="2629" y="157"/>
                  </a:lnTo>
                  <a:lnTo>
                    <a:pt x="2632" y="152"/>
                  </a:lnTo>
                  <a:lnTo>
                    <a:pt x="2637" y="148"/>
                  </a:lnTo>
                  <a:lnTo>
                    <a:pt x="2651" y="133"/>
                  </a:lnTo>
                  <a:lnTo>
                    <a:pt x="2665" y="121"/>
                  </a:lnTo>
                  <a:lnTo>
                    <a:pt x="2670" y="116"/>
                  </a:lnTo>
                  <a:lnTo>
                    <a:pt x="2674" y="110"/>
                  </a:lnTo>
                  <a:lnTo>
                    <a:pt x="2678" y="105"/>
                  </a:lnTo>
                  <a:lnTo>
                    <a:pt x="2680" y="100"/>
                  </a:lnTo>
                  <a:lnTo>
                    <a:pt x="2681" y="95"/>
                  </a:lnTo>
                  <a:lnTo>
                    <a:pt x="2681" y="90"/>
                  </a:lnTo>
                  <a:lnTo>
                    <a:pt x="2679" y="83"/>
                  </a:lnTo>
                  <a:lnTo>
                    <a:pt x="2676" y="77"/>
                  </a:lnTo>
                  <a:lnTo>
                    <a:pt x="2672" y="71"/>
                  </a:lnTo>
                  <a:lnTo>
                    <a:pt x="2665" y="63"/>
                  </a:lnTo>
                  <a:lnTo>
                    <a:pt x="2656" y="55"/>
                  </a:lnTo>
                  <a:lnTo>
                    <a:pt x="2646" y="46"/>
                  </a:lnTo>
                  <a:lnTo>
                    <a:pt x="2646" y="46"/>
                  </a:lnTo>
                  <a:lnTo>
                    <a:pt x="2559" y="60"/>
                  </a:lnTo>
                  <a:lnTo>
                    <a:pt x="2558" y="59"/>
                  </a:lnTo>
                  <a:lnTo>
                    <a:pt x="2555" y="58"/>
                  </a:lnTo>
                  <a:lnTo>
                    <a:pt x="2553" y="58"/>
                  </a:lnTo>
                  <a:lnTo>
                    <a:pt x="2550" y="58"/>
                  </a:lnTo>
                  <a:lnTo>
                    <a:pt x="2548" y="60"/>
                  </a:lnTo>
                  <a:lnTo>
                    <a:pt x="2525" y="60"/>
                  </a:lnTo>
                  <a:lnTo>
                    <a:pt x="2501" y="59"/>
                  </a:lnTo>
                  <a:lnTo>
                    <a:pt x="2478" y="57"/>
                  </a:lnTo>
                  <a:lnTo>
                    <a:pt x="2454" y="54"/>
                  </a:lnTo>
                  <a:lnTo>
                    <a:pt x="2430" y="51"/>
                  </a:lnTo>
                  <a:lnTo>
                    <a:pt x="2407" y="46"/>
                  </a:lnTo>
                  <a:lnTo>
                    <a:pt x="2384" y="40"/>
                  </a:lnTo>
                  <a:lnTo>
                    <a:pt x="2362" y="33"/>
                  </a:lnTo>
                  <a:lnTo>
                    <a:pt x="2352" y="29"/>
                  </a:lnTo>
                  <a:lnTo>
                    <a:pt x="2339" y="22"/>
                  </a:lnTo>
                  <a:lnTo>
                    <a:pt x="2333" y="19"/>
                  </a:lnTo>
                  <a:lnTo>
                    <a:pt x="2328" y="16"/>
                  </a:lnTo>
                  <a:lnTo>
                    <a:pt x="2323" y="14"/>
                  </a:lnTo>
                  <a:lnTo>
                    <a:pt x="2318" y="14"/>
                  </a:lnTo>
                  <a:lnTo>
                    <a:pt x="2288" y="14"/>
                  </a:lnTo>
                  <a:lnTo>
                    <a:pt x="2259" y="15"/>
                  </a:lnTo>
                  <a:lnTo>
                    <a:pt x="2230" y="16"/>
                  </a:lnTo>
                  <a:lnTo>
                    <a:pt x="2201" y="16"/>
                  </a:lnTo>
                  <a:lnTo>
                    <a:pt x="2199" y="11"/>
                  </a:lnTo>
                  <a:lnTo>
                    <a:pt x="2197" y="7"/>
                  </a:lnTo>
                  <a:lnTo>
                    <a:pt x="2193" y="4"/>
                  </a:lnTo>
                  <a:lnTo>
                    <a:pt x="2190" y="2"/>
                  </a:lnTo>
                  <a:lnTo>
                    <a:pt x="2186" y="1"/>
                  </a:lnTo>
                  <a:lnTo>
                    <a:pt x="2182" y="0"/>
                  </a:lnTo>
                  <a:lnTo>
                    <a:pt x="2177" y="0"/>
                  </a:lnTo>
                  <a:lnTo>
                    <a:pt x="2172" y="1"/>
                  </a:lnTo>
                  <a:lnTo>
                    <a:pt x="2160" y="4"/>
                  </a:lnTo>
                  <a:lnTo>
                    <a:pt x="2148" y="9"/>
                  </a:lnTo>
                  <a:lnTo>
                    <a:pt x="2135" y="16"/>
                  </a:lnTo>
                  <a:lnTo>
                    <a:pt x="2122" y="25"/>
                  </a:lnTo>
                  <a:lnTo>
                    <a:pt x="2095" y="44"/>
                  </a:lnTo>
                  <a:lnTo>
                    <a:pt x="2070" y="63"/>
                  </a:lnTo>
                  <a:lnTo>
                    <a:pt x="2052" y="79"/>
                  </a:lnTo>
                  <a:lnTo>
                    <a:pt x="2040" y="90"/>
                  </a:lnTo>
                  <a:lnTo>
                    <a:pt x="2033" y="95"/>
                  </a:lnTo>
                  <a:lnTo>
                    <a:pt x="2026" y="100"/>
                  </a:lnTo>
                  <a:lnTo>
                    <a:pt x="2018" y="103"/>
                  </a:lnTo>
                  <a:lnTo>
                    <a:pt x="2011" y="106"/>
                  </a:lnTo>
                  <a:lnTo>
                    <a:pt x="2004" y="109"/>
                  </a:lnTo>
                  <a:lnTo>
                    <a:pt x="1996" y="111"/>
                  </a:lnTo>
                  <a:lnTo>
                    <a:pt x="1989" y="112"/>
                  </a:lnTo>
                  <a:lnTo>
                    <a:pt x="1982" y="114"/>
                  </a:lnTo>
                  <a:lnTo>
                    <a:pt x="1966" y="114"/>
                  </a:lnTo>
                  <a:lnTo>
                    <a:pt x="1951" y="112"/>
                  </a:lnTo>
                  <a:lnTo>
                    <a:pt x="1936" y="110"/>
                  </a:lnTo>
                  <a:lnTo>
                    <a:pt x="1920" y="107"/>
                  </a:lnTo>
                  <a:lnTo>
                    <a:pt x="1891" y="100"/>
                  </a:lnTo>
                  <a:lnTo>
                    <a:pt x="1864" y="95"/>
                  </a:lnTo>
                  <a:lnTo>
                    <a:pt x="1852" y="94"/>
                  </a:lnTo>
                  <a:lnTo>
                    <a:pt x="1839" y="95"/>
                  </a:lnTo>
                  <a:lnTo>
                    <a:pt x="1834" y="96"/>
                  </a:lnTo>
                  <a:lnTo>
                    <a:pt x="1828" y="97"/>
                  </a:lnTo>
                  <a:lnTo>
                    <a:pt x="1822" y="100"/>
                  </a:lnTo>
                  <a:lnTo>
                    <a:pt x="1818" y="102"/>
                  </a:lnTo>
                  <a:lnTo>
                    <a:pt x="1793" y="118"/>
                  </a:lnTo>
                  <a:lnTo>
                    <a:pt x="1769" y="131"/>
                  </a:lnTo>
                  <a:lnTo>
                    <a:pt x="1745" y="147"/>
                  </a:lnTo>
                  <a:lnTo>
                    <a:pt x="1721" y="164"/>
                  </a:lnTo>
                  <a:lnTo>
                    <a:pt x="1701" y="179"/>
                  </a:lnTo>
                  <a:lnTo>
                    <a:pt x="1683" y="193"/>
                  </a:lnTo>
                  <a:lnTo>
                    <a:pt x="1673" y="199"/>
                  </a:lnTo>
                  <a:lnTo>
                    <a:pt x="1663" y="205"/>
                  </a:lnTo>
                  <a:lnTo>
                    <a:pt x="1653" y="211"/>
                  </a:lnTo>
                  <a:lnTo>
                    <a:pt x="1643" y="215"/>
                  </a:lnTo>
                  <a:lnTo>
                    <a:pt x="1633" y="219"/>
                  </a:lnTo>
                  <a:lnTo>
                    <a:pt x="1622" y="222"/>
                  </a:lnTo>
                  <a:lnTo>
                    <a:pt x="1611" y="225"/>
                  </a:lnTo>
                  <a:lnTo>
                    <a:pt x="1599" y="227"/>
                  </a:lnTo>
                  <a:lnTo>
                    <a:pt x="1588" y="228"/>
                  </a:lnTo>
                  <a:lnTo>
                    <a:pt x="1574" y="229"/>
                  </a:lnTo>
                  <a:lnTo>
                    <a:pt x="1561" y="229"/>
                  </a:lnTo>
                  <a:lnTo>
                    <a:pt x="1547" y="228"/>
                  </a:lnTo>
                  <a:lnTo>
                    <a:pt x="1533" y="223"/>
                  </a:lnTo>
                  <a:lnTo>
                    <a:pt x="1522" y="216"/>
                  </a:lnTo>
                  <a:lnTo>
                    <a:pt x="1517" y="213"/>
                  </a:lnTo>
                  <a:lnTo>
                    <a:pt x="1511" y="211"/>
                  </a:lnTo>
                  <a:lnTo>
                    <a:pt x="1503" y="208"/>
                  </a:lnTo>
                  <a:lnTo>
                    <a:pt x="1495" y="207"/>
                  </a:lnTo>
                  <a:lnTo>
                    <a:pt x="1478" y="205"/>
                  </a:lnTo>
                  <a:lnTo>
                    <a:pt x="1465" y="203"/>
                  </a:lnTo>
                  <a:lnTo>
                    <a:pt x="1434" y="193"/>
                  </a:lnTo>
                  <a:lnTo>
                    <a:pt x="1404" y="182"/>
                  </a:lnTo>
                  <a:lnTo>
                    <a:pt x="1389" y="178"/>
                  </a:lnTo>
                  <a:lnTo>
                    <a:pt x="1373" y="174"/>
                  </a:lnTo>
                  <a:lnTo>
                    <a:pt x="1357" y="172"/>
                  </a:lnTo>
                  <a:lnTo>
                    <a:pt x="1341" y="171"/>
                  </a:lnTo>
                  <a:lnTo>
                    <a:pt x="1332" y="172"/>
                  </a:lnTo>
                  <a:lnTo>
                    <a:pt x="1325" y="172"/>
                  </a:lnTo>
                  <a:lnTo>
                    <a:pt x="1318" y="173"/>
                  </a:lnTo>
                  <a:lnTo>
                    <a:pt x="1311" y="175"/>
                  </a:lnTo>
                  <a:lnTo>
                    <a:pt x="1299" y="180"/>
                  </a:lnTo>
                  <a:lnTo>
                    <a:pt x="1288" y="187"/>
                  </a:lnTo>
                  <a:lnTo>
                    <a:pt x="1279" y="194"/>
                  </a:lnTo>
                  <a:lnTo>
                    <a:pt x="1271" y="202"/>
                  </a:lnTo>
                  <a:lnTo>
                    <a:pt x="1263" y="212"/>
                  </a:lnTo>
                  <a:lnTo>
                    <a:pt x="1256" y="222"/>
                  </a:lnTo>
                  <a:lnTo>
                    <a:pt x="1244" y="245"/>
                  </a:lnTo>
                  <a:lnTo>
                    <a:pt x="1232" y="268"/>
                  </a:lnTo>
                  <a:lnTo>
                    <a:pt x="1226" y="278"/>
                  </a:lnTo>
                  <a:lnTo>
                    <a:pt x="1220" y="290"/>
                  </a:lnTo>
                  <a:lnTo>
                    <a:pt x="1212" y="299"/>
                  </a:lnTo>
                  <a:lnTo>
                    <a:pt x="1204" y="309"/>
                  </a:lnTo>
                  <a:lnTo>
                    <a:pt x="1200" y="313"/>
                  </a:lnTo>
                  <a:lnTo>
                    <a:pt x="1194" y="317"/>
                  </a:lnTo>
                  <a:lnTo>
                    <a:pt x="1187" y="321"/>
                  </a:lnTo>
                  <a:lnTo>
                    <a:pt x="1179" y="325"/>
                  </a:lnTo>
                  <a:lnTo>
                    <a:pt x="1161" y="334"/>
                  </a:lnTo>
                  <a:lnTo>
                    <a:pt x="1141" y="341"/>
                  </a:lnTo>
                  <a:lnTo>
                    <a:pt x="1121" y="347"/>
                  </a:lnTo>
                  <a:lnTo>
                    <a:pt x="1102" y="352"/>
                  </a:lnTo>
                  <a:lnTo>
                    <a:pt x="1085" y="356"/>
                  </a:lnTo>
                  <a:lnTo>
                    <a:pt x="1074" y="357"/>
                  </a:lnTo>
                  <a:lnTo>
                    <a:pt x="1058" y="353"/>
                  </a:lnTo>
                  <a:lnTo>
                    <a:pt x="1044" y="351"/>
                  </a:lnTo>
                  <a:lnTo>
                    <a:pt x="1032" y="350"/>
                  </a:lnTo>
                  <a:lnTo>
                    <a:pt x="1021" y="350"/>
                  </a:lnTo>
                  <a:lnTo>
                    <a:pt x="1011" y="350"/>
                  </a:lnTo>
                  <a:lnTo>
                    <a:pt x="1002" y="351"/>
                  </a:lnTo>
                  <a:lnTo>
                    <a:pt x="993" y="353"/>
                  </a:lnTo>
                  <a:lnTo>
                    <a:pt x="985" y="356"/>
                  </a:lnTo>
                  <a:lnTo>
                    <a:pt x="968" y="363"/>
                  </a:lnTo>
                  <a:lnTo>
                    <a:pt x="951" y="372"/>
                  </a:lnTo>
                  <a:lnTo>
                    <a:pt x="928" y="383"/>
                  </a:lnTo>
                  <a:lnTo>
                    <a:pt x="901" y="395"/>
                  </a:lnTo>
                  <a:lnTo>
                    <a:pt x="869" y="408"/>
                  </a:lnTo>
                  <a:lnTo>
                    <a:pt x="842" y="417"/>
                  </a:lnTo>
                  <a:lnTo>
                    <a:pt x="829" y="420"/>
                  </a:lnTo>
                  <a:lnTo>
                    <a:pt x="813" y="422"/>
                  </a:lnTo>
                  <a:lnTo>
                    <a:pt x="797" y="422"/>
                  </a:lnTo>
                  <a:lnTo>
                    <a:pt x="779" y="421"/>
                  </a:lnTo>
                  <a:lnTo>
                    <a:pt x="747" y="418"/>
                  </a:lnTo>
                  <a:lnTo>
                    <a:pt x="719" y="415"/>
                  </a:lnTo>
                  <a:lnTo>
                    <a:pt x="690" y="412"/>
                  </a:lnTo>
                  <a:lnTo>
                    <a:pt x="663" y="410"/>
                  </a:lnTo>
                  <a:lnTo>
                    <a:pt x="635" y="409"/>
                  </a:lnTo>
                  <a:lnTo>
                    <a:pt x="607" y="408"/>
                  </a:lnTo>
                  <a:lnTo>
                    <a:pt x="577" y="408"/>
                  </a:lnTo>
                  <a:lnTo>
                    <a:pt x="546" y="410"/>
                  </a:lnTo>
                  <a:lnTo>
                    <a:pt x="528" y="412"/>
                  </a:lnTo>
                  <a:lnTo>
                    <a:pt x="511" y="415"/>
                  </a:lnTo>
                  <a:lnTo>
                    <a:pt x="492" y="419"/>
                  </a:lnTo>
                  <a:lnTo>
                    <a:pt x="474" y="424"/>
                  </a:lnTo>
                  <a:lnTo>
                    <a:pt x="439" y="437"/>
                  </a:lnTo>
                  <a:lnTo>
                    <a:pt x="404" y="452"/>
                  </a:lnTo>
                  <a:lnTo>
                    <a:pt x="370" y="466"/>
                  </a:lnTo>
                  <a:lnTo>
                    <a:pt x="335" y="479"/>
                  </a:lnTo>
                  <a:lnTo>
                    <a:pt x="318" y="485"/>
                  </a:lnTo>
                  <a:lnTo>
                    <a:pt x="301" y="489"/>
                  </a:lnTo>
                  <a:lnTo>
                    <a:pt x="283" y="493"/>
                  </a:lnTo>
                  <a:lnTo>
                    <a:pt x="267" y="495"/>
                  </a:lnTo>
                  <a:lnTo>
                    <a:pt x="267" y="495"/>
                  </a:lnTo>
                  <a:lnTo>
                    <a:pt x="290" y="498"/>
                  </a:lnTo>
                  <a:lnTo>
                    <a:pt x="312" y="502"/>
                  </a:lnTo>
                  <a:lnTo>
                    <a:pt x="321" y="503"/>
                  </a:lnTo>
                  <a:lnTo>
                    <a:pt x="329" y="505"/>
                  </a:lnTo>
                  <a:lnTo>
                    <a:pt x="337" y="508"/>
                  </a:lnTo>
                  <a:lnTo>
                    <a:pt x="342" y="510"/>
                  </a:lnTo>
                  <a:lnTo>
                    <a:pt x="342" y="516"/>
                  </a:lnTo>
                  <a:lnTo>
                    <a:pt x="341" y="521"/>
                  </a:lnTo>
                  <a:lnTo>
                    <a:pt x="340" y="528"/>
                  </a:lnTo>
                  <a:lnTo>
                    <a:pt x="337" y="534"/>
                  </a:lnTo>
                  <a:lnTo>
                    <a:pt x="329" y="545"/>
                  </a:lnTo>
                  <a:lnTo>
                    <a:pt x="321" y="557"/>
                  </a:lnTo>
                  <a:lnTo>
                    <a:pt x="313" y="567"/>
                  </a:lnTo>
                  <a:lnTo>
                    <a:pt x="305" y="577"/>
                  </a:lnTo>
                  <a:lnTo>
                    <a:pt x="303" y="581"/>
                  </a:lnTo>
                  <a:lnTo>
                    <a:pt x="301" y="585"/>
                  </a:lnTo>
                  <a:lnTo>
                    <a:pt x="300" y="588"/>
                  </a:lnTo>
                  <a:lnTo>
                    <a:pt x="300" y="591"/>
                  </a:lnTo>
                  <a:lnTo>
                    <a:pt x="302" y="594"/>
                  </a:lnTo>
                  <a:lnTo>
                    <a:pt x="306" y="596"/>
                  </a:lnTo>
                  <a:lnTo>
                    <a:pt x="312" y="597"/>
                  </a:lnTo>
                  <a:lnTo>
                    <a:pt x="317" y="598"/>
                  </a:lnTo>
                  <a:lnTo>
                    <a:pt x="331" y="597"/>
                  </a:lnTo>
                  <a:lnTo>
                    <a:pt x="348" y="594"/>
                  </a:lnTo>
                  <a:lnTo>
                    <a:pt x="356" y="594"/>
                  </a:lnTo>
                  <a:lnTo>
                    <a:pt x="364" y="594"/>
                  </a:lnTo>
                  <a:lnTo>
                    <a:pt x="371" y="596"/>
                  </a:lnTo>
                  <a:lnTo>
                    <a:pt x="377" y="598"/>
                  </a:lnTo>
                  <a:lnTo>
                    <a:pt x="382" y="600"/>
                  </a:lnTo>
                  <a:lnTo>
                    <a:pt x="387" y="604"/>
                  </a:lnTo>
                  <a:lnTo>
                    <a:pt x="389" y="607"/>
                  </a:lnTo>
                  <a:lnTo>
                    <a:pt x="390" y="609"/>
                  </a:lnTo>
                  <a:lnTo>
                    <a:pt x="391" y="613"/>
                  </a:lnTo>
                  <a:lnTo>
                    <a:pt x="391" y="616"/>
                  </a:lnTo>
                  <a:lnTo>
                    <a:pt x="368" y="634"/>
                  </a:lnTo>
                  <a:lnTo>
                    <a:pt x="346" y="651"/>
                  </a:lnTo>
                  <a:lnTo>
                    <a:pt x="334" y="659"/>
                  </a:lnTo>
                  <a:lnTo>
                    <a:pt x="322" y="666"/>
                  </a:lnTo>
                  <a:lnTo>
                    <a:pt x="309" y="674"/>
                  </a:lnTo>
                  <a:lnTo>
                    <a:pt x="295" y="680"/>
                  </a:lnTo>
                  <a:lnTo>
                    <a:pt x="286" y="684"/>
                  </a:lnTo>
                  <a:lnTo>
                    <a:pt x="279" y="688"/>
                  </a:lnTo>
                  <a:lnTo>
                    <a:pt x="273" y="693"/>
                  </a:lnTo>
                  <a:lnTo>
                    <a:pt x="268" y="698"/>
                  </a:lnTo>
                  <a:lnTo>
                    <a:pt x="258" y="708"/>
                  </a:lnTo>
                  <a:lnTo>
                    <a:pt x="251" y="719"/>
                  </a:lnTo>
                  <a:lnTo>
                    <a:pt x="245" y="731"/>
                  </a:lnTo>
                  <a:lnTo>
                    <a:pt x="237" y="744"/>
                  </a:lnTo>
                  <a:lnTo>
                    <a:pt x="230" y="756"/>
                  </a:lnTo>
                  <a:lnTo>
                    <a:pt x="221" y="768"/>
                  </a:lnTo>
                  <a:lnTo>
                    <a:pt x="222" y="783"/>
                  </a:lnTo>
                  <a:lnTo>
                    <a:pt x="224" y="796"/>
                  </a:lnTo>
                  <a:lnTo>
                    <a:pt x="227" y="808"/>
                  </a:lnTo>
                  <a:lnTo>
                    <a:pt x="232" y="823"/>
                  </a:lnTo>
                  <a:lnTo>
                    <a:pt x="240" y="833"/>
                  </a:lnTo>
                  <a:lnTo>
                    <a:pt x="249" y="845"/>
                  </a:lnTo>
                  <a:lnTo>
                    <a:pt x="254" y="850"/>
                  </a:lnTo>
                  <a:lnTo>
                    <a:pt x="258" y="855"/>
                  </a:lnTo>
                  <a:lnTo>
                    <a:pt x="261" y="860"/>
                  </a:lnTo>
                  <a:lnTo>
                    <a:pt x="264" y="865"/>
                  </a:lnTo>
                  <a:lnTo>
                    <a:pt x="266" y="869"/>
                  </a:lnTo>
                  <a:lnTo>
                    <a:pt x="269" y="875"/>
                  </a:lnTo>
                  <a:lnTo>
                    <a:pt x="272" y="884"/>
                  </a:lnTo>
                  <a:lnTo>
                    <a:pt x="276" y="895"/>
                  </a:lnTo>
                  <a:lnTo>
                    <a:pt x="281" y="922"/>
                  </a:lnTo>
                  <a:lnTo>
                    <a:pt x="288" y="952"/>
                  </a:lnTo>
                  <a:lnTo>
                    <a:pt x="293" y="983"/>
                  </a:lnTo>
                  <a:lnTo>
                    <a:pt x="297" y="1012"/>
                  </a:lnTo>
                  <a:lnTo>
                    <a:pt x="301" y="1035"/>
                  </a:lnTo>
                  <a:lnTo>
                    <a:pt x="302" y="1049"/>
                  </a:lnTo>
                  <a:lnTo>
                    <a:pt x="305" y="1071"/>
                  </a:lnTo>
                  <a:lnTo>
                    <a:pt x="309" y="1096"/>
                  </a:lnTo>
                  <a:lnTo>
                    <a:pt x="313" y="1122"/>
                  </a:lnTo>
                  <a:lnTo>
                    <a:pt x="316" y="1151"/>
                  </a:lnTo>
                  <a:lnTo>
                    <a:pt x="317" y="1165"/>
                  </a:lnTo>
                  <a:lnTo>
                    <a:pt x="318" y="1179"/>
                  </a:lnTo>
                  <a:lnTo>
                    <a:pt x="318" y="1191"/>
                  </a:lnTo>
                  <a:lnTo>
                    <a:pt x="317" y="1205"/>
                  </a:lnTo>
                  <a:lnTo>
                    <a:pt x="316" y="1216"/>
                  </a:lnTo>
                  <a:lnTo>
                    <a:pt x="313" y="1228"/>
                  </a:lnTo>
                  <a:lnTo>
                    <a:pt x="309" y="1238"/>
                  </a:lnTo>
                  <a:lnTo>
                    <a:pt x="305" y="1248"/>
                  </a:lnTo>
                  <a:lnTo>
                    <a:pt x="299" y="1250"/>
                  </a:lnTo>
                  <a:lnTo>
                    <a:pt x="293" y="1253"/>
                  </a:lnTo>
                  <a:lnTo>
                    <a:pt x="286" y="1257"/>
                  </a:lnTo>
                  <a:lnTo>
                    <a:pt x="280" y="1261"/>
                  </a:lnTo>
                  <a:lnTo>
                    <a:pt x="274" y="1265"/>
                  </a:lnTo>
                  <a:lnTo>
                    <a:pt x="267" y="1269"/>
                  </a:lnTo>
                  <a:lnTo>
                    <a:pt x="259" y="1273"/>
                  </a:lnTo>
                  <a:lnTo>
                    <a:pt x="250" y="1275"/>
                  </a:lnTo>
                  <a:lnTo>
                    <a:pt x="237" y="1276"/>
                  </a:lnTo>
                  <a:lnTo>
                    <a:pt x="224" y="1277"/>
                  </a:lnTo>
                  <a:lnTo>
                    <a:pt x="211" y="1277"/>
                  </a:lnTo>
                  <a:lnTo>
                    <a:pt x="199" y="1276"/>
                  </a:lnTo>
                  <a:lnTo>
                    <a:pt x="176" y="1275"/>
                  </a:lnTo>
                  <a:lnTo>
                    <a:pt x="154" y="1275"/>
                  </a:lnTo>
                  <a:lnTo>
                    <a:pt x="144" y="1276"/>
                  </a:lnTo>
                  <a:lnTo>
                    <a:pt x="134" y="1278"/>
                  </a:lnTo>
                  <a:lnTo>
                    <a:pt x="125" y="1282"/>
                  </a:lnTo>
                  <a:lnTo>
                    <a:pt x="115" y="1287"/>
                  </a:lnTo>
                  <a:lnTo>
                    <a:pt x="108" y="1293"/>
                  </a:lnTo>
                  <a:lnTo>
                    <a:pt x="101" y="1303"/>
                  </a:lnTo>
                  <a:lnTo>
                    <a:pt x="95" y="1313"/>
                  </a:lnTo>
                  <a:lnTo>
                    <a:pt x="88" y="1327"/>
                  </a:lnTo>
                  <a:lnTo>
                    <a:pt x="89" y="1339"/>
                  </a:lnTo>
                  <a:lnTo>
                    <a:pt x="89" y="1349"/>
                  </a:lnTo>
                  <a:lnTo>
                    <a:pt x="87" y="1355"/>
                  </a:lnTo>
                  <a:lnTo>
                    <a:pt x="84" y="1360"/>
                  </a:lnTo>
                  <a:lnTo>
                    <a:pt x="80" y="1364"/>
                  </a:lnTo>
                  <a:lnTo>
                    <a:pt x="75" y="1366"/>
                  </a:lnTo>
                  <a:lnTo>
                    <a:pt x="69" y="1368"/>
                  </a:lnTo>
                  <a:lnTo>
                    <a:pt x="61" y="1368"/>
                  </a:lnTo>
                  <a:lnTo>
                    <a:pt x="48" y="1366"/>
                  </a:lnTo>
                  <a:lnTo>
                    <a:pt x="33" y="1366"/>
                  </a:lnTo>
                  <a:lnTo>
                    <a:pt x="27" y="1368"/>
                  </a:lnTo>
                  <a:lnTo>
                    <a:pt x="21" y="1370"/>
                  </a:lnTo>
                  <a:lnTo>
                    <a:pt x="15" y="1374"/>
                  </a:lnTo>
                  <a:lnTo>
                    <a:pt x="11" y="1379"/>
                  </a:lnTo>
                  <a:lnTo>
                    <a:pt x="9" y="1382"/>
                  </a:lnTo>
                  <a:lnTo>
                    <a:pt x="9" y="1386"/>
                  </a:lnTo>
                  <a:lnTo>
                    <a:pt x="10" y="1389"/>
                  </a:lnTo>
                  <a:lnTo>
                    <a:pt x="12" y="1394"/>
                  </a:lnTo>
                  <a:lnTo>
                    <a:pt x="19" y="1402"/>
                  </a:lnTo>
                  <a:lnTo>
                    <a:pt x="26" y="1411"/>
                  </a:lnTo>
                  <a:lnTo>
                    <a:pt x="29" y="1417"/>
                  </a:lnTo>
                  <a:lnTo>
                    <a:pt x="32" y="1422"/>
                  </a:lnTo>
                  <a:lnTo>
                    <a:pt x="35" y="1427"/>
                  </a:lnTo>
                  <a:lnTo>
                    <a:pt x="37" y="1432"/>
                  </a:lnTo>
                  <a:lnTo>
                    <a:pt x="37" y="1438"/>
                  </a:lnTo>
                  <a:lnTo>
                    <a:pt x="37" y="1445"/>
                  </a:lnTo>
                  <a:lnTo>
                    <a:pt x="35" y="1452"/>
                  </a:lnTo>
                  <a:lnTo>
                    <a:pt x="32" y="1459"/>
                  </a:lnTo>
                  <a:lnTo>
                    <a:pt x="26" y="1467"/>
                  </a:lnTo>
                  <a:lnTo>
                    <a:pt x="20" y="1473"/>
                  </a:lnTo>
                  <a:lnTo>
                    <a:pt x="14" y="1477"/>
                  </a:lnTo>
                  <a:lnTo>
                    <a:pt x="8" y="1481"/>
                  </a:lnTo>
                  <a:lnTo>
                    <a:pt x="4" y="1486"/>
                  </a:lnTo>
                  <a:lnTo>
                    <a:pt x="1" y="1493"/>
                  </a:lnTo>
                  <a:lnTo>
                    <a:pt x="0" y="1497"/>
                  </a:lnTo>
                  <a:lnTo>
                    <a:pt x="0" y="1502"/>
                  </a:lnTo>
                  <a:lnTo>
                    <a:pt x="0" y="1507"/>
                  </a:lnTo>
                  <a:lnTo>
                    <a:pt x="0" y="1513"/>
                  </a:lnTo>
                  <a:lnTo>
                    <a:pt x="3" y="1526"/>
                  </a:lnTo>
                  <a:lnTo>
                    <a:pt x="6" y="1539"/>
                  </a:lnTo>
                  <a:lnTo>
                    <a:pt x="7" y="1545"/>
                  </a:lnTo>
                  <a:lnTo>
                    <a:pt x="8" y="1551"/>
                  </a:lnTo>
                  <a:lnTo>
                    <a:pt x="7" y="1558"/>
                  </a:lnTo>
                  <a:lnTo>
                    <a:pt x="6" y="1566"/>
                  </a:lnTo>
                  <a:lnTo>
                    <a:pt x="3" y="1579"/>
                  </a:lnTo>
                  <a:lnTo>
                    <a:pt x="2" y="1590"/>
                  </a:lnTo>
                  <a:lnTo>
                    <a:pt x="2" y="1595"/>
                  </a:lnTo>
                  <a:lnTo>
                    <a:pt x="3" y="1598"/>
                  </a:lnTo>
                  <a:lnTo>
                    <a:pt x="5" y="1602"/>
                  </a:lnTo>
                  <a:lnTo>
                    <a:pt x="7" y="1604"/>
                  </a:lnTo>
                  <a:lnTo>
                    <a:pt x="10" y="1606"/>
                  </a:lnTo>
                  <a:lnTo>
                    <a:pt x="14" y="1608"/>
                  </a:lnTo>
                  <a:lnTo>
                    <a:pt x="19" y="1610"/>
                  </a:lnTo>
                  <a:lnTo>
                    <a:pt x="25" y="1611"/>
                  </a:lnTo>
                  <a:lnTo>
                    <a:pt x="37" y="1611"/>
                  </a:lnTo>
                  <a:lnTo>
                    <a:pt x="52" y="1610"/>
                  </a:lnTo>
                  <a:lnTo>
                    <a:pt x="63" y="1608"/>
                  </a:lnTo>
                  <a:lnTo>
                    <a:pt x="74" y="1608"/>
                  </a:lnTo>
                  <a:lnTo>
                    <a:pt x="83" y="1608"/>
                  </a:lnTo>
                  <a:lnTo>
                    <a:pt x="92" y="1610"/>
                  </a:lnTo>
                  <a:lnTo>
                    <a:pt x="101" y="1612"/>
                  </a:lnTo>
                  <a:lnTo>
                    <a:pt x="108" y="1616"/>
                  </a:lnTo>
                  <a:lnTo>
                    <a:pt x="115" y="1621"/>
                  </a:lnTo>
                  <a:lnTo>
                    <a:pt x="124" y="1629"/>
                  </a:lnTo>
                  <a:lnTo>
                    <a:pt x="123" y="1638"/>
                  </a:lnTo>
                  <a:lnTo>
                    <a:pt x="121" y="1646"/>
                  </a:lnTo>
                  <a:lnTo>
                    <a:pt x="119" y="1654"/>
                  </a:lnTo>
                  <a:lnTo>
                    <a:pt x="117" y="1662"/>
                  </a:lnTo>
                  <a:lnTo>
                    <a:pt x="113" y="1669"/>
                  </a:lnTo>
                  <a:lnTo>
                    <a:pt x="111" y="1676"/>
                  </a:lnTo>
                  <a:lnTo>
                    <a:pt x="109" y="1684"/>
                  </a:lnTo>
                  <a:lnTo>
                    <a:pt x="109" y="1691"/>
                  </a:lnTo>
                  <a:lnTo>
                    <a:pt x="108" y="1693"/>
                  </a:lnTo>
                  <a:lnTo>
                    <a:pt x="107" y="1695"/>
                  </a:lnTo>
                  <a:lnTo>
                    <a:pt x="107" y="1706"/>
                  </a:lnTo>
                  <a:lnTo>
                    <a:pt x="109" y="1717"/>
                  </a:lnTo>
                  <a:lnTo>
                    <a:pt x="111" y="1727"/>
                  </a:lnTo>
                  <a:lnTo>
                    <a:pt x="113" y="1737"/>
                  </a:lnTo>
                  <a:lnTo>
                    <a:pt x="115" y="1747"/>
                  </a:lnTo>
                  <a:lnTo>
                    <a:pt x="118" y="1758"/>
                  </a:lnTo>
                  <a:lnTo>
                    <a:pt x="120" y="1768"/>
                  </a:lnTo>
                  <a:lnTo>
                    <a:pt x="120" y="1779"/>
                  </a:lnTo>
                  <a:lnTo>
                    <a:pt x="120" y="1779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5" name="Freeform 172">
              <a:extLst>
                <a:ext uri="{FF2B5EF4-FFF2-40B4-BE49-F238E27FC236}">
                  <a16:creationId xmlns:a16="http://schemas.microsoft.com/office/drawing/2014/main" id="{DB6A1409-EE1F-47F3-A661-B034071D3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1404" y="3337997"/>
              <a:ext cx="681299" cy="432769"/>
            </a:xfrm>
            <a:custGeom>
              <a:avLst/>
              <a:gdLst>
                <a:gd name="T0" fmla="*/ 202 w 2713"/>
                <a:gd name="T1" fmla="*/ 1685 h 1779"/>
                <a:gd name="T2" fmla="*/ 314 w 2713"/>
                <a:gd name="T3" fmla="*/ 1628 h 1779"/>
                <a:gd name="T4" fmla="*/ 439 w 2713"/>
                <a:gd name="T5" fmla="*/ 1599 h 1779"/>
                <a:gd name="T6" fmla="*/ 713 w 2713"/>
                <a:gd name="T7" fmla="*/ 1490 h 1779"/>
                <a:gd name="T8" fmla="*/ 975 w 2713"/>
                <a:gd name="T9" fmla="*/ 1325 h 1779"/>
                <a:gd name="T10" fmla="*/ 1173 w 2713"/>
                <a:gd name="T11" fmla="*/ 1299 h 1779"/>
                <a:gd name="T12" fmla="*/ 1258 w 2713"/>
                <a:gd name="T13" fmla="*/ 1193 h 1779"/>
                <a:gd name="T14" fmla="*/ 1435 w 2713"/>
                <a:gd name="T15" fmla="*/ 1133 h 1779"/>
                <a:gd name="T16" fmla="*/ 1504 w 2713"/>
                <a:gd name="T17" fmla="*/ 1043 h 1779"/>
                <a:gd name="T18" fmla="*/ 1611 w 2713"/>
                <a:gd name="T19" fmla="*/ 1025 h 1779"/>
                <a:gd name="T20" fmla="*/ 1612 w 2713"/>
                <a:gd name="T21" fmla="*/ 1100 h 1779"/>
                <a:gd name="T22" fmla="*/ 1691 w 2713"/>
                <a:gd name="T23" fmla="*/ 1120 h 1779"/>
                <a:gd name="T24" fmla="*/ 1766 w 2713"/>
                <a:gd name="T25" fmla="*/ 1121 h 1779"/>
                <a:gd name="T26" fmla="*/ 1929 w 2713"/>
                <a:gd name="T27" fmla="*/ 1196 h 1779"/>
                <a:gd name="T28" fmla="*/ 2015 w 2713"/>
                <a:gd name="T29" fmla="*/ 1300 h 1779"/>
                <a:gd name="T30" fmla="*/ 2276 w 2713"/>
                <a:gd name="T31" fmla="*/ 1369 h 1779"/>
                <a:gd name="T32" fmla="*/ 2223 w 2713"/>
                <a:gd name="T33" fmla="*/ 1184 h 1779"/>
                <a:gd name="T34" fmla="*/ 2388 w 2713"/>
                <a:gd name="T35" fmla="*/ 1178 h 1779"/>
                <a:gd name="T36" fmla="*/ 2456 w 2713"/>
                <a:gd name="T37" fmla="*/ 1141 h 1779"/>
                <a:gd name="T38" fmla="*/ 2555 w 2713"/>
                <a:gd name="T39" fmla="*/ 1072 h 1779"/>
                <a:gd name="T40" fmla="*/ 2552 w 2713"/>
                <a:gd name="T41" fmla="*/ 1002 h 1779"/>
                <a:gd name="T42" fmla="*/ 2651 w 2713"/>
                <a:gd name="T43" fmla="*/ 939 h 1779"/>
                <a:gd name="T44" fmla="*/ 2661 w 2713"/>
                <a:gd name="T45" fmla="*/ 827 h 1779"/>
                <a:gd name="T46" fmla="*/ 2712 w 2713"/>
                <a:gd name="T47" fmla="*/ 757 h 1779"/>
                <a:gd name="T48" fmla="*/ 2648 w 2713"/>
                <a:gd name="T49" fmla="*/ 750 h 1779"/>
                <a:gd name="T50" fmla="*/ 2572 w 2713"/>
                <a:gd name="T51" fmla="*/ 719 h 1779"/>
                <a:gd name="T52" fmla="*/ 2690 w 2713"/>
                <a:gd name="T53" fmla="*/ 610 h 1779"/>
                <a:gd name="T54" fmla="*/ 2581 w 2713"/>
                <a:gd name="T55" fmla="*/ 589 h 1779"/>
                <a:gd name="T56" fmla="*/ 2613 w 2713"/>
                <a:gd name="T57" fmla="*/ 500 h 1779"/>
                <a:gd name="T58" fmla="*/ 2705 w 2713"/>
                <a:gd name="T59" fmla="*/ 453 h 1779"/>
                <a:gd name="T60" fmla="*/ 2627 w 2713"/>
                <a:gd name="T61" fmla="*/ 214 h 1779"/>
                <a:gd name="T62" fmla="*/ 2674 w 2713"/>
                <a:gd name="T63" fmla="*/ 110 h 1779"/>
                <a:gd name="T64" fmla="*/ 2558 w 2713"/>
                <a:gd name="T65" fmla="*/ 59 h 1779"/>
                <a:gd name="T66" fmla="*/ 2352 w 2713"/>
                <a:gd name="T67" fmla="*/ 29 h 1779"/>
                <a:gd name="T68" fmla="*/ 2190 w 2713"/>
                <a:gd name="T69" fmla="*/ 2 h 1779"/>
                <a:gd name="T70" fmla="*/ 2033 w 2713"/>
                <a:gd name="T71" fmla="*/ 95 h 1779"/>
                <a:gd name="T72" fmla="*/ 1864 w 2713"/>
                <a:gd name="T73" fmla="*/ 95 h 1779"/>
                <a:gd name="T74" fmla="*/ 1673 w 2713"/>
                <a:gd name="T75" fmla="*/ 199 h 1779"/>
                <a:gd name="T76" fmla="*/ 1522 w 2713"/>
                <a:gd name="T77" fmla="*/ 216 h 1779"/>
                <a:gd name="T78" fmla="*/ 1332 w 2713"/>
                <a:gd name="T79" fmla="*/ 172 h 1779"/>
                <a:gd name="T80" fmla="*/ 1220 w 2713"/>
                <a:gd name="T81" fmla="*/ 290 h 1779"/>
                <a:gd name="T82" fmla="*/ 1058 w 2713"/>
                <a:gd name="T83" fmla="*/ 353 h 1779"/>
                <a:gd name="T84" fmla="*/ 842 w 2713"/>
                <a:gd name="T85" fmla="*/ 417 h 1779"/>
                <a:gd name="T86" fmla="*/ 528 w 2713"/>
                <a:gd name="T87" fmla="*/ 412 h 1779"/>
                <a:gd name="T88" fmla="*/ 290 w 2713"/>
                <a:gd name="T89" fmla="*/ 498 h 1779"/>
                <a:gd name="T90" fmla="*/ 305 w 2713"/>
                <a:gd name="T91" fmla="*/ 577 h 1779"/>
                <a:gd name="T92" fmla="*/ 371 w 2713"/>
                <a:gd name="T93" fmla="*/ 596 h 1779"/>
                <a:gd name="T94" fmla="*/ 295 w 2713"/>
                <a:gd name="T95" fmla="*/ 680 h 1779"/>
                <a:gd name="T96" fmla="*/ 227 w 2713"/>
                <a:gd name="T97" fmla="*/ 808 h 1779"/>
                <a:gd name="T98" fmla="*/ 288 w 2713"/>
                <a:gd name="T99" fmla="*/ 952 h 1779"/>
                <a:gd name="T100" fmla="*/ 316 w 2713"/>
                <a:gd name="T101" fmla="*/ 1216 h 1779"/>
                <a:gd name="T102" fmla="*/ 224 w 2713"/>
                <a:gd name="T103" fmla="*/ 1277 h 1779"/>
                <a:gd name="T104" fmla="*/ 89 w 2713"/>
                <a:gd name="T105" fmla="*/ 1339 h 1779"/>
                <a:gd name="T106" fmla="*/ 11 w 2713"/>
                <a:gd name="T107" fmla="*/ 1379 h 1779"/>
                <a:gd name="T108" fmla="*/ 35 w 2713"/>
                <a:gd name="T109" fmla="*/ 1452 h 1779"/>
                <a:gd name="T110" fmla="*/ 6 w 2713"/>
                <a:gd name="T111" fmla="*/ 1539 h 1779"/>
                <a:gd name="T112" fmla="*/ 19 w 2713"/>
                <a:gd name="T113" fmla="*/ 1610 h 1779"/>
                <a:gd name="T114" fmla="*/ 121 w 2713"/>
                <a:gd name="T115" fmla="*/ 1646 h 1779"/>
                <a:gd name="T116" fmla="*/ 115 w 2713"/>
                <a:gd name="T117" fmla="*/ 1747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13" h="1779">
                  <a:moveTo>
                    <a:pt x="120" y="1779"/>
                  </a:moveTo>
                  <a:lnTo>
                    <a:pt x="128" y="1773"/>
                  </a:lnTo>
                  <a:lnTo>
                    <a:pt x="131" y="1764"/>
                  </a:lnTo>
                  <a:lnTo>
                    <a:pt x="135" y="1754"/>
                  </a:lnTo>
                  <a:lnTo>
                    <a:pt x="141" y="1741"/>
                  </a:lnTo>
                  <a:lnTo>
                    <a:pt x="147" y="1730"/>
                  </a:lnTo>
                  <a:lnTo>
                    <a:pt x="153" y="1718"/>
                  </a:lnTo>
                  <a:lnTo>
                    <a:pt x="160" y="1708"/>
                  </a:lnTo>
                  <a:lnTo>
                    <a:pt x="168" y="1698"/>
                  </a:lnTo>
                  <a:lnTo>
                    <a:pt x="176" y="1692"/>
                  </a:lnTo>
                  <a:lnTo>
                    <a:pt x="183" y="1688"/>
                  </a:lnTo>
                  <a:lnTo>
                    <a:pt x="193" y="1686"/>
                  </a:lnTo>
                  <a:lnTo>
                    <a:pt x="202" y="1685"/>
                  </a:lnTo>
                  <a:lnTo>
                    <a:pt x="211" y="1684"/>
                  </a:lnTo>
                  <a:lnTo>
                    <a:pt x="222" y="1683"/>
                  </a:lnTo>
                  <a:lnTo>
                    <a:pt x="231" y="1680"/>
                  </a:lnTo>
                  <a:lnTo>
                    <a:pt x="236" y="1679"/>
                  </a:lnTo>
                  <a:lnTo>
                    <a:pt x="242" y="1677"/>
                  </a:lnTo>
                  <a:lnTo>
                    <a:pt x="246" y="1675"/>
                  </a:lnTo>
                  <a:lnTo>
                    <a:pt x="251" y="1672"/>
                  </a:lnTo>
                  <a:lnTo>
                    <a:pt x="272" y="1654"/>
                  </a:lnTo>
                  <a:lnTo>
                    <a:pt x="292" y="1639"/>
                  </a:lnTo>
                  <a:lnTo>
                    <a:pt x="296" y="1636"/>
                  </a:lnTo>
                  <a:lnTo>
                    <a:pt x="302" y="1632"/>
                  </a:lnTo>
                  <a:lnTo>
                    <a:pt x="307" y="1630"/>
                  </a:lnTo>
                  <a:lnTo>
                    <a:pt x="314" y="1628"/>
                  </a:lnTo>
                  <a:lnTo>
                    <a:pt x="320" y="1627"/>
                  </a:lnTo>
                  <a:lnTo>
                    <a:pt x="326" y="1627"/>
                  </a:lnTo>
                  <a:lnTo>
                    <a:pt x="333" y="1627"/>
                  </a:lnTo>
                  <a:lnTo>
                    <a:pt x="341" y="1628"/>
                  </a:lnTo>
                  <a:lnTo>
                    <a:pt x="351" y="1628"/>
                  </a:lnTo>
                  <a:lnTo>
                    <a:pt x="361" y="1628"/>
                  </a:lnTo>
                  <a:lnTo>
                    <a:pt x="370" y="1627"/>
                  </a:lnTo>
                  <a:lnTo>
                    <a:pt x="380" y="1625"/>
                  </a:lnTo>
                  <a:lnTo>
                    <a:pt x="390" y="1622"/>
                  </a:lnTo>
                  <a:lnTo>
                    <a:pt x="400" y="1619"/>
                  </a:lnTo>
                  <a:lnTo>
                    <a:pt x="410" y="1615"/>
                  </a:lnTo>
                  <a:lnTo>
                    <a:pt x="420" y="1610"/>
                  </a:lnTo>
                  <a:lnTo>
                    <a:pt x="439" y="1599"/>
                  </a:lnTo>
                  <a:lnTo>
                    <a:pt x="456" y="1587"/>
                  </a:lnTo>
                  <a:lnTo>
                    <a:pt x="473" y="1575"/>
                  </a:lnTo>
                  <a:lnTo>
                    <a:pt x="488" y="1564"/>
                  </a:lnTo>
                  <a:lnTo>
                    <a:pt x="500" y="1556"/>
                  </a:lnTo>
                  <a:lnTo>
                    <a:pt x="513" y="1549"/>
                  </a:lnTo>
                  <a:lnTo>
                    <a:pt x="526" y="1543"/>
                  </a:lnTo>
                  <a:lnTo>
                    <a:pt x="540" y="1538"/>
                  </a:lnTo>
                  <a:lnTo>
                    <a:pt x="569" y="1527"/>
                  </a:lnTo>
                  <a:lnTo>
                    <a:pt x="599" y="1519"/>
                  </a:lnTo>
                  <a:lnTo>
                    <a:pt x="628" y="1511"/>
                  </a:lnTo>
                  <a:lnTo>
                    <a:pt x="659" y="1504"/>
                  </a:lnTo>
                  <a:lnTo>
                    <a:pt x="687" y="1497"/>
                  </a:lnTo>
                  <a:lnTo>
                    <a:pt x="713" y="1490"/>
                  </a:lnTo>
                  <a:lnTo>
                    <a:pt x="737" y="1480"/>
                  </a:lnTo>
                  <a:lnTo>
                    <a:pt x="761" y="1469"/>
                  </a:lnTo>
                  <a:lnTo>
                    <a:pt x="784" y="1456"/>
                  </a:lnTo>
                  <a:lnTo>
                    <a:pt x="806" y="1443"/>
                  </a:lnTo>
                  <a:lnTo>
                    <a:pt x="829" y="1428"/>
                  </a:lnTo>
                  <a:lnTo>
                    <a:pt x="851" y="1413"/>
                  </a:lnTo>
                  <a:lnTo>
                    <a:pt x="871" y="1399"/>
                  </a:lnTo>
                  <a:lnTo>
                    <a:pt x="892" y="1383"/>
                  </a:lnTo>
                  <a:lnTo>
                    <a:pt x="914" y="1368"/>
                  </a:lnTo>
                  <a:lnTo>
                    <a:pt x="938" y="1349"/>
                  </a:lnTo>
                  <a:lnTo>
                    <a:pt x="951" y="1340"/>
                  </a:lnTo>
                  <a:lnTo>
                    <a:pt x="963" y="1332"/>
                  </a:lnTo>
                  <a:lnTo>
                    <a:pt x="975" y="1325"/>
                  </a:lnTo>
                  <a:lnTo>
                    <a:pt x="985" y="1320"/>
                  </a:lnTo>
                  <a:lnTo>
                    <a:pt x="988" y="1315"/>
                  </a:lnTo>
                  <a:lnTo>
                    <a:pt x="993" y="1312"/>
                  </a:lnTo>
                  <a:lnTo>
                    <a:pt x="998" y="1309"/>
                  </a:lnTo>
                  <a:lnTo>
                    <a:pt x="1004" y="1307"/>
                  </a:lnTo>
                  <a:lnTo>
                    <a:pt x="1015" y="1303"/>
                  </a:lnTo>
                  <a:lnTo>
                    <a:pt x="1029" y="1301"/>
                  </a:lnTo>
                  <a:lnTo>
                    <a:pt x="1056" y="1300"/>
                  </a:lnTo>
                  <a:lnTo>
                    <a:pt x="1079" y="1299"/>
                  </a:lnTo>
                  <a:lnTo>
                    <a:pt x="1119" y="1301"/>
                  </a:lnTo>
                  <a:lnTo>
                    <a:pt x="1155" y="1301"/>
                  </a:lnTo>
                  <a:lnTo>
                    <a:pt x="1164" y="1301"/>
                  </a:lnTo>
                  <a:lnTo>
                    <a:pt x="1173" y="1299"/>
                  </a:lnTo>
                  <a:lnTo>
                    <a:pt x="1182" y="1297"/>
                  </a:lnTo>
                  <a:lnTo>
                    <a:pt x="1190" y="1293"/>
                  </a:lnTo>
                  <a:lnTo>
                    <a:pt x="1198" y="1289"/>
                  </a:lnTo>
                  <a:lnTo>
                    <a:pt x="1206" y="1283"/>
                  </a:lnTo>
                  <a:lnTo>
                    <a:pt x="1213" y="1277"/>
                  </a:lnTo>
                  <a:lnTo>
                    <a:pt x="1222" y="1268"/>
                  </a:lnTo>
                  <a:lnTo>
                    <a:pt x="1227" y="1262"/>
                  </a:lnTo>
                  <a:lnTo>
                    <a:pt x="1231" y="1255"/>
                  </a:lnTo>
                  <a:lnTo>
                    <a:pt x="1235" y="1248"/>
                  </a:lnTo>
                  <a:lnTo>
                    <a:pt x="1239" y="1240"/>
                  </a:lnTo>
                  <a:lnTo>
                    <a:pt x="1246" y="1225"/>
                  </a:lnTo>
                  <a:lnTo>
                    <a:pt x="1252" y="1209"/>
                  </a:lnTo>
                  <a:lnTo>
                    <a:pt x="1258" y="1193"/>
                  </a:lnTo>
                  <a:lnTo>
                    <a:pt x="1264" y="1178"/>
                  </a:lnTo>
                  <a:lnTo>
                    <a:pt x="1272" y="1163"/>
                  </a:lnTo>
                  <a:lnTo>
                    <a:pt x="1281" y="1149"/>
                  </a:lnTo>
                  <a:lnTo>
                    <a:pt x="1285" y="1145"/>
                  </a:lnTo>
                  <a:lnTo>
                    <a:pt x="1290" y="1141"/>
                  </a:lnTo>
                  <a:lnTo>
                    <a:pt x="1296" y="1138"/>
                  </a:lnTo>
                  <a:lnTo>
                    <a:pt x="1302" y="1136"/>
                  </a:lnTo>
                  <a:lnTo>
                    <a:pt x="1316" y="1133"/>
                  </a:lnTo>
                  <a:lnTo>
                    <a:pt x="1330" y="1131"/>
                  </a:lnTo>
                  <a:lnTo>
                    <a:pt x="1365" y="1132"/>
                  </a:lnTo>
                  <a:lnTo>
                    <a:pt x="1400" y="1134"/>
                  </a:lnTo>
                  <a:lnTo>
                    <a:pt x="1418" y="1134"/>
                  </a:lnTo>
                  <a:lnTo>
                    <a:pt x="1435" y="1133"/>
                  </a:lnTo>
                  <a:lnTo>
                    <a:pt x="1444" y="1132"/>
                  </a:lnTo>
                  <a:lnTo>
                    <a:pt x="1451" y="1131"/>
                  </a:lnTo>
                  <a:lnTo>
                    <a:pt x="1459" y="1129"/>
                  </a:lnTo>
                  <a:lnTo>
                    <a:pt x="1466" y="1125"/>
                  </a:lnTo>
                  <a:lnTo>
                    <a:pt x="1473" y="1122"/>
                  </a:lnTo>
                  <a:lnTo>
                    <a:pt x="1479" y="1118"/>
                  </a:lnTo>
                  <a:lnTo>
                    <a:pt x="1484" y="1113"/>
                  </a:lnTo>
                  <a:lnTo>
                    <a:pt x="1490" y="1108"/>
                  </a:lnTo>
                  <a:lnTo>
                    <a:pt x="1494" y="1100"/>
                  </a:lnTo>
                  <a:lnTo>
                    <a:pt x="1498" y="1093"/>
                  </a:lnTo>
                  <a:lnTo>
                    <a:pt x="1501" y="1085"/>
                  </a:lnTo>
                  <a:lnTo>
                    <a:pt x="1503" y="1074"/>
                  </a:lnTo>
                  <a:lnTo>
                    <a:pt x="1504" y="1043"/>
                  </a:lnTo>
                  <a:lnTo>
                    <a:pt x="1504" y="1012"/>
                  </a:lnTo>
                  <a:lnTo>
                    <a:pt x="1505" y="1006"/>
                  </a:lnTo>
                  <a:lnTo>
                    <a:pt x="1507" y="999"/>
                  </a:lnTo>
                  <a:lnTo>
                    <a:pt x="1511" y="995"/>
                  </a:lnTo>
                  <a:lnTo>
                    <a:pt x="1515" y="992"/>
                  </a:lnTo>
                  <a:lnTo>
                    <a:pt x="1521" y="990"/>
                  </a:lnTo>
                  <a:lnTo>
                    <a:pt x="1527" y="989"/>
                  </a:lnTo>
                  <a:lnTo>
                    <a:pt x="1537" y="991"/>
                  </a:lnTo>
                  <a:lnTo>
                    <a:pt x="1547" y="994"/>
                  </a:lnTo>
                  <a:lnTo>
                    <a:pt x="1570" y="1002"/>
                  </a:lnTo>
                  <a:lnTo>
                    <a:pt x="1588" y="1011"/>
                  </a:lnTo>
                  <a:lnTo>
                    <a:pt x="1601" y="1019"/>
                  </a:lnTo>
                  <a:lnTo>
                    <a:pt x="1611" y="1025"/>
                  </a:lnTo>
                  <a:lnTo>
                    <a:pt x="1614" y="1029"/>
                  </a:lnTo>
                  <a:lnTo>
                    <a:pt x="1616" y="1033"/>
                  </a:lnTo>
                  <a:lnTo>
                    <a:pt x="1617" y="1036"/>
                  </a:lnTo>
                  <a:lnTo>
                    <a:pt x="1618" y="1039"/>
                  </a:lnTo>
                  <a:lnTo>
                    <a:pt x="1618" y="1044"/>
                  </a:lnTo>
                  <a:lnTo>
                    <a:pt x="1617" y="1050"/>
                  </a:lnTo>
                  <a:lnTo>
                    <a:pt x="1611" y="1062"/>
                  </a:lnTo>
                  <a:lnTo>
                    <a:pt x="1605" y="1074"/>
                  </a:lnTo>
                  <a:lnTo>
                    <a:pt x="1604" y="1081"/>
                  </a:lnTo>
                  <a:lnTo>
                    <a:pt x="1605" y="1088"/>
                  </a:lnTo>
                  <a:lnTo>
                    <a:pt x="1606" y="1092"/>
                  </a:lnTo>
                  <a:lnTo>
                    <a:pt x="1609" y="1096"/>
                  </a:lnTo>
                  <a:lnTo>
                    <a:pt x="1612" y="1100"/>
                  </a:lnTo>
                  <a:lnTo>
                    <a:pt x="1616" y="1105"/>
                  </a:lnTo>
                  <a:lnTo>
                    <a:pt x="1620" y="1109"/>
                  </a:lnTo>
                  <a:lnTo>
                    <a:pt x="1625" y="1113"/>
                  </a:lnTo>
                  <a:lnTo>
                    <a:pt x="1630" y="1116"/>
                  </a:lnTo>
                  <a:lnTo>
                    <a:pt x="1637" y="1119"/>
                  </a:lnTo>
                  <a:lnTo>
                    <a:pt x="1643" y="1121"/>
                  </a:lnTo>
                  <a:lnTo>
                    <a:pt x="1650" y="1123"/>
                  </a:lnTo>
                  <a:lnTo>
                    <a:pt x="1658" y="1124"/>
                  </a:lnTo>
                  <a:lnTo>
                    <a:pt x="1664" y="1124"/>
                  </a:lnTo>
                  <a:lnTo>
                    <a:pt x="1671" y="1124"/>
                  </a:lnTo>
                  <a:lnTo>
                    <a:pt x="1678" y="1123"/>
                  </a:lnTo>
                  <a:lnTo>
                    <a:pt x="1685" y="1122"/>
                  </a:lnTo>
                  <a:lnTo>
                    <a:pt x="1691" y="1120"/>
                  </a:lnTo>
                  <a:lnTo>
                    <a:pt x="1697" y="1118"/>
                  </a:lnTo>
                  <a:lnTo>
                    <a:pt x="1702" y="1115"/>
                  </a:lnTo>
                  <a:lnTo>
                    <a:pt x="1708" y="1111"/>
                  </a:lnTo>
                  <a:lnTo>
                    <a:pt x="1713" y="1106"/>
                  </a:lnTo>
                  <a:lnTo>
                    <a:pt x="1717" y="1100"/>
                  </a:lnTo>
                  <a:lnTo>
                    <a:pt x="1722" y="1097"/>
                  </a:lnTo>
                  <a:lnTo>
                    <a:pt x="1726" y="1095"/>
                  </a:lnTo>
                  <a:lnTo>
                    <a:pt x="1732" y="1094"/>
                  </a:lnTo>
                  <a:lnTo>
                    <a:pt x="1736" y="1095"/>
                  </a:lnTo>
                  <a:lnTo>
                    <a:pt x="1740" y="1097"/>
                  </a:lnTo>
                  <a:lnTo>
                    <a:pt x="1745" y="1099"/>
                  </a:lnTo>
                  <a:lnTo>
                    <a:pt x="1749" y="1103"/>
                  </a:lnTo>
                  <a:lnTo>
                    <a:pt x="1766" y="1121"/>
                  </a:lnTo>
                  <a:lnTo>
                    <a:pt x="1781" y="1139"/>
                  </a:lnTo>
                  <a:lnTo>
                    <a:pt x="1796" y="1154"/>
                  </a:lnTo>
                  <a:lnTo>
                    <a:pt x="1812" y="1165"/>
                  </a:lnTo>
                  <a:lnTo>
                    <a:pt x="1819" y="1170"/>
                  </a:lnTo>
                  <a:lnTo>
                    <a:pt x="1826" y="1175"/>
                  </a:lnTo>
                  <a:lnTo>
                    <a:pt x="1834" y="1178"/>
                  </a:lnTo>
                  <a:lnTo>
                    <a:pt x="1841" y="1181"/>
                  </a:lnTo>
                  <a:lnTo>
                    <a:pt x="1857" y="1186"/>
                  </a:lnTo>
                  <a:lnTo>
                    <a:pt x="1873" y="1189"/>
                  </a:lnTo>
                  <a:lnTo>
                    <a:pt x="1892" y="1191"/>
                  </a:lnTo>
                  <a:lnTo>
                    <a:pt x="1914" y="1192"/>
                  </a:lnTo>
                  <a:lnTo>
                    <a:pt x="1921" y="1193"/>
                  </a:lnTo>
                  <a:lnTo>
                    <a:pt x="1929" y="1196"/>
                  </a:lnTo>
                  <a:lnTo>
                    <a:pt x="1936" y="1200"/>
                  </a:lnTo>
                  <a:lnTo>
                    <a:pt x="1943" y="1204"/>
                  </a:lnTo>
                  <a:lnTo>
                    <a:pt x="1951" y="1210"/>
                  </a:lnTo>
                  <a:lnTo>
                    <a:pt x="1958" y="1216"/>
                  </a:lnTo>
                  <a:lnTo>
                    <a:pt x="1965" y="1222"/>
                  </a:lnTo>
                  <a:lnTo>
                    <a:pt x="1971" y="1231"/>
                  </a:lnTo>
                  <a:lnTo>
                    <a:pt x="1984" y="1246"/>
                  </a:lnTo>
                  <a:lnTo>
                    <a:pt x="1993" y="1263"/>
                  </a:lnTo>
                  <a:lnTo>
                    <a:pt x="1997" y="1270"/>
                  </a:lnTo>
                  <a:lnTo>
                    <a:pt x="2001" y="1279"/>
                  </a:lnTo>
                  <a:lnTo>
                    <a:pt x="2004" y="1286"/>
                  </a:lnTo>
                  <a:lnTo>
                    <a:pt x="2005" y="1292"/>
                  </a:lnTo>
                  <a:lnTo>
                    <a:pt x="2015" y="1300"/>
                  </a:lnTo>
                  <a:lnTo>
                    <a:pt x="2027" y="1306"/>
                  </a:lnTo>
                  <a:lnTo>
                    <a:pt x="2037" y="1311"/>
                  </a:lnTo>
                  <a:lnTo>
                    <a:pt x="2049" y="1316"/>
                  </a:lnTo>
                  <a:lnTo>
                    <a:pt x="2069" y="1324"/>
                  </a:lnTo>
                  <a:lnTo>
                    <a:pt x="2091" y="1330"/>
                  </a:lnTo>
                  <a:lnTo>
                    <a:pt x="2112" y="1336"/>
                  </a:lnTo>
                  <a:lnTo>
                    <a:pt x="2133" y="1342"/>
                  </a:lnTo>
                  <a:lnTo>
                    <a:pt x="2144" y="1346"/>
                  </a:lnTo>
                  <a:lnTo>
                    <a:pt x="2155" y="1350"/>
                  </a:lnTo>
                  <a:lnTo>
                    <a:pt x="2165" y="1354"/>
                  </a:lnTo>
                  <a:lnTo>
                    <a:pt x="2176" y="1359"/>
                  </a:lnTo>
                  <a:lnTo>
                    <a:pt x="2276" y="1369"/>
                  </a:lnTo>
                  <a:lnTo>
                    <a:pt x="2276" y="1369"/>
                  </a:lnTo>
                  <a:lnTo>
                    <a:pt x="2259" y="1342"/>
                  </a:lnTo>
                  <a:lnTo>
                    <a:pt x="2241" y="1317"/>
                  </a:lnTo>
                  <a:lnTo>
                    <a:pt x="2225" y="1292"/>
                  </a:lnTo>
                  <a:lnTo>
                    <a:pt x="2208" y="1267"/>
                  </a:lnTo>
                  <a:lnTo>
                    <a:pt x="2200" y="1255"/>
                  </a:lnTo>
                  <a:lnTo>
                    <a:pt x="2187" y="1234"/>
                  </a:lnTo>
                  <a:lnTo>
                    <a:pt x="2174" y="1209"/>
                  </a:lnTo>
                  <a:lnTo>
                    <a:pt x="2160" y="1186"/>
                  </a:lnTo>
                  <a:lnTo>
                    <a:pt x="2171" y="1185"/>
                  </a:lnTo>
                  <a:lnTo>
                    <a:pt x="2181" y="1184"/>
                  </a:lnTo>
                  <a:lnTo>
                    <a:pt x="2191" y="1183"/>
                  </a:lnTo>
                  <a:lnTo>
                    <a:pt x="2203" y="1184"/>
                  </a:lnTo>
                  <a:lnTo>
                    <a:pt x="2223" y="1184"/>
                  </a:lnTo>
                  <a:lnTo>
                    <a:pt x="2237" y="1185"/>
                  </a:lnTo>
                  <a:lnTo>
                    <a:pt x="2251" y="1184"/>
                  </a:lnTo>
                  <a:lnTo>
                    <a:pt x="2262" y="1182"/>
                  </a:lnTo>
                  <a:lnTo>
                    <a:pt x="2272" y="1178"/>
                  </a:lnTo>
                  <a:lnTo>
                    <a:pt x="2280" y="1173"/>
                  </a:lnTo>
                  <a:lnTo>
                    <a:pt x="2298" y="1164"/>
                  </a:lnTo>
                  <a:lnTo>
                    <a:pt x="2318" y="1155"/>
                  </a:lnTo>
                  <a:lnTo>
                    <a:pt x="2325" y="1154"/>
                  </a:lnTo>
                  <a:lnTo>
                    <a:pt x="2332" y="1155"/>
                  </a:lnTo>
                  <a:lnTo>
                    <a:pt x="2341" y="1157"/>
                  </a:lnTo>
                  <a:lnTo>
                    <a:pt x="2350" y="1160"/>
                  </a:lnTo>
                  <a:lnTo>
                    <a:pt x="2369" y="1169"/>
                  </a:lnTo>
                  <a:lnTo>
                    <a:pt x="2388" y="1178"/>
                  </a:lnTo>
                  <a:lnTo>
                    <a:pt x="2398" y="1182"/>
                  </a:lnTo>
                  <a:lnTo>
                    <a:pt x="2407" y="1184"/>
                  </a:lnTo>
                  <a:lnTo>
                    <a:pt x="2417" y="1184"/>
                  </a:lnTo>
                  <a:lnTo>
                    <a:pt x="2425" y="1183"/>
                  </a:lnTo>
                  <a:lnTo>
                    <a:pt x="2429" y="1181"/>
                  </a:lnTo>
                  <a:lnTo>
                    <a:pt x="2432" y="1179"/>
                  </a:lnTo>
                  <a:lnTo>
                    <a:pt x="2436" y="1176"/>
                  </a:lnTo>
                  <a:lnTo>
                    <a:pt x="2440" y="1171"/>
                  </a:lnTo>
                  <a:lnTo>
                    <a:pt x="2443" y="1167"/>
                  </a:lnTo>
                  <a:lnTo>
                    <a:pt x="2446" y="1162"/>
                  </a:lnTo>
                  <a:lnTo>
                    <a:pt x="2449" y="1156"/>
                  </a:lnTo>
                  <a:lnTo>
                    <a:pt x="2451" y="1148"/>
                  </a:lnTo>
                  <a:lnTo>
                    <a:pt x="2456" y="1141"/>
                  </a:lnTo>
                  <a:lnTo>
                    <a:pt x="2460" y="1134"/>
                  </a:lnTo>
                  <a:lnTo>
                    <a:pt x="2465" y="1125"/>
                  </a:lnTo>
                  <a:lnTo>
                    <a:pt x="2469" y="1118"/>
                  </a:lnTo>
                  <a:lnTo>
                    <a:pt x="2472" y="1110"/>
                  </a:lnTo>
                  <a:lnTo>
                    <a:pt x="2476" y="1103"/>
                  </a:lnTo>
                  <a:lnTo>
                    <a:pt x="2481" y="1095"/>
                  </a:lnTo>
                  <a:lnTo>
                    <a:pt x="2486" y="1090"/>
                  </a:lnTo>
                  <a:lnTo>
                    <a:pt x="2494" y="1085"/>
                  </a:lnTo>
                  <a:lnTo>
                    <a:pt x="2502" y="1081"/>
                  </a:lnTo>
                  <a:lnTo>
                    <a:pt x="2510" y="1079"/>
                  </a:lnTo>
                  <a:lnTo>
                    <a:pt x="2519" y="1076"/>
                  </a:lnTo>
                  <a:lnTo>
                    <a:pt x="2538" y="1074"/>
                  </a:lnTo>
                  <a:lnTo>
                    <a:pt x="2555" y="1072"/>
                  </a:lnTo>
                  <a:lnTo>
                    <a:pt x="2561" y="1071"/>
                  </a:lnTo>
                  <a:lnTo>
                    <a:pt x="2565" y="1070"/>
                  </a:lnTo>
                  <a:lnTo>
                    <a:pt x="2568" y="1068"/>
                  </a:lnTo>
                  <a:lnTo>
                    <a:pt x="2571" y="1066"/>
                  </a:lnTo>
                  <a:lnTo>
                    <a:pt x="2573" y="1063"/>
                  </a:lnTo>
                  <a:lnTo>
                    <a:pt x="2574" y="1061"/>
                  </a:lnTo>
                  <a:lnTo>
                    <a:pt x="2575" y="1058"/>
                  </a:lnTo>
                  <a:lnTo>
                    <a:pt x="2575" y="1053"/>
                  </a:lnTo>
                  <a:lnTo>
                    <a:pt x="2574" y="1046"/>
                  </a:lnTo>
                  <a:lnTo>
                    <a:pt x="2571" y="1038"/>
                  </a:lnTo>
                  <a:lnTo>
                    <a:pt x="2567" y="1029"/>
                  </a:lnTo>
                  <a:lnTo>
                    <a:pt x="2563" y="1020"/>
                  </a:lnTo>
                  <a:lnTo>
                    <a:pt x="2552" y="1002"/>
                  </a:lnTo>
                  <a:lnTo>
                    <a:pt x="2544" y="986"/>
                  </a:lnTo>
                  <a:lnTo>
                    <a:pt x="2541" y="977"/>
                  </a:lnTo>
                  <a:lnTo>
                    <a:pt x="2540" y="971"/>
                  </a:lnTo>
                  <a:lnTo>
                    <a:pt x="2540" y="969"/>
                  </a:lnTo>
                  <a:lnTo>
                    <a:pt x="2541" y="967"/>
                  </a:lnTo>
                  <a:lnTo>
                    <a:pt x="2542" y="965"/>
                  </a:lnTo>
                  <a:lnTo>
                    <a:pt x="2544" y="963"/>
                  </a:lnTo>
                  <a:lnTo>
                    <a:pt x="2555" y="956"/>
                  </a:lnTo>
                  <a:lnTo>
                    <a:pt x="2568" y="952"/>
                  </a:lnTo>
                  <a:lnTo>
                    <a:pt x="2581" y="948"/>
                  </a:lnTo>
                  <a:lnTo>
                    <a:pt x="2596" y="945"/>
                  </a:lnTo>
                  <a:lnTo>
                    <a:pt x="2625" y="941"/>
                  </a:lnTo>
                  <a:lnTo>
                    <a:pt x="2651" y="939"/>
                  </a:lnTo>
                  <a:lnTo>
                    <a:pt x="2655" y="939"/>
                  </a:lnTo>
                  <a:lnTo>
                    <a:pt x="2659" y="938"/>
                  </a:lnTo>
                  <a:lnTo>
                    <a:pt x="2662" y="937"/>
                  </a:lnTo>
                  <a:lnTo>
                    <a:pt x="2664" y="935"/>
                  </a:lnTo>
                  <a:lnTo>
                    <a:pt x="2668" y="930"/>
                  </a:lnTo>
                  <a:lnTo>
                    <a:pt x="2671" y="925"/>
                  </a:lnTo>
                  <a:lnTo>
                    <a:pt x="2672" y="919"/>
                  </a:lnTo>
                  <a:lnTo>
                    <a:pt x="2672" y="911"/>
                  </a:lnTo>
                  <a:lnTo>
                    <a:pt x="2672" y="902"/>
                  </a:lnTo>
                  <a:lnTo>
                    <a:pt x="2671" y="894"/>
                  </a:lnTo>
                  <a:lnTo>
                    <a:pt x="2664" y="858"/>
                  </a:lnTo>
                  <a:lnTo>
                    <a:pt x="2660" y="830"/>
                  </a:lnTo>
                  <a:lnTo>
                    <a:pt x="2661" y="827"/>
                  </a:lnTo>
                  <a:lnTo>
                    <a:pt x="2662" y="823"/>
                  </a:lnTo>
                  <a:lnTo>
                    <a:pt x="2664" y="820"/>
                  </a:lnTo>
                  <a:lnTo>
                    <a:pt x="2667" y="817"/>
                  </a:lnTo>
                  <a:lnTo>
                    <a:pt x="2674" y="809"/>
                  </a:lnTo>
                  <a:lnTo>
                    <a:pt x="2681" y="804"/>
                  </a:lnTo>
                  <a:lnTo>
                    <a:pt x="2690" y="798"/>
                  </a:lnTo>
                  <a:lnTo>
                    <a:pt x="2697" y="791"/>
                  </a:lnTo>
                  <a:lnTo>
                    <a:pt x="2701" y="787"/>
                  </a:lnTo>
                  <a:lnTo>
                    <a:pt x="2703" y="783"/>
                  </a:lnTo>
                  <a:lnTo>
                    <a:pt x="2706" y="779"/>
                  </a:lnTo>
                  <a:lnTo>
                    <a:pt x="2708" y="775"/>
                  </a:lnTo>
                  <a:lnTo>
                    <a:pt x="2711" y="766"/>
                  </a:lnTo>
                  <a:lnTo>
                    <a:pt x="2712" y="757"/>
                  </a:lnTo>
                  <a:lnTo>
                    <a:pt x="2713" y="750"/>
                  </a:lnTo>
                  <a:lnTo>
                    <a:pt x="2713" y="745"/>
                  </a:lnTo>
                  <a:lnTo>
                    <a:pt x="2713" y="739"/>
                  </a:lnTo>
                  <a:lnTo>
                    <a:pt x="2712" y="736"/>
                  </a:lnTo>
                  <a:lnTo>
                    <a:pt x="2710" y="733"/>
                  </a:lnTo>
                  <a:lnTo>
                    <a:pt x="2706" y="731"/>
                  </a:lnTo>
                  <a:lnTo>
                    <a:pt x="2704" y="730"/>
                  </a:lnTo>
                  <a:lnTo>
                    <a:pt x="2700" y="730"/>
                  </a:lnTo>
                  <a:lnTo>
                    <a:pt x="2697" y="730"/>
                  </a:lnTo>
                  <a:lnTo>
                    <a:pt x="2692" y="731"/>
                  </a:lnTo>
                  <a:lnTo>
                    <a:pt x="2682" y="734"/>
                  </a:lnTo>
                  <a:lnTo>
                    <a:pt x="2672" y="738"/>
                  </a:lnTo>
                  <a:lnTo>
                    <a:pt x="2648" y="750"/>
                  </a:lnTo>
                  <a:lnTo>
                    <a:pt x="2623" y="759"/>
                  </a:lnTo>
                  <a:lnTo>
                    <a:pt x="2612" y="762"/>
                  </a:lnTo>
                  <a:lnTo>
                    <a:pt x="2600" y="763"/>
                  </a:lnTo>
                  <a:lnTo>
                    <a:pt x="2595" y="762"/>
                  </a:lnTo>
                  <a:lnTo>
                    <a:pt x="2590" y="761"/>
                  </a:lnTo>
                  <a:lnTo>
                    <a:pt x="2586" y="759"/>
                  </a:lnTo>
                  <a:lnTo>
                    <a:pt x="2581" y="756"/>
                  </a:lnTo>
                  <a:lnTo>
                    <a:pt x="2574" y="749"/>
                  </a:lnTo>
                  <a:lnTo>
                    <a:pt x="2569" y="743"/>
                  </a:lnTo>
                  <a:lnTo>
                    <a:pt x="2567" y="735"/>
                  </a:lnTo>
                  <a:lnTo>
                    <a:pt x="2567" y="730"/>
                  </a:lnTo>
                  <a:lnTo>
                    <a:pt x="2569" y="724"/>
                  </a:lnTo>
                  <a:lnTo>
                    <a:pt x="2572" y="719"/>
                  </a:lnTo>
                  <a:lnTo>
                    <a:pt x="2576" y="714"/>
                  </a:lnTo>
                  <a:lnTo>
                    <a:pt x="2582" y="710"/>
                  </a:lnTo>
                  <a:lnTo>
                    <a:pt x="2611" y="696"/>
                  </a:lnTo>
                  <a:lnTo>
                    <a:pt x="2635" y="685"/>
                  </a:lnTo>
                  <a:lnTo>
                    <a:pt x="2644" y="679"/>
                  </a:lnTo>
                  <a:lnTo>
                    <a:pt x="2655" y="670"/>
                  </a:lnTo>
                  <a:lnTo>
                    <a:pt x="2667" y="657"/>
                  </a:lnTo>
                  <a:lnTo>
                    <a:pt x="2677" y="643"/>
                  </a:lnTo>
                  <a:lnTo>
                    <a:pt x="2682" y="636"/>
                  </a:lnTo>
                  <a:lnTo>
                    <a:pt x="2686" y="630"/>
                  </a:lnTo>
                  <a:lnTo>
                    <a:pt x="2689" y="623"/>
                  </a:lnTo>
                  <a:lnTo>
                    <a:pt x="2690" y="616"/>
                  </a:lnTo>
                  <a:lnTo>
                    <a:pt x="2690" y="610"/>
                  </a:lnTo>
                  <a:lnTo>
                    <a:pt x="2688" y="604"/>
                  </a:lnTo>
                  <a:lnTo>
                    <a:pt x="2685" y="599"/>
                  </a:lnTo>
                  <a:lnTo>
                    <a:pt x="2679" y="593"/>
                  </a:lnTo>
                  <a:lnTo>
                    <a:pt x="2674" y="591"/>
                  </a:lnTo>
                  <a:lnTo>
                    <a:pt x="2667" y="591"/>
                  </a:lnTo>
                  <a:lnTo>
                    <a:pt x="2657" y="591"/>
                  </a:lnTo>
                  <a:lnTo>
                    <a:pt x="2648" y="592"/>
                  </a:lnTo>
                  <a:lnTo>
                    <a:pt x="2626" y="594"/>
                  </a:lnTo>
                  <a:lnTo>
                    <a:pt x="2605" y="596"/>
                  </a:lnTo>
                  <a:lnTo>
                    <a:pt x="2596" y="594"/>
                  </a:lnTo>
                  <a:lnTo>
                    <a:pt x="2588" y="593"/>
                  </a:lnTo>
                  <a:lnTo>
                    <a:pt x="2584" y="591"/>
                  </a:lnTo>
                  <a:lnTo>
                    <a:pt x="2581" y="589"/>
                  </a:lnTo>
                  <a:lnTo>
                    <a:pt x="2579" y="587"/>
                  </a:lnTo>
                  <a:lnTo>
                    <a:pt x="2577" y="584"/>
                  </a:lnTo>
                  <a:lnTo>
                    <a:pt x="2576" y="581"/>
                  </a:lnTo>
                  <a:lnTo>
                    <a:pt x="2575" y="577"/>
                  </a:lnTo>
                  <a:lnTo>
                    <a:pt x="2575" y="573"/>
                  </a:lnTo>
                  <a:lnTo>
                    <a:pt x="2576" y="567"/>
                  </a:lnTo>
                  <a:lnTo>
                    <a:pt x="2578" y="561"/>
                  </a:lnTo>
                  <a:lnTo>
                    <a:pt x="2581" y="554"/>
                  </a:lnTo>
                  <a:lnTo>
                    <a:pt x="2584" y="546"/>
                  </a:lnTo>
                  <a:lnTo>
                    <a:pt x="2590" y="538"/>
                  </a:lnTo>
                  <a:lnTo>
                    <a:pt x="2598" y="522"/>
                  </a:lnTo>
                  <a:lnTo>
                    <a:pt x="2605" y="510"/>
                  </a:lnTo>
                  <a:lnTo>
                    <a:pt x="2613" y="500"/>
                  </a:lnTo>
                  <a:lnTo>
                    <a:pt x="2620" y="490"/>
                  </a:lnTo>
                  <a:lnTo>
                    <a:pt x="2625" y="487"/>
                  </a:lnTo>
                  <a:lnTo>
                    <a:pt x="2629" y="484"/>
                  </a:lnTo>
                  <a:lnTo>
                    <a:pt x="2636" y="482"/>
                  </a:lnTo>
                  <a:lnTo>
                    <a:pt x="2641" y="479"/>
                  </a:lnTo>
                  <a:lnTo>
                    <a:pt x="2655" y="476"/>
                  </a:lnTo>
                  <a:lnTo>
                    <a:pt x="2673" y="472"/>
                  </a:lnTo>
                  <a:lnTo>
                    <a:pt x="2681" y="470"/>
                  </a:lnTo>
                  <a:lnTo>
                    <a:pt x="2689" y="468"/>
                  </a:lnTo>
                  <a:lnTo>
                    <a:pt x="2695" y="465"/>
                  </a:lnTo>
                  <a:lnTo>
                    <a:pt x="2700" y="461"/>
                  </a:lnTo>
                  <a:lnTo>
                    <a:pt x="2703" y="457"/>
                  </a:lnTo>
                  <a:lnTo>
                    <a:pt x="2705" y="453"/>
                  </a:lnTo>
                  <a:lnTo>
                    <a:pt x="2708" y="447"/>
                  </a:lnTo>
                  <a:lnTo>
                    <a:pt x="2708" y="442"/>
                  </a:lnTo>
                  <a:lnTo>
                    <a:pt x="2706" y="430"/>
                  </a:lnTo>
                  <a:lnTo>
                    <a:pt x="2703" y="417"/>
                  </a:lnTo>
                  <a:lnTo>
                    <a:pt x="2698" y="404"/>
                  </a:lnTo>
                  <a:lnTo>
                    <a:pt x="2693" y="390"/>
                  </a:lnTo>
                  <a:lnTo>
                    <a:pt x="2684" y="369"/>
                  </a:lnTo>
                  <a:lnTo>
                    <a:pt x="2671" y="339"/>
                  </a:lnTo>
                  <a:lnTo>
                    <a:pt x="2656" y="304"/>
                  </a:lnTo>
                  <a:lnTo>
                    <a:pt x="2642" y="268"/>
                  </a:lnTo>
                  <a:lnTo>
                    <a:pt x="2636" y="249"/>
                  </a:lnTo>
                  <a:lnTo>
                    <a:pt x="2631" y="231"/>
                  </a:lnTo>
                  <a:lnTo>
                    <a:pt x="2627" y="214"/>
                  </a:lnTo>
                  <a:lnTo>
                    <a:pt x="2625" y="197"/>
                  </a:lnTo>
                  <a:lnTo>
                    <a:pt x="2624" y="190"/>
                  </a:lnTo>
                  <a:lnTo>
                    <a:pt x="2624" y="182"/>
                  </a:lnTo>
                  <a:lnTo>
                    <a:pt x="2625" y="175"/>
                  </a:lnTo>
                  <a:lnTo>
                    <a:pt x="2626" y="169"/>
                  </a:lnTo>
                  <a:lnTo>
                    <a:pt x="2627" y="163"/>
                  </a:lnTo>
                  <a:lnTo>
                    <a:pt x="2629" y="157"/>
                  </a:lnTo>
                  <a:lnTo>
                    <a:pt x="2632" y="152"/>
                  </a:lnTo>
                  <a:lnTo>
                    <a:pt x="2637" y="148"/>
                  </a:lnTo>
                  <a:lnTo>
                    <a:pt x="2651" y="133"/>
                  </a:lnTo>
                  <a:lnTo>
                    <a:pt x="2665" y="121"/>
                  </a:lnTo>
                  <a:lnTo>
                    <a:pt x="2670" y="116"/>
                  </a:lnTo>
                  <a:lnTo>
                    <a:pt x="2674" y="110"/>
                  </a:lnTo>
                  <a:lnTo>
                    <a:pt x="2678" y="105"/>
                  </a:lnTo>
                  <a:lnTo>
                    <a:pt x="2680" y="100"/>
                  </a:lnTo>
                  <a:lnTo>
                    <a:pt x="2681" y="95"/>
                  </a:lnTo>
                  <a:lnTo>
                    <a:pt x="2681" y="90"/>
                  </a:lnTo>
                  <a:lnTo>
                    <a:pt x="2679" y="83"/>
                  </a:lnTo>
                  <a:lnTo>
                    <a:pt x="2676" y="77"/>
                  </a:lnTo>
                  <a:lnTo>
                    <a:pt x="2672" y="71"/>
                  </a:lnTo>
                  <a:lnTo>
                    <a:pt x="2665" y="63"/>
                  </a:lnTo>
                  <a:lnTo>
                    <a:pt x="2656" y="55"/>
                  </a:lnTo>
                  <a:lnTo>
                    <a:pt x="2646" y="46"/>
                  </a:lnTo>
                  <a:lnTo>
                    <a:pt x="2646" y="46"/>
                  </a:lnTo>
                  <a:lnTo>
                    <a:pt x="2559" y="60"/>
                  </a:lnTo>
                  <a:lnTo>
                    <a:pt x="2558" y="59"/>
                  </a:lnTo>
                  <a:lnTo>
                    <a:pt x="2555" y="58"/>
                  </a:lnTo>
                  <a:lnTo>
                    <a:pt x="2553" y="58"/>
                  </a:lnTo>
                  <a:lnTo>
                    <a:pt x="2550" y="58"/>
                  </a:lnTo>
                  <a:lnTo>
                    <a:pt x="2548" y="60"/>
                  </a:lnTo>
                  <a:lnTo>
                    <a:pt x="2525" y="60"/>
                  </a:lnTo>
                  <a:lnTo>
                    <a:pt x="2501" y="59"/>
                  </a:lnTo>
                  <a:lnTo>
                    <a:pt x="2478" y="57"/>
                  </a:lnTo>
                  <a:lnTo>
                    <a:pt x="2454" y="54"/>
                  </a:lnTo>
                  <a:lnTo>
                    <a:pt x="2430" y="51"/>
                  </a:lnTo>
                  <a:lnTo>
                    <a:pt x="2407" y="46"/>
                  </a:lnTo>
                  <a:lnTo>
                    <a:pt x="2384" y="40"/>
                  </a:lnTo>
                  <a:lnTo>
                    <a:pt x="2362" y="33"/>
                  </a:lnTo>
                  <a:lnTo>
                    <a:pt x="2352" y="29"/>
                  </a:lnTo>
                  <a:lnTo>
                    <a:pt x="2339" y="22"/>
                  </a:lnTo>
                  <a:lnTo>
                    <a:pt x="2333" y="19"/>
                  </a:lnTo>
                  <a:lnTo>
                    <a:pt x="2328" y="16"/>
                  </a:lnTo>
                  <a:lnTo>
                    <a:pt x="2323" y="14"/>
                  </a:lnTo>
                  <a:lnTo>
                    <a:pt x="2318" y="14"/>
                  </a:lnTo>
                  <a:lnTo>
                    <a:pt x="2288" y="14"/>
                  </a:lnTo>
                  <a:lnTo>
                    <a:pt x="2259" y="15"/>
                  </a:lnTo>
                  <a:lnTo>
                    <a:pt x="2230" y="16"/>
                  </a:lnTo>
                  <a:lnTo>
                    <a:pt x="2201" y="16"/>
                  </a:lnTo>
                  <a:lnTo>
                    <a:pt x="2199" y="11"/>
                  </a:lnTo>
                  <a:lnTo>
                    <a:pt x="2197" y="7"/>
                  </a:lnTo>
                  <a:lnTo>
                    <a:pt x="2193" y="4"/>
                  </a:lnTo>
                  <a:lnTo>
                    <a:pt x="2190" y="2"/>
                  </a:lnTo>
                  <a:lnTo>
                    <a:pt x="2186" y="1"/>
                  </a:lnTo>
                  <a:lnTo>
                    <a:pt x="2182" y="0"/>
                  </a:lnTo>
                  <a:lnTo>
                    <a:pt x="2177" y="0"/>
                  </a:lnTo>
                  <a:lnTo>
                    <a:pt x="2172" y="1"/>
                  </a:lnTo>
                  <a:lnTo>
                    <a:pt x="2160" y="4"/>
                  </a:lnTo>
                  <a:lnTo>
                    <a:pt x="2148" y="9"/>
                  </a:lnTo>
                  <a:lnTo>
                    <a:pt x="2135" y="16"/>
                  </a:lnTo>
                  <a:lnTo>
                    <a:pt x="2122" y="25"/>
                  </a:lnTo>
                  <a:lnTo>
                    <a:pt x="2095" y="44"/>
                  </a:lnTo>
                  <a:lnTo>
                    <a:pt x="2070" y="63"/>
                  </a:lnTo>
                  <a:lnTo>
                    <a:pt x="2052" y="79"/>
                  </a:lnTo>
                  <a:lnTo>
                    <a:pt x="2040" y="90"/>
                  </a:lnTo>
                  <a:lnTo>
                    <a:pt x="2033" y="95"/>
                  </a:lnTo>
                  <a:lnTo>
                    <a:pt x="2026" y="100"/>
                  </a:lnTo>
                  <a:lnTo>
                    <a:pt x="2018" y="103"/>
                  </a:lnTo>
                  <a:lnTo>
                    <a:pt x="2011" y="106"/>
                  </a:lnTo>
                  <a:lnTo>
                    <a:pt x="2004" y="109"/>
                  </a:lnTo>
                  <a:lnTo>
                    <a:pt x="1996" y="111"/>
                  </a:lnTo>
                  <a:lnTo>
                    <a:pt x="1989" y="112"/>
                  </a:lnTo>
                  <a:lnTo>
                    <a:pt x="1982" y="114"/>
                  </a:lnTo>
                  <a:lnTo>
                    <a:pt x="1966" y="114"/>
                  </a:lnTo>
                  <a:lnTo>
                    <a:pt x="1951" y="112"/>
                  </a:lnTo>
                  <a:lnTo>
                    <a:pt x="1936" y="110"/>
                  </a:lnTo>
                  <a:lnTo>
                    <a:pt x="1920" y="107"/>
                  </a:lnTo>
                  <a:lnTo>
                    <a:pt x="1891" y="100"/>
                  </a:lnTo>
                  <a:lnTo>
                    <a:pt x="1864" y="95"/>
                  </a:lnTo>
                  <a:lnTo>
                    <a:pt x="1852" y="94"/>
                  </a:lnTo>
                  <a:lnTo>
                    <a:pt x="1839" y="95"/>
                  </a:lnTo>
                  <a:lnTo>
                    <a:pt x="1834" y="96"/>
                  </a:lnTo>
                  <a:lnTo>
                    <a:pt x="1828" y="97"/>
                  </a:lnTo>
                  <a:lnTo>
                    <a:pt x="1822" y="100"/>
                  </a:lnTo>
                  <a:lnTo>
                    <a:pt x="1818" y="102"/>
                  </a:lnTo>
                  <a:lnTo>
                    <a:pt x="1793" y="118"/>
                  </a:lnTo>
                  <a:lnTo>
                    <a:pt x="1769" y="131"/>
                  </a:lnTo>
                  <a:lnTo>
                    <a:pt x="1745" y="147"/>
                  </a:lnTo>
                  <a:lnTo>
                    <a:pt x="1721" y="164"/>
                  </a:lnTo>
                  <a:lnTo>
                    <a:pt x="1701" y="179"/>
                  </a:lnTo>
                  <a:lnTo>
                    <a:pt x="1683" y="193"/>
                  </a:lnTo>
                  <a:lnTo>
                    <a:pt x="1673" y="199"/>
                  </a:lnTo>
                  <a:lnTo>
                    <a:pt x="1663" y="205"/>
                  </a:lnTo>
                  <a:lnTo>
                    <a:pt x="1653" y="211"/>
                  </a:lnTo>
                  <a:lnTo>
                    <a:pt x="1643" y="215"/>
                  </a:lnTo>
                  <a:lnTo>
                    <a:pt x="1633" y="219"/>
                  </a:lnTo>
                  <a:lnTo>
                    <a:pt x="1622" y="222"/>
                  </a:lnTo>
                  <a:lnTo>
                    <a:pt x="1611" y="225"/>
                  </a:lnTo>
                  <a:lnTo>
                    <a:pt x="1599" y="227"/>
                  </a:lnTo>
                  <a:lnTo>
                    <a:pt x="1588" y="228"/>
                  </a:lnTo>
                  <a:lnTo>
                    <a:pt x="1574" y="229"/>
                  </a:lnTo>
                  <a:lnTo>
                    <a:pt x="1561" y="229"/>
                  </a:lnTo>
                  <a:lnTo>
                    <a:pt x="1547" y="228"/>
                  </a:lnTo>
                  <a:lnTo>
                    <a:pt x="1533" y="223"/>
                  </a:lnTo>
                  <a:lnTo>
                    <a:pt x="1522" y="216"/>
                  </a:lnTo>
                  <a:lnTo>
                    <a:pt x="1517" y="213"/>
                  </a:lnTo>
                  <a:lnTo>
                    <a:pt x="1511" y="211"/>
                  </a:lnTo>
                  <a:lnTo>
                    <a:pt x="1503" y="208"/>
                  </a:lnTo>
                  <a:lnTo>
                    <a:pt x="1495" y="207"/>
                  </a:lnTo>
                  <a:lnTo>
                    <a:pt x="1478" y="205"/>
                  </a:lnTo>
                  <a:lnTo>
                    <a:pt x="1465" y="203"/>
                  </a:lnTo>
                  <a:lnTo>
                    <a:pt x="1434" y="193"/>
                  </a:lnTo>
                  <a:lnTo>
                    <a:pt x="1404" y="182"/>
                  </a:lnTo>
                  <a:lnTo>
                    <a:pt x="1389" y="178"/>
                  </a:lnTo>
                  <a:lnTo>
                    <a:pt x="1373" y="174"/>
                  </a:lnTo>
                  <a:lnTo>
                    <a:pt x="1357" y="172"/>
                  </a:lnTo>
                  <a:lnTo>
                    <a:pt x="1341" y="171"/>
                  </a:lnTo>
                  <a:lnTo>
                    <a:pt x="1332" y="172"/>
                  </a:lnTo>
                  <a:lnTo>
                    <a:pt x="1325" y="172"/>
                  </a:lnTo>
                  <a:lnTo>
                    <a:pt x="1318" y="173"/>
                  </a:lnTo>
                  <a:lnTo>
                    <a:pt x="1311" y="175"/>
                  </a:lnTo>
                  <a:lnTo>
                    <a:pt x="1299" y="180"/>
                  </a:lnTo>
                  <a:lnTo>
                    <a:pt x="1288" y="187"/>
                  </a:lnTo>
                  <a:lnTo>
                    <a:pt x="1279" y="194"/>
                  </a:lnTo>
                  <a:lnTo>
                    <a:pt x="1271" y="202"/>
                  </a:lnTo>
                  <a:lnTo>
                    <a:pt x="1263" y="212"/>
                  </a:lnTo>
                  <a:lnTo>
                    <a:pt x="1256" y="222"/>
                  </a:lnTo>
                  <a:lnTo>
                    <a:pt x="1244" y="245"/>
                  </a:lnTo>
                  <a:lnTo>
                    <a:pt x="1232" y="268"/>
                  </a:lnTo>
                  <a:lnTo>
                    <a:pt x="1226" y="278"/>
                  </a:lnTo>
                  <a:lnTo>
                    <a:pt x="1220" y="290"/>
                  </a:lnTo>
                  <a:lnTo>
                    <a:pt x="1212" y="299"/>
                  </a:lnTo>
                  <a:lnTo>
                    <a:pt x="1204" y="309"/>
                  </a:lnTo>
                  <a:lnTo>
                    <a:pt x="1200" y="313"/>
                  </a:lnTo>
                  <a:lnTo>
                    <a:pt x="1194" y="317"/>
                  </a:lnTo>
                  <a:lnTo>
                    <a:pt x="1187" y="321"/>
                  </a:lnTo>
                  <a:lnTo>
                    <a:pt x="1179" y="325"/>
                  </a:lnTo>
                  <a:lnTo>
                    <a:pt x="1161" y="334"/>
                  </a:lnTo>
                  <a:lnTo>
                    <a:pt x="1141" y="341"/>
                  </a:lnTo>
                  <a:lnTo>
                    <a:pt x="1121" y="347"/>
                  </a:lnTo>
                  <a:lnTo>
                    <a:pt x="1102" y="352"/>
                  </a:lnTo>
                  <a:lnTo>
                    <a:pt x="1085" y="356"/>
                  </a:lnTo>
                  <a:lnTo>
                    <a:pt x="1074" y="357"/>
                  </a:lnTo>
                  <a:lnTo>
                    <a:pt x="1058" y="353"/>
                  </a:lnTo>
                  <a:lnTo>
                    <a:pt x="1044" y="351"/>
                  </a:lnTo>
                  <a:lnTo>
                    <a:pt x="1032" y="350"/>
                  </a:lnTo>
                  <a:lnTo>
                    <a:pt x="1021" y="350"/>
                  </a:lnTo>
                  <a:lnTo>
                    <a:pt x="1011" y="350"/>
                  </a:lnTo>
                  <a:lnTo>
                    <a:pt x="1002" y="351"/>
                  </a:lnTo>
                  <a:lnTo>
                    <a:pt x="993" y="353"/>
                  </a:lnTo>
                  <a:lnTo>
                    <a:pt x="985" y="356"/>
                  </a:lnTo>
                  <a:lnTo>
                    <a:pt x="968" y="363"/>
                  </a:lnTo>
                  <a:lnTo>
                    <a:pt x="951" y="372"/>
                  </a:lnTo>
                  <a:lnTo>
                    <a:pt x="928" y="383"/>
                  </a:lnTo>
                  <a:lnTo>
                    <a:pt x="901" y="395"/>
                  </a:lnTo>
                  <a:lnTo>
                    <a:pt x="869" y="408"/>
                  </a:lnTo>
                  <a:lnTo>
                    <a:pt x="842" y="417"/>
                  </a:lnTo>
                  <a:lnTo>
                    <a:pt x="829" y="420"/>
                  </a:lnTo>
                  <a:lnTo>
                    <a:pt x="813" y="422"/>
                  </a:lnTo>
                  <a:lnTo>
                    <a:pt x="797" y="422"/>
                  </a:lnTo>
                  <a:lnTo>
                    <a:pt x="779" y="421"/>
                  </a:lnTo>
                  <a:lnTo>
                    <a:pt x="747" y="418"/>
                  </a:lnTo>
                  <a:lnTo>
                    <a:pt x="719" y="415"/>
                  </a:lnTo>
                  <a:lnTo>
                    <a:pt x="690" y="412"/>
                  </a:lnTo>
                  <a:lnTo>
                    <a:pt x="663" y="410"/>
                  </a:lnTo>
                  <a:lnTo>
                    <a:pt x="635" y="409"/>
                  </a:lnTo>
                  <a:lnTo>
                    <a:pt x="607" y="408"/>
                  </a:lnTo>
                  <a:lnTo>
                    <a:pt x="577" y="408"/>
                  </a:lnTo>
                  <a:lnTo>
                    <a:pt x="546" y="410"/>
                  </a:lnTo>
                  <a:lnTo>
                    <a:pt x="528" y="412"/>
                  </a:lnTo>
                  <a:lnTo>
                    <a:pt x="511" y="415"/>
                  </a:lnTo>
                  <a:lnTo>
                    <a:pt x="492" y="419"/>
                  </a:lnTo>
                  <a:lnTo>
                    <a:pt x="474" y="424"/>
                  </a:lnTo>
                  <a:lnTo>
                    <a:pt x="439" y="437"/>
                  </a:lnTo>
                  <a:lnTo>
                    <a:pt x="404" y="452"/>
                  </a:lnTo>
                  <a:lnTo>
                    <a:pt x="370" y="466"/>
                  </a:lnTo>
                  <a:lnTo>
                    <a:pt x="335" y="479"/>
                  </a:lnTo>
                  <a:lnTo>
                    <a:pt x="318" y="485"/>
                  </a:lnTo>
                  <a:lnTo>
                    <a:pt x="301" y="489"/>
                  </a:lnTo>
                  <a:lnTo>
                    <a:pt x="283" y="493"/>
                  </a:lnTo>
                  <a:lnTo>
                    <a:pt x="267" y="495"/>
                  </a:lnTo>
                  <a:lnTo>
                    <a:pt x="267" y="495"/>
                  </a:lnTo>
                  <a:lnTo>
                    <a:pt x="290" y="498"/>
                  </a:lnTo>
                  <a:lnTo>
                    <a:pt x="312" y="502"/>
                  </a:lnTo>
                  <a:lnTo>
                    <a:pt x="321" y="503"/>
                  </a:lnTo>
                  <a:lnTo>
                    <a:pt x="329" y="505"/>
                  </a:lnTo>
                  <a:lnTo>
                    <a:pt x="337" y="508"/>
                  </a:lnTo>
                  <a:lnTo>
                    <a:pt x="342" y="510"/>
                  </a:lnTo>
                  <a:lnTo>
                    <a:pt x="342" y="516"/>
                  </a:lnTo>
                  <a:lnTo>
                    <a:pt x="341" y="521"/>
                  </a:lnTo>
                  <a:lnTo>
                    <a:pt x="340" y="528"/>
                  </a:lnTo>
                  <a:lnTo>
                    <a:pt x="337" y="534"/>
                  </a:lnTo>
                  <a:lnTo>
                    <a:pt x="329" y="545"/>
                  </a:lnTo>
                  <a:lnTo>
                    <a:pt x="321" y="557"/>
                  </a:lnTo>
                  <a:lnTo>
                    <a:pt x="313" y="567"/>
                  </a:lnTo>
                  <a:lnTo>
                    <a:pt x="305" y="577"/>
                  </a:lnTo>
                  <a:lnTo>
                    <a:pt x="303" y="581"/>
                  </a:lnTo>
                  <a:lnTo>
                    <a:pt x="301" y="585"/>
                  </a:lnTo>
                  <a:lnTo>
                    <a:pt x="300" y="588"/>
                  </a:lnTo>
                  <a:lnTo>
                    <a:pt x="300" y="591"/>
                  </a:lnTo>
                  <a:lnTo>
                    <a:pt x="302" y="594"/>
                  </a:lnTo>
                  <a:lnTo>
                    <a:pt x="306" y="596"/>
                  </a:lnTo>
                  <a:lnTo>
                    <a:pt x="312" y="597"/>
                  </a:lnTo>
                  <a:lnTo>
                    <a:pt x="317" y="598"/>
                  </a:lnTo>
                  <a:lnTo>
                    <a:pt x="331" y="597"/>
                  </a:lnTo>
                  <a:lnTo>
                    <a:pt x="348" y="594"/>
                  </a:lnTo>
                  <a:lnTo>
                    <a:pt x="356" y="594"/>
                  </a:lnTo>
                  <a:lnTo>
                    <a:pt x="364" y="594"/>
                  </a:lnTo>
                  <a:lnTo>
                    <a:pt x="371" y="596"/>
                  </a:lnTo>
                  <a:lnTo>
                    <a:pt x="377" y="598"/>
                  </a:lnTo>
                  <a:lnTo>
                    <a:pt x="382" y="600"/>
                  </a:lnTo>
                  <a:lnTo>
                    <a:pt x="387" y="604"/>
                  </a:lnTo>
                  <a:lnTo>
                    <a:pt x="389" y="607"/>
                  </a:lnTo>
                  <a:lnTo>
                    <a:pt x="390" y="609"/>
                  </a:lnTo>
                  <a:lnTo>
                    <a:pt x="391" y="613"/>
                  </a:lnTo>
                  <a:lnTo>
                    <a:pt x="391" y="616"/>
                  </a:lnTo>
                  <a:lnTo>
                    <a:pt x="368" y="634"/>
                  </a:lnTo>
                  <a:lnTo>
                    <a:pt x="346" y="651"/>
                  </a:lnTo>
                  <a:lnTo>
                    <a:pt x="334" y="659"/>
                  </a:lnTo>
                  <a:lnTo>
                    <a:pt x="322" y="666"/>
                  </a:lnTo>
                  <a:lnTo>
                    <a:pt x="309" y="674"/>
                  </a:lnTo>
                  <a:lnTo>
                    <a:pt x="295" y="680"/>
                  </a:lnTo>
                  <a:lnTo>
                    <a:pt x="286" y="684"/>
                  </a:lnTo>
                  <a:lnTo>
                    <a:pt x="279" y="688"/>
                  </a:lnTo>
                  <a:lnTo>
                    <a:pt x="273" y="693"/>
                  </a:lnTo>
                  <a:lnTo>
                    <a:pt x="268" y="698"/>
                  </a:lnTo>
                  <a:lnTo>
                    <a:pt x="258" y="708"/>
                  </a:lnTo>
                  <a:lnTo>
                    <a:pt x="251" y="719"/>
                  </a:lnTo>
                  <a:lnTo>
                    <a:pt x="245" y="731"/>
                  </a:lnTo>
                  <a:lnTo>
                    <a:pt x="237" y="744"/>
                  </a:lnTo>
                  <a:lnTo>
                    <a:pt x="230" y="756"/>
                  </a:lnTo>
                  <a:lnTo>
                    <a:pt x="221" y="768"/>
                  </a:lnTo>
                  <a:lnTo>
                    <a:pt x="222" y="783"/>
                  </a:lnTo>
                  <a:lnTo>
                    <a:pt x="224" y="796"/>
                  </a:lnTo>
                  <a:lnTo>
                    <a:pt x="227" y="808"/>
                  </a:lnTo>
                  <a:lnTo>
                    <a:pt x="232" y="823"/>
                  </a:lnTo>
                  <a:lnTo>
                    <a:pt x="240" y="833"/>
                  </a:lnTo>
                  <a:lnTo>
                    <a:pt x="249" y="845"/>
                  </a:lnTo>
                  <a:lnTo>
                    <a:pt x="254" y="850"/>
                  </a:lnTo>
                  <a:lnTo>
                    <a:pt x="258" y="855"/>
                  </a:lnTo>
                  <a:lnTo>
                    <a:pt x="261" y="860"/>
                  </a:lnTo>
                  <a:lnTo>
                    <a:pt x="264" y="865"/>
                  </a:lnTo>
                  <a:lnTo>
                    <a:pt x="266" y="869"/>
                  </a:lnTo>
                  <a:lnTo>
                    <a:pt x="269" y="875"/>
                  </a:lnTo>
                  <a:lnTo>
                    <a:pt x="272" y="884"/>
                  </a:lnTo>
                  <a:lnTo>
                    <a:pt x="276" y="895"/>
                  </a:lnTo>
                  <a:lnTo>
                    <a:pt x="281" y="922"/>
                  </a:lnTo>
                  <a:lnTo>
                    <a:pt x="288" y="952"/>
                  </a:lnTo>
                  <a:lnTo>
                    <a:pt x="293" y="983"/>
                  </a:lnTo>
                  <a:lnTo>
                    <a:pt x="297" y="1012"/>
                  </a:lnTo>
                  <a:lnTo>
                    <a:pt x="301" y="1035"/>
                  </a:lnTo>
                  <a:lnTo>
                    <a:pt x="302" y="1049"/>
                  </a:lnTo>
                  <a:lnTo>
                    <a:pt x="305" y="1071"/>
                  </a:lnTo>
                  <a:lnTo>
                    <a:pt x="309" y="1096"/>
                  </a:lnTo>
                  <a:lnTo>
                    <a:pt x="313" y="1122"/>
                  </a:lnTo>
                  <a:lnTo>
                    <a:pt x="316" y="1151"/>
                  </a:lnTo>
                  <a:lnTo>
                    <a:pt x="317" y="1165"/>
                  </a:lnTo>
                  <a:lnTo>
                    <a:pt x="318" y="1179"/>
                  </a:lnTo>
                  <a:lnTo>
                    <a:pt x="318" y="1191"/>
                  </a:lnTo>
                  <a:lnTo>
                    <a:pt x="317" y="1205"/>
                  </a:lnTo>
                  <a:lnTo>
                    <a:pt x="316" y="1216"/>
                  </a:lnTo>
                  <a:lnTo>
                    <a:pt x="313" y="1228"/>
                  </a:lnTo>
                  <a:lnTo>
                    <a:pt x="309" y="1238"/>
                  </a:lnTo>
                  <a:lnTo>
                    <a:pt x="305" y="1248"/>
                  </a:lnTo>
                  <a:lnTo>
                    <a:pt x="299" y="1250"/>
                  </a:lnTo>
                  <a:lnTo>
                    <a:pt x="293" y="1253"/>
                  </a:lnTo>
                  <a:lnTo>
                    <a:pt x="286" y="1257"/>
                  </a:lnTo>
                  <a:lnTo>
                    <a:pt x="280" y="1261"/>
                  </a:lnTo>
                  <a:lnTo>
                    <a:pt x="274" y="1265"/>
                  </a:lnTo>
                  <a:lnTo>
                    <a:pt x="267" y="1269"/>
                  </a:lnTo>
                  <a:lnTo>
                    <a:pt x="259" y="1273"/>
                  </a:lnTo>
                  <a:lnTo>
                    <a:pt x="250" y="1275"/>
                  </a:lnTo>
                  <a:lnTo>
                    <a:pt x="237" y="1276"/>
                  </a:lnTo>
                  <a:lnTo>
                    <a:pt x="224" y="1277"/>
                  </a:lnTo>
                  <a:lnTo>
                    <a:pt x="211" y="1277"/>
                  </a:lnTo>
                  <a:lnTo>
                    <a:pt x="199" y="1276"/>
                  </a:lnTo>
                  <a:lnTo>
                    <a:pt x="176" y="1275"/>
                  </a:lnTo>
                  <a:lnTo>
                    <a:pt x="154" y="1275"/>
                  </a:lnTo>
                  <a:lnTo>
                    <a:pt x="144" y="1276"/>
                  </a:lnTo>
                  <a:lnTo>
                    <a:pt x="134" y="1278"/>
                  </a:lnTo>
                  <a:lnTo>
                    <a:pt x="125" y="1282"/>
                  </a:lnTo>
                  <a:lnTo>
                    <a:pt x="115" y="1287"/>
                  </a:lnTo>
                  <a:lnTo>
                    <a:pt x="108" y="1293"/>
                  </a:lnTo>
                  <a:lnTo>
                    <a:pt x="101" y="1303"/>
                  </a:lnTo>
                  <a:lnTo>
                    <a:pt x="95" y="1313"/>
                  </a:lnTo>
                  <a:lnTo>
                    <a:pt x="88" y="1327"/>
                  </a:lnTo>
                  <a:lnTo>
                    <a:pt x="89" y="1339"/>
                  </a:lnTo>
                  <a:lnTo>
                    <a:pt x="89" y="1349"/>
                  </a:lnTo>
                  <a:lnTo>
                    <a:pt x="87" y="1355"/>
                  </a:lnTo>
                  <a:lnTo>
                    <a:pt x="84" y="1360"/>
                  </a:lnTo>
                  <a:lnTo>
                    <a:pt x="80" y="1364"/>
                  </a:lnTo>
                  <a:lnTo>
                    <a:pt x="75" y="1366"/>
                  </a:lnTo>
                  <a:lnTo>
                    <a:pt x="69" y="1368"/>
                  </a:lnTo>
                  <a:lnTo>
                    <a:pt x="61" y="1368"/>
                  </a:lnTo>
                  <a:lnTo>
                    <a:pt x="48" y="1366"/>
                  </a:lnTo>
                  <a:lnTo>
                    <a:pt x="33" y="1366"/>
                  </a:lnTo>
                  <a:lnTo>
                    <a:pt x="27" y="1368"/>
                  </a:lnTo>
                  <a:lnTo>
                    <a:pt x="21" y="1370"/>
                  </a:lnTo>
                  <a:lnTo>
                    <a:pt x="15" y="1374"/>
                  </a:lnTo>
                  <a:lnTo>
                    <a:pt x="11" y="1379"/>
                  </a:lnTo>
                  <a:lnTo>
                    <a:pt x="9" y="1382"/>
                  </a:lnTo>
                  <a:lnTo>
                    <a:pt x="9" y="1386"/>
                  </a:lnTo>
                  <a:lnTo>
                    <a:pt x="10" y="1389"/>
                  </a:lnTo>
                  <a:lnTo>
                    <a:pt x="12" y="1394"/>
                  </a:lnTo>
                  <a:lnTo>
                    <a:pt x="19" y="1402"/>
                  </a:lnTo>
                  <a:lnTo>
                    <a:pt x="26" y="1411"/>
                  </a:lnTo>
                  <a:lnTo>
                    <a:pt x="29" y="1417"/>
                  </a:lnTo>
                  <a:lnTo>
                    <a:pt x="32" y="1422"/>
                  </a:lnTo>
                  <a:lnTo>
                    <a:pt x="35" y="1427"/>
                  </a:lnTo>
                  <a:lnTo>
                    <a:pt x="37" y="1432"/>
                  </a:lnTo>
                  <a:lnTo>
                    <a:pt x="37" y="1438"/>
                  </a:lnTo>
                  <a:lnTo>
                    <a:pt x="37" y="1445"/>
                  </a:lnTo>
                  <a:lnTo>
                    <a:pt x="35" y="1452"/>
                  </a:lnTo>
                  <a:lnTo>
                    <a:pt x="32" y="1459"/>
                  </a:lnTo>
                  <a:lnTo>
                    <a:pt x="26" y="1467"/>
                  </a:lnTo>
                  <a:lnTo>
                    <a:pt x="20" y="1473"/>
                  </a:lnTo>
                  <a:lnTo>
                    <a:pt x="14" y="1477"/>
                  </a:lnTo>
                  <a:lnTo>
                    <a:pt x="8" y="1481"/>
                  </a:lnTo>
                  <a:lnTo>
                    <a:pt x="4" y="1486"/>
                  </a:lnTo>
                  <a:lnTo>
                    <a:pt x="1" y="1493"/>
                  </a:lnTo>
                  <a:lnTo>
                    <a:pt x="0" y="1497"/>
                  </a:lnTo>
                  <a:lnTo>
                    <a:pt x="0" y="1502"/>
                  </a:lnTo>
                  <a:lnTo>
                    <a:pt x="0" y="1507"/>
                  </a:lnTo>
                  <a:lnTo>
                    <a:pt x="0" y="1513"/>
                  </a:lnTo>
                  <a:lnTo>
                    <a:pt x="3" y="1526"/>
                  </a:lnTo>
                  <a:lnTo>
                    <a:pt x="6" y="1539"/>
                  </a:lnTo>
                  <a:lnTo>
                    <a:pt x="7" y="1545"/>
                  </a:lnTo>
                  <a:lnTo>
                    <a:pt x="8" y="1551"/>
                  </a:lnTo>
                  <a:lnTo>
                    <a:pt x="7" y="1558"/>
                  </a:lnTo>
                  <a:lnTo>
                    <a:pt x="6" y="1566"/>
                  </a:lnTo>
                  <a:lnTo>
                    <a:pt x="3" y="1579"/>
                  </a:lnTo>
                  <a:lnTo>
                    <a:pt x="2" y="1590"/>
                  </a:lnTo>
                  <a:lnTo>
                    <a:pt x="2" y="1595"/>
                  </a:lnTo>
                  <a:lnTo>
                    <a:pt x="3" y="1598"/>
                  </a:lnTo>
                  <a:lnTo>
                    <a:pt x="5" y="1602"/>
                  </a:lnTo>
                  <a:lnTo>
                    <a:pt x="7" y="1604"/>
                  </a:lnTo>
                  <a:lnTo>
                    <a:pt x="10" y="1606"/>
                  </a:lnTo>
                  <a:lnTo>
                    <a:pt x="14" y="1608"/>
                  </a:lnTo>
                  <a:lnTo>
                    <a:pt x="19" y="1610"/>
                  </a:lnTo>
                  <a:lnTo>
                    <a:pt x="25" y="1611"/>
                  </a:lnTo>
                  <a:lnTo>
                    <a:pt x="37" y="1611"/>
                  </a:lnTo>
                  <a:lnTo>
                    <a:pt x="52" y="1610"/>
                  </a:lnTo>
                  <a:lnTo>
                    <a:pt x="63" y="1608"/>
                  </a:lnTo>
                  <a:lnTo>
                    <a:pt x="74" y="1608"/>
                  </a:lnTo>
                  <a:lnTo>
                    <a:pt x="83" y="1608"/>
                  </a:lnTo>
                  <a:lnTo>
                    <a:pt x="92" y="1610"/>
                  </a:lnTo>
                  <a:lnTo>
                    <a:pt x="101" y="1612"/>
                  </a:lnTo>
                  <a:lnTo>
                    <a:pt x="108" y="1616"/>
                  </a:lnTo>
                  <a:lnTo>
                    <a:pt x="115" y="1621"/>
                  </a:lnTo>
                  <a:lnTo>
                    <a:pt x="124" y="1629"/>
                  </a:lnTo>
                  <a:lnTo>
                    <a:pt x="123" y="1638"/>
                  </a:lnTo>
                  <a:lnTo>
                    <a:pt x="121" y="1646"/>
                  </a:lnTo>
                  <a:lnTo>
                    <a:pt x="119" y="1654"/>
                  </a:lnTo>
                  <a:lnTo>
                    <a:pt x="117" y="1662"/>
                  </a:lnTo>
                  <a:lnTo>
                    <a:pt x="113" y="1669"/>
                  </a:lnTo>
                  <a:lnTo>
                    <a:pt x="111" y="1676"/>
                  </a:lnTo>
                  <a:lnTo>
                    <a:pt x="109" y="1684"/>
                  </a:lnTo>
                  <a:lnTo>
                    <a:pt x="109" y="1691"/>
                  </a:lnTo>
                  <a:lnTo>
                    <a:pt x="108" y="1693"/>
                  </a:lnTo>
                  <a:lnTo>
                    <a:pt x="107" y="1695"/>
                  </a:lnTo>
                  <a:lnTo>
                    <a:pt x="107" y="1706"/>
                  </a:lnTo>
                  <a:lnTo>
                    <a:pt x="109" y="1717"/>
                  </a:lnTo>
                  <a:lnTo>
                    <a:pt x="111" y="1727"/>
                  </a:lnTo>
                  <a:lnTo>
                    <a:pt x="113" y="1737"/>
                  </a:lnTo>
                  <a:lnTo>
                    <a:pt x="115" y="1747"/>
                  </a:lnTo>
                  <a:lnTo>
                    <a:pt x="118" y="1758"/>
                  </a:lnTo>
                  <a:lnTo>
                    <a:pt x="120" y="1768"/>
                  </a:lnTo>
                  <a:lnTo>
                    <a:pt x="120" y="1779"/>
                  </a:lnTo>
                  <a:lnTo>
                    <a:pt x="120" y="1779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6" name="Freeform 173">
              <a:extLst>
                <a:ext uri="{FF2B5EF4-FFF2-40B4-BE49-F238E27FC236}">
                  <a16:creationId xmlns:a16="http://schemas.microsoft.com/office/drawing/2014/main" id="{BE032CA6-5ED8-4259-B725-0C44B9209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9199" y="3578424"/>
              <a:ext cx="789824" cy="590140"/>
            </a:xfrm>
            <a:custGeom>
              <a:avLst/>
              <a:gdLst>
                <a:gd name="T0" fmla="*/ 2018 w 3144"/>
                <a:gd name="T1" fmla="*/ 1487 h 2431"/>
                <a:gd name="T2" fmla="*/ 2579 w 3144"/>
                <a:gd name="T3" fmla="*/ 1441 h 2431"/>
                <a:gd name="T4" fmla="*/ 2962 w 3144"/>
                <a:gd name="T5" fmla="*/ 1497 h 2431"/>
                <a:gd name="T6" fmla="*/ 2902 w 3144"/>
                <a:gd name="T7" fmla="*/ 1282 h 2431"/>
                <a:gd name="T8" fmla="*/ 2924 w 3144"/>
                <a:gd name="T9" fmla="*/ 1151 h 2431"/>
                <a:gd name="T10" fmla="*/ 2962 w 3144"/>
                <a:gd name="T11" fmla="*/ 1048 h 2431"/>
                <a:gd name="T12" fmla="*/ 2877 w 3144"/>
                <a:gd name="T13" fmla="*/ 924 h 2431"/>
                <a:gd name="T14" fmla="*/ 2940 w 3144"/>
                <a:gd name="T15" fmla="*/ 791 h 2431"/>
                <a:gd name="T16" fmla="*/ 2872 w 3144"/>
                <a:gd name="T17" fmla="*/ 709 h 2431"/>
                <a:gd name="T18" fmla="*/ 3004 w 3144"/>
                <a:gd name="T19" fmla="*/ 663 h 2431"/>
                <a:gd name="T20" fmla="*/ 3043 w 3144"/>
                <a:gd name="T21" fmla="*/ 626 h 2431"/>
                <a:gd name="T22" fmla="*/ 3144 w 3144"/>
                <a:gd name="T23" fmla="*/ 555 h 2431"/>
                <a:gd name="T24" fmla="*/ 2993 w 3144"/>
                <a:gd name="T25" fmla="*/ 506 h 2431"/>
                <a:gd name="T26" fmla="*/ 2764 w 3144"/>
                <a:gd name="T27" fmla="*/ 460 h 2431"/>
                <a:gd name="T28" fmla="*/ 2535 w 3144"/>
                <a:gd name="T29" fmla="*/ 406 h 2431"/>
                <a:gd name="T30" fmla="*/ 2278 w 3144"/>
                <a:gd name="T31" fmla="*/ 347 h 2431"/>
                <a:gd name="T32" fmla="*/ 2137 w 3144"/>
                <a:gd name="T33" fmla="*/ 242 h 2431"/>
                <a:gd name="T34" fmla="*/ 2000 w 3144"/>
                <a:gd name="T35" fmla="*/ 189 h 2431"/>
                <a:gd name="T36" fmla="*/ 1888 w 3144"/>
                <a:gd name="T37" fmla="*/ 108 h 2431"/>
                <a:gd name="T38" fmla="*/ 1809 w 3144"/>
                <a:gd name="T39" fmla="*/ 132 h 2431"/>
                <a:gd name="T40" fmla="*/ 1783 w 3144"/>
                <a:gd name="T41" fmla="*/ 61 h 2431"/>
                <a:gd name="T42" fmla="*/ 1687 w 3144"/>
                <a:gd name="T43" fmla="*/ 1 h 2431"/>
                <a:gd name="T44" fmla="*/ 1645 w 3144"/>
                <a:gd name="T45" fmla="*/ 129 h 2431"/>
                <a:gd name="T46" fmla="*/ 1462 w 3144"/>
                <a:gd name="T47" fmla="*/ 149 h 2431"/>
                <a:gd name="T48" fmla="*/ 1388 w 3144"/>
                <a:gd name="T49" fmla="*/ 279 h 2431"/>
                <a:gd name="T50" fmla="*/ 1181 w 3144"/>
                <a:gd name="T51" fmla="*/ 314 h 2431"/>
                <a:gd name="T52" fmla="*/ 1017 w 3144"/>
                <a:gd name="T53" fmla="*/ 424 h 2431"/>
                <a:gd name="T54" fmla="*/ 692 w 3144"/>
                <a:gd name="T55" fmla="*/ 554 h 2431"/>
                <a:gd name="T56" fmla="*/ 527 w 3144"/>
                <a:gd name="T57" fmla="*/ 639 h 2431"/>
                <a:gd name="T58" fmla="*/ 412 w 3144"/>
                <a:gd name="T59" fmla="*/ 686 h 2431"/>
                <a:gd name="T60" fmla="*/ 313 w 3144"/>
                <a:gd name="T61" fmla="*/ 741 h 2431"/>
                <a:gd name="T62" fmla="*/ 214 w 3144"/>
                <a:gd name="T63" fmla="*/ 796 h 2431"/>
                <a:gd name="T64" fmla="*/ 110 w 3144"/>
                <a:gd name="T65" fmla="*/ 937 h 2431"/>
                <a:gd name="T66" fmla="*/ 0 w 3144"/>
                <a:gd name="T67" fmla="*/ 945 h 2431"/>
                <a:gd name="T68" fmla="*/ 31 w 3144"/>
                <a:gd name="T69" fmla="*/ 1053 h 2431"/>
                <a:gd name="T70" fmla="*/ 109 w 3144"/>
                <a:gd name="T71" fmla="*/ 1048 h 2431"/>
                <a:gd name="T72" fmla="*/ 223 w 3144"/>
                <a:gd name="T73" fmla="*/ 1106 h 2431"/>
                <a:gd name="T74" fmla="*/ 72 w 3144"/>
                <a:gd name="T75" fmla="*/ 1116 h 2431"/>
                <a:gd name="T76" fmla="*/ 156 w 3144"/>
                <a:gd name="T77" fmla="*/ 1146 h 2431"/>
                <a:gd name="T78" fmla="*/ 176 w 3144"/>
                <a:gd name="T79" fmla="*/ 1303 h 2431"/>
                <a:gd name="T80" fmla="*/ 239 w 3144"/>
                <a:gd name="T81" fmla="*/ 1418 h 2431"/>
                <a:gd name="T82" fmla="*/ 183 w 3144"/>
                <a:gd name="T83" fmla="*/ 1460 h 2431"/>
                <a:gd name="T84" fmla="*/ 141 w 3144"/>
                <a:gd name="T85" fmla="*/ 1515 h 2431"/>
                <a:gd name="T86" fmla="*/ 239 w 3144"/>
                <a:gd name="T87" fmla="*/ 1548 h 2431"/>
                <a:gd name="T88" fmla="*/ 320 w 3144"/>
                <a:gd name="T89" fmla="*/ 1530 h 2431"/>
                <a:gd name="T90" fmla="*/ 375 w 3144"/>
                <a:gd name="T91" fmla="*/ 1586 h 2431"/>
                <a:gd name="T92" fmla="*/ 472 w 3144"/>
                <a:gd name="T93" fmla="*/ 1601 h 2431"/>
                <a:gd name="T94" fmla="*/ 461 w 3144"/>
                <a:gd name="T95" fmla="*/ 1728 h 2431"/>
                <a:gd name="T96" fmla="*/ 524 w 3144"/>
                <a:gd name="T97" fmla="*/ 1838 h 2431"/>
                <a:gd name="T98" fmla="*/ 605 w 3144"/>
                <a:gd name="T99" fmla="*/ 1972 h 2431"/>
                <a:gd name="T100" fmla="*/ 730 w 3144"/>
                <a:gd name="T101" fmla="*/ 2007 h 2431"/>
                <a:gd name="T102" fmla="*/ 824 w 3144"/>
                <a:gd name="T103" fmla="*/ 2134 h 2431"/>
                <a:gd name="T104" fmla="*/ 988 w 3144"/>
                <a:gd name="T105" fmla="*/ 2134 h 2431"/>
                <a:gd name="T106" fmla="*/ 1020 w 3144"/>
                <a:gd name="T107" fmla="*/ 2214 h 2431"/>
                <a:gd name="T108" fmla="*/ 1013 w 3144"/>
                <a:gd name="T109" fmla="*/ 2277 h 2431"/>
                <a:gd name="T110" fmla="*/ 1165 w 3144"/>
                <a:gd name="T111" fmla="*/ 2317 h 2431"/>
                <a:gd name="T112" fmla="*/ 1264 w 3144"/>
                <a:gd name="T113" fmla="*/ 2423 h 2431"/>
                <a:gd name="T114" fmla="*/ 1374 w 3144"/>
                <a:gd name="T115" fmla="*/ 2331 h 2431"/>
                <a:gd name="T116" fmla="*/ 1394 w 3144"/>
                <a:gd name="T117" fmla="*/ 2204 h 2431"/>
                <a:gd name="T118" fmla="*/ 1610 w 3144"/>
                <a:gd name="T119" fmla="*/ 1974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44" h="2431">
                  <a:moveTo>
                    <a:pt x="1825" y="1711"/>
                  </a:moveTo>
                  <a:lnTo>
                    <a:pt x="1832" y="1699"/>
                  </a:lnTo>
                  <a:lnTo>
                    <a:pt x="1838" y="1688"/>
                  </a:lnTo>
                  <a:lnTo>
                    <a:pt x="1843" y="1675"/>
                  </a:lnTo>
                  <a:lnTo>
                    <a:pt x="1847" y="1663"/>
                  </a:lnTo>
                  <a:lnTo>
                    <a:pt x="1854" y="1632"/>
                  </a:lnTo>
                  <a:lnTo>
                    <a:pt x="1866" y="1605"/>
                  </a:lnTo>
                  <a:lnTo>
                    <a:pt x="1883" y="1580"/>
                  </a:lnTo>
                  <a:lnTo>
                    <a:pt x="1904" y="1557"/>
                  </a:lnTo>
                  <a:lnTo>
                    <a:pt x="1927" y="1537"/>
                  </a:lnTo>
                  <a:lnTo>
                    <a:pt x="1954" y="1518"/>
                  </a:lnTo>
                  <a:lnTo>
                    <a:pt x="1984" y="1502"/>
                  </a:lnTo>
                  <a:lnTo>
                    <a:pt x="2018" y="1487"/>
                  </a:lnTo>
                  <a:lnTo>
                    <a:pt x="2053" y="1475"/>
                  </a:lnTo>
                  <a:lnTo>
                    <a:pt x="2090" y="1465"/>
                  </a:lnTo>
                  <a:lnTo>
                    <a:pt x="2130" y="1455"/>
                  </a:lnTo>
                  <a:lnTo>
                    <a:pt x="2172" y="1448"/>
                  </a:lnTo>
                  <a:lnTo>
                    <a:pt x="2215" y="1442"/>
                  </a:lnTo>
                  <a:lnTo>
                    <a:pt x="2258" y="1437"/>
                  </a:lnTo>
                  <a:lnTo>
                    <a:pt x="2303" y="1434"/>
                  </a:lnTo>
                  <a:lnTo>
                    <a:pt x="2349" y="1433"/>
                  </a:lnTo>
                  <a:lnTo>
                    <a:pt x="2396" y="1432"/>
                  </a:lnTo>
                  <a:lnTo>
                    <a:pt x="2442" y="1433"/>
                  </a:lnTo>
                  <a:lnTo>
                    <a:pt x="2488" y="1434"/>
                  </a:lnTo>
                  <a:lnTo>
                    <a:pt x="2534" y="1437"/>
                  </a:lnTo>
                  <a:lnTo>
                    <a:pt x="2579" y="1441"/>
                  </a:lnTo>
                  <a:lnTo>
                    <a:pt x="2623" y="1445"/>
                  </a:lnTo>
                  <a:lnTo>
                    <a:pt x="2666" y="1449"/>
                  </a:lnTo>
                  <a:lnTo>
                    <a:pt x="2708" y="1455"/>
                  </a:lnTo>
                  <a:lnTo>
                    <a:pt x="2748" y="1460"/>
                  </a:lnTo>
                  <a:lnTo>
                    <a:pt x="2787" y="1467"/>
                  </a:lnTo>
                  <a:lnTo>
                    <a:pt x="2822" y="1473"/>
                  </a:lnTo>
                  <a:lnTo>
                    <a:pt x="2856" y="1479"/>
                  </a:lnTo>
                  <a:lnTo>
                    <a:pt x="2887" y="1486"/>
                  </a:lnTo>
                  <a:lnTo>
                    <a:pt x="2915" y="1493"/>
                  </a:lnTo>
                  <a:lnTo>
                    <a:pt x="2939" y="1500"/>
                  </a:lnTo>
                  <a:lnTo>
                    <a:pt x="2960" y="1506"/>
                  </a:lnTo>
                  <a:lnTo>
                    <a:pt x="2961" y="1502"/>
                  </a:lnTo>
                  <a:lnTo>
                    <a:pt x="2962" y="1497"/>
                  </a:lnTo>
                  <a:lnTo>
                    <a:pt x="2962" y="1492"/>
                  </a:lnTo>
                  <a:lnTo>
                    <a:pt x="2961" y="1485"/>
                  </a:lnTo>
                  <a:lnTo>
                    <a:pt x="2958" y="1473"/>
                  </a:lnTo>
                  <a:lnTo>
                    <a:pt x="2954" y="1460"/>
                  </a:lnTo>
                  <a:lnTo>
                    <a:pt x="2944" y="1434"/>
                  </a:lnTo>
                  <a:lnTo>
                    <a:pt x="2937" y="1411"/>
                  </a:lnTo>
                  <a:lnTo>
                    <a:pt x="2934" y="1388"/>
                  </a:lnTo>
                  <a:lnTo>
                    <a:pt x="2931" y="1369"/>
                  </a:lnTo>
                  <a:lnTo>
                    <a:pt x="2927" y="1351"/>
                  </a:lnTo>
                  <a:lnTo>
                    <a:pt x="2923" y="1334"/>
                  </a:lnTo>
                  <a:lnTo>
                    <a:pt x="2917" y="1317"/>
                  </a:lnTo>
                  <a:lnTo>
                    <a:pt x="2911" y="1300"/>
                  </a:lnTo>
                  <a:lnTo>
                    <a:pt x="2902" y="1282"/>
                  </a:lnTo>
                  <a:lnTo>
                    <a:pt x="2891" y="1261"/>
                  </a:lnTo>
                  <a:lnTo>
                    <a:pt x="2889" y="1257"/>
                  </a:lnTo>
                  <a:lnTo>
                    <a:pt x="2888" y="1252"/>
                  </a:lnTo>
                  <a:lnTo>
                    <a:pt x="2888" y="1246"/>
                  </a:lnTo>
                  <a:lnTo>
                    <a:pt x="2889" y="1242"/>
                  </a:lnTo>
                  <a:lnTo>
                    <a:pt x="2893" y="1232"/>
                  </a:lnTo>
                  <a:lnTo>
                    <a:pt x="2900" y="1221"/>
                  </a:lnTo>
                  <a:lnTo>
                    <a:pt x="2913" y="1200"/>
                  </a:lnTo>
                  <a:lnTo>
                    <a:pt x="2924" y="1181"/>
                  </a:lnTo>
                  <a:lnTo>
                    <a:pt x="2926" y="1173"/>
                  </a:lnTo>
                  <a:lnTo>
                    <a:pt x="2926" y="1166"/>
                  </a:lnTo>
                  <a:lnTo>
                    <a:pt x="2926" y="1159"/>
                  </a:lnTo>
                  <a:lnTo>
                    <a:pt x="2924" y="1151"/>
                  </a:lnTo>
                  <a:lnTo>
                    <a:pt x="2917" y="1134"/>
                  </a:lnTo>
                  <a:lnTo>
                    <a:pt x="2909" y="1118"/>
                  </a:lnTo>
                  <a:lnTo>
                    <a:pt x="2902" y="1105"/>
                  </a:lnTo>
                  <a:lnTo>
                    <a:pt x="2896" y="1092"/>
                  </a:lnTo>
                  <a:lnTo>
                    <a:pt x="2894" y="1088"/>
                  </a:lnTo>
                  <a:lnTo>
                    <a:pt x="2894" y="1084"/>
                  </a:lnTo>
                  <a:lnTo>
                    <a:pt x="2895" y="1081"/>
                  </a:lnTo>
                  <a:lnTo>
                    <a:pt x="2897" y="1080"/>
                  </a:lnTo>
                  <a:lnTo>
                    <a:pt x="2934" y="1066"/>
                  </a:lnTo>
                  <a:lnTo>
                    <a:pt x="2955" y="1057"/>
                  </a:lnTo>
                  <a:lnTo>
                    <a:pt x="2960" y="1053"/>
                  </a:lnTo>
                  <a:lnTo>
                    <a:pt x="2962" y="1050"/>
                  </a:lnTo>
                  <a:lnTo>
                    <a:pt x="2962" y="1048"/>
                  </a:lnTo>
                  <a:lnTo>
                    <a:pt x="2962" y="1047"/>
                  </a:lnTo>
                  <a:lnTo>
                    <a:pt x="2961" y="1046"/>
                  </a:lnTo>
                  <a:lnTo>
                    <a:pt x="2960" y="1044"/>
                  </a:lnTo>
                  <a:lnTo>
                    <a:pt x="2949" y="1039"/>
                  </a:lnTo>
                  <a:lnTo>
                    <a:pt x="2931" y="1032"/>
                  </a:lnTo>
                  <a:lnTo>
                    <a:pt x="2920" y="1026"/>
                  </a:lnTo>
                  <a:lnTo>
                    <a:pt x="2909" y="1020"/>
                  </a:lnTo>
                  <a:lnTo>
                    <a:pt x="2897" y="1013"/>
                  </a:lnTo>
                  <a:lnTo>
                    <a:pt x="2886" y="1004"/>
                  </a:lnTo>
                  <a:lnTo>
                    <a:pt x="2885" y="989"/>
                  </a:lnTo>
                  <a:lnTo>
                    <a:pt x="2883" y="969"/>
                  </a:lnTo>
                  <a:lnTo>
                    <a:pt x="2880" y="947"/>
                  </a:lnTo>
                  <a:lnTo>
                    <a:pt x="2877" y="924"/>
                  </a:lnTo>
                  <a:lnTo>
                    <a:pt x="2877" y="913"/>
                  </a:lnTo>
                  <a:lnTo>
                    <a:pt x="2876" y="902"/>
                  </a:lnTo>
                  <a:lnTo>
                    <a:pt x="2876" y="891"/>
                  </a:lnTo>
                  <a:lnTo>
                    <a:pt x="2877" y="880"/>
                  </a:lnTo>
                  <a:lnTo>
                    <a:pt x="2879" y="871"/>
                  </a:lnTo>
                  <a:lnTo>
                    <a:pt x="2881" y="863"/>
                  </a:lnTo>
                  <a:lnTo>
                    <a:pt x="2884" y="854"/>
                  </a:lnTo>
                  <a:lnTo>
                    <a:pt x="2889" y="848"/>
                  </a:lnTo>
                  <a:lnTo>
                    <a:pt x="2915" y="824"/>
                  </a:lnTo>
                  <a:lnTo>
                    <a:pt x="2936" y="805"/>
                  </a:lnTo>
                  <a:lnTo>
                    <a:pt x="2939" y="801"/>
                  </a:lnTo>
                  <a:lnTo>
                    <a:pt x="2940" y="796"/>
                  </a:lnTo>
                  <a:lnTo>
                    <a:pt x="2940" y="791"/>
                  </a:lnTo>
                  <a:lnTo>
                    <a:pt x="2939" y="784"/>
                  </a:lnTo>
                  <a:lnTo>
                    <a:pt x="2935" y="778"/>
                  </a:lnTo>
                  <a:lnTo>
                    <a:pt x="2930" y="772"/>
                  </a:lnTo>
                  <a:lnTo>
                    <a:pt x="2921" y="763"/>
                  </a:lnTo>
                  <a:lnTo>
                    <a:pt x="2911" y="754"/>
                  </a:lnTo>
                  <a:lnTo>
                    <a:pt x="2904" y="749"/>
                  </a:lnTo>
                  <a:lnTo>
                    <a:pt x="2895" y="743"/>
                  </a:lnTo>
                  <a:lnTo>
                    <a:pt x="2886" y="734"/>
                  </a:lnTo>
                  <a:lnTo>
                    <a:pt x="2878" y="725"/>
                  </a:lnTo>
                  <a:lnTo>
                    <a:pt x="2875" y="721"/>
                  </a:lnTo>
                  <a:lnTo>
                    <a:pt x="2872" y="717"/>
                  </a:lnTo>
                  <a:lnTo>
                    <a:pt x="2871" y="713"/>
                  </a:lnTo>
                  <a:lnTo>
                    <a:pt x="2872" y="709"/>
                  </a:lnTo>
                  <a:lnTo>
                    <a:pt x="2874" y="706"/>
                  </a:lnTo>
                  <a:lnTo>
                    <a:pt x="2878" y="703"/>
                  </a:lnTo>
                  <a:lnTo>
                    <a:pt x="2883" y="701"/>
                  </a:lnTo>
                  <a:lnTo>
                    <a:pt x="2890" y="699"/>
                  </a:lnTo>
                  <a:lnTo>
                    <a:pt x="2925" y="697"/>
                  </a:lnTo>
                  <a:lnTo>
                    <a:pt x="2964" y="693"/>
                  </a:lnTo>
                  <a:lnTo>
                    <a:pt x="2973" y="690"/>
                  </a:lnTo>
                  <a:lnTo>
                    <a:pt x="2981" y="687"/>
                  </a:lnTo>
                  <a:lnTo>
                    <a:pt x="2988" y="684"/>
                  </a:lnTo>
                  <a:lnTo>
                    <a:pt x="2994" y="680"/>
                  </a:lnTo>
                  <a:lnTo>
                    <a:pt x="3000" y="674"/>
                  </a:lnTo>
                  <a:lnTo>
                    <a:pt x="3003" y="667"/>
                  </a:lnTo>
                  <a:lnTo>
                    <a:pt x="3004" y="663"/>
                  </a:lnTo>
                  <a:lnTo>
                    <a:pt x="3005" y="659"/>
                  </a:lnTo>
                  <a:lnTo>
                    <a:pt x="3005" y="655"/>
                  </a:lnTo>
                  <a:lnTo>
                    <a:pt x="3004" y="651"/>
                  </a:lnTo>
                  <a:lnTo>
                    <a:pt x="3004" y="639"/>
                  </a:lnTo>
                  <a:lnTo>
                    <a:pt x="3004" y="631"/>
                  </a:lnTo>
                  <a:lnTo>
                    <a:pt x="3005" y="628"/>
                  </a:lnTo>
                  <a:lnTo>
                    <a:pt x="3007" y="626"/>
                  </a:lnTo>
                  <a:lnTo>
                    <a:pt x="3009" y="624"/>
                  </a:lnTo>
                  <a:lnTo>
                    <a:pt x="3011" y="622"/>
                  </a:lnTo>
                  <a:lnTo>
                    <a:pt x="3017" y="621"/>
                  </a:lnTo>
                  <a:lnTo>
                    <a:pt x="3025" y="621"/>
                  </a:lnTo>
                  <a:lnTo>
                    <a:pt x="3033" y="623"/>
                  </a:lnTo>
                  <a:lnTo>
                    <a:pt x="3043" y="626"/>
                  </a:lnTo>
                  <a:lnTo>
                    <a:pt x="3064" y="634"/>
                  </a:lnTo>
                  <a:lnTo>
                    <a:pt x="3083" y="642"/>
                  </a:lnTo>
                  <a:lnTo>
                    <a:pt x="3092" y="646"/>
                  </a:lnTo>
                  <a:lnTo>
                    <a:pt x="3102" y="648"/>
                  </a:lnTo>
                  <a:lnTo>
                    <a:pt x="3107" y="648"/>
                  </a:lnTo>
                  <a:lnTo>
                    <a:pt x="3112" y="647"/>
                  </a:lnTo>
                  <a:lnTo>
                    <a:pt x="3117" y="646"/>
                  </a:lnTo>
                  <a:lnTo>
                    <a:pt x="3124" y="643"/>
                  </a:lnTo>
                  <a:lnTo>
                    <a:pt x="3129" y="626"/>
                  </a:lnTo>
                  <a:lnTo>
                    <a:pt x="3137" y="598"/>
                  </a:lnTo>
                  <a:lnTo>
                    <a:pt x="3140" y="583"/>
                  </a:lnTo>
                  <a:lnTo>
                    <a:pt x="3143" y="568"/>
                  </a:lnTo>
                  <a:lnTo>
                    <a:pt x="3144" y="555"/>
                  </a:lnTo>
                  <a:lnTo>
                    <a:pt x="3143" y="545"/>
                  </a:lnTo>
                  <a:lnTo>
                    <a:pt x="3130" y="544"/>
                  </a:lnTo>
                  <a:lnTo>
                    <a:pt x="3117" y="542"/>
                  </a:lnTo>
                  <a:lnTo>
                    <a:pt x="3106" y="541"/>
                  </a:lnTo>
                  <a:lnTo>
                    <a:pt x="3094" y="540"/>
                  </a:lnTo>
                  <a:lnTo>
                    <a:pt x="3078" y="537"/>
                  </a:lnTo>
                  <a:lnTo>
                    <a:pt x="3063" y="535"/>
                  </a:lnTo>
                  <a:lnTo>
                    <a:pt x="3050" y="531"/>
                  </a:lnTo>
                  <a:lnTo>
                    <a:pt x="3037" y="527"/>
                  </a:lnTo>
                  <a:lnTo>
                    <a:pt x="3026" y="522"/>
                  </a:lnTo>
                  <a:lnTo>
                    <a:pt x="3014" y="517"/>
                  </a:lnTo>
                  <a:lnTo>
                    <a:pt x="3004" y="511"/>
                  </a:lnTo>
                  <a:lnTo>
                    <a:pt x="2993" y="506"/>
                  </a:lnTo>
                  <a:lnTo>
                    <a:pt x="2974" y="494"/>
                  </a:lnTo>
                  <a:lnTo>
                    <a:pt x="2954" y="482"/>
                  </a:lnTo>
                  <a:lnTo>
                    <a:pt x="2943" y="477"/>
                  </a:lnTo>
                  <a:lnTo>
                    <a:pt x="2933" y="470"/>
                  </a:lnTo>
                  <a:lnTo>
                    <a:pt x="2921" y="465"/>
                  </a:lnTo>
                  <a:lnTo>
                    <a:pt x="2910" y="461"/>
                  </a:lnTo>
                  <a:lnTo>
                    <a:pt x="2893" y="456"/>
                  </a:lnTo>
                  <a:lnTo>
                    <a:pt x="2878" y="453"/>
                  </a:lnTo>
                  <a:lnTo>
                    <a:pt x="2862" y="452"/>
                  </a:lnTo>
                  <a:lnTo>
                    <a:pt x="2845" y="452"/>
                  </a:lnTo>
                  <a:lnTo>
                    <a:pt x="2813" y="454"/>
                  </a:lnTo>
                  <a:lnTo>
                    <a:pt x="2781" y="458"/>
                  </a:lnTo>
                  <a:lnTo>
                    <a:pt x="2764" y="460"/>
                  </a:lnTo>
                  <a:lnTo>
                    <a:pt x="2747" y="462"/>
                  </a:lnTo>
                  <a:lnTo>
                    <a:pt x="2731" y="464"/>
                  </a:lnTo>
                  <a:lnTo>
                    <a:pt x="2713" y="465"/>
                  </a:lnTo>
                  <a:lnTo>
                    <a:pt x="2696" y="464"/>
                  </a:lnTo>
                  <a:lnTo>
                    <a:pt x="2679" y="463"/>
                  </a:lnTo>
                  <a:lnTo>
                    <a:pt x="2661" y="460"/>
                  </a:lnTo>
                  <a:lnTo>
                    <a:pt x="2643" y="455"/>
                  </a:lnTo>
                  <a:lnTo>
                    <a:pt x="2624" y="448"/>
                  </a:lnTo>
                  <a:lnTo>
                    <a:pt x="2607" y="440"/>
                  </a:lnTo>
                  <a:lnTo>
                    <a:pt x="2588" y="432"/>
                  </a:lnTo>
                  <a:lnTo>
                    <a:pt x="2570" y="423"/>
                  </a:lnTo>
                  <a:lnTo>
                    <a:pt x="2552" y="414"/>
                  </a:lnTo>
                  <a:lnTo>
                    <a:pt x="2535" y="406"/>
                  </a:lnTo>
                  <a:lnTo>
                    <a:pt x="2516" y="397"/>
                  </a:lnTo>
                  <a:lnTo>
                    <a:pt x="2497" y="390"/>
                  </a:lnTo>
                  <a:lnTo>
                    <a:pt x="2484" y="387"/>
                  </a:lnTo>
                  <a:lnTo>
                    <a:pt x="2471" y="384"/>
                  </a:lnTo>
                  <a:lnTo>
                    <a:pt x="2456" y="381"/>
                  </a:lnTo>
                  <a:lnTo>
                    <a:pt x="2442" y="380"/>
                  </a:lnTo>
                  <a:lnTo>
                    <a:pt x="2442" y="380"/>
                  </a:lnTo>
                  <a:lnTo>
                    <a:pt x="2342" y="370"/>
                  </a:lnTo>
                  <a:lnTo>
                    <a:pt x="2331" y="365"/>
                  </a:lnTo>
                  <a:lnTo>
                    <a:pt x="2321" y="361"/>
                  </a:lnTo>
                  <a:lnTo>
                    <a:pt x="2310" y="357"/>
                  </a:lnTo>
                  <a:lnTo>
                    <a:pt x="2299" y="353"/>
                  </a:lnTo>
                  <a:lnTo>
                    <a:pt x="2278" y="347"/>
                  </a:lnTo>
                  <a:lnTo>
                    <a:pt x="2257" y="341"/>
                  </a:lnTo>
                  <a:lnTo>
                    <a:pt x="2235" y="335"/>
                  </a:lnTo>
                  <a:lnTo>
                    <a:pt x="2215" y="327"/>
                  </a:lnTo>
                  <a:lnTo>
                    <a:pt x="2203" y="322"/>
                  </a:lnTo>
                  <a:lnTo>
                    <a:pt x="2193" y="317"/>
                  </a:lnTo>
                  <a:lnTo>
                    <a:pt x="2181" y="311"/>
                  </a:lnTo>
                  <a:lnTo>
                    <a:pt x="2171" y="303"/>
                  </a:lnTo>
                  <a:lnTo>
                    <a:pt x="2170" y="297"/>
                  </a:lnTo>
                  <a:lnTo>
                    <a:pt x="2167" y="290"/>
                  </a:lnTo>
                  <a:lnTo>
                    <a:pt x="2163" y="281"/>
                  </a:lnTo>
                  <a:lnTo>
                    <a:pt x="2159" y="274"/>
                  </a:lnTo>
                  <a:lnTo>
                    <a:pt x="2150" y="257"/>
                  </a:lnTo>
                  <a:lnTo>
                    <a:pt x="2137" y="242"/>
                  </a:lnTo>
                  <a:lnTo>
                    <a:pt x="2131" y="233"/>
                  </a:lnTo>
                  <a:lnTo>
                    <a:pt x="2124" y="227"/>
                  </a:lnTo>
                  <a:lnTo>
                    <a:pt x="2117" y="221"/>
                  </a:lnTo>
                  <a:lnTo>
                    <a:pt x="2109" y="215"/>
                  </a:lnTo>
                  <a:lnTo>
                    <a:pt x="2102" y="211"/>
                  </a:lnTo>
                  <a:lnTo>
                    <a:pt x="2095" y="207"/>
                  </a:lnTo>
                  <a:lnTo>
                    <a:pt x="2087" y="204"/>
                  </a:lnTo>
                  <a:lnTo>
                    <a:pt x="2080" y="203"/>
                  </a:lnTo>
                  <a:lnTo>
                    <a:pt x="2058" y="202"/>
                  </a:lnTo>
                  <a:lnTo>
                    <a:pt x="2039" y="200"/>
                  </a:lnTo>
                  <a:lnTo>
                    <a:pt x="2023" y="197"/>
                  </a:lnTo>
                  <a:lnTo>
                    <a:pt x="2007" y="192"/>
                  </a:lnTo>
                  <a:lnTo>
                    <a:pt x="2000" y="189"/>
                  </a:lnTo>
                  <a:lnTo>
                    <a:pt x="1992" y="186"/>
                  </a:lnTo>
                  <a:lnTo>
                    <a:pt x="1985" y="181"/>
                  </a:lnTo>
                  <a:lnTo>
                    <a:pt x="1978" y="176"/>
                  </a:lnTo>
                  <a:lnTo>
                    <a:pt x="1962" y="165"/>
                  </a:lnTo>
                  <a:lnTo>
                    <a:pt x="1947" y="150"/>
                  </a:lnTo>
                  <a:lnTo>
                    <a:pt x="1932" y="132"/>
                  </a:lnTo>
                  <a:lnTo>
                    <a:pt x="1915" y="114"/>
                  </a:lnTo>
                  <a:lnTo>
                    <a:pt x="1911" y="110"/>
                  </a:lnTo>
                  <a:lnTo>
                    <a:pt x="1906" y="108"/>
                  </a:lnTo>
                  <a:lnTo>
                    <a:pt x="1902" y="106"/>
                  </a:lnTo>
                  <a:lnTo>
                    <a:pt x="1898" y="105"/>
                  </a:lnTo>
                  <a:lnTo>
                    <a:pt x="1892" y="106"/>
                  </a:lnTo>
                  <a:lnTo>
                    <a:pt x="1888" y="108"/>
                  </a:lnTo>
                  <a:lnTo>
                    <a:pt x="1883" y="111"/>
                  </a:lnTo>
                  <a:lnTo>
                    <a:pt x="1879" y="117"/>
                  </a:lnTo>
                  <a:lnTo>
                    <a:pt x="1874" y="122"/>
                  </a:lnTo>
                  <a:lnTo>
                    <a:pt x="1868" y="126"/>
                  </a:lnTo>
                  <a:lnTo>
                    <a:pt x="1863" y="129"/>
                  </a:lnTo>
                  <a:lnTo>
                    <a:pt x="1857" y="131"/>
                  </a:lnTo>
                  <a:lnTo>
                    <a:pt x="1851" y="133"/>
                  </a:lnTo>
                  <a:lnTo>
                    <a:pt x="1844" y="134"/>
                  </a:lnTo>
                  <a:lnTo>
                    <a:pt x="1837" y="135"/>
                  </a:lnTo>
                  <a:lnTo>
                    <a:pt x="1830" y="135"/>
                  </a:lnTo>
                  <a:lnTo>
                    <a:pt x="1824" y="135"/>
                  </a:lnTo>
                  <a:lnTo>
                    <a:pt x="1816" y="134"/>
                  </a:lnTo>
                  <a:lnTo>
                    <a:pt x="1809" y="132"/>
                  </a:lnTo>
                  <a:lnTo>
                    <a:pt x="1803" y="130"/>
                  </a:lnTo>
                  <a:lnTo>
                    <a:pt x="1796" y="127"/>
                  </a:lnTo>
                  <a:lnTo>
                    <a:pt x="1791" y="124"/>
                  </a:lnTo>
                  <a:lnTo>
                    <a:pt x="1786" y="120"/>
                  </a:lnTo>
                  <a:lnTo>
                    <a:pt x="1782" y="116"/>
                  </a:lnTo>
                  <a:lnTo>
                    <a:pt x="1778" y="111"/>
                  </a:lnTo>
                  <a:lnTo>
                    <a:pt x="1775" y="107"/>
                  </a:lnTo>
                  <a:lnTo>
                    <a:pt x="1772" y="103"/>
                  </a:lnTo>
                  <a:lnTo>
                    <a:pt x="1771" y="99"/>
                  </a:lnTo>
                  <a:lnTo>
                    <a:pt x="1770" y="92"/>
                  </a:lnTo>
                  <a:lnTo>
                    <a:pt x="1771" y="85"/>
                  </a:lnTo>
                  <a:lnTo>
                    <a:pt x="1777" y="73"/>
                  </a:lnTo>
                  <a:lnTo>
                    <a:pt x="1783" y="61"/>
                  </a:lnTo>
                  <a:lnTo>
                    <a:pt x="1784" y="55"/>
                  </a:lnTo>
                  <a:lnTo>
                    <a:pt x="1784" y="50"/>
                  </a:lnTo>
                  <a:lnTo>
                    <a:pt x="1783" y="47"/>
                  </a:lnTo>
                  <a:lnTo>
                    <a:pt x="1782" y="44"/>
                  </a:lnTo>
                  <a:lnTo>
                    <a:pt x="1780" y="40"/>
                  </a:lnTo>
                  <a:lnTo>
                    <a:pt x="1777" y="36"/>
                  </a:lnTo>
                  <a:lnTo>
                    <a:pt x="1767" y="30"/>
                  </a:lnTo>
                  <a:lnTo>
                    <a:pt x="1754" y="22"/>
                  </a:lnTo>
                  <a:lnTo>
                    <a:pt x="1736" y="13"/>
                  </a:lnTo>
                  <a:lnTo>
                    <a:pt x="1713" y="5"/>
                  </a:lnTo>
                  <a:lnTo>
                    <a:pt x="1703" y="2"/>
                  </a:lnTo>
                  <a:lnTo>
                    <a:pt x="1693" y="0"/>
                  </a:lnTo>
                  <a:lnTo>
                    <a:pt x="1687" y="1"/>
                  </a:lnTo>
                  <a:lnTo>
                    <a:pt x="1681" y="3"/>
                  </a:lnTo>
                  <a:lnTo>
                    <a:pt x="1677" y="6"/>
                  </a:lnTo>
                  <a:lnTo>
                    <a:pt x="1673" y="10"/>
                  </a:lnTo>
                  <a:lnTo>
                    <a:pt x="1671" y="17"/>
                  </a:lnTo>
                  <a:lnTo>
                    <a:pt x="1670" y="23"/>
                  </a:lnTo>
                  <a:lnTo>
                    <a:pt x="1670" y="54"/>
                  </a:lnTo>
                  <a:lnTo>
                    <a:pt x="1669" y="85"/>
                  </a:lnTo>
                  <a:lnTo>
                    <a:pt x="1667" y="96"/>
                  </a:lnTo>
                  <a:lnTo>
                    <a:pt x="1664" y="104"/>
                  </a:lnTo>
                  <a:lnTo>
                    <a:pt x="1660" y="111"/>
                  </a:lnTo>
                  <a:lnTo>
                    <a:pt x="1656" y="119"/>
                  </a:lnTo>
                  <a:lnTo>
                    <a:pt x="1650" y="124"/>
                  </a:lnTo>
                  <a:lnTo>
                    <a:pt x="1645" y="129"/>
                  </a:lnTo>
                  <a:lnTo>
                    <a:pt x="1639" y="133"/>
                  </a:lnTo>
                  <a:lnTo>
                    <a:pt x="1632" y="136"/>
                  </a:lnTo>
                  <a:lnTo>
                    <a:pt x="1625" y="140"/>
                  </a:lnTo>
                  <a:lnTo>
                    <a:pt x="1617" y="142"/>
                  </a:lnTo>
                  <a:lnTo>
                    <a:pt x="1610" y="143"/>
                  </a:lnTo>
                  <a:lnTo>
                    <a:pt x="1601" y="144"/>
                  </a:lnTo>
                  <a:lnTo>
                    <a:pt x="1584" y="145"/>
                  </a:lnTo>
                  <a:lnTo>
                    <a:pt x="1566" y="145"/>
                  </a:lnTo>
                  <a:lnTo>
                    <a:pt x="1531" y="143"/>
                  </a:lnTo>
                  <a:lnTo>
                    <a:pt x="1496" y="142"/>
                  </a:lnTo>
                  <a:lnTo>
                    <a:pt x="1482" y="144"/>
                  </a:lnTo>
                  <a:lnTo>
                    <a:pt x="1468" y="147"/>
                  </a:lnTo>
                  <a:lnTo>
                    <a:pt x="1462" y="149"/>
                  </a:lnTo>
                  <a:lnTo>
                    <a:pt x="1456" y="152"/>
                  </a:lnTo>
                  <a:lnTo>
                    <a:pt x="1451" y="156"/>
                  </a:lnTo>
                  <a:lnTo>
                    <a:pt x="1447" y="160"/>
                  </a:lnTo>
                  <a:lnTo>
                    <a:pt x="1438" y="174"/>
                  </a:lnTo>
                  <a:lnTo>
                    <a:pt x="1430" y="189"/>
                  </a:lnTo>
                  <a:lnTo>
                    <a:pt x="1424" y="204"/>
                  </a:lnTo>
                  <a:lnTo>
                    <a:pt x="1418" y="220"/>
                  </a:lnTo>
                  <a:lnTo>
                    <a:pt x="1412" y="236"/>
                  </a:lnTo>
                  <a:lnTo>
                    <a:pt x="1405" y="251"/>
                  </a:lnTo>
                  <a:lnTo>
                    <a:pt x="1401" y="259"/>
                  </a:lnTo>
                  <a:lnTo>
                    <a:pt x="1397" y="266"/>
                  </a:lnTo>
                  <a:lnTo>
                    <a:pt x="1393" y="273"/>
                  </a:lnTo>
                  <a:lnTo>
                    <a:pt x="1388" y="279"/>
                  </a:lnTo>
                  <a:lnTo>
                    <a:pt x="1379" y="288"/>
                  </a:lnTo>
                  <a:lnTo>
                    <a:pt x="1372" y="294"/>
                  </a:lnTo>
                  <a:lnTo>
                    <a:pt x="1364" y="300"/>
                  </a:lnTo>
                  <a:lnTo>
                    <a:pt x="1356" y="304"/>
                  </a:lnTo>
                  <a:lnTo>
                    <a:pt x="1348" y="308"/>
                  </a:lnTo>
                  <a:lnTo>
                    <a:pt x="1339" y="310"/>
                  </a:lnTo>
                  <a:lnTo>
                    <a:pt x="1330" y="312"/>
                  </a:lnTo>
                  <a:lnTo>
                    <a:pt x="1321" y="312"/>
                  </a:lnTo>
                  <a:lnTo>
                    <a:pt x="1285" y="312"/>
                  </a:lnTo>
                  <a:lnTo>
                    <a:pt x="1245" y="310"/>
                  </a:lnTo>
                  <a:lnTo>
                    <a:pt x="1222" y="311"/>
                  </a:lnTo>
                  <a:lnTo>
                    <a:pt x="1195" y="312"/>
                  </a:lnTo>
                  <a:lnTo>
                    <a:pt x="1181" y="314"/>
                  </a:lnTo>
                  <a:lnTo>
                    <a:pt x="1170" y="318"/>
                  </a:lnTo>
                  <a:lnTo>
                    <a:pt x="1164" y="320"/>
                  </a:lnTo>
                  <a:lnTo>
                    <a:pt x="1159" y="323"/>
                  </a:lnTo>
                  <a:lnTo>
                    <a:pt x="1154" y="326"/>
                  </a:lnTo>
                  <a:lnTo>
                    <a:pt x="1151" y="331"/>
                  </a:lnTo>
                  <a:lnTo>
                    <a:pt x="1141" y="336"/>
                  </a:lnTo>
                  <a:lnTo>
                    <a:pt x="1129" y="343"/>
                  </a:lnTo>
                  <a:lnTo>
                    <a:pt x="1117" y="351"/>
                  </a:lnTo>
                  <a:lnTo>
                    <a:pt x="1104" y="360"/>
                  </a:lnTo>
                  <a:lnTo>
                    <a:pt x="1080" y="379"/>
                  </a:lnTo>
                  <a:lnTo>
                    <a:pt x="1058" y="394"/>
                  </a:lnTo>
                  <a:lnTo>
                    <a:pt x="1037" y="410"/>
                  </a:lnTo>
                  <a:lnTo>
                    <a:pt x="1017" y="424"/>
                  </a:lnTo>
                  <a:lnTo>
                    <a:pt x="995" y="439"/>
                  </a:lnTo>
                  <a:lnTo>
                    <a:pt x="972" y="454"/>
                  </a:lnTo>
                  <a:lnTo>
                    <a:pt x="950" y="467"/>
                  </a:lnTo>
                  <a:lnTo>
                    <a:pt x="927" y="480"/>
                  </a:lnTo>
                  <a:lnTo>
                    <a:pt x="903" y="491"/>
                  </a:lnTo>
                  <a:lnTo>
                    <a:pt x="879" y="501"/>
                  </a:lnTo>
                  <a:lnTo>
                    <a:pt x="853" y="508"/>
                  </a:lnTo>
                  <a:lnTo>
                    <a:pt x="825" y="515"/>
                  </a:lnTo>
                  <a:lnTo>
                    <a:pt x="794" y="522"/>
                  </a:lnTo>
                  <a:lnTo>
                    <a:pt x="765" y="530"/>
                  </a:lnTo>
                  <a:lnTo>
                    <a:pt x="735" y="538"/>
                  </a:lnTo>
                  <a:lnTo>
                    <a:pt x="706" y="549"/>
                  </a:lnTo>
                  <a:lnTo>
                    <a:pt x="692" y="554"/>
                  </a:lnTo>
                  <a:lnTo>
                    <a:pt x="679" y="560"/>
                  </a:lnTo>
                  <a:lnTo>
                    <a:pt x="666" y="567"/>
                  </a:lnTo>
                  <a:lnTo>
                    <a:pt x="654" y="575"/>
                  </a:lnTo>
                  <a:lnTo>
                    <a:pt x="639" y="586"/>
                  </a:lnTo>
                  <a:lnTo>
                    <a:pt x="622" y="598"/>
                  </a:lnTo>
                  <a:lnTo>
                    <a:pt x="605" y="610"/>
                  </a:lnTo>
                  <a:lnTo>
                    <a:pt x="586" y="621"/>
                  </a:lnTo>
                  <a:lnTo>
                    <a:pt x="576" y="626"/>
                  </a:lnTo>
                  <a:lnTo>
                    <a:pt x="566" y="630"/>
                  </a:lnTo>
                  <a:lnTo>
                    <a:pt x="556" y="633"/>
                  </a:lnTo>
                  <a:lnTo>
                    <a:pt x="546" y="636"/>
                  </a:lnTo>
                  <a:lnTo>
                    <a:pt x="536" y="638"/>
                  </a:lnTo>
                  <a:lnTo>
                    <a:pt x="527" y="639"/>
                  </a:lnTo>
                  <a:lnTo>
                    <a:pt x="517" y="639"/>
                  </a:lnTo>
                  <a:lnTo>
                    <a:pt x="507" y="639"/>
                  </a:lnTo>
                  <a:lnTo>
                    <a:pt x="499" y="638"/>
                  </a:lnTo>
                  <a:lnTo>
                    <a:pt x="492" y="638"/>
                  </a:lnTo>
                  <a:lnTo>
                    <a:pt x="486" y="638"/>
                  </a:lnTo>
                  <a:lnTo>
                    <a:pt x="480" y="639"/>
                  </a:lnTo>
                  <a:lnTo>
                    <a:pt x="473" y="641"/>
                  </a:lnTo>
                  <a:lnTo>
                    <a:pt x="468" y="643"/>
                  </a:lnTo>
                  <a:lnTo>
                    <a:pt x="462" y="647"/>
                  </a:lnTo>
                  <a:lnTo>
                    <a:pt x="458" y="650"/>
                  </a:lnTo>
                  <a:lnTo>
                    <a:pt x="438" y="665"/>
                  </a:lnTo>
                  <a:lnTo>
                    <a:pt x="417" y="683"/>
                  </a:lnTo>
                  <a:lnTo>
                    <a:pt x="412" y="686"/>
                  </a:lnTo>
                  <a:lnTo>
                    <a:pt x="408" y="688"/>
                  </a:lnTo>
                  <a:lnTo>
                    <a:pt x="402" y="690"/>
                  </a:lnTo>
                  <a:lnTo>
                    <a:pt x="397" y="691"/>
                  </a:lnTo>
                  <a:lnTo>
                    <a:pt x="388" y="694"/>
                  </a:lnTo>
                  <a:lnTo>
                    <a:pt x="377" y="695"/>
                  </a:lnTo>
                  <a:lnTo>
                    <a:pt x="368" y="696"/>
                  </a:lnTo>
                  <a:lnTo>
                    <a:pt x="359" y="697"/>
                  </a:lnTo>
                  <a:lnTo>
                    <a:pt x="349" y="699"/>
                  </a:lnTo>
                  <a:lnTo>
                    <a:pt x="342" y="703"/>
                  </a:lnTo>
                  <a:lnTo>
                    <a:pt x="334" y="709"/>
                  </a:lnTo>
                  <a:lnTo>
                    <a:pt x="326" y="719"/>
                  </a:lnTo>
                  <a:lnTo>
                    <a:pt x="319" y="729"/>
                  </a:lnTo>
                  <a:lnTo>
                    <a:pt x="313" y="741"/>
                  </a:lnTo>
                  <a:lnTo>
                    <a:pt x="307" y="752"/>
                  </a:lnTo>
                  <a:lnTo>
                    <a:pt x="301" y="765"/>
                  </a:lnTo>
                  <a:lnTo>
                    <a:pt x="297" y="775"/>
                  </a:lnTo>
                  <a:lnTo>
                    <a:pt x="294" y="784"/>
                  </a:lnTo>
                  <a:lnTo>
                    <a:pt x="286" y="790"/>
                  </a:lnTo>
                  <a:lnTo>
                    <a:pt x="286" y="790"/>
                  </a:lnTo>
                  <a:lnTo>
                    <a:pt x="273" y="789"/>
                  </a:lnTo>
                  <a:lnTo>
                    <a:pt x="260" y="787"/>
                  </a:lnTo>
                  <a:lnTo>
                    <a:pt x="247" y="787"/>
                  </a:lnTo>
                  <a:lnTo>
                    <a:pt x="235" y="789"/>
                  </a:lnTo>
                  <a:lnTo>
                    <a:pt x="227" y="791"/>
                  </a:lnTo>
                  <a:lnTo>
                    <a:pt x="220" y="794"/>
                  </a:lnTo>
                  <a:lnTo>
                    <a:pt x="214" y="796"/>
                  </a:lnTo>
                  <a:lnTo>
                    <a:pt x="207" y="800"/>
                  </a:lnTo>
                  <a:lnTo>
                    <a:pt x="195" y="806"/>
                  </a:lnTo>
                  <a:lnTo>
                    <a:pt x="182" y="813"/>
                  </a:lnTo>
                  <a:lnTo>
                    <a:pt x="172" y="838"/>
                  </a:lnTo>
                  <a:lnTo>
                    <a:pt x="161" y="867"/>
                  </a:lnTo>
                  <a:lnTo>
                    <a:pt x="154" y="881"/>
                  </a:lnTo>
                  <a:lnTo>
                    <a:pt x="148" y="895"/>
                  </a:lnTo>
                  <a:lnTo>
                    <a:pt x="141" y="907"/>
                  </a:lnTo>
                  <a:lnTo>
                    <a:pt x="133" y="918"/>
                  </a:lnTo>
                  <a:lnTo>
                    <a:pt x="127" y="924"/>
                  </a:lnTo>
                  <a:lnTo>
                    <a:pt x="122" y="929"/>
                  </a:lnTo>
                  <a:lnTo>
                    <a:pt x="116" y="934"/>
                  </a:lnTo>
                  <a:lnTo>
                    <a:pt x="110" y="937"/>
                  </a:lnTo>
                  <a:lnTo>
                    <a:pt x="104" y="939"/>
                  </a:lnTo>
                  <a:lnTo>
                    <a:pt x="98" y="941"/>
                  </a:lnTo>
                  <a:lnTo>
                    <a:pt x="91" y="941"/>
                  </a:lnTo>
                  <a:lnTo>
                    <a:pt x="81" y="941"/>
                  </a:lnTo>
                  <a:lnTo>
                    <a:pt x="71" y="940"/>
                  </a:lnTo>
                  <a:lnTo>
                    <a:pt x="60" y="938"/>
                  </a:lnTo>
                  <a:lnTo>
                    <a:pt x="52" y="935"/>
                  </a:lnTo>
                  <a:lnTo>
                    <a:pt x="43" y="930"/>
                  </a:lnTo>
                  <a:lnTo>
                    <a:pt x="25" y="923"/>
                  </a:lnTo>
                  <a:lnTo>
                    <a:pt x="5" y="916"/>
                  </a:lnTo>
                  <a:lnTo>
                    <a:pt x="5" y="916"/>
                  </a:lnTo>
                  <a:lnTo>
                    <a:pt x="2" y="931"/>
                  </a:lnTo>
                  <a:lnTo>
                    <a:pt x="0" y="945"/>
                  </a:lnTo>
                  <a:lnTo>
                    <a:pt x="0" y="956"/>
                  </a:lnTo>
                  <a:lnTo>
                    <a:pt x="1" y="967"/>
                  </a:lnTo>
                  <a:lnTo>
                    <a:pt x="5" y="977"/>
                  </a:lnTo>
                  <a:lnTo>
                    <a:pt x="10" y="988"/>
                  </a:lnTo>
                  <a:lnTo>
                    <a:pt x="18" y="998"/>
                  </a:lnTo>
                  <a:lnTo>
                    <a:pt x="26" y="1011"/>
                  </a:lnTo>
                  <a:lnTo>
                    <a:pt x="28" y="1015"/>
                  </a:lnTo>
                  <a:lnTo>
                    <a:pt x="30" y="1018"/>
                  </a:lnTo>
                  <a:lnTo>
                    <a:pt x="31" y="1022"/>
                  </a:lnTo>
                  <a:lnTo>
                    <a:pt x="31" y="1026"/>
                  </a:lnTo>
                  <a:lnTo>
                    <a:pt x="31" y="1036"/>
                  </a:lnTo>
                  <a:lnTo>
                    <a:pt x="31" y="1045"/>
                  </a:lnTo>
                  <a:lnTo>
                    <a:pt x="31" y="1053"/>
                  </a:lnTo>
                  <a:lnTo>
                    <a:pt x="33" y="1062"/>
                  </a:lnTo>
                  <a:lnTo>
                    <a:pt x="35" y="1065"/>
                  </a:lnTo>
                  <a:lnTo>
                    <a:pt x="38" y="1068"/>
                  </a:lnTo>
                  <a:lnTo>
                    <a:pt x="41" y="1071"/>
                  </a:lnTo>
                  <a:lnTo>
                    <a:pt x="45" y="1073"/>
                  </a:lnTo>
                  <a:lnTo>
                    <a:pt x="52" y="1075"/>
                  </a:lnTo>
                  <a:lnTo>
                    <a:pt x="59" y="1076"/>
                  </a:lnTo>
                  <a:lnTo>
                    <a:pt x="66" y="1075"/>
                  </a:lnTo>
                  <a:lnTo>
                    <a:pt x="72" y="1073"/>
                  </a:lnTo>
                  <a:lnTo>
                    <a:pt x="84" y="1066"/>
                  </a:lnTo>
                  <a:lnTo>
                    <a:pt x="97" y="1057"/>
                  </a:lnTo>
                  <a:lnTo>
                    <a:pt x="103" y="1052"/>
                  </a:lnTo>
                  <a:lnTo>
                    <a:pt x="109" y="1048"/>
                  </a:lnTo>
                  <a:lnTo>
                    <a:pt x="116" y="1044"/>
                  </a:lnTo>
                  <a:lnTo>
                    <a:pt x="122" y="1042"/>
                  </a:lnTo>
                  <a:lnTo>
                    <a:pt x="128" y="1040"/>
                  </a:lnTo>
                  <a:lnTo>
                    <a:pt x="136" y="1039"/>
                  </a:lnTo>
                  <a:lnTo>
                    <a:pt x="143" y="1040"/>
                  </a:lnTo>
                  <a:lnTo>
                    <a:pt x="150" y="1043"/>
                  </a:lnTo>
                  <a:lnTo>
                    <a:pt x="169" y="1055"/>
                  </a:lnTo>
                  <a:lnTo>
                    <a:pt x="193" y="1071"/>
                  </a:lnTo>
                  <a:lnTo>
                    <a:pt x="205" y="1082"/>
                  </a:lnTo>
                  <a:lnTo>
                    <a:pt x="215" y="1091"/>
                  </a:lnTo>
                  <a:lnTo>
                    <a:pt x="219" y="1096"/>
                  </a:lnTo>
                  <a:lnTo>
                    <a:pt x="222" y="1100"/>
                  </a:lnTo>
                  <a:lnTo>
                    <a:pt x="223" y="1106"/>
                  </a:lnTo>
                  <a:lnTo>
                    <a:pt x="224" y="1110"/>
                  </a:lnTo>
                  <a:lnTo>
                    <a:pt x="215" y="1110"/>
                  </a:lnTo>
                  <a:lnTo>
                    <a:pt x="189" y="1109"/>
                  </a:lnTo>
                  <a:lnTo>
                    <a:pt x="160" y="1107"/>
                  </a:lnTo>
                  <a:lnTo>
                    <a:pt x="142" y="1107"/>
                  </a:lnTo>
                  <a:lnTo>
                    <a:pt x="125" y="1107"/>
                  </a:lnTo>
                  <a:lnTo>
                    <a:pt x="107" y="1108"/>
                  </a:lnTo>
                  <a:lnTo>
                    <a:pt x="99" y="1108"/>
                  </a:lnTo>
                  <a:lnTo>
                    <a:pt x="91" y="1110"/>
                  </a:lnTo>
                  <a:lnTo>
                    <a:pt x="82" y="1111"/>
                  </a:lnTo>
                  <a:lnTo>
                    <a:pt x="75" y="1114"/>
                  </a:lnTo>
                  <a:lnTo>
                    <a:pt x="73" y="1115"/>
                  </a:lnTo>
                  <a:lnTo>
                    <a:pt x="72" y="1116"/>
                  </a:lnTo>
                  <a:lnTo>
                    <a:pt x="72" y="1118"/>
                  </a:lnTo>
                  <a:lnTo>
                    <a:pt x="73" y="1119"/>
                  </a:lnTo>
                  <a:lnTo>
                    <a:pt x="74" y="1122"/>
                  </a:lnTo>
                  <a:lnTo>
                    <a:pt x="76" y="1125"/>
                  </a:lnTo>
                  <a:lnTo>
                    <a:pt x="81" y="1129"/>
                  </a:lnTo>
                  <a:lnTo>
                    <a:pt x="87" y="1131"/>
                  </a:lnTo>
                  <a:lnTo>
                    <a:pt x="92" y="1133"/>
                  </a:lnTo>
                  <a:lnTo>
                    <a:pt x="98" y="1134"/>
                  </a:lnTo>
                  <a:lnTo>
                    <a:pt x="110" y="1137"/>
                  </a:lnTo>
                  <a:lnTo>
                    <a:pt x="124" y="1139"/>
                  </a:lnTo>
                  <a:lnTo>
                    <a:pt x="138" y="1141"/>
                  </a:lnTo>
                  <a:lnTo>
                    <a:pt x="150" y="1144"/>
                  </a:lnTo>
                  <a:lnTo>
                    <a:pt x="156" y="1146"/>
                  </a:lnTo>
                  <a:lnTo>
                    <a:pt x="162" y="1148"/>
                  </a:lnTo>
                  <a:lnTo>
                    <a:pt x="166" y="1153"/>
                  </a:lnTo>
                  <a:lnTo>
                    <a:pt x="170" y="1156"/>
                  </a:lnTo>
                  <a:lnTo>
                    <a:pt x="174" y="1162"/>
                  </a:lnTo>
                  <a:lnTo>
                    <a:pt x="176" y="1172"/>
                  </a:lnTo>
                  <a:lnTo>
                    <a:pt x="178" y="1185"/>
                  </a:lnTo>
                  <a:lnTo>
                    <a:pt x="178" y="1200"/>
                  </a:lnTo>
                  <a:lnTo>
                    <a:pt x="179" y="1213"/>
                  </a:lnTo>
                  <a:lnTo>
                    <a:pt x="178" y="1226"/>
                  </a:lnTo>
                  <a:lnTo>
                    <a:pt x="178" y="1237"/>
                  </a:lnTo>
                  <a:lnTo>
                    <a:pt x="177" y="1243"/>
                  </a:lnTo>
                  <a:lnTo>
                    <a:pt x="176" y="1270"/>
                  </a:lnTo>
                  <a:lnTo>
                    <a:pt x="176" y="1303"/>
                  </a:lnTo>
                  <a:lnTo>
                    <a:pt x="176" y="1318"/>
                  </a:lnTo>
                  <a:lnTo>
                    <a:pt x="177" y="1334"/>
                  </a:lnTo>
                  <a:lnTo>
                    <a:pt x="180" y="1348"/>
                  </a:lnTo>
                  <a:lnTo>
                    <a:pt x="183" y="1360"/>
                  </a:lnTo>
                  <a:lnTo>
                    <a:pt x="186" y="1365"/>
                  </a:lnTo>
                  <a:lnTo>
                    <a:pt x="190" y="1371"/>
                  </a:lnTo>
                  <a:lnTo>
                    <a:pt x="194" y="1375"/>
                  </a:lnTo>
                  <a:lnTo>
                    <a:pt x="198" y="1380"/>
                  </a:lnTo>
                  <a:lnTo>
                    <a:pt x="209" y="1387"/>
                  </a:lnTo>
                  <a:lnTo>
                    <a:pt x="219" y="1396"/>
                  </a:lnTo>
                  <a:lnTo>
                    <a:pt x="228" y="1404"/>
                  </a:lnTo>
                  <a:lnTo>
                    <a:pt x="237" y="1412"/>
                  </a:lnTo>
                  <a:lnTo>
                    <a:pt x="239" y="1418"/>
                  </a:lnTo>
                  <a:lnTo>
                    <a:pt x="241" y="1423"/>
                  </a:lnTo>
                  <a:lnTo>
                    <a:pt x="241" y="1428"/>
                  </a:lnTo>
                  <a:lnTo>
                    <a:pt x="241" y="1434"/>
                  </a:lnTo>
                  <a:lnTo>
                    <a:pt x="239" y="1442"/>
                  </a:lnTo>
                  <a:lnTo>
                    <a:pt x="236" y="1447"/>
                  </a:lnTo>
                  <a:lnTo>
                    <a:pt x="230" y="1451"/>
                  </a:lnTo>
                  <a:lnTo>
                    <a:pt x="225" y="1455"/>
                  </a:lnTo>
                  <a:lnTo>
                    <a:pt x="219" y="1458"/>
                  </a:lnTo>
                  <a:lnTo>
                    <a:pt x="213" y="1460"/>
                  </a:lnTo>
                  <a:lnTo>
                    <a:pt x="206" y="1462"/>
                  </a:lnTo>
                  <a:lnTo>
                    <a:pt x="200" y="1462"/>
                  </a:lnTo>
                  <a:lnTo>
                    <a:pt x="191" y="1462"/>
                  </a:lnTo>
                  <a:lnTo>
                    <a:pt x="183" y="1460"/>
                  </a:lnTo>
                  <a:lnTo>
                    <a:pt x="176" y="1457"/>
                  </a:lnTo>
                  <a:lnTo>
                    <a:pt x="170" y="1454"/>
                  </a:lnTo>
                  <a:lnTo>
                    <a:pt x="163" y="1450"/>
                  </a:lnTo>
                  <a:lnTo>
                    <a:pt x="156" y="1447"/>
                  </a:lnTo>
                  <a:lnTo>
                    <a:pt x="149" y="1445"/>
                  </a:lnTo>
                  <a:lnTo>
                    <a:pt x="142" y="1444"/>
                  </a:lnTo>
                  <a:lnTo>
                    <a:pt x="138" y="1453"/>
                  </a:lnTo>
                  <a:lnTo>
                    <a:pt x="136" y="1462"/>
                  </a:lnTo>
                  <a:lnTo>
                    <a:pt x="136" y="1471"/>
                  </a:lnTo>
                  <a:lnTo>
                    <a:pt x="137" y="1479"/>
                  </a:lnTo>
                  <a:lnTo>
                    <a:pt x="140" y="1496"/>
                  </a:lnTo>
                  <a:lnTo>
                    <a:pt x="141" y="1515"/>
                  </a:lnTo>
                  <a:lnTo>
                    <a:pt x="141" y="1515"/>
                  </a:lnTo>
                  <a:lnTo>
                    <a:pt x="155" y="1523"/>
                  </a:lnTo>
                  <a:lnTo>
                    <a:pt x="170" y="1529"/>
                  </a:lnTo>
                  <a:lnTo>
                    <a:pt x="177" y="1533"/>
                  </a:lnTo>
                  <a:lnTo>
                    <a:pt x="183" y="1538"/>
                  </a:lnTo>
                  <a:lnTo>
                    <a:pt x="191" y="1542"/>
                  </a:lnTo>
                  <a:lnTo>
                    <a:pt x="197" y="1548"/>
                  </a:lnTo>
                  <a:lnTo>
                    <a:pt x="202" y="1552"/>
                  </a:lnTo>
                  <a:lnTo>
                    <a:pt x="207" y="1555"/>
                  </a:lnTo>
                  <a:lnTo>
                    <a:pt x="214" y="1556"/>
                  </a:lnTo>
                  <a:lnTo>
                    <a:pt x="220" y="1556"/>
                  </a:lnTo>
                  <a:lnTo>
                    <a:pt x="226" y="1554"/>
                  </a:lnTo>
                  <a:lnTo>
                    <a:pt x="232" y="1551"/>
                  </a:lnTo>
                  <a:lnTo>
                    <a:pt x="239" y="1548"/>
                  </a:lnTo>
                  <a:lnTo>
                    <a:pt x="246" y="1544"/>
                  </a:lnTo>
                  <a:lnTo>
                    <a:pt x="260" y="1535"/>
                  </a:lnTo>
                  <a:lnTo>
                    <a:pt x="273" y="1526"/>
                  </a:lnTo>
                  <a:lnTo>
                    <a:pt x="279" y="1523"/>
                  </a:lnTo>
                  <a:lnTo>
                    <a:pt x="287" y="1520"/>
                  </a:lnTo>
                  <a:lnTo>
                    <a:pt x="293" y="1517"/>
                  </a:lnTo>
                  <a:lnTo>
                    <a:pt x="299" y="1516"/>
                  </a:lnTo>
                  <a:lnTo>
                    <a:pt x="305" y="1516"/>
                  </a:lnTo>
                  <a:lnTo>
                    <a:pt x="311" y="1517"/>
                  </a:lnTo>
                  <a:lnTo>
                    <a:pt x="314" y="1519"/>
                  </a:lnTo>
                  <a:lnTo>
                    <a:pt x="317" y="1522"/>
                  </a:lnTo>
                  <a:lnTo>
                    <a:pt x="319" y="1526"/>
                  </a:lnTo>
                  <a:lnTo>
                    <a:pt x="320" y="1530"/>
                  </a:lnTo>
                  <a:lnTo>
                    <a:pt x="321" y="1535"/>
                  </a:lnTo>
                  <a:lnTo>
                    <a:pt x="321" y="1541"/>
                  </a:lnTo>
                  <a:lnTo>
                    <a:pt x="318" y="1565"/>
                  </a:lnTo>
                  <a:lnTo>
                    <a:pt x="315" y="1587"/>
                  </a:lnTo>
                  <a:lnTo>
                    <a:pt x="320" y="1591"/>
                  </a:lnTo>
                  <a:lnTo>
                    <a:pt x="324" y="1595"/>
                  </a:lnTo>
                  <a:lnTo>
                    <a:pt x="334" y="1596"/>
                  </a:lnTo>
                  <a:lnTo>
                    <a:pt x="341" y="1596"/>
                  </a:lnTo>
                  <a:lnTo>
                    <a:pt x="348" y="1596"/>
                  </a:lnTo>
                  <a:lnTo>
                    <a:pt x="356" y="1595"/>
                  </a:lnTo>
                  <a:lnTo>
                    <a:pt x="362" y="1593"/>
                  </a:lnTo>
                  <a:lnTo>
                    <a:pt x="368" y="1590"/>
                  </a:lnTo>
                  <a:lnTo>
                    <a:pt x="375" y="1586"/>
                  </a:lnTo>
                  <a:lnTo>
                    <a:pt x="384" y="1580"/>
                  </a:lnTo>
                  <a:lnTo>
                    <a:pt x="403" y="1569"/>
                  </a:lnTo>
                  <a:lnTo>
                    <a:pt x="417" y="1562"/>
                  </a:lnTo>
                  <a:lnTo>
                    <a:pt x="423" y="1561"/>
                  </a:lnTo>
                  <a:lnTo>
                    <a:pt x="427" y="1559"/>
                  </a:lnTo>
                  <a:lnTo>
                    <a:pt x="432" y="1559"/>
                  </a:lnTo>
                  <a:lnTo>
                    <a:pt x="436" y="1561"/>
                  </a:lnTo>
                  <a:lnTo>
                    <a:pt x="439" y="1564"/>
                  </a:lnTo>
                  <a:lnTo>
                    <a:pt x="443" y="1567"/>
                  </a:lnTo>
                  <a:lnTo>
                    <a:pt x="446" y="1570"/>
                  </a:lnTo>
                  <a:lnTo>
                    <a:pt x="450" y="1575"/>
                  </a:lnTo>
                  <a:lnTo>
                    <a:pt x="460" y="1587"/>
                  </a:lnTo>
                  <a:lnTo>
                    <a:pt x="472" y="1601"/>
                  </a:lnTo>
                  <a:lnTo>
                    <a:pt x="483" y="1614"/>
                  </a:lnTo>
                  <a:lnTo>
                    <a:pt x="490" y="1624"/>
                  </a:lnTo>
                  <a:lnTo>
                    <a:pt x="495" y="1634"/>
                  </a:lnTo>
                  <a:lnTo>
                    <a:pt x="497" y="1642"/>
                  </a:lnTo>
                  <a:lnTo>
                    <a:pt x="497" y="1649"/>
                  </a:lnTo>
                  <a:lnTo>
                    <a:pt x="496" y="1656"/>
                  </a:lnTo>
                  <a:lnTo>
                    <a:pt x="494" y="1663"/>
                  </a:lnTo>
                  <a:lnTo>
                    <a:pt x="490" y="1669"/>
                  </a:lnTo>
                  <a:lnTo>
                    <a:pt x="481" y="1683"/>
                  </a:lnTo>
                  <a:lnTo>
                    <a:pt x="471" y="1697"/>
                  </a:lnTo>
                  <a:lnTo>
                    <a:pt x="466" y="1707"/>
                  </a:lnTo>
                  <a:lnTo>
                    <a:pt x="463" y="1716"/>
                  </a:lnTo>
                  <a:lnTo>
                    <a:pt x="461" y="1728"/>
                  </a:lnTo>
                  <a:lnTo>
                    <a:pt x="460" y="1741"/>
                  </a:lnTo>
                  <a:lnTo>
                    <a:pt x="461" y="1756"/>
                  </a:lnTo>
                  <a:lnTo>
                    <a:pt x="464" y="1767"/>
                  </a:lnTo>
                  <a:lnTo>
                    <a:pt x="468" y="1778"/>
                  </a:lnTo>
                  <a:lnTo>
                    <a:pt x="473" y="1787"/>
                  </a:lnTo>
                  <a:lnTo>
                    <a:pt x="481" y="1795"/>
                  </a:lnTo>
                  <a:lnTo>
                    <a:pt x="489" y="1804"/>
                  </a:lnTo>
                  <a:lnTo>
                    <a:pt x="498" y="1811"/>
                  </a:lnTo>
                  <a:lnTo>
                    <a:pt x="510" y="1818"/>
                  </a:lnTo>
                  <a:lnTo>
                    <a:pt x="514" y="1822"/>
                  </a:lnTo>
                  <a:lnTo>
                    <a:pt x="518" y="1828"/>
                  </a:lnTo>
                  <a:lnTo>
                    <a:pt x="521" y="1833"/>
                  </a:lnTo>
                  <a:lnTo>
                    <a:pt x="524" y="1838"/>
                  </a:lnTo>
                  <a:lnTo>
                    <a:pt x="528" y="1851"/>
                  </a:lnTo>
                  <a:lnTo>
                    <a:pt x="529" y="1863"/>
                  </a:lnTo>
                  <a:lnTo>
                    <a:pt x="529" y="1891"/>
                  </a:lnTo>
                  <a:lnTo>
                    <a:pt x="530" y="1916"/>
                  </a:lnTo>
                  <a:lnTo>
                    <a:pt x="533" y="1927"/>
                  </a:lnTo>
                  <a:lnTo>
                    <a:pt x="536" y="1936"/>
                  </a:lnTo>
                  <a:lnTo>
                    <a:pt x="541" y="1943"/>
                  </a:lnTo>
                  <a:lnTo>
                    <a:pt x="548" y="1951"/>
                  </a:lnTo>
                  <a:lnTo>
                    <a:pt x="556" y="1956"/>
                  </a:lnTo>
                  <a:lnTo>
                    <a:pt x="564" y="1960"/>
                  </a:lnTo>
                  <a:lnTo>
                    <a:pt x="574" y="1964"/>
                  </a:lnTo>
                  <a:lnTo>
                    <a:pt x="584" y="1967"/>
                  </a:lnTo>
                  <a:lnTo>
                    <a:pt x="605" y="1972"/>
                  </a:lnTo>
                  <a:lnTo>
                    <a:pt x="627" y="1974"/>
                  </a:lnTo>
                  <a:lnTo>
                    <a:pt x="647" y="1975"/>
                  </a:lnTo>
                  <a:lnTo>
                    <a:pt x="666" y="1977"/>
                  </a:lnTo>
                  <a:lnTo>
                    <a:pt x="684" y="1979"/>
                  </a:lnTo>
                  <a:lnTo>
                    <a:pt x="698" y="1981"/>
                  </a:lnTo>
                  <a:lnTo>
                    <a:pt x="704" y="1983"/>
                  </a:lnTo>
                  <a:lnTo>
                    <a:pt x="709" y="1985"/>
                  </a:lnTo>
                  <a:lnTo>
                    <a:pt x="713" y="1987"/>
                  </a:lnTo>
                  <a:lnTo>
                    <a:pt x="717" y="1989"/>
                  </a:lnTo>
                  <a:lnTo>
                    <a:pt x="720" y="1993"/>
                  </a:lnTo>
                  <a:lnTo>
                    <a:pt x="724" y="1997"/>
                  </a:lnTo>
                  <a:lnTo>
                    <a:pt x="727" y="2002"/>
                  </a:lnTo>
                  <a:lnTo>
                    <a:pt x="730" y="2007"/>
                  </a:lnTo>
                  <a:lnTo>
                    <a:pt x="735" y="2020"/>
                  </a:lnTo>
                  <a:lnTo>
                    <a:pt x="741" y="2035"/>
                  </a:lnTo>
                  <a:lnTo>
                    <a:pt x="745" y="2045"/>
                  </a:lnTo>
                  <a:lnTo>
                    <a:pt x="751" y="2055"/>
                  </a:lnTo>
                  <a:lnTo>
                    <a:pt x="756" y="2065"/>
                  </a:lnTo>
                  <a:lnTo>
                    <a:pt x="762" y="2075"/>
                  </a:lnTo>
                  <a:lnTo>
                    <a:pt x="769" y="2085"/>
                  </a:lnTo>
                  <a:lnTo>
                    <a:pt x="778" y="2095"/>
                  </a:lnTo>
                  <a:lnTo>
                    <a:pt x="786" y="2104"/>
                  </a:lnTo>
                  <a:lnTo>
                    <a:pt x="794" y="2112"/>
                  </a:lnTo>
                  <a:lnTo>
                    <a:pt x="804" y="2121"/>
                  </a:lnTo>
                  <a:lnTo>
                    <a:pt x="814" y="2128"/>
                  </a:lnTo>
                  <a:lnTo>
                    <a:pt x="824" y="2134"/>
                  </a:lnTo>
                  <a:lnTo>
                    <a:pt x="835" y="2140"/>
                  </a:lnTo>
                  <a:lnTo>
                    <a:pt x="846" y="2144"/>
                  </a:lnTo>
                  <a:lnTo>
                    <a:pt x="856" y="2146"/>
                  </a:lnTo>
                  <a:lnTo>
                    <a:pt x="867" y="2147"/>
                  </a:lnTo>
                  <a:lnTo>
                    <a:pt x="879" y="2147"/>
                  </a:lnTo>
                  <a:lnTo>
                    <a:pt x="901" y="2143"/>
                  </a:lnTo>
                  <a:lnTo>
                    <a:pt x="925" y="2138"/>
                  </a:lnTo>
                  <a:lnTo>
                    <a:pt x="936" y="2136"/>
                  </a:lnTo>
                  <a:lnTo>
                    <a:pt x="948" y="2134"/>
                  </a:lnTo>
                  <a:lnTo>
                    <a:pt x="958" y="2133"/>
                  </a:lnTo>
                  <a:lnTo>
                    <a:pt x="970" y="2133"/>
                  </a:lnTo>
                  <a:lnTo>
                    <a:pt x="979" y="2133"/>
                  </a:lnTo>
                  <a:lnTo>
                    <a:pt x="988" y="2134"/>
                  </a:lnTo>
                  <a:lnTo>
                    <a:pt x="996" y="2137"/>
                  </a:lnTo>
                  <a:lnTo>
                    <a:pt x="1003" y="2140"/>
                  </a:lnTo>
                  <a:lnTo>
                    <a:pt x="1010" y="2144"/>
                  </a:lnTo>
                  <a:lnTo>
                    <a:pt x="1016" y="2148"/>
                  </a:lnTo>
                  <a:lnTo>
                    <a:pt x="1020" y="2153"/>
                  </a:lnTo>
                  <a:lnTo>
                    <a:pt x="1024" y="2159"/>
                  </a:lnTo>
                  <a:lnTo>
                    <a:pt x="1027" y="2166"/>
                  </a:lnTo>
                  <a:lnTo>
                    <a:pt x="1028" y="2173"/>
                  </a:lnTo>
                  <a:lnTo>
                    <a:pt x="1029" y="2180"/>
                  </a:lnTo>
                  <a:lnTo>
                    <a:pt x="1028" y="2188"/>
                  </a:lnTo>
                  <a:lnTo>
                    <a:pt x="1027" y="2196"/>
                  </a:lnTo>
                  <a:lnTo>
                    <a:pt x="1024" y="2204"/>
                  </a:lnTo>
                  <a:lnTo>
                    <a:pt x="1020" y="2214"/>
                  </a:lnTo>
                  <a:lnTo>
                    <a:pt x="1014" y="2223"/>
                  </a:lnTo>
                  <a:lnTo>
                    <a:pt x="1004" y="2226"/>
                  </a:lnTo>
                  <a:lnTo>
                    <a:pt x="995" y="2229"/>
                  </a:lnTo>
                  <a:lnTo>
                    <a:pt x="984" y="2232"/>
                  </a:lnTo>
                  <a:lnTo>
                    <a:pt x="975" y="2235"/>
                  </a:lnTo>
                  <a:lnTo>
                    <a:pt x="974" y="2239"/>
                  </a:lnTo>
                  <a:lnTo>
                    <a:pt x="974" y="2242"/>
                  </a:lnTo>
                  <a:lnTo>
                    <a:pt x="975" y="2246"/>
                  </a:lnTo>
                  <a:lnTo>
                    <a:pt x="976" y="2249"/>
                  </a:lnTo>
                  <a:lnTo>
                    <a:pt x="986" y="2255"/>
                  </a:lnTo>
                  <a:lnTo>
                    <a:pt x="996" y="2262"/>
                  </a:lnTo>
                  <a:lnTo>
                    <a:pt x="1005" y="2269"/>
                  </a:lnTo>
                  <a:lnTo>
                    <a:pt x="1013" y="2277"/>
                  </a:lnTo>
                  <a:lnTo>
                    <a:pt x="1029" y="2292"/>
                  </a:lnTo>
                  <a:lnTo>
                    <a:pt x="1045" y="2305"/>
                  </a:lnTo>
                  <a:lnTo>
                    <a:pt x="1052" y="2311"/>
                  </a:lnTo>
                  <a:lnTo>
                    <a:pt x="1061" y="2316"/>
                  </a:lnTo>
                  <a:lnTo>
                    <a:pt x="1071" y="2320"/>
                  </a:lnTo>
                  <a:lnTo>
                    <a:pt x="1080" y="2322"/>
                  </a:lnTo>
                  <a:lnTo>
                    <a:pt x="1091" y="2324"/>
                  </a:lnTo>
                  <a:lnTo>
                    <a:pt x="1103" y="2324"/>
                  </a:lnTo>
                  <a:lnTo>
                    <a:pt x="1117" y="2322"/>
                  </a:lnTo>
                  <a:lnTo>
                    <a:pt x="1131" y="2319"/>
                  </a:lnTo>
                  <a:lnTo>
                    <a:pt x="1144" y="2316"/>
                  </a:lnTo>
                  <a:lnTo>
                    <a:pt x="1154" y="2316"/>
                  </a:lnTo>
                  <a:lnTo>
                    <a:pt x="1165" y="2317"/>
                  </a:lnTo>
                  <a:lnTo>
                    <a:pt x="1172" y="2319"/>
                  </a:lnTo>
                  <a:lnTo>
                    <a:pt x="1179" y="2323"/>
                  </a:lnTo>
                  <a:lnTo>
                    <a:pt x="1185" y="2329"/>
                  </a:lnTo>
                  <a:lnTo>
                    <a:pt x="1191" y="2336"/>
                  </a:lnTo>
                  <a:lnTo>
                    <a:pt x="1196" y="2343"/>
                  </a:lnTo>
                  <a:lnTo>
                    <a:pt x="1204" y="2360"/>
                  </a:lnTo>
                  <a:lnTo>
                    <a:pt x="1214" y="2376"/>
                  </a:lnTo>
                  <a:lnTo>
                    <a:pt x="1219" y="2386"/>
                  </a:lnTo>
                  <a:lnTo>
                    <a:pt x="1225" y="2394"/>
                  </a:lnTo>
                  <a:lnTo>
                    <a:pt x="1232" y="2401"/>
                  </a:lnTo>
                  <a:lnTo>
                    <a:pt x="1241" y="2408"/>
                  </a:lnTo>
                  <a:lnTo>
                    <a:pt x="1253" y="2417"/>
                  </a:lnTo>
                  <a:lnTo>
                    <a:pt x="1264" y="2423"/>
                  </a:lnTo>
                  <a:lnTo>
                    <a:pt x="1273" y="2428"/>
                  </a:lnTo>
                  <a:lnTo>
                    <a:pt x="1282" y="2431"/>
                  </a:lnTo>
                  <a:lnTo>
                    <a:pt x="1291" y="2431"/>
                  </a:lnTo>
                  <a:lnTo>
                    <a:pt x="1301" y="2428"/>
                  </a:lnTo>
                  <a:lnTo>
                    <a:pt x="1314" y="2426"/>
                  </a:lnTo>
                  <a:lnTo>
                    <a:pt x="1328" y="2421"/>
                  </a:lnTo>
                  <a:lnTo>
                    <a:pt x="1328" y="2421"/>
                  </a:lnTo>
                  <a:lnTo>
                    <a:pt x="1339" y="2404"/>
                  </a:lnTo>
                  <a:lnTo>
                    <a:pt x="1349" y="2387"/>
                  </a:lnTo>
                  <a:lnTo>
                    <a:pt x="1359" y="2369"/>
                  </a:lnTo>
                  <a:lnTo>
                    <a:pt x="1367" y="2350"/>
                  </a:lnTo>
                  <a:lnTo>
                    <a:pt x="1371" y="2342"/>
                  </a:lnTo>
                  <a:lnTo>
                    <a:pt x="1374" y="2331"/>
                  </a:lnTo>
                  <a:lnTo>
                    <a:pt x="1376" y="2322"/>
                  </a:lnTo>
                  <a:lnTo>
                    <a:pt x="1378" y="2313"/>
                  </a:lnTo>
                  <a:lnTo>
                    <a:pt x="1379" y="2303"/>
                  </a:lnTo>
                  <a:lnTo>
                    <a:pt x="1380" y="2293"/>
                  </a:lnTo>
                  <a:lnTo>
                    <a:pt x="1380" y="2283"/>
                  </a:lnTo>
                  <a:lnTo>
                    <a:pt x="1379" y="2273"/>
                  </a:lnTo>
                  <a:lnTo>
                    <a:pt x="1378" y="2262"/>
                  </a:lnTo>
                  <a:lnTo>
                    <a:pt x="1378" y="2251"/>
                  </a:lnTo>
                  <a:lnTo>
                    <a:pt x="1380" y="2241"/>
                  </a:lnTo>
                  <a:lnTo>
                    <a:pt x="1383" y="2231"/>
                  </a:lnTo>
                  <a:lnTo>
                    <a:pt x="1386" y="2222"/>
                  </a:lnTo>
                  <a:lnTo>
                    <a:pt x="1390" y="2213"/>
                  </a:lnTo>
                  <a:lnTo>
                    <a:pt x="1394" y="2204"/>
                  </a:lnTo>
                  <a:lnTo>
                    <a:pt x="1400" y="2196"/>
                  </a:lnTo>
                  <a:lnTo>
                    <a:pt x="1413" y="2180"/>
                  </a:lnTo>
                  <a:lnTo>
                    <a:pt x="1426" y="2166"/>
                  </a:lnTo>
                  <a:lnTo>
                    <a:pt x="1442" y="2151"/>
                  </a:lnTo>
                  <a:lnTo>
                    <a:pt x="1457" y="2136"/>
                  </a:lnTo>
                  <a:lnTo>
                    <a:pt x="1477" y="2116"/>
                  </a:lnTo>
                  <a:lnTo>
                    <a:pt x="1496" y="2094"/>
                  </a:lnTo>
                  <a:lnTo>
                    <a:pt x="1515" y="2072"/>
                  </a:lnTo>
                  <a:lnTo>
                    <a:pt x="1535" y="2052"/>
                  </a:lnTo>
                  <a:lnTo>
                    <a:pt x="1554" y="2033"/>
                  </a:lnTo>
                  <a:lnTo>
                    <a:pt x="1573" y="2014"/>
                  </a:lnTo>
                  <a:lnTo>
                    <a:pt x="1591" y="1995"/>
                  </a:lnTo>
                  <a:lnTo>
                    <a:pt x="1610" y="1974"/>
                  </a:lnTo>
                  <a:lnTo>
                    <a:pt x="1646" y="1931"/>
                  </a:lnTo>
                  <a:lnTo>
                    <a:pt x="1683" y="1886"/>
                  </a:lnTo>
                  <a:lnTo>
                    <a:pt x="1718" y="1841"/>
                  </a:lnTo>
                  <a:lnTo>
                    <a:pt x="1754" y="1796"/>
                  </a:lnTo>
                  <a:lnTo>
                    <a:pt x="1789" y="1752"/>
                  </a:lnTo>
                  <a:lnTo>
                    <a:pt x="1825" y="1711"/>
                  </a:lnTo>
                  <a:lnTo>
                    <a:pt x="1825" y="171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7" name="Freeform 174">
              <a:extLst>
                <a:ext uri="{FF2B5EF4-FFF2-40B4-BE49-F238E27FC236}">
                  <a16:creationId xmlns:a16="http://schemas.microsoft.com/office/drawing/2014/main" id="{0881C45E-8FCA-44DF-A5D6-8346F71BE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9199" y="3578424"/>
              <a:ext cx="789824" cy="590140"/>
            </a:xfrm>
            <a:custGeom>
              <a:avLst/>
              <a:gdLst>
                <a:gd name="T0" fmla="*/ 2018 w 3144"/>
                <a:gd name="T1" fmla="*/ 1487 h 2431"/>
                <a:gd name="T2" fmla="*/ 2579 w 3144"/>
                <a:gd name="T3" fmla="*/ 1441 h 2431"/>
                <a:gd name="T4" fmla="*/ 2962 w 3144"/>
                <a:gd name="T5" fmla="*/ 1497 h 2431"/>
                <a:gd name="T6" fmla="*/ 2902 w 3144"/>
                <a:gd name="T7" fmla="*/ 1282 h 2431"/>
                <a:gd name="T8" fmla="*/ 2924 w 3144"/>
                <a:gd name="T9" fmla="*/ 1151 h 2431"/>
                <a:gd name="T10" fmla="*/ 2962 w 3144"/>
                <a:gd name="T11" fmla="*/ 1048 h 2431"/>
                <a:gd name="T12" fmla="*/ 2877 w 3144"/>
                <a:gd name="T13" fmla="*/ 924 h 2431"/>
                <a:gd name="T14" fmla="*/ 2940 w 3144"/>
                <a:gd name="T15" fmla="*/ 791 h 2431"/>
                <a:gd name="T16" fmla="*/ 2872 w 3144"/>
                <a:gd name="T17" fmla="*/ 709 h 2431"/>
                <a:gd name="T18" fmla="*/ 3004 w 3144"/>
                <a:gd name="T19" fmla="*/ 663 h 2431"/>
                <a:gd name="T20" fmla="*/ 3043 w 3144"/>
                <a:gd name="T21" fmla="*/ 626 h 2431"/>
                <a:gd name="T22" fmla="*/ 3144 w 3144"/>
                <a:gd name="T23" fmla="*/ 555 h 2431"/>
                <a:gd name="T24" fmla="*/ 2993 w 3144"/>
                <a:gd name="T25" fmla="*/ 506 h 2431"/>
                <a:gd name="T26" fmla="*/ 2764 w 3144"/>
                <a:gd name="T27" fmla="*/ 460 h 2431"/>
                <a:gd name="T28" fmla="*/ 2535 w 3144"/>
                <a:gd name="T29" fmla="*/ 406 h 2431"/>
                <a:gd name="T30" fmla="*/ 2278 w 3144"/>
                <a:gd name="T31" fmla="*/ 347 h 2431"/>
                <a:gd name="T32" fmla="*/ 2137 w 3144"/>
                <a:gd name="T33" fmla="*/ 242 h 2431"/>
                <a:gd name="T34" fmla="*/ 2000 w 3144"/>
                <a:gd name="T35" fmla="*/ 189 h 2431"/>
                <a:gd name="T36" fmla="*/ 1888 w 3144"/>
                <a:gd name="T37" fmla="*/ 108 h 2431"/>
                <a:gd name="T38" fmla="*/ 1809 w 3144"/>
                <a:gd name="T39" fmla="*/ 132 h 2431"/>
                <a:gd name="T40" fmla="*/ 1783 w 3144"/>
                <a:gd name="T41" fmla="*/ 61 h 2431"/>
                <a:gd name="T42" fmla="*/ 1687 w 3144"/>
                <a:gd name="T43" fmla="*/ 1 h 2431"/>
                <a:gd name="T44" fmla="*/ 1645 w 3144"/>
                <a:gd name="T45" fmla="*/ 129 h 2431"/>
                <a:gd name="T46" fmla="*/ 1462 w 3144"/>
                <a:gd name="T47" fmla="*/ 149 h 2431"/>
                <a:gd name="T48" fmla="*/ 1388 w 3144"/>
                <a:gd name="T49" fmla="*/ 279 h 2431"/>
                <a:gd name="T50" fmla="*/ 1181 w 3144"/>
                <a:gd name="T51" fmla="*/ 314 h 2431"/>
                <a:gd name="T52" fmla="*/ 1017 w 3144"/>
                <a:gd name="T53" fmla="*/ 424 h 2431"/>
                <a:gd name="T54" fmla="*/ 692 w 3144"/>
                <a:gd name="T55" fmla="*/ 554 h 2431"/>
                <a:gd name="T56" fmla="*/ 527 w 3144"/>
                <a:gd name="T57" fmla="*/ 639 h 2431"/>
                <a:gd name="T58" fmla="*/ 412 w 3144"/>
                <a:gd name="T59" fmla="*/ 686 h 2431"/>
                <a:gd name="T60" fmla="*/ 313 w 3144"/>
                <a:gd name="T61" fmla="*/ 741 h 2431"/>
                <a:gd name="T62" fmla="*/ 214 w 3144"/>
                <a:gd name="T63" fmla="*/ 796 h 2431"/>
                <a:gd name="T64" fmla="*/ 110 w 3144"/>
                <a:gd name="T65" fmla="*/ 937 h 2431"/>
                <a:gd name="T66" fmla="*/ 0 w 3144"/>
                <a:gd name="T67" fmla="*/ 945 h 2431"/>
                <a:gd name="T68" fmla="*/ 31 w 3144"/>
                <a:gd name="T69" fmla="*/ 1053 h 2431"/>
                <a:gd name="T70" fmla="*/ 109 w 3144"/>
                <a:gd name="T71" fmla="*/ 1048 h 2431"/>
                <a:gd name="T72" fmla="*/ 223 w 3144"/>
                <a:gd name="T73" fmla="*/ 1106 h 2431"/>
                <a:gd name="T74" fmla="*/ 72 w 3144"/>
                <a:gd name="T75" fmla="*/ 1116 h 2431"/>
                <a:gd name="T76" fmla="*/ 156 w 3144"/>
                <a:gd name="T77" fmla="*/ 1146 h 2431"/>
                <a:gd name="T78" fmla="*/ 176 w 3144"/>
                <a:gd name="T79" fmla="*/ 1303 h 2431"/>
                <a:gd name="T80" fmla="*/ 239 w 3144"/>
                <a:gd name="T81" fmla="*/ 1418 h 2431"/>
                <a:gd name="T82" fmla="*/ 183 w 3144"/>
                <a:gd name="T83" fmla="*/ 1460 h 2431"/>
                <a:gd name="T84" fmla="*/ 141 w 3144"/>
                <a:gd name="T85" fmla="*/ 1515 h 2431"/>
                <a:gd name="T86" fmla="*/ 239 w 3144"/>
                <a:gd name="T87" fmla="*/ 1548 h 2431"/>
                <a:gd name="T88" fmla="*/ 320 w 3144"/>
                <a:gd name="T89" fmla="*/ 1530 h 2431"/>
                <a:gd name="T90" fmla="*/ 375 w 3144"/>
                <a:gd name="T91" fmla="*/ 1586 h 2431"/>
                <a:gd name="T92" fmla="*/ 472 w 3144"/>
                <a:gd name="T93" fmla="*/ 1601 h 2431"/>
                <a:gd name="T94" fmla="*/ 461 w 3144"/>
                <a:gd name="T95" fmla="*/ 1728 h 2431"/>
                <a:gd name="T96" fmla="*/ 524 w 3144"/>
                <a:gd name="T97" fmla="*/ 1838 h 2431"/>
                <a:gd name="T98" fmla="*/ 605 w 3144"/>
                <a:gd name="T99" fmla="*/ 1972 h 2431"/>
                <a:gd name="T100" fmla="*/ 730 w 3144"/>
                <a:gd name="T101" fmla="*/ 2007 h 2431"/>
                <a:gd name="T102" fmla="*/ 824 w 3144"/>
                <a:gd name="T103" fmla="*/ 2134 h 2431"/>
                <a:gd name="T104" fmla="*/ 988 w 3144"/>
                <a:gd name="T105" fmla="*/ 2134 h 2431"/>
                <a:gd name="T106" fmla="*/ 1020 w 3144"/>
                <a:gd name="T107" fmla="*/ 2214 h 2431"/>
                <a:gd name="T108" fmla="*/ 1013 w 3144"/>
                <a:gd name="T109" fmla="*/ 2277 h 2431"/>
                <a:gd name="T110" fmla="*/ 1165 w 3144"/>
                <a:gd name="T111" fmla="*/ 2317 h 2431"/>
                <a:gd name="T112" fmla="*/ 1264 w 3144"/>
                <a:gd name="T113" fmla="*/ 2423 h 2431"/>
                <a:gd name="T114" fmla="*/ 1374 w 3144"/>
                <a:gd name="T115" fmla="*/ 2331 h 2431"/>
                <a:gd name="T116" fmla="*/ 1394 w 3144"/>
                <a:gd name="T117" fmla="*/ 2204 h 2431"/>
                <a:gd name="T118" fmla="*/ 1610 w 3144"/>
                <a:gd name="T119" fmla="*/ 1974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44" h="2431">
                  <a:moveTo>
                    <a:pt x="1825" y="1711"/>
                  </a:moveTo>
                  <a:lnTo>
                    <a:pt x="1832" y="1699"/>
                  </a:lnTo>
                  <a:lnTo>
                    <a:pt x="1838" y="1688"/>
                  </a:lnTo>
                  <a:lnTo>
                    <a:pt x="1843" y="1675"/>
                  </a:lnTo>
                  <a:lnTo>
                    <a:pt x="1847" y="1663"/>
                  </a:lnTo>
                  <a:lnTo>
                    <a:pt x="1854" y="1632"/>
                  </a:lnTo>
                  <a:lnTo>
                    <a:pt x="1866" y="1605"/>
                  </a:lnTo>
                  <a:lnTo>
                    <a:pt x="1883" y="1580"/>
                  </a:lnTo>
                  <a:lnTo>
                    <a:pt x="1904" y="1557"/>
                  </a:lnTo>
                  <a:lnTo>
                    <a:pt x="1927" y="1537"/>
                  </a:lnTo>
                  <a:lnTo>
                    <a:pt x="1954" y="1518"/>
                  </a:lnTo>
                  <a:lnTo>
                    <a:pt x="1984" y="1502"/>
                  </a:lnTo>
                  <a:lnTo>
                    <a:pt x="2018" y="1487"/>
                  </a:lnTo>
                  <a:lnTo>
                    <a:pt x="2053" y="1475"/>
                  </a:lnTo>
                  <a:lnTo>
                    <a:pt x="2090" y="1465"/>
                  </a:lnTo>
                  <a:lnTo>
                    <a:pt x="2130" y="1455"/>
                  </a:lnTo>
                  <a:lnTo>
                    <a:pt x="2172" y="1448"/>
                  </a:lnTo>
                  <a:lnTo>
                    <a:pt x="2215" y="1442"/>
                  </a:lnTo>
                  <a:lnTo>
                    <a:pt x="2258" y="1437"/>
                  </a:lnTo>
                  <a:lnTo>
                    <a:pt x="2303" y="1434"/>
                  </a:lnTo>
                  <a:lnTo>
                    <a:pt x="2349" y="1433"/>
                  </a:lnTo>
                  <a:lnTo>
                    <a:pt x="2396" y="1432"/>
                  </a:lnTo>
                  <a:lnTo>
                    <a:pt x="2442" y="1433"/>
                  </a:lnTo>
                  <a:lnTo>
                    <a:pt x="2488" y="1434"/>
                  </a:lnTo>
                  <a:lnTo>
                    <a:pt x="2534" y="1437"/>
                  </a:lnTo>
                  <a:lnTo>
                    <a:pt x="2579" y="1441"/>
                  </a:lnTo>
                  <a:lnTo>
                    <a:pt x="2623" y="1445"/>
                  </a:lnTo>
                  <a:lnTo>
                    <a:pt x="2666" y="1449"/>
                  </a:lnTo>
                  <a:lnTo>
                    <a:pt x="2708" y="1455"/>
                  </a:lnTo>
                  <a:lnTo>
                    <a:pt x="2748" y="1460"/>
                  </a:lnTo>
                  <a:lnTo>
                    <a:pt x="2787" y="1467"/>
                  </a:lnTo>
                  <a:lnTo>
                    <a:pt x="2822" y="1473"/>
                  </a:lnTo>
                  <a:lnTo>
                    <a:pt x="2856" y="1479"/>
                  </a:lnTo>
                  <a:lnTo>
                    <a:pt x="2887" y="1486"/>
                  </a:lnTo>
                  <a:lnTo>
                    <a:pt x="2915" y="1493"/>
                  </a:lnTo>
                  <a:lnTo>
                    <a:pt x="2939" y="1500"/>
                  </a:lnTo>
                  <a:lnTo>
                    <a:pt x="2960" y="1506"/>
                  </a:lnTo>
                  <a:lnTo>
                    <a:pt x="2961" y="1502"/>
                  </a:lnTo>
                  <a:lnTo>
                    <a:pt x="2962" y="1497"/>
                  </a:lnTo>
                  <a:lnTo>
                    <a:pt x="2962" y="1492"/>
                  </a:lnTo>
                  <a:lnTo>
                    <a:pt x="2961" y="1485"/>
                  </a:lnTo>
                  <a:lnTo>
                    <a:pt x="2958" y="1473"/>
                  </a:lnTo>
                  <a:lnTo>
                    <a:pt x="2954" y="1460"/>
                  </a:lnTo>
                  <a:lnTo>
                    <a:pt x="2944" y="1434"/>
                  </a:lnTo>
                  <a:lnTo>
                    <a:pt x="2937" y="1411"/>
                  </a:lnTo>
                  <a:lnTo>
                    <a:pt x="2934" y="1388"/>
                  </a:lnTo>
                  <a:lnTo>
                    <a:pt x="2931" y="1369"/>
                  </a:lnTo>
                  <a:lnTo>
                    <a:pt x="2927" y="1351"/>
                  </a:lnTo>
                  <a:lnTo>
                    <a:pt x="2923" y="1334"/>
                  </a:lnTo>
                  <a:lnTo>
                    <a:pt x="2917" y="1317"/>
                  </a:lnTo>
                  <a:lnTo>
                    <a:pt x="2911" y="1300"/>
                  </a:lnTo>
                  <a:lnTo>
                    <a:pt x="2902" y="1282"/>
                  </a:lnTo>
                  <a:lnTo>
                    <a:pt x="2891" y="1261"/>
                  </a:lnTo>
                  <a:lnTo>
                    <a:pt x="2889" y="1257"/>
                  </a:lnTo>
                  <a:lnTo>
                    <a:pt x="2888" y="1252"/>
                  </a:lnTo>
                  <a:lnTo>
                    <a:pt x="2888" y="1246"/>
                  </a:lnTo>
                  <a:lnTo>
                    <a:pt x="2889" y="1242"/>
                  </a:lnTo>
                  <a:lnTo>
                    <a:pt x="2893" y="1232"/>
                  </a:lnTo>
                  <a:lnTo>
                    <a:pt x="2900" y="1221"/>
                  </a:lnTo>
                  <a:lnTo>
                    <a:pt x="2913" y="1200"/>
                  </a:lnTo>
                  <a:lnTo>
                    <a:pt x="2924" y="1181"/>
                  </a:lnTo>
                  <a:lnTo>
                    <a:pt x="2926" y="1173"/>
                  </a:lnTo>
                  <a:lnTo>
                    <a:pt x="2926" y="1166"/>
                  </a:lnTo>
                  <a:lnTo>
                    <a:pt x="2926" y="1159"/>
                  </a:lnTo>
                  <a:lnTo>
                    <a:pt x="2924" y="1151"/>
                  </a:lnTo>
                  <a:lnTo>
                    <a:pt x="2917" y="1134"/>
                  </a:lnTo>
                  <a:lnTo>
                    <a:pt x="2909" y="1118"/>
                  </a:lnTo>
                  <a:lnTo>
                    <a:pt x="2902" y="1105"/>
                  </a:lnTo>
                  <a:lnTo>
                    <a:pt x="2896" y="1092"/>
                  </a:lnTo>
                  <a:lnTo>
                    <a:pt x="2894" y="1088"/>
                  </a:lnTo>
                  <a:lnTo>
                    <a:pt x="2894" y="1084"/>
                  </a:lnTo>
                  <a:lnTo>
                    <a:pt x="2895" y="1081"/>
                  </a:lnTo>
                  <a:lnTo>
                    <a:pt x="2897" y="1080"/>
                  </a:lnTo>
                  <a:lnTo>
                    <a:pt x="2934" y="1066"/>
                  </a:lnTo>
                  <a:lnTo>
                    <a:pt x="2955" y="1057"/>
                  </a:lnTo>
                  <a:lnTo>
                    <a:pt x="2960" y="1053"/>
                  </a:lnTo>
                  <a:lnTo>
                    <a:pt x="2962" y="1050"/>
                  </a:lnTo>
                  <a:lnTo>
                    <a:pt x="2962" y="1048"/>
                  </a:lnTo>
                  <a:lnTo>
                    <a:pt x="2962" y="1047"/>
                  </a:lnTo>
                  <a:lnTo>
                    <a:pt x="2961" y="1046"/>
                  </a:lnTo>
                  <a:lnTo>
                    <a:pt x="2960" y="1044"/>
                  </a:lnTo>
                  <a:lnTo>
                    <a:pt x="2949" y="1039"/>
                  </a:lnTo>
                  <a:lnTo>
                    <a:pt x="2931" y="1032"/>
                  </a:lnTo>
                  <a:lnTo>
                    <a:pt x="2920" y="1026"/>
                  </a:lnTo>
                  <a:lnTo>
                    <a:pt x="2909" y="1020"/>
                  </a:lnTo>
                  <a:lnTo>
                    <a:pt x="2897" y="1013"/>
                  </a:lnTo>
                  <a:lnTo>
                    <a:pt x="2886" y="1004"/>
                  </a:lnTo>
                  <a:lnTo>
                    <a:pt x="2885" y="989"/>
                  </a:lnTo>
                  <a:lnTo>
                    <a:pt x="2883" y="969"/>
                  </a:lnTo>
                  <a:lnTo>
                    <a:pt x="2880" y="947"/>
                  </a:lnTo>
                  <a:lnTo>
                    <a:pt x="2877" y="924"/>
                  </a:lnTo>
                  <a:lnTo>
                    <a:pt x="2877" y="913"/>
                  </a:lnTo>
                  <a:lnTo>
                    <a:pt x="2876" y="902"/>
                  </a:lnTo>
                  <a:lnTo>
                    <a:pt x="2876" y="891"/>
                  </a:lnTo>
                  <a:lnTo>
                    <a:pt x="2877" y="880"/>
                  </a:lnTo>
                  <a:lnTo>
                    <a:pt x="2879" y="871"/>
                  </a:lnTo>
                  <a:lnTo>
                    <a:pt x="2881" y="863"/>
                  </a:lnTo>
                  <a:lnTo>
                    <a:pt x="2884" y="854"/>
                  </a:lnTo>
                  <a:lnTo>
                    <a:pt x="2889" y="848"/>
                  </a:lnTo>
                  <a:lnTo>
                    <a:pt x="2915" y="824"/>
                  </a:lnTo>
                  <a:lnTo>
                    <a:pt x="2936" y="805"/>
                  </a:lnTo>
                  <a:lnTo>
                    <a:pt x="2939" y="801"/>
                  </a:lnTo>
                  <a:lnTo>
                    <a:pt x="2940" y="796"/>
                  </a:lnTo>
                  <a:lnTo>
                    <a:pt x="2940" y="791"/>
                  </a:lnTo>
                  <a:lnTo>
                    <a:pt x="2939" y="784"/>
                  </a:lnTo>
                  <a:lnTo>
                    <a:pt x="2935" y="778"/>
                  </a:lnTo>
                  <a:lnTo>
                    <a:pt x="2930" y="772"/>
                  </a:lnTo>
                  <a:lnTo>
                    <a:pt x="2921" y="763"/>
                  </a:lnTo>
                  <a:lnTo>
                    <a:pt x="2911" y="754"/>
                  </a:lnTo>
                  <a:lnTo>
                    <a:pt x="2904" y="749"/>
                  </a:lnTo>
                  <a:lnTo>
                    <a:pt x="2895" y="743"/>
                  </a:lnTo>
                  <a:lnTo>
                    <a:pt x="2886" y="734"/>
                  </a:lnTo>
                  <a:lnTo>
                    <a:pt x="2878" y="725"/>
                  </a:lnTo>
                  <a:lnTo>
                    <a:pt x="2875" y="721"/>
                  </a:lnTo>
                  <a:lnTo>
                    <a:pt x="2872" y="717"/>
                  </a:lnTo>
                  <a:lnTo>
                    <a:pt x="2871" y="713"/>
                  </a:lnTo>
                  <a:lnTo>
                    <a:pt x="2872" y="709"/>
                  </a:lnTo>
                  <a:lnTo>
                    <a:pt x="2874" y="706"/>
                  </a:lnTo>
                  <a:lnTo>
                    <a:pt x="2878" y="703"/>
                  </a:lnTo>
                  <a:lnTo>
                    <a:pt x="2883" y="701"/>
                  </a:lnTo>
                  <a:lnTo>
                    <a:pt x="2890" y="699"/>
                  </a:lnTo>
                  <a:lnTo>
                    <a:pt x="2925" y="697"/>
                  </a:lnTo>
                  <a:lnTo>
                    <a:pt x="2964" y="693"/>
                  </a:lnTo>
                  <a:lnTo>
                    <a:pt x="2973" y="690"/>
                  </a:lnTo>
                  <a:lnTo>
                    <a:pt x="2981" y="687"/>
                  </a:lnTo>
                  <a:lnTo>
                    <a:pt x="2988" y="684"/>
                  </a:lnTo>
                  <a:lnTo>
                    <a:pt x="2994" y="680"/>
                  </a:lnTo>
                  <a:lnTo>
                    <a:pt x="3000" y="674"/>
                  </a:lnTo>
                  <a:lnTo>
                    <a:pt x="3003" y="667"/>
                  </a:lnTo>
                  <a:lnTo>
                    <a:pt x="3004" y="663"/>
                  </a:lnTo>
                  <a:lnTo>
                    <a:pt x="3005" y="659"/>
                  </a:lnTo>
                  <a:lnTo>
                    <a:pt x="3005" y="655"/>
                  </a:lnTo>
                  <a:lnTo>
                    <a:pt x="3004" y="651"/>
                  </a:lnTo>
                  <a:lnTo>
                    <a:pt x="3004" y="639"/>
                  </a:lnTo>
                  <a:lnTo>
                    <a:pt x="3004" y="631"/>
                  </a:lnTo>
                  <a:lnTo>
                    <a:pt x="3005" y="628"/>
                  </a:lnTo>
                  <a:lnTo>
                    <a:pt x="3007" y="626"/>
                  </a:lnTo>
                  <a:lnTo>
                    <a:pt x="3009" y="624"/>
                  </a:lnTo>
                  <a:lnTo>
                    <a:pt x="3011" y="622"/>
                  </a:lnTo>
                  <a:lnTo>
                    <a:pt x="3017" y="621"/>
                  </a:lnTo>
                  <a:lnTo>
                    <a:pt x="3025" y="621"/>
                  </a:lnTo>
                  <a:lnTo>
                    <a:pt x="3033" y="623"/>
                  </a:lnTo>
                  <a:lnTo>
                    <a:pt x="3043" y="626"/>
                  </a:lnTo>
                  <a:lnTo>
                    <a:pt x="3064" y="634"/>
                  </a:lnTo>
                  <a:lnTo>
                    <a:pt x="3083" y="642"/>
                  </a:lnTo>
                  <a:lnTo>
                    <a:pt x="3092" y="646"/>
                  </a:lnTo>
                  <a:lnTo>
                    <a:pt x="3102" y="648"/>
                  </a:lnTo>
                  <a:lnTo>
                    <a:pt x="3107" y="648"/>
                  </a:lnTo>
                  <a:lnTo>
                    <a:pt x="3112" y="647"/>
                  </a:lnTo>
                  <a:lnTo>
                    <a:pt x="3117" y="646"/>
                  </a:lnTo>
                  <a:lnTo>
                    <a:pt x="3124" y="643"/>
                  </a:lnTo>
                  <a:lnTo>
                    <a:pt x="3129" y="626"/>
                  </a:lnTo>
                  <a:lnTo>
                    <a:pt x="3137" y="598"/>
                  </a:lnTo>
                  <a:lnTo>
                    <a:pt x="3140" y="583"/>
                  </a:lnTo>
                  <a:lnTo>
                    <a:pt x="3143" y="568"/>
                  </a:lnTo>
                  <a:lnTo>
                    <a:pt x="3144" y="555"/>
                  </a:lnTo>
                  <a:lnTo>
                    <a:pt x="3143" y="545"/>
                  </a:lnTo>
                  <a:lnTo>
                    <a:pt x="3130" y="544"/>
                  </a:lnTo>
                  <a:lnTo>
                    <a:pt x="3117" y="542"/>
                  </a:lnTo>
                  <a:lnTo>
                    <a:pt x="3106" y="541"/>
                  </a:lnTo>
                  <a:lnTo>
                    <a:pt x="3094" y="540"/>
                  </a:lnTo>
                  <a:lnTo>
                    <a:pt x="3078" y="537"/>
                  </a:lnTo>
                  <a:lnTo>
                    <a:pt x="3063" y="535"/>
                  </a:lnTo>
                  <a:lnTo>
                    <a:pt x="3050" y="531"/>
                  </a:lnTo>
                  <a:lnTo>
                    <a:pt x="3037" y="527"/>
                  </a:lnTo>
                  <a:lnTo>
                    <a:pt x="3026" y="522"/>
                  </a:lnTo>
                  <a:lnTo>
                    <a:pt x="3014" y="517"/>
                  </a:lnTo>
                  <a:lnTo>
                    <a:pt x="3004" y="511"/>
                  </a:lnTo>
                  <a:lnTo>
                    <a:pt x="2993" y="506"/>
                  </a:lnTo>
                  <a:lnTo>
                    <a:pt x="2974" y="494"/>
                  </a:lnTo>
                  <a:lnTo>
                    <a:pt x="2954" y="482"/>
                  </a:lnTo>
                  <a:lnTo>
                    <a:pt x="2943" y="477"/>
                  </a:lnTo>
                  <a:lnTo>
                    <a:pt x="2933" y="470"/>
                  </a:lnTo>
                  <a:lnTo>
                    <a:pt x="2921" y="465"/>
                  </a:lnTo>
                  <a:lnTo>
                    <a:pt x="2910" y="461"/>
                  </a:lnTo>
                  <a:lnTo>
                    <a:pt x="2893" y="456"/>
                  </a:lnTo>
                  <a:lnTo>
                    <a:pt x="2878" y="453"/>
                  </a:lnTo>
                  <a:lnTo>
                    <a:pt x="2862" y="452"/>
                  </a:lnTo>
                  <a:lnTo>
                    <a:pt x="2845" y="452"/>
                  </a:lnTo>
                  <a:lnTo>
                    <a:pt x="2813" y="454"/>
                  </a:lnTo>
                  <a:lnTo>
                    <a:pt x="2781" y="458"/>
                  </a:lnTo>
                  <a:lnTo>
                    <a:pt x="2764" y="460"/>
                  </a:lnTo>
                  <a:lnTo>
                    <a:pt x="2747" y="462"/>
                  </a:lnTo>
                  <a:lnTo>
                    <a:pt x="2731" y="464"/>
                  </a:lnTo>
                  <a:lnTo>
                    <a:pt x="2713" y="465"/>
                  </a:lnTo>
                  <a:lnTo>
                    <a:pt x="2696" y="464"/>
                  </a:lnTo>
                  <a:lnTo>
                    <a:pt x="2679" y="463"/>
                  </a:lnTo>
                  <a:lnTo>
                    <a:pt x="2661" y="460"/>
                  </a:lnTo>
                  <a:lnTo>
                    <a:pt x="2643" y="455"/>
                  </a:lnTo>
                  <a:lnTo>
                    <a:pt x="2624" y="448"/>
                  </a:lnTo>
                  <a:lnTo>
                    <a:pt x="2607" y="440"/>
                  </a:lnTo>
                  <a:lnTo>
                    <a:pt x="2588" y="432"/>
                  </a:lnTo>
                  <a:lnTo>
                    <a:pt x="2570" y="423"/>
                  </a:lnTo>
                  <a:lnTo>
                    <a:pt x="2552" y="414"/>
                  </a:lnTo>
                  <a:lnTo>
                    <a:pt x="2535" y="406"/>
                  </a:lnTo>
                  <a:lnTo>
                    <a:pt x="2516" y="397"/>
                  </a:lnTo>
                  <a:lnTo>
                    <a:pt x="2497" y="390"/>
                  </a:lnTo>
                  <a:lnTo>
                    <a:pt x="2484" y="387"/>
                  </a:lnTo>
                  <a:lnTo>
                    <a:pt x="2471" y="384"/>
                  </a:lnTo>
                  <a:lnTo>
                    <a:pt x="2456" y="381"/>
                  </a:lnTo>
                  <a:lnTo>
                    <a:pt x="2442" y="380"/>
                  </a:lnTo>
                  <a:lnTo>
                    <a:pt x="2442" y="380"/>
                  </a:lnTo>
                  <a:lnTo>
                    <a:pt x="2342" y="370"/>
                  </a:lnTo>
                  <a:lnTo>
                    <a:pt x="2331" y="365"/>
                  </a:lnTo>
                  <a:lnTo>
                    <a:pt x="2321" y="361"/>
                  </a:lnTo>
                  <a:lnTo>
                    <a:pt x="2310" y="357"/>
                  </a:lnTo>
                  <a:lnTo>
                    <a:pt x="2299" y="353"/>
                  </a:lnTo>
                  <a:lnTo>
                    <a:pt x="2278" y="347"/>
                  </a:lnTo>
                  <a:lnTo>
                    <a:pt x="2257" y="341"/>
                  </a:lnTo>
                  <a:lnTo>
                    <a:pt x="2235" y="335"/>
                  </a:lnTo>
                  <a:lnTo>
                    <a:pt x="2215" y="327"/>
                  </a:lnTo>
                  <a:lnTo>
                    <a:pt x="2203" y="322"/>
                  </a:lnTo>
                  <a:lnTo>
                    <a:pt x="2193" y="317"/>
                  </a:lnTo>
                  <a:lnTo>
                    <a:pt x="2181" y="311"/>
                  </a:lnTo>
                  <a:lnTo>
                    <a:pt x="2171" y="303"/>
                  </a:lnTo>
                  <a:lnTo>
                    <a:pt x="2170" y="297"/>
                  </a:lnTo>
                  <a:lnTo>
                    <a:pt x="2167" y="290"/>
                  </a:lnTo>
                  <a:lnTo>
                    <a:pt x="2163" y="281"/>
                  </a:lnTo>
                  <a:lnTo>
                    <a:pt x="2159" y="274"/>
                  </a:lnTo>
                  <a:lnTo>
                    <a:pt x="2150" y="257"/>
                  </a:lnTo>
                  <a:lnTo>
                    <a:pt x="2137" y="242"/>
                  </a:lnTo>
                  <a:lnTo>
                    <a:pt x="2131" y="233"/>
                  </a:lnTo>
                  <a:lnTo>
                    <a:pt x="2124" y="227"/>
                  </a:lnTo>
                  <a:lnTo>
                    <a:pt x="2117" y="221"/>
                  </a:lnTo>
                  <a:lnTo>
                    <a:pt x="2109" y="215"/>
                  </a:lnTo>
                  <a:lnTo>
                    <a:pt x="2102" y="211"/>
                  </a:lnTo>
                  <a:lnTo>
                    <a:pt x="2095" y="207"/>
                  </a:lnTo>
                  <a:lnTo>
                    <a:pt x="2087" y="204"/>
                  </a:lnTo>
                  <a:lnTo>
                    <a:pt x="2080" y="203"/>
                  </a:lnTo>
                  <a:lnTo>
                    <a:pt x="2058" y="202"/>
                  </a:lnTo>
                  <a:lnTo>
                    <a:pt x="2039" y="200"/>
                  </a:lnTo>
                  <a:lnTo>
                    <a:pt x="2023" y="197"/>
                  </a:lnTo>
                  <a:lnTo>
                    <a:pt x="2007" y="192"/>
                  </a:lnTo>
                  <a:lnTo>
                    <a:pt x="2000" y="189"/>
                  </a:lnTo>
                  <a:lnTo>
                    <a:pt x="1992" y="186"/>
                  </a:lnTo>
                  <a:lnTo>
                    <a:pt x="1985" y="181"/>
                  </a:lnTo>
                  <a:lnTo>
                    <a:pt x="1978" y="176"/>
                  </a:lnTo>
                  <a:lnTo>
                    <a:pt x="1962" y="165"/>
                  </a:lnTo>
                  <a:lnTo>
                    <a:pt x="1947" y="150"/>
                  </a:lnTo>
                  <a:lnTo>
                    <a:pt x="1932" y="132"/>
                  </a:lnTo>
                  <a:lnTo>
                    <a:pt x="1915" y="114"/>
                  </a:lnTo>
                  <a:lnTo>
                    <a:pt x="1911" y="110"/>
                  </a:lnTo>
                  <a:lnTo>
                    <a:pt x="1906" y="108"/>
                  </a:lnTo>
                  <a:lnTo>
                    <a:pt x="1902" y="106"/>
                  </a:lnTo>
                  <a:lnTo>
                    <a:pt x="1898" y="105"/>
                  </a:lnTo>
                  <a:lnTo>
                    <a:pt x="1892" y="106"/>
                  </a:lnTo>
                  <a:lnTo>
                    <a:pt x="1888" y="108"/>
                  </a:lnTo>
                  <a:lnTo>
                    <a:pt x="1883" y="111"/>
                  </a:lnTo>
                  <a:lnTo>
                    <a:pt x="1879" y="117"/>
                  </a:lnTo>
                  <a:lnTo>
                    <a:pt x="1874" y="122"/>
                  </a:lnTo>
                  <a:lnTo>
                    <a:pt x="1868" y="126"/>
                  </a:lnTo>
                  <a:lnTo>
                    <a:pt x="1863" y="129"/>
                  </a:lnTo>
                  <a:lnTo>
                    <a:pt x="1857" y="131"/>
                  </a:lnTo>
                  <a:lnTo>
                    <a:pt x="1851" y="133"/>
                  </a:lnTo>
                  <a:lnTo>
                    <a:pt x="1844" y="134"/>
                  </a:lnTo>
                  <a:lnTo>
                    <a:pt x="1837" y="135"/>
                  </a:lnTo>
                  <a:lnTo>
                    <a:pt x="1830" y="135"/>
                  </a:lnTo>
                  <a:lnTo>
                    <a:pt x="1824" y="135"/>
                  </a:lnTo>
                  <a:lnTo>
                    <a:pt x="1816" y="134"/>
                  </a:lnTo>
                  <a:lnTo>
                    <a:pt x="1809" y="132"/>
                  </a:lnTo>
                  <a:lnTo>
                    <a:pt x="1803" y="130"/>
                  </a:lnTo>
                  <a:lnTo>
                    <a:pt x="1796" y="127"/>
                  </a:lnTo>
                  <a:lnTo>
                    <a:pt x="1791" y="124"/>
                  </a:lnTo>
                  <a:lnTo>
                    <a:pt x="1786" y="120"/>
                  </a:lnTo>
                  <a:lnTo>
                    <a:pt x="1782" y="116"/>
                  </a:lnTo>
                  <a:lnTo>
                    <a:pt x="1778" y="111"/>
                  </a:lnTo>
                  <a:lnTo>
                    <a:pt x="1775" y="107"/>
                  </a:lnTo>
                  <a:lnTo>
                    <a:pt x="1772" y="103"/>
                  </a:lnTo>
                  <a:lnTo>
                    <a:pt x="1771" y="99"/>
                  </a:lnTo>
                  <a:lnTo>
                    <a:pt x="1770" y="92"/>
                  </a:lnTo>
                  <a:lnTo>
                    <a:pt x="1771" y="85"/>
                  </a:lnTo>
                  <a:lnTo>
                    <a:pt x="1777" y="73"/>
                  </a:lnTo>
                  <a:lnTo>
                    <a:pt x="1783" y="61"/>
                  </a:lnTo>
                  <a:lnTo>
                    <a:pt x="1784" y="55"/>
                  </a:lnTo>
                  <a:lnTo>
                    <a:pt x="1784" y="50"/>
                  </a:lnTo>
                  <a:lnTo>
                    <a:pt x="1783" y="47"/>
                  </a:lnTo>
                  <a:lnTo>
                    <a:pt x="1782" y="44"/>
                  </a:lnTo>
                  <a:lnTo>
                    <a:pt x="1780" y="40"/>
                  </a:lnTo>
                  <a:lnTo>
                    <a:pt x="1777" y="36"/>
                  </a:lnTo>
                  <a:lnTo>
                    <a:pt x="1767" y="30"/>
                  </a:lnTo>
                  <a:lnTo>
                    <a:pt x="1754" y="22"/>
                  </a:lnTo>
                  <a:lnTo>
                    <a:pt x="1736" y="13"/>
                  </a:lnTo>
                  <a:lnTo>
                    <a:pt x="1713" y="5"/>
                  </a:lnTo>
                  <a:lnTo>
                    <a:pt x="1703" y="2"/>
                  </a:lnTo>
                  <a:lnTo>
                    <a:pt x="1693" y="0"/>
                  </a:lnTo>
                  <a:lnTo>
                    <a:pt x="1687" y="1"/>
                  </a:lnTo>
                  <a:lnTo>
                    <a:pt x="1681" y="3"/>
                  </a:lnTo>
                  <a:lnTo>
                    <a:pt x="1677" y="6"/>
                  </a:lnTo>
                  <a:lnTo>
                    <a:pt x="1673" y="10"/>
                  </a:lnTo>
                  <a:lnTo>
                    <a:pt x="1671" y="17"/>
                  </a:lnTo>
                  <a:lnTo>
                    <a:pt x="1670" y="23"/>
                  </a:lnTo>
                  <a:lnTo>
                    <a:pt x="1670" y="54"/>
                  </a:lnTo>
                  <a:lnTo>
                    <a:pt x="1669" y="85"/>
                  </a:lnTo>
                  <a:lnTo>
                    <a:pt x="1667" y="96"/>
                  </a:lnTo>
                  <a:lnTo>
                    <a:pt x="1664" y="104"/>
                  </a:lnTo>
                  <a:lnTo>
                    <a:pt x="1660" y="111"/>
                  </a:lnTo>
                  <a:lnTo>
                    <a:pt x="1656" y="119"/>
                  </a:lnTo>
                  <a:lnTo>
                    <a:pt x="1650" y="124"/>
                  </a:lnTo>
                  <a:lnTo>
                    <a:pt x="1645" y="129"/>
                  </a:lnTo>
                  <a:lnTo>
                    <a:pt x="1639" y="133"/>
                  </a:lnTo>
                  <a:lnTo>
                    <a:pt x="1632" y="136"/>
                  </a:lnTo>
                  <a:lnTo>
                    <a:pt x="1625" y="140"/>
                  </a:lnTo>
                  <a:lnTo>
                    <a:pt x="1617" y="142"/>
                  </a:lnTo>
                  <a:lnTo>
                    <a:pt x="1610" y="143"/>
                  </a:lnTo>
                  <a:lnTo>
                    <a:pt x="1601" y="144"/>
                  </a:lnTo>
                  <a:lnTo>
                    <a:pt x="1584" y="145"/>
                  </a:lnTo>
                  <a:lnTo>
                    <a:pt x="1566" y="145"/>
                  </a:lnTo>
                  <a:lnTo>
                    <a:pt x="1531" y="143"/>
                  </a:lnTo>
                  <a:lnTo>
                    <a:pt x="1496" y="142"/>
                  </a:lnTo>
                  <a:lnTo>
                    <a:pt x="1482" y="144"/>
                  </a:lnTo>
                  <a:lnTo>
                    <a:pt x="1468" y="147"/>
                  </a:lnTo>
                  <a:lnTo>
                    <a:pt x="1462" y="149"/>
                  </a:lnTo>
                  <a:lnTo>
                    <a:pt x="1456" y="152"/>
                  </a:lnTo>
                  <a:lnTo>
                    <a:pt x="1451" y="156"/>
                  </a:lnTo>
                  <a:lnTo>
                    <a:pt x="1447" y="160"/>
                  </a:lnTo>
                  <a:lnTo>
                    <a:pt x="1438" y="174"/>
                  </a:lnTo>
                  <a:lnTo>
                    <a:pt x="1430" y="189"/>
                  </a:lnTo>
                  <a:lnTo>
                    <a:pt x="1424" y="204"/>
                  </a:lnTo>
                  <a:lnTo>
                    <a:pt x="1418" y="220"/>
                  </a:lnTo>
                  <a:lnTo>
                    <a:pt x="1412" y="236"/>
                  </a:lnTo>
                  <a:lnTo>
                    <a:pt x="1405" y="251"/>
                  </a:lnTo>
                  <a:lnTo>
                    <a:pt x="1401" y="259"/>
                  </a:lnTo>
                  <a:lnTo>
                    <a:pt x="1397" y="266"/>
                  </a:lnTo>
                  <a:lnTo>
                    <a:pt x="1393" y="273"/>
                  </a:lnTo>
                  <a:lnTo>
                    <a:pt x="1388" y="279"/>
                  </a:lnTo>
                  <a:lnTo>
                    <a:pt x="1379" y="288"/>
                  </a:lnTo>
                  <a:lnTo>
                    <a:pt x="1372" y="294"/>
                  </a:lnTo>
                  <a:lnTo>
                    <a:pt x="1364" y="300"/>
                  </a:lnTo>
                  <a:lnTo>
                    <a:pt x="1356" y="304"/>
                  </a:lnTo>
                  <a:lnTo>
                    <a:pt x="1348" y="308"/>
                  </a:lnTo>
                  <a:lnTo>
                    <a:pt x="1339" y="310"/>
                  </a:lnTo>
                  <a:lnTo>
                    <a:pt x="1330" y="312"/>
                  </a:lnTo>
                  <a:lnTo>
                    <a:pt x="1321" y="312"/>
                  </a:lnTo>
                  <a:lnTo>
                    <a:pt x="1285" y="312"/>
                  </a:lnTo>
                  <a:lnTo>
                    <a:pt x="1245" y="310"/>
                  </a:lnTo>
                  <a:lnTo>
                    <a:pt x="1222" y="311"/>
                  </a:lnTo>
                  <a:lnTo>
                    <a:pt x="1195" y="312"/>
                  </a:lnTo>
                  <a:lnTo>
                    <a:pt x="1181" y="314"/>
                  </a:lnTo>
                  <a:lnTo>
                    <a:pt x="1170" y="318"/>
                  </a:lnTo>
                  <a:lnTo>
                    <a:pt x="1164" y="320"/>
                  </a:lnTo>
                  <a:lnTo>
                    <a:pt x="1159" y="323"/>
                  </a:lnTo>
                  <a:lnTo>
                    <a:pt x="1154" y="326"/>
                  </a:lnTo>
                  <a:lnTo>
                    <a:pt x="1151" y="331"/>
                  </a:lnTo>
                  <a:lnTo>
                    <a:pt x="1141" y="336"/>
                  </a:lnTo>
                  <a:lnTo>
                    <a:pt x="1129" y="343"/>
                  </a:lnTo>
                  <a:lnTo>
                    <a:pt x="1117" y="351"/>
                  </a:lnTo>
                  <a:lnTo>
                    <a:pt x="1104" y="360"/>
                  </a:lnTo>
                  <a:lnTo>
                    <a:pt x="1080" y="379"/>
                  </a:lnTo>
                  <a:lnTo>
                    <a:pt x="1058" y="394"/>
                  </a:lnTo>
                  <a:lnTo>
                    <a:pt x="1037" y="410"/>
                  </a:lnTo>
                  <a:lnTo>
                    <a:pt x="1017" y="424"/>
                  </a:lnTo>
                  <a:lnTo>
                    <a:pt x="995" y="439"/>
                  </a:lnTo>
                  <a:lnTo>
                    <a:pt x="972" y="454"/>
                  </a:lnTo>
                  <a:lnTo>
                    <a:pt x="950" y="467"/>
                  </a:lnTo>
                  <a:lnTo>
                    <a:pt x="927" y="480"/>
                  </a:lnTo>
                  <a:lnTo>
                    <a:pt x="903" y="491"/>
                  </a:lnTo>
                  <a:lnTo>
                    <a:pt x="879" y="501"/>
                  </a:lnTo>
                  <a:lnTo>
                    <a:pt x="853" y="508"/>
                  </a:lnTo>
                  <a:lnTo>
                    <a:pt x="825" y="515"/>
                  </a:lnTo>
                  <a:lnTo>
                    <a:pt x="794" y="522"/>
                  </a:lnTo>
                  <a:lnTo>
                    <a:pt x="765" y="530"/>
                  </a:lnTo>
                  <a:lnTo>
                    <a:pt x="735" y="538"/>
                  </a:lnTo>
                  <a:lnTo>
                    <a:pt x="706" y="549"/>
                  </a:lnTo>
                  <a:lnTo>
                    <a:pt x="692" y="554"/>
                  </a:lnTo>
                  <a:lnTo>
                    <a:pt x="679" y="560"/>
                  </a:lnTo>
                  <a:lnTo>
                    <a:pt x="666" y="567"/>
                  </a:lnTo>
                  <a:lnTo>
                    <a:pt x="654" y="575"/>
                  </a:lnTo>
                  <a:lnTo>
                    <a:pt x="639" y="586"/>
                  </a:lnTo>
                  <a:lnTo>
                    <a:pt x="622" y="598"/>
                  </a:lnTo>
                  <a:lnTo>
                    <a:pt x="605" y="610"/>
                  </a:lnTo>
                  <a:lnTo>
                    <a:pt x="586" y="621"/>
                  </a:lnTo>
                  <a:lnTo>
                    <a:pt x="576" y="626"/>
                  </a:lnTo>
                  <a:lnTo>
                    <a:pt x="566" y="630"/>
                  </a:lnTo>
                  <a:lnTo>
                    <a:pt x="556" y="633"/>
                  </a:lnTo>
                  <a:lnTo>
                    <a:pt x="546" y="636"/>
                  </a:lnTo>
                  <a:lnTo>
                    <a:pt x="536" y="638"/>
                  </a:lnTo>
                  <a:lnTo>
                    <a:pt x="527" y="639"/>
                  </a:lnTo>
                  <a:lnTo>
                    <a:pt x="517" y="639"/>
                  </a:lnTo>
                  <a:lnTo>
                    <a:pt x="507" y="639"/>
                  </a:lnTo>
                  <a:lnTo>
                    <a:pt x="499" y="638"/>
                  </a:lnTo>
                  <a:lnTo>
                    <a:pt x="492" y="638"/>
                  </a:lnTo>
                  <a:lnTo>
                    <a:pt x="486" y="638"/>
                  </a:lnTo>
                  <a:lnTo>
                    <a:pt x="480" y="639"/>
                  </a:lnTo>
                  <a:lnTo>
                    <a:pt x="473" y="641"/>
                  </a:lnTo>
                  <a:lnTo>
                    <a:pt x="468" y="643"/>
                  </a:lnTo>
                  <a:lnTo>
                    <a:pt x="462" y="647"/>
                  </a:lnTo>
                  <a:lnTo>
                    <a:pt x="458" y="650"/>
                  </a:lnTo>
                  <a:lnTo>
                    <a:pt x="438" y="665"/>
                  </a:lnTo>
                  <a:lnTo>
                    <a:pt x="417" y="683"/>
                  </a:lnTo>
                  <a:lnTo>
                    <a:pt x="412" y="686"/>
                  </a:lnTo>
                  <a:lnTo>
                    <a:pt x="408" y="688"/>
                  </a:lnTo>
                  <a:lnTo>
                    <a:pt x="402" y="690"/>
                  </a:lnTo>
                  <a:lnTo>
                    <a:pt x="397" y="691"/>
                  </a:lnTo>
                  <a:lnTo>
                    <a:pt x="388" y="694"/>
                  </a:lnTo>
                  <a:lnTo>
                    <a:pt x="377" y="695"/>
                  </a:lnTo>
                  <a:lnTo>
                    <a:pt x="368" y="696"/>
                  </a:lnTo>
                  <a:lnTo>
                    <a:pt x="359" y="697"/>
                  </a:lnTo>
                  <a:lnTo>
                    <a:pt x="349" y="699"/>
                  </a:lnTo>
                  <a:lnTo>
                    <a:pt x="342" y="703"/>
                  </a:lnTo>
                  <a:lnTo>
                    <a:pt x="334" y="709"/>
                  </a:lnTo>
                  <a:lnTo>
                    <a:pt x="326" y="719"/>
                  </a:lnTo>
                  <a:lnTo>
                    <a:pt x="319" y="729"/>
                  </a:lnTo>
                  <a:lnTo>
                    <a:pt x="313" y="741"/>
                  </a:lnTo>
                  <a:lnTo>
                    <a:pt x="307" y="752"/>
                  </a:lnTo>
                  <a:lnTo>
                    <a:pt x="301" y="765"/>
                  </a:lnTo>
                  <a:lnTo>
                    <a:pt x="297" y="775"/>
                  </a:lnTo>
                  <a:lnTo>
                    <a:pt x="294" y="784"/>
                  </a:lnTo>
                  <a:lnTo>
                    <a:pt x="286" y="790"/>
                  </a:lnTo>
                  <a:lnTo>
                    <a:pt x="286" y="790"/>
                  </a:lnTo>
                  <a:lnTo>
                    <a:pt x="273" y="789"/>
                  </a:lnTo>
                  <a:lnTo>
                    <a:pt x="260" y="787"/>
                  </a:lnTo>
                  <a:lnTo>
                    <a:pt x="247" y="787"/>
                  </a:lnTo>
                  <a:lnTo>
                    <a:pt x="235" y="789"/>
                  </a:lnTo>
                  <a:lnTo>
                    <a:pt x="227" y="791"/>
                  </a:lnTo>
                  <a:lnTo>
                    <a:pt x="220" y="794"/>
                  </a:lnTo>
                  <a:lnTo>
                    <a:pt x="214" y="796"/>
                  </a:lnTo>
                  <a:lnTo>
                    <a:pt x="207" y="800"/>
                  </a:lnTo>
                  <a:lnTo>
                    <a:pt x="195" y="806"/>
                  </a:lnTo>
                  <a:lnTo>
                    <a:pt x="182" y="813"/>
                  </a:lnTo>
                  <a:lnTo>
                    <a:pt x="172" y="838"/>
                  </a:lnTo>
                  <a:lnTo>
                    <a:pt x="161" y="867"/>
                  </a:lnTo>
                  <a:lnTo>
                    <a:pt x="154" y="881"/>
                  </a:lnTo>
                  <a:lnTo>
                    <a:pt x="148" y="895"/>
                  </a:lnTo>
                  <a:lnTo>
                    <a:pt x="141" y="907"/>
                  </a:lnTo>
                  <a:lnTo>
                    <a:pt x="133" y="918"/>
                  </a:lnTo>
                  <a:lnTo>
                    <a:pt x="127" y="924"/>
                  </a:lnTo>
                  <a:lnTo>
                    <a:pt x="122" y="929"/>
                  </a:lnTo>
                  <a:lnTo>
                    <a:pt x="116" y="934"/>
                  </a:lnTo>
                  <a:lnTo>
                    <a:pt x="110" y="937"/>
                  </a:lnTo>
                  <a:lnTo>
                    <a:pt x="104" y="939"/>
                  </a:lnTo>
                  <a:lnTo>
                    <a:pt x="98" y="941"/>
                  </a:lnTo>
                  <a:lnTo>
                    <a:pt x="91" y="941"/>
                  </a:lnTo>
                  <a:lnTo>
                    <a:pt x="81" y="941"/>
                  </a:lnTo>
                  <a:lnTo>
                    <a:pt x="71" y="940"/>
                  </a:lnTo>
                  <a:lnTo>
                    <a:pt x="60" y="938"/>
                  </a:lnTo>
                  <a:lnTo>
                    <a:pt x="52" y="935"/>
                  </a:lnTo>
                  <a:lnTo>
                    <a:pt x="43" y="930"/>
                  </a:lnTo>
                  <a:lnTo>
                    <a:pt x="25" y="923"/>
                  </a:lnTo>
                  <a:lnTo>
                    <a:pt x="5" y="916"/>
                  </a:lnTo>
                  <a:lnTo>
                    <a:pt x="5" y="916"/>
                  </a:lnTo>
                  <a:lnTo>
                    <a:pt x="2" y="931"/>
                  </a:lnTo>
                  <a:lnTo>
                    <a:pt x="0" y="945"/>
                  </a:lnTo>
                  <a:lnTo>
                    <a:pt x="0" y="956"/>
                  </a:lnTo>
                  <a:lnTo>
                    <a:pt x="1" y="967"/>
                  </a:lnTo>
                  <a:lnTo>
                    <a:pt x="5" y="977"/>
                  </a:lnTo>
                  <a:lnTo>
                    <a:pt x="10" y="988"/>
                  </a:lnTo>
                  <a:lnTo>
                    <a:pt x="18" y="998"/>
                  </a:lnTo>
                  <a:lnTo>
                    <a:pt x="26" y="1011"/>
                  </a:lnTo>
                  <a:lnTo>
                    <a:pt x="28" y="1015"/>
                  </a:lnTo>
                  <a:lnTo>
                    <a:pt x="30" y="1018"/>
                  </a:lnTo>
                  <a:lnTo>
                    <a:pt x="31" y="1022"/>
                  </a:lnTo>
                  <a:lnTo>
                    <a:pt x="31" y="1026"/>
                  </a:lnTo>
                  <a:lnTo>
                    <a:pt x="31" y="1036"/>
                  </a:lnTo>
                  <a:lnTo>
                    <a:pt x="31" y="1045"/>
                  </a:lnTo>
                  <a:lnTo>
                    <a:pt x="31" y="1053"/>
                  </a:lnTo>
                  <a:lnTo>
                    <a:pt x="33" y="1062"/>
                  </a:lnTo>
                  <a:lnTo>
                    <a:pt x="35" y="1065"/>
                  </a:lnTo>
                  <a:lnTo>
                    <a:pt x="38" y="1068"/>
                  </a:lnTo>
                  <a:lnTo>
                    <a:pt x="41" y="1071"/>
                  </a:lnTo>
                  <a:lnTo>
                    <a:pt x="45" y="1073"/>
                  </a:lnTo>
                  <a:lnTo>
                    <a:pt x="52" y="1075"/>
                  </a:lnTo>
                  <a:lnTo>
                    <a:pt x="59" y="1076"/>
                  </a:lnTo>
                  <a:lnTo>
                    <a:pt x="66" y="1075"/>
                  </a:lnTo>
                  <a:lnTo>
                    <a:pt x="72" y="1073"/>
                  </a:lnTo>
                  <a:lnTo>
                    <a:pt x="84" y="1066"/>
                  </a:lnTo>
                  <a:lnTo>
                    <a:pt x="97" y="1057"/>
                  </a:lnTo>
                  <a:lnTo>
                    <a:pt x="103" y="1052"/>
                  </a:lnTo>
                  <a:lnTo>
                    <a:pt x="109" y="1048"/>
                  </a:lnTo>
                  <a:lnTo>
                    <a:pt x="116" y="1044"/>
                  </a:lnTo>
                  <a:lnTo>
                    <a:pt x="122" y="1042"/>
                  </a:lnTo>
                  <a:lnTo>
                    <a:pt x="128" y="1040"/>
                  </a:lnTo>
                  <a:lnTo>
                    <a:pt x="136" y="1039"/>
                  </a:lnTo>
                  <a:lnTo>
                    <a:pt x="143" y="1040"/>
                  </a:lnTo>
                  <a:lnTo>
                    <a:pt x="150" y="1043"/>
                  </a:lnTo>
                  <a:lnTo>
                    <a:pt x="169" y="1055"/>
                  </a:lnTo>
                  <a:lnTo>
                    <a:pt x="193" y="1071"/>
                  </a:lnTo>
                  <a:lnTo>
                    <a:pt x="205" y="1082"/>
                  </a:lnTo>
                  <a:lnTo>
                    <a:pt x="215" y="1091"/>
                  </a:lnTo>
                  <a:lnTo>
                    <a:pt x="219" y="1096"/>
                  </a:lnTo>
                  <a:lnTo>
                    <a:pt x="222" y="1100"/>
                  </a:lnTo>
                  <a:lnTo>
                    <a:pt x="223" y="1106"/>
                  </a:lnTo>
                  <a:lnTo>
                    <a:pt x="224" y="1110"/>
                  </a:lnTo>
                  <a:lnTo>
                    <a:pt x="215" y="1110"/>
                  </a:lnTo>
                  <a:lnTo>
                    <a:pt x="189" y="1109"/>
                  </a:lnTo>
                  <a:lnTo>
                    <a:pt x="160" y="1107"/>
                  </a:lnTo>
                  <a:lnTo>
                    <a:pt x="142" y="1107"/>
                  </a:lnTo>
                  <a:lnTo>
                    <a:pt x="125" y="1107"/>
                  </a:lnTo>
                  <a:lnTo>
                    <a:pt x="107" y="1108"/>
                  </a:lnTo>
                  <a:lnTo>
                    <a:pt x="99" y="1108"/>
                  </a:lnTo>
                  <a:lnTo>
                    <a:pt x="91" y="1110"/>
                  </a:lnTo>
                  <a:lnTo>
                    <a:pt x="82" y="1111"/>
                  </a:lnTo>
                  <a:lnTo>
                    <a:pt x="75" y="1114"/>
                  </a:lnTo>
                  <a:lnTo>
                    <a:pt x="73" y="1115"/>
                  </a:lnTo>
                  <a:lnTo>
                    <a:pt x="72" y="1116"/>
                  </a:lnTo>
                  <a:lnTo>
                    <a:pt x="72" y="1118"/>
                  </a:lnTo>
                  <a:lnTo>
                    <a:pt x="73" y="1119"/>
                  </a:lnTo>
                  <a:lnTo>
                    <a:pt x="74" y="1122"/>
                  </a:lnTo>
                  <a:lnTo>
                    <a:pt x="76" y="1125"/>
                  </a:lnTo>
                  <a:lnTo>
                    <a:pt x="81" y="1129"/>
                  </a:lnTo>
                  <a:lnTo>
                    <a:pt x="87" y="1131"/>
                  </a:lnTo>
                  <a:lnTo>
                    <a:pt x="92" y="1133"/>
                  </a:lnTo>
                  <a:lnTo>
                    <a:pt x="98" y="1134"/>
                  </a:lnTo>
                  <a:lnTo>
                    <a:pt x="110" y="1137"/>
                  </a:lnTo>
                  <a:lnTo>
                    <a:pt x="124" y="1139"/>
                  </a:lnTo>
                  <a:lnTo>
                    <a:pt x="138" y="1141"/>
                  </a:lnTo>
                  <a:lnTo>
                    <a:pt x="150" y="1144"/>
                  </a:lnTo>
                  <a:lnTo>
                    <a:pt x="156" y="1146"/>
                  </a:lnTo>
                  <a:lnTo>
                    <a:pt x="162" y="1148"/>
                  </a:lnTo>
                  <a:lnTo>
                    <a:pt x="166" y="1153"/>
                  </a:lnTo>
                  <a:lnTo>
                    <a:pt x="170" y="1156"/>
                  </a:lnTo>
                  <a:lnTo>
                    <a:pt x="174" y="1162"/>
                  </a:lnTo>
                  <a:lnTo>
                    <a:pt x="176" y="1172"/>
                  </a:lnTo>
                  <a:lnTo>
                    <a:pt x="178" y="1185"/>
                  </a:lnTo>
                  <a:lnTo>
                    <a:pt x="178" y="1200"/>
                  </a:lnTo>
                  <a:lnTo>
                    <a:pt x="179" y="1213"/>
                  </a:lnTo>
                  <a:lnTo>
                    <a:pt x="178" y="1226"/>
                  </a:lnTo>
                  <a:lnTo>
                    <a:pt x="178" y="1237"/>
                  </a:lnTo>
                  <a:lnTo>
                    <a:pt x="177" y="1243"/>
                  </a:lnTo>
                  <a:lnTo>
                    <a:pt x="176" y="1270"/>
                  </a:lnTo>
                  <a:lnTo>
                    <a:pt x="176" y="1303"/>
                  </a:lnTo>
                  <a:lnTo>
                    <a:pt x="176" y="1318"/>
                  </a:lnTo>
                  <a:lnTo>
                    <a:pt x="177" y="1334"/>
                  </a:lnTo>
                  <a:lnTo>
                    <a:pt x="180" y="1348"/>
                  </a:lnTo>
                  <a:lnTo>
                    <a:pt x="183" y="1360"/>
                  </a:lnTo>
                  <a:lnTo>
                    <a:pt x="186" y="1365"/>
                  </a:lnTo>
                  <a:lnTo>
                    <a:pt x="190" y="1371"/>
                  </a:lnTo>
                  <a:lnTo>
                    <a:pt x="194" y="1375"/>
                  </a:lnTo>
                  <a:lnTo>
                    <a:pt x="198" y="1380"/>
                  </a:lnTo>
                  <a:lnTo>
                    <a:pt x="209" y="1387"/>
                  </a:lnTo>
                  <a:lnTo>
                    <a:pt x="219" y="1396"/>
                  </a:lnTo>
                  <a:lnTo>
                    <a:pt x="228" y="1404"/>
                  </a:lnTo>
                  <a:lnTo>
                    <a:pt x="237" y="1412"/>
                  </a:lnTo>
                  <a:lnTo>
                    <a:pt x="239" y="1418"/>
                  </a:lnTo>
                  <a:lnTo>
                    <a:pt x="241" y="1423"/>
                  </a:lnTo>
                  <a:lnTo>
                    <a:pt x="241" y="1428"/>
                  </a:lnTo>
                  <a:lnTo>
                    <a:pt x="241" y="1434"/>
                  </a:lnTo>
                  <a:lnTo>
                    <a:pt x="239" y="1442"/>
                  </a:lnTo>
                  <a:lnTo>
                    <a:pt x="236" y="1447"/>
                  </a:lnTo>
                  <a:lnTo>
                    <a:pt x="230" y="1451"/>
                  </a:lnTo>
                  <a:lnTo>
                    <a:pt x="225" y="1455"/>
                  </a:lnTo>
                  <a:lnTo>
                    <a:pt x="219" y="1458"/>
                  </a:lnTo>
                  <a:lnTo>
                    <a:pt x="213" y="1460"/>
                  </a:lnTo>
                  <a:lnTo>
                    <a:pt x="206" y="1462"/>
                  </a:lnTo>
                  <a:lnTo>
                    <a:pt x="200" y="1462"/>
                  </a:lnTo>
                  <a:lnTo>
                    <a:pt x="191" y="1462"/>
                  </a:lnTo>
                  <a:lnTo>
                    <a:pt x="183" y="1460"/>
                  </a:lnTo>
                  <a:lnTo>
                    <a:pt x="176" y="1457"/>
                  </a:lnTo>
                  <a:lnTo>
                    <a:pt x="170" y="1454"/>
                  </a:lnTo>
                  <a:lnTo>
                    <a:pt x="163" y="1450"/>
                  </a:lnTo>
                  <a:lnTo>
                    <a:pt x="156" y="1447"/>
                  </a:lnTo>
                  <a:lnTo>
                    <a:pt x="149" y="1445"/>
                  </a:lnTo>
                  <a:lnTo>
                    <a:pt x="142" y="1444"/>
                  </a:lnTo>
                  <a:lnTo>
                    <a:pt x="138" y="1453"/>
                  </a:lnTo>
                  <a:lnTo>
                    <a:pt x="136" y="1462"/>
                  </a:lnTo>
                  <a:lnTo>
                    <a:pt x="136" y="1471"/>
                  </a:lnTo>
                  <a:lnTo>
                    <a:pt x="137" y="1479"/>
                  </a:lnTo>
                  <a:lnTo>
                    <a:pt x="140" y="1496"/>
                  </a:lnTo>
                  <a:lnTo>
                    <a:pt x="141" y="1515"/>
                  </a:lnTo>
                  <a:lnTo>
                    <a:pt x="141" y="1515"/>
                  </a:lnTo>
                  <a:lnTo>
                    <a:pt x="155" y="1523"/>
                  </a:lnTo>
                  <a:lnTo>
                    <a:pt x="170" y="1529"/>
                  </a:lnTo>
                  <a:lnTo>
                    <a:pt x="177" y="1533"/>
                  </a:lnTo>
                  <a:lnTo>
                    <a:pt x="183" y="1538"/>
                  </a:lnTo>
                  <a:lnTo>
                    <a:pt x="191" y="1542"/>
                  </a:lnTo>
                  <a:lnTo>
                    <a:pt x="197" y="1548"/>
                  </a:lnTo>
                  <a:lnTo>
                    <a:pt x="202" y="1552"/>
                  </a:lnTo>
                  <a:lnTo>
                    <a:pt x="207" y="1555"/>
                  </a:lnTo>
                  <a:lnTo>
                    <a:pt x="214" y="1556"/>
                  </a:lnTo>
                  <a:lnTo>
                    <a:pt x="220" y="1556"/>
                  </a:lnTo>
                  <a:lnTo>
                    <a:pt x="226" y="1554"/>
                  </a:lnTo>
                  <a:lnTo>
                    <a:pt x="232" y="1551"/>
                  </a:lnTo>
                  <a:lnTo>
                    <a:pt x="239" y="1548"/>
                  </a:lnTo>
                  <a:lnTo>
                    <a:pt x="246" y="1544"/>
                  </a:lnTo>
                  <a:lnTo>
                    <a:pt x="260" y="1535"/>
                  </a:lnTo>
                  <a:lnTo>
                    <a:pt x="273" y="1526"/>
                  </a:lnTo>
                  <a:lnTo>
                    <a:pt x="279" y="1523"/>
                  </a:lnTo>
                  <a:lnTo>
                    <a:pt x="287" y="1520"/>
                  </a:lnTo>
                  <a:lnTo>
                    <a:pt x="293" y="1517"/>
                  </a:lnTo>
                  <a:lnTo>
                    <a:pt x="299" y="1516"/>
                  </a:lnTo>
                  <a:lnTo>
                    <a:pt x="305" y="1516"/>
                  </a:lnTo>
                  <a:lnTo>
                    <a:pt x="311" y="1517"/>
                  </a:lnTo>
                  <a:lnTo>
                    <a:pt x="314" y="1519"/>
                  </a:lnTo>
                  <a:lnTo>
                    <a:pt x="317" y="1522"/>
                  </a:lnTo>
                  <a:lnTo>
                    <a:pt x="319" y="1526"/>
                  </a:lnTo>
                  <a:lnTo>
                    <a:pt x="320" y="1530"/>
                  </a:lnTo>
                  <a:lnTo>
                    <a:pt x="321" y="1535"/>
                  </a:lnTo>
                  <a:lnTo>
                    <a:pt x="321" y="1541"/>
                  </a:lnTo>
                  <a:lnTo>
                    <a:pt x="318" y="1565"/>
                  </a:lnTo>
                  <a:lnTo>
                    <a:pt x="315" y="1587"/>
                  </a:lnTo>
                  <a:lnTo>
                    <a:pt x="320" y="1591"/>
                  </a:lnTo>
                  <a:lnTo>
                    <a:pt x="324" y="1595"/>
                  </a:lnTo>
                  <a:lnTo>
                    <a:pt x="334" y="1596"/>
                  </a:lnTo>
                  <a:lnTo>
                    <a:pt x="341" y="1596"/>
                  </a:lnTo>
                  <a:lnTo>
                    <a:pt x="348" y="1596"/>
                  </a:lnTo>
                  <a:lnTo>
                    <a:pt x="356" y="1595"/>
                  </a:lnTo>
                  <a:lnTo>
                    <a:pt x="362" y="1593"/>
                  </a:lnTo>
                  <a:lnTo>
                    <a:pt x="368" y="1590"/>
                  </a:lnTo>
                  <a:lnTo>
                    <a:pt x="375" y="1586"/>
                  </a:lnTo>
                  <a:lnTo>
                    <a:pt x="384" y="1580"/>
                  </a:lnTo>
                  <a:lnTo>
                    <a:pt x="403" y="1569"/>
                  </a:lnTo>
                  <a:lnTo>
                    <a:pt x="417" y="1562"/>
                  </a:lnTo>
                  <a:lnTo>
                    <a:pt x="423" y="1561"/>
                  </a:lnTo>
                  <a:lnTo>
                    <a:pt x="427" y="1559"/>
                  </a:lnTo>
                  <a:lnTo>
                    <a:pt x="432" y="1559"/>
                  </a:lnTo>
                  <a:lnTo>
                    <a:pt x="436" y="1561"/>
                  </a:lnTo>
                  <a:lnTo>
                    <a:pt x="439" y="1564"/>
                  </a:lnTo>
                  <a:lnTo>
                    <a:pt x="443" y="1567"/>
                  </a:lnTo>
                  <a:lnTo>
                    <a:pt x="446" y="1570"/>
                  </a:lnTo>
                  <a:lnTo>
                    <a:pt x="450" y="1575"/>
                  </a:lnTo>
                  <a:lnTo>
                    <a:pt x="460" y="1587"/>
                  </a:lnTo>
                  <a:lnTo>
                    <a:pt x="472" y="1601"/>
                  </a:lnTo>
                  <a:lnTo>
                    <a:pt x="483" y="1614"/>
                  </a:lnTo>
                  <a:lnTo>
                    <a:pt x="490" y="1624"/>
                  </a:lnTo>
                  <a:lnTo>
                    <a:pt x="495" y="1634"/>
                  </a:lnTo>
                  <a:lnTo>
                    <a:pt x="497" y="1642"/>
                  </a:lnTo>
                  <a:lnTo>
                    <a:pt x="497" y="1649"/>
                  </a:lnTo>
                  <a:lnTo>
                    <a:pt x="496" y="1656"/>
                  </a:lnTo>
                  <a:lnTo>
                    <a:pt x="494" y="1663"/>
                  </a:lnTo>
                  <a:lnTo>
                    <a:pt x="490" y="1669"/>
                  </a:lnTo>
                  <a:lnTo>
                    <a:pt x="481" y="1683"/>
                  </a:lnTo>
                  <a:lnTo>
                    <a:pt x="471" y="1697"/>
                  </a:lnTo>
                  <a:lnTo>
                    <a:pt x="466" y="1707"/>
                  </a:lnTo>
                  <a:lnTo>
                    <a:pt x="463" y="1716"/>
                  </a:lnTo>
                  <a:lnTo>
                    <a:pt x="461" y="1728"/>
                  </a:lnTo>
                  <a:lnTo>
                    <a:pt x="460" y="1741"/>
                  </a:lnTo>
                  <a:lnTo>
                    <a:pt x="461" y="1756"/>
                  </a:lnTo>
                  <a:lnTo>
                    <a:pt x="464" y="1767"/>
                  </a:lnTo>
                  <a:lnTo>
                    <a:pt x="468" y="1778"/>
                  </a:lnTo>
                  <a:lnTo>
                    <a:pt x="473" y="1787"/>
                  </a:lnTo>
                  <a:lnTo>
                    <a:pt x="481" y="1795"/>
                  </a:lnTo>
                  <a:lnTo>
                    <a:pt x="489" y="1804"/>
                  </a:lnTo>
                  <a:lnTo>
                    <a:pt x="498" y="1811"/>
                  </a:lnTo>
                  <a:lnTo>
                    <a:pt x="510" y="1818"/>
                  </a:lnTo>
                  <a:lnTo>
                    <a:pt x="514" y="1822"/>
                  </a:lnTo>
                  <a:lnTo>
                    <a:pt x="518" y="1828"/>
                  </a:lnTo>
                  <a:lnTo>
                    <a:pt x="521" y="1833"/>
                  </a:lnTo>
                  <a:lnTo>
                    <a:pt x="524" y="1838"/>
                  </a:lnTo>
                  <a:lnTo>
                    <a:pt x="528" y="1851"/>
                  </a:lnTo>
                  <a:lnTo>
                    <a:pt x="529" y="1863"/>
                  </a:lnTo>
                  <a:lnTo>
                    <a:pt x="529" y="1891"/>
                  </a:lnTo>
                  <a:lnTo>
                    <a:pt x="530" y="1916"/>
                  </a:lnTo>
                  <a:lnTo>
                    <a:pt x="533" y="1927"/>
                  </a:lnTo>
                  <a:lnTo>
                    <a:pt x="536" y="1936"/>
                  </a:lnTo>
                  <a:lnTo>
                    <a:pt x="541" y="1943"/>
                  </a:lnTo>
                  <a:lnTo>
                    <a:pt x="548" y="1951"/>
                  </a:lnTo>
                  <a:lnTo>
                    <a:pt x="556" y="1956"/>
                  </a:lnTo>
                  <a:lnTo>
                    <a:pt x="564" y="1960"/>
                  </a:lnTo>
                  <a:lnTo>
                    <a:pt x="574" y="1964"/>
                  </a:lnTo>
                  <a:lnTo>
                    <a:pt x="584" y="1967"/>
                  </a:lnTo>
                  <a:lnTo>
                    <a:pt x="605" y="1972"/>
                  </a:lnTo>
                  <a:lnTo>
                    <a:pt x="627" y="1974"/>
                  </a:lnTo>
                  <a:lnTo>
                    <a:pt x="647" y="1975"/>
                  </a:lnTo>
                  <a:lnTo>
                    <a:pt x="666" y="1977"/>
                  </a:lnTo>
                  <a:lnTo>
                    <a:pt x="684" y="1979"/>
                  </a:lnTo>
                  <a:lnTo>
                    <a:pt x="698" y="1981"/>
                  </a:lnTo>
                  <a:lnTo>
                    <a:pt x="704" y="1983"/>
                  </a:lnTo>
                  <a:lnTo>
                    <a:pt x="709" y="1985"/>
                  </a:lnTo>
                  <a:lnTo>
                    <a:pt x="713" y="1987"/>
                  </a:lnTo>
                  <a:lnTo>
                    <a:pt x="717" y="1989"/>
                  </a:lnTo>
                  <a:lnTo>
                    <a:pt x="720" y="1993"/>
                  </a:lnTo>
                  <a:lnTo>
                    <a:pt x="724" y="1997"/>
                  </a:lnTo>
                  <a:lnTo>
                    <a:pt x="727" y="2002"/>
                  </a:lnTo>
                  <a:lnTo>
                    <a:pt x="730" y="2007"/>
                  </a:lnTo>
                  <a:lnTo>
                    <a:pt x="735" y="2020"/>
                  </a:lnTo>
                  <a:lnTo>
                    <a:pt x="741" y="2035"/>
                  </a:lnTo>
                  <a:lnTo>
                    <a:pt x="745" y="2045"/>
                  </a:lnTo>
                  <a:lnTo>
                    <a:pt x="751" y="2055"/>
                  </a:lnTo>
                  <a:lnTo>
                    <a:pt x="756" y="2065"/>
                  </a:lnTo>
                  <a:lnTo>
                    <a:pt x="762" y="2075"/>
                  </a:lnTo>
                  <a:lnTo>
                    <a:pt x="769" y="2085"/>
                  </a:lnTo>
                  <a:lnTo>
                    <a:pt x="778" y="2095"/>
                  </a:lnTo>
                  <a:lnTo>
                    <a:pt x="786" y="2104"/>
                  </a:lnTo>
                  <a:lnTo>
                    <a:pt x="794" y="2112"/>
                  </a:lnTo>
                  <a:lnTo>
                    <a:pt x="804" y="2121"/>
                  </a:lnTo>
                  <a:lnTo>
                    <a:pt x="814" y="2128"/>
                  </a:lnTo>
                  <a:lnTo>
                    <a:pt x="824" y="2134"/>
                  </a:lnTo>
                  <a:lnTo>
                    <a:pt x="835" y="2140"/>
                  </a:lnTo>
                  <a:lnTo>
                    <a:pt x="846" y="2144"/>
                  </a:lnTo>
                  <a:lnTo>
                    <a:pt x="856" y="2146"/>
                  </a:lnTo>
                  <a:lnTo>
                    <a:pt x="867" y="2147"/>
                  </a:lnTo>
                  <a:lnTo>
                    <a:pt x="879" y="2147"/>
                  </a:lnTo>
                  <a:lnTo>
                    <a:pt x="901" y="2143"/>
                  </a:lnTo>
                  <a:lnTo>
                    <a:pt x="925" y="2138"/>
                  </a:lnTo>
                  <a:lnTo>
                    <a:pt x="936" y="2136"/>
                  </a:lnTo>
                  <a:lnTo>
                    <a:pt x="948" y="2134"/>
                  </a:lnTo>
                  <a:lnTo>
                    <a:pt x="958" y="2133"/>
                  </a:lnTo>
                  <a:lnTo>
                    <a:pt x="970" y="2133"/>
                  </a:lnTo>
                  <a:lnTo>
                    <a:pt x="979" y="2133"/>
                  </a:lnTo>
                  <a:lnTo>
                    <a:pt x="988" y="2134"/>
                  </a:lnTo>
                  <a:lnTo>
                    <a:pt x="996" y="2137"/>
                  </a:lnTo>
                  <a:lnTo>
                    <a:pt x="1003" y="2140"/>
                  </a:lnTo>
                  <a:lnTo>
                    <a:pt x="1010" y="2144"/>
                  </a:lnTo>
                  <a:lnTo>
                    <a:pt x="1016" y="2148"/>
                  </a:lnTo>
                  <a:lnTo>
                    <a:pt x="1020" y="2153"/>
                  </a:lnTo>
                  <a:lnTo>
                    <a:pt x="1024" y="2159"/>
                  </a:lnTo>
                  <a:lnTo>
                    <a:pt x="1027" y="2166"/>
                  </a:lnTo>
                  <a:lnTo>
                    <a:pt x="1028" y="2173"/>
                  </a:lnTo>
                  <a:lnTo>
                    <a:pt x="1029" y="2180"/>
                  </a:lnTo>
                  <a:lnTo>
                    <a:pt x="1028" y="2188"/>
                  </a:lnTo>
                  <a:lnTo>
                    <a:pt x="1027" y="2196"/>
                  </a:lnTo>
                  <a:lnTo>
                    <a:pt x="1024" y="2204"/>
                  </a:lnTo>
                  <a:lnTo>
                    <a:pt x="1020" y="2214"/>
                  </a:lnTo>
                  <a:lnTo>
                    <a:pt x="1014" y="2223"/>
                  </a:lnTo>
                  <a:lnTo>
                    <a:pt x="1004" y="2226"/>
                  </a:lnTo>
                  <a:lnTo>
                    <a:pt x="995" y="2229"/>
                  </a:lnTo>
                  <a:lnTo>
                    <a:pt x="984" y="2232"/>
                  </a:lnTo>
                  <a:lnTo>
                    <a:pt x="975" y="2235"/>
                  </a:lnTo>
                  <a:lnTo>
                    <a:pt x="974" y="2239"/>
                  </a:lnTo>
                  <a:lnTo>
                    <a:pt x="974" y="2242"/>
                  </a:lnTo>
                  <a:lnTo>
                    <a:pt x="975" y="2246"/>
                  </a:lnTo>
                  <a:lnTo>
                    <a:pt x="976" y="2249"/>
                  </a:lnTo>
                  <a:lnTo>
                    <a:pt x="986" y="2255"/>
                  </a:lnTo>
                  <a:lnTo>
                    <a:pt x="996" y="2262"/>
                  </a:lnTo>
                  <a:lnTo>
                    <a:pt x="1005" y="2269"/>
                  </a:lnTo>
                  <a:lnTo>
                    <a:pt x="1013" y="2277"/>
                  </a:lnTo>
                  <a:lnTo>
                    <a:pt x="1029" y="2292"/>
                  </a:lnTo>
                  <a:lnTo>
                    <a:pt x="1045" y="2305"/>
                  </a:lnTo>
                  <a:lnTo>
                    <a:pt x="1052" y="2311"/>
                  </a:lnTo>
                  <a:lnTo>
                    <a:pt x="1061" y="2316"/>
                  </a:lnTo>
                  <a:lnTo>
                    <a:pt x="1071" y="2320"/>
                  </a:lnTo>
                  <a:lnTo>
                    <a:pt x="1080" y="2322"/>
                  </a:lnTo>
                  <a:lnTo>
                    <a:pt x="1091" y="2324"/>
                  </a:lnTo>
                  <a:lnTo>
                    <a:pt x="1103" y="2324"/>
                  </a:lnTo>
                  <a:lnTo>
                    <a:pt x="1117" y="2322"/>
                  </a:lnTo>
                  <a:lnTo>
                    <a:pt x="1131" y="2319"/>
                  </a:lnTo>
                  <a:lnTo>
                    <a:pt x="1144" y="2316"/>
                  </a:lnTo>
                  <a:lnTo>
                    <a:pt x="1154" y="2316"/>
                  </a:lnTo>
                  <a:lnTo>
                    <a:pt x="1165" y="2317"/>
                  </a:lnTo>
                  <a:lnTo>
                    <a:pt x="1172" y="2319"/>
                  </a:lnTo>
                  <a:lnTo>
                    <a:pt x="1179" y="2323"/>
                  </a:lnTo>
                  <a:lnTo>
                    <a:pt x="1185" y="2329"/>
                  </a:lnTo>
                  <a:lnTo>
                    <a:pt x="1191" y="2336"/>
                  </a:lnTo>
                  <a:lnTo>
                    <a:pt x="1196" y="2343"/>
                  </a:lnTo>
                  <a:lnTo>
                    <a:pt x="1204" y="2360"/>
                  </a:lnTo>
                  <a:lnTo>
                    <a:pt x="1214" y="2376"/>
                  </a:lnTo>
                  <a:lnTo>
                    <a:pt x="1219" y="2386"/>
                  </a:lnTo>
                  <a:lnTo>
                    <a:pt x="1225" y="2394"/>
                  </a:lnTo>
                  <a:lnTo>
                    <a:pt x="1232" y="2401"/>
                  </a:lnTo>
                  <a:lnTo>
                    <a:pt x="1241" y="2408"/>
                  </a:lnTo>
                  <a:lnTo>
                    <a:pt x="1253" y="2417"/>
                  </a:lnTo>
                  <a:lnTo>
                    <a:pt x="1264" y="2423"/>
                  </a:lnTo>
                  <a:lnTo>
                    <a:pt x="1273" y="2428"/>
                  </a:lnTo>
                  <a:lnTo>
                    <a:pt x="1282" y="2431"/>
                  </a:lnTo>
                  <a:lnTo>
                    <a:pt x="1291" y="2431"/>
                  </a:lnTo>
                  <a:lnTo>
                    <a:pt x="1301" y="2428"/>
                  </a:lnTo>
                  <a:lnTo>
                    <a:pt x="1314" y="2426"/>
                  </a:lnTo>
                  <a:lnTo>
                    <a:pt x="1328" y="2421"/>
                  </a:lnTo>
                  <a:lnTo>
                    <a:pt x="1328" y="2421"/>
                  </a:lnTo>
                  <a:lnTo>
                    <a:pt x="1339" y="2404"/>
                  </a:lnTo>
                  <a:lnTo>
                    <a:pt x="1349" y="2387"/>
                  </a:lnTo>
                  <a:lnTo>
                    <a:pt x="1359" y="2369"/>
                  </a:lnTo>
                  <a:lnTo>
                    <a:pt x="1367" y="2350"/>
                  </a:lnTo>
                  <a:lnTo>
                    <a:pt x="1371" y="2342"/>
                  </a:lnTo>
                  <a:lnTo>
                    <a:pt x="1374" y="2331"/>
                  </a:lnTo>
                  <a:lnTo>
                    <a:pt x="1376" y="2322"/>
                  </a:lnTo>
                  <a:lnTo>
                    <a:pt x="1378" y="2313"/>
                  </a:lnTo>
                  <a:lnTo>
                    <a:pt x="1379" y="2303"/>
                  </a:lnTo>
                  <a:lnTo>
                    <a:pt x="1380" y="2293"/>
                  </a:lnTo>
                  <a:lnTo>
                    <a:pt x="1380" y="2283"/>
                  </a:lnTo>
                  <a:lnTo>
                    <a:pt x="1379" y="2273"/>
                  </a:lnTo>
                  <a:lnTo>
                    <a:pt x="1378" y="2262"/>
                  </a:lnTo>
                  <a:lnTo>
                    <a:pt x="1378" y="2251"/>
                  </a:lnTo>
                  <a:lnTo>
                    <a:pt x="1380" y="2241"/>
                  </a:lnTo>
                  <a:lnTo>
                    <a:pt x="1383" y="2231"/>
                  </a:lnTo>
                  <a:lnTo>
                    <a:pt x="1386" y="2222"/>
                  </a:lnTo>
                  <a:lnTo>
                    <a:pt x="1390" y="2213"/>
                  </a:lnTo>
                  <a:lnTo>
                    <a:pt x="1394" y="2204"/>
                  </a:lnTo>
                  <a:lnTo>
                    <a:pt x="1400" y="2196"/>
                  </a:lnTo>
                  <a:lnTo>
                    <a:pt x="1413" y="2180"/>
                  </a:lnTo>
                  <a:lnTo>
                    <a:pt x="1426" y="2166"/>
                  </a:lnTo>
                  <a:lnTo>
                    <a:pt x="1442" y="2151"/>
                  </a:lnTo>
                  <a:lnTo>
                    <a:pt x="1457" y="2136"/>
                  </a:lnTo>
                  <a:lnTo>
                    <a:pt x="1477" y="2116"/>
                  </a:lnTo>
                  <a:lnTo>
                    <a:pt x="1496" y="2094"/>
                  </a:lnTo>
                  <a:lnTo>
                    <a:pt x="1515" y="2072"/>
                  </a:lnTo>
                  <a:lnTo>
                    <a:pt x="1535" y="2052"/>
                  </a:lnTo>
                  <a:lnTo>
                    <a:pt x="1554" y="2033"/>
                  </a:lnTo>
                  <a:lnTo>
                    <a:pt x="1573" y="2014"/>
                  </a:lnTo>
                  <a:lnTo>
                    <a:pt x="1591" y="1995"/>
                  </a:lnTo>
                  <a:lnTo>
                    <a:pt x="1610" y="1974"/>
                  </a:lnTo>
                  <a:lnTo>
                    <a:pt x="1646" y="1931"/>
                  </a:lnTo>
                  <a:lnTo>
                    <a:pt x="1683" y="1886"/>
                  </a:lnTo>
                  <a:lnTo>
                    <a:pt x="1718" y="1841"/>
                  </a:lnTo>
                  <a:lnTo>
                    <a:pt x="1754" y="1796"/>
                  </a:lnTo>
                  <a:lnTo>
                    <a:pt x="1789" y="1752"/>
                  </a:lnTo>
                  <a:lnTo>
                    <a:pt x="1825" y="1711"/>
                  </a:lnTo>
                  <a:lnTo>
                    <a:pt x="1825" y="1711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8" name="Freeform 175">
              <a:extLst>
                <a:ext uri="{FF2B5EF4-FFF2-40B4-BE49-F238E27FC236}">
                  <a16:creationId xmlns:a16="http://schemas.microsoft.com/office/drawing/2014/main" id="{2FF0E538-A0D1-44C6-B88C-DA426A1DD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3704" y="3042200"/>
              <a:ext cx="666226" cy="764995"/>
            </a:xfrm>
            <a:custGeom>
              <a:avLst/>
              <a:gdLst>
                <a:gd name="T0" fmla="*/ 2522 w 2651"/>
                <a:gd name="T1" fmla="*/ 1817 h 3153"/>
                <a:gd name="T2" fmla="*/ 2529 w 2651"/>
                <a:gd name="T3" fmla="*/ 1897 h 3153"/>
                <a:gd name="T4" fmla="*/ 2481 w 2651"/>
                <a:gd name="T5" fmla="*/ 2083 h 3153"/>
                <a:gd name="T6" fmla="*/ 2536 w 2651"/>
                <a:gd name="T7" fmla="*/ 2439 h 3153"/>
                <a:gd name="T8" fmla="*/ 2345 w 2651"/>
                <a:gd name="T9" fmla="*/ 2505 h 3153"/>
                <a:gd name="T10" fmla="*/ 2229 w 2651"/>
                <a:gd name="T11" fmla="*/ 2605 h 3153"/>
                <a:gd name="T12" fmla="*/ 2220 w 2651"/>
                <a:gd name="T13" fmla="*/ 2720 h 3153"/>
                <a:gd name="T14" fmla="*/ 2257 w 2651"/>
                <a:gd name="T15" fmla="*/ 2834 h 3153"/>
                <a:gd name="T16" fmla="*/ 2327 w 2651"/>
                <a:gd name="T17" fmla="*/ 2929 h 3153"/>
                <a:gd name="T18" fmla="*/ 2215 w 2651"/>
                <a:gd name="T19" fmla="*/ 3079 h 3153"/>
                <a:gd name="T20" fmla="*/ 2053 w 2651"/>
                <a:gd name="T21" fmla="*/ 3123 h 3153"/>
                <a:gd name="T22" fmla="*/ 1766 w 2651"/>
                <a:gd name="T23" fmla="*/ 3064 h 3153"/>
                <a:gd name="T24" fmla="*/ 1643 w 2651"/>
                <a:gd name="T25" fmla="*/ 2942 h 3153"/>
                <a:gd name="T26" fmla="*/ 1393 w 2651"/>
                <a:gd name="T27" fmla="*/ 2760 h 3153"/>
                <a:gd name="T28" fmla="*/ 1129 w 2651"/>
                <a:gd name="T29" fmla="*/ 2664 h 3153"/>
                <a:gd name="T30" fmla="*/ 670 w 2651"/>
                <a:gd name="T31" fmla="*/ 2434 h 3153"/>
                <a:gd name="T32" fmla="*/ 497 w 2651"/>
                <a:gd name="T33" fmla="*/ 2500 h 3153"/>
                <a:gd name="T34" fmla="*/ 416 w 2651"/>
                <a:gd name="T35" fmla="*/ 2370 h 3153"/>
                <a:gd name="T36" fmla="*/ 210 w 2651"/>
                <a:gd name="T37" fmla="*/ 2432 h 3153"/>
                <a:gd name="T38" fmla="*/ 255 w 2651"/>
                <a:gd name="T39" fmla="*/ 2276 h 3153"/>
                <a:gd name="T40" fmla="*/ 342 w 2651"/>
                <a:gd name="T41" fmla="*/ 2153 h 3153"/>
                <a:gd name="T42" fmla="*/ 310 w 2651"/>
                <a:gd name="T43" fmla="*/ 2047 h 3153"/>
                <a:gd name="T44" fmla="*/ 247 w 2651"/>
                <a:gd name="T45" fmla="*/ 1883 h 3153"/>
                <a:gd name="T46" fmla="*/ 339 w 2651"/>
                <a:gd name="T47" fmla="*/ 1734 h 3153"/>
                <a:gd name="T48" fmla="*/ 153 w 2651"/>
                <a:gd name="T49" fmla="*/ 1557 h 3153"/>
                <a:gd name="T50" fmla="*/ 0 w 2651"/>
                <a:gd name="T51" fmla="*/ 1404 h 3153"/>
                <a:gd name="T52" fmla="*/ 117 w 2651"/>
                <a:gd name="T53" fmla="*/ 1140 h 3153"/>
                <a:gd name="T54" fmla="*/ 265 w 2651"/>
                <a:gd name="T55" fmla="*/ 1171 h 3153"/>
                <a:gd name="T56" fmla="*/ 364 w 2651"/>
                <a:gd name="T57" fmla="*/ 1193 h 3153"/>
                <a:gd name="T58" fmla="*/ 491 w 2651"/>
                <a:gd name="T59" fmla="*/ 1186 h 3153"/>
                <a:gd name="T60" fmla="*/ 561 w 2651"/>
                <a:gd name="T61" fmla="*/ 1103 h 3153"/>
                <a:gd name="T62" fmla="*/ 688 w 2651"/>
                <a:gd name="T63" fmla="*/ 1178 h 3153"/>
                <a:gd name="T64" fmla="*/ 776 w 2651"/>
                <a:gd name="T65" fmla="*/ 1203 h 3153"/>
                <a:gd name="T66" fmla="*/ 739 w 2651"/>
                <a:gd name="T67" fmla="*/ 1016 h 3153"/>
                <a:gd name="T68" fmla="*/ 805 w 2651"/>
                <a:gd name="T69" fmla="*/ 863 h 3153"/>
                <a:gd name="T70" fmla="*/ 740 w 2651"/>
                <a:gd name="T71" fmla="*/ 651 h 3153"/>
                <a:gd name="T72" fmla="*/ 733 w 2651"/>
                <a:gd name="T73" fmla="*/ 450 h 3153"/>
                <a:gd name="T74" fmla="*/ 651 w 2651"/>
                <a:gd name="T75" fmla="*/ 289 h 3153"/>
                <a:gd name="T76" fmla="*/ 615 w 2651"/>
                <a:gd name="T77" fmla="*/ 175 h 3153"/>
                <a:gd name="T78" fmla="*/ 789 w 2651"/>
                <a:gd name="T79" fmla="*/ 17 h 3153"/>
                <a:gd name="T80" fmla="*/ 856 w 2651"/>
                <a:gd name="T81" fmla="*/ 151 h 3153"/>
                <a:gd name="T82" fmla="*/ 1021 w 2651"/>
                <a:gd name="T83" fmla="*/ 200 h 3153"/>
                <a:gd name="T84" fmla="*/ 1168 w 2651"/>
                <a:gd name="T85" fmla="*/ 125 h 3153"/>
                <a:gd name="T86" fmla="*/ 1297 w 2651"/>
                <a:gd name="T87" fmla="*/ 148 h 3153"/>
                <a:gd name="T88" fmla="*/ 1349 w 2651"/>
                <a:gd name="T89" fmla="*/ 321 h 3153"/>
                <a:gd name="T90" fmla="*/ 1570 w 2651"/>
                <a:gd name="T91" fmla="*/ 282 h 3153"/>
                <a:gd name="T92" fmla="*/ 1703 w 2651"/>
                <a:gd name="T93" fmla="*/ 369 h 3153"/>
                <a:gd name="T94" fmla="*/ 1809 w 2651"/>
                <a:gd name="T95" fmla="*/ 504 h 3153"/>
                <a:gd name="T96" fmla="*/ 1956 w 2651"/>
                <a:gd name="T97" fmla="*/ 659 h 3153"/>
                <a:gd name="T98" fmla="*/ 2160 w 2651"/>
                <a:gd name="T99" fmla="*/ 738 h 3153"/>
                <a:gd name="T100" fmla="*/ 2337 w 2651"/>
                <a:gd name="T101" fmla="*/ 674 h 3153"/>
                <a:gd name="T102" fmla="*/ 2419 w 2651"/>
                <a:gd name="T103" fmla="*/ 764 h 3153"/>
                <a:gd name="T104" fmla="*/ 2429 w 2651"/>
                <a:gd name="T105" fmla="*/ 870 h 3153"/>
                <a:gd name="T106" fmla="*/ 2525 w 2651"/>
                <a:gd name="T107" fmla="*/ 901 h 3153"/>
                <a:gd name="T108" fmla="*/ 2551 w 2651"/>
                <a:gd name="T109" fmla="*/ 1161 h 3153"/>
                <a:gd name="T110" fmla="*/ 2519 w 2651"/>
                <a:gd name="T111" fmla="*/ 1289 h 3153"/>
                <a:gd name="T112" fmla="*/ 2620 w 2651"/>
                <a:gd name="T113" fmla="*/ 1383 h 3153"/>
                <a:gd name="T114" fmla="*/ 2608 w 2651"/>
                <a:gd name="T115" fmla="*/ 1498 h 3153"/>
                <a:gd name="T116" fmla="*/ 2470 w 2651"/>
                <a:gd name="T117" fmla="*/ 1512 h 3153"/>
                <a:gd name="T118" fmla="*/ 2365 w 2651"/>
                <a:gd name="T119" fmla="*/ 1566 h 3153"/>
                <a:gd name="T120" fmla="*/ 2425 w 2651"/>
                <a:gd name="T121" fmla="*/ 1633 h 3153"/>
                <a:gd name="T122" fmla="*/ 2396 w 2651"/>
                <a:gd name="T123" fmla="*/ 1706 h 3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51" h="3153">
                  <a:moveTo>
                    <a:pt x="2487" y="1718"/>
                  </a:moveTo>
                  <a:lnTo>
                    <a:pt x="2510" y="1721"/>
                  </a:lnTo>
                  <a:lnTo>
                    <a:pt x="2532" y="1725"/>
                  </a:lnTo>
                  <a:lnTo>
                    <a:pt x="2541" y="1726"/>
                  </a:lnTo>
                  <a:lnTo>
                    <a:pt x="2549" y="1728"/>
                  </a:lnTo>
                  <a:lnTo>
                    <a:pt x="2557" y="1731"/>
                  </a:lnTo>
                  <a:lnTo>
                    <a:pt x="2562" y="1733"/>
                  </a:lnTo>
                  <a:lnTo>
                    <a:pt x="2562" y="1739"/>
                  </a:lnTo>
                  <a:lnTo>
                    <a:pt x="2561" y="1744"/>
                  </a:lnTo>
                  <a:lnTo>
                    <a:pt x="2560" y="1751"/>
                  </a:lnTo>
                  <a:lnTo>
                    <a:pt x="2557" y="1757"/>
                  </a:lnTo>
                  <a:lnTo>
                    <a:pt x="2549" y="1768"/>
                  </a:lnTo>
                  <a:lnTo>
                    <a:pt x="2541" y="1780"/>
                  </a:lnTo>
                  <a:lnTo>
                    <a:pt x="2533" y="1790"/>
                  </a:lnTo>
                  <a:lnTo>
                    <a:pt x="2525" y="1800"/>
                  </a:lnTo>
                  <a:lnTo>
                    <a:pt x="2523" y="1804"/>
                  </a:lnTo>
                  <a:lnTo>
                    <a:pt x="2521" y="1808"/>
                  </a:lnTo>
                  <a:lnTo>
                    <a:pt x="2520" y="1811"/>
                  </a:lnTo>
                  <a:lnTo>
                    <a:pt x="2520" y="1814"/>
                  </a:lnTo>
                  <a:lnTo>
                    <a:pt x="2522" y="1817"/>
                  </a:lnTo>
                  <a:lnTo>
                    <a:pt x="2526" y="1819"/>
                  </a:lnTo>
                  <a:lnTo>
                    <a:pt x="2532" y="1820"/>
                  </a:lnTo>
                  <a:lnTo>
                    <a:pt x="2537" y="1821"/>
                  </a:lnTo>
                  <a:lnTo>
                    <a:pt x="2551" y="1820"/>
                  </a:lnTo>
                  <a:lnTo>
                    <a:pt x="2568" y="1817"/>
                  </a:lnTo>
                  <a:lnTo>
                    <a:pt x="2576" y="1817"/>
                  </a:lnTo>
                  <a:lnTo>
                    <a:pt x="2584" y="1817"/>
                  </a:lnTo>
                  <a:lnTo>
                    <a:pt x="2591" y="1819"/>
                  </a:lnTo>
                  <a:lnTo>
                    <a:pt x="2597" y="1821"/>
                  </a:lnTo>
                  <a:lnTo>
                    <a:pt x="2602" y="1823"/>
                  </a:lnTo>
                  <a:lnTo>
                    <a:pt x="2607" y="1827"/>
                  </a:lnTo>
                  <a:lnTo>
                    <a:pt x="2609" y="1830"/>
                  </a:lnTo>
                  <a:lnTo>
                    <a:pt x="2610" y="1832"/>
                  </a:lnTo>
                  <a:lnTo>
                    <a:pt x="2611" y="1836"/>
                  </a:lnTo>
                  <a:lnTo>
                    <a:pt x="2611" y="1839"/>
                  </a:lnTo>
                  <a:lnTo>
                    <a:pt x="2588" y="1857"/>
                  </a:lnTo>
                  <a:lnTo>
                    <a:pt x="2566" y="1874"/>
                  </a:lnTo>
                  <a:lnTo>
                    <a:pt x="2554" y="1882"/>
                  </a:lnTo>
                  <a:lnTo>
                    <a:pt x="2542" y="1889"/>
                  </a:lnTo>
                  <a:lnTo>
                    <a:pt x="2529" y="1897"/>
                  </a:lnTo>
                  <a:lnTo>
                    <a:pt x="2515" y="1903"/>
                  </a:lnTo>
                  <a:lnTo>
                    <a:pt x="2506" y="1907"/>
                  </a:lnTo>
                  <a:lnTo>
                    <a:pt x="2499" y="1911"/>
                  </a:lnTo>
                  <a:lnTo>
                    <a:pt x="2493" y="1916"/>
                  </a:lnTo>
                  <a:lnTo>
                    <a:pt x="2488" y="1921"/>
                  </a:lnTo>
                  <a:lnTo>
                    <a:pt x="2478" y="1931"/>
                  </a:lnTo>
                  <a:lnTo>
                    <a:pt x="2471" y="1942"/>
                  </a:lnTo>
                  <a:lnTo>
                    <a:pt x="2465" y="1954"/>
                  </a:lnTo>
                  <a:lnTo>
                    <a:pt x="2457" y="1967"/>
                  </a:lnTo>
                  <a:lnTo>
                    <a:pt x="2450" y="1979"/>
                  </a:lnTo>
                  <a:lnTo>
                    <a:pt x="2441" y="1991"/>
                  </a:lnTo>
                  <a:lnTo>
                    <a:pt x="2442" y="2006"/>
                  </a:lnTo>
                  <a:lnTo>
                    <a:pt x="2444" y="2019"/>
                  </a:lnTo>
                  <a:lnTo>
                    <a:pt x="2447" y="2031"/>
                  </a:lnTo>
                  <a:lnTo>
                    <a:pt x="2452" y="2046"/>
                  </a:lnTo>
                  <a:lnTo>
                    <a:pt x="2460" y="2056"/>
                  </a:lnTo>
                  <a:lnTo>
                    <a:pt x="2469" y="2068"/>
                  </a:lnTo>
                  <a:lnTo>
                    <a:pt x="2474" y="2073"/>
                  </a:lnTo>
                  <a:lnTo>
                    <a:pt x="2478" y="2078"/>
                  </a:lnTo>
                  <a:lnTo>
                    <a:pt x="2481" y="2083"/>
                  </a:lnTo>
                  <a:lnTo>
                    <a:pt x="2484" y="2088"/>
                  </a:lnTo>
                  <a:lnTo>
                    <a:pt x="2486" y="2092"/>
                  </a:lnTo>
                  <a:lnTo>
                    <a:pt x="2489" y="2098"/>
                  </a:lnTo>
                  <a:lnTo>
                    <a:pt x="2492" y="2107"/>
                  </a:lnTo>
                  <a:lnTo>
                    <a:pt x="2496" y="2118"/>
                  </a:lnTo>
                  <a:lnTo>
                    <a:pt x="2501" y="2145"/>
                  </a:lnTo>
                  <a:lnTo>
                    <a:pt x="2508" y="2175"/>
                  </a:lnTo>
                  <a:lnTo>
                    <a:pt x="2513" y="2206"/>
                  </a:lnTo>
                  <a:lnTo>
                    <a:pt x="2517" y="2235"/>
                  </a:lnTo>
                  <a:lnTo>
                    <a:pt x="2521" y="2258"/>
                  </a:lnTo>
                  <a:lnTo>
                    <a:pt x="2522" y="2272"/>
                  </a:lnTo>
                  <a:lnTo>
                    <a:pt x="2525" y="2294"/>
                  </a:lnTo>
                  <a:lnTo>
                    <a:pt x="2529" y="2319"/>
                  </a:lnTo>
                  <a:lnTo>
                    <a:pt x="2533" y="2345"/>
                  </a:lnTo>
                  <a:lnTo>
                    <a:pt x="2536" y="2374"/>
                  </a:lnTo>
                  <a:lnTo>
                    <a:pt x="2537" y="2388"/>
                  </a:lnTo>
                  <a:lnTo>
                    <a:pt x="2538" y="2402"/>
                  </a:lnTo>
                  <a:lnTo>
                    <a:pt x="2538" y="2414"/>
                  </a:lnTo>
                  <a:lnTo>
                    <a:pt x="2537" y="2428"/>
                  </a:lnTo>
                  <a:lnTo>
                    <a:pt x="2536" y="2439"/>
                  </a:lnTo>
                  <a:lnTo>
                    <a:pt x="2533" y="2451"/>
                  </a:lnTo>
                  <a:lnTo>
                    <a:pt x="2529" y="2461"/>
                  </a:lnTo>
                  <a:lnTo>
                    <a:pt x="2525" y="2471"/>
                  </a:lnTo>
                  <a:lnTo>
                    <a:pt x="2519" y="2473"/>
                  </a:lnTo>
                  <a:lnTo>
                    <a:pt x="2513" y="2476"/>
                  </a:lnTo>
                  <a:lnTo>
                    <a:pt x="2506" y="2480"/>
                  </a:lnTo>
                  <a:lnTo>
                    <a:pt x="2500" y="2484"/>
                  </a:lnTo>
                  <a:lnTo>
                    <a:pt x="2494" y="2488"/>
                  </a:lnTo>
                  <a:lnTo>
                    <a:pt x="2487" y="2492"/>
                  </a:lnTo>
                  <a:lnTo>
                    <a:pt x="2479" y="2496"/>
                  </a:lnTo>
                  <a:lnTo>
                    <a:pt x="2470" y="2498"/>
                  </a:lnTo>
                  <a:lnTo>
                    <a:pt x="2457" y="2499"/>
                  </a:lnTo>
                  <a:lnTo>
                    <a:pt x="2444" y="2500"/>
                  </a:lnTo>
                  <a:lnTo>
                    <a:pt x="2431" y="2500"/>
                  </a:lnTo>
                  <a:lnTo>
                    <a:pt x="2419" y="2499"/>
                  </a:lnTo>
                  <a:lnTo>
                    <a:pt x="2396" y="2498"/>
                  </a:lnTo>
                  <a:lnTo>
                    <a:pt x="2374" y="2498"/>
                  </a:lnTo>
                  <a:lnTo>
                    <a:pt x="2364" y="2499"/>
                  </a:lnTo>
                  <a:lnTo>
                    <a:pt x="2354" y="2501"/>
                  </a:lnTo>
                  <a:lnTo>
                    <a:pt x="2345" y="2505"/>
                  </a:lnTo>
                  <a:lnTo>
                    <a:pt x="2335" y="2510"/>
                  </a:lnTo>
                  <a:lnTo>
                    <a:pt x="2328" y="2516"/>
                  </a:lnTo>
                  <a:lnTo>
                    <a:pt x="2321" y="2526"/>
                  </a:lnTo>
                  <a:lnTo>
                    <a:pt x="2315" y="2536"/>
                  </a:lnTo>
                  <a:lnTo>
                    <a:pt x="2308" y="2550"/>
                  </a:lnTo>
                  <a:lnTo>
                    <a:pt x="2309" y="2562"/>
                  </a:lnTo>
                  <a:lnTo>
                    <a:pt x="2309" y="2572"/>
                  </a:lnTo>
                  <a:lnTo>
                    <a:pt x="2307" y="2578"/>
                  </a:lnTo>
                  <a:lnTo>
                    <a:pt x="2304" y="2583"/>
                  </a:lnTo>
                  <a:lnTo>
                    <a:pt x="2300" y="2587"/>
                  </a:lnTo>
                  <a:lnTo>
                    <a:pt x="2295" y="2589"/>
                  </a:lnTo>
                  <a:lnTo>
                    <a:pt x="2289" y="2591"/>
                  </a:lnTo>
                  <a:lnTo>
                    <a:pt x="2281" y="2591"/>
                  </a:lnTo>
                  <a:lnTo>
                    <a:pt x="2268" y="2589"/>
                  </a:lnTo>
                  <a:lnTo>
                    <a:pt x="2253" y="2589"/>
                  </a:lnTo>
                  <a:lnTo>
                    <a:pt x="2247" y="2591"/>
                  </a:lnTo>
                  <a:lnTo>
                    <a:pt x="2241" y="2593"/>
                  </a:lnTo>
                  <a:lnTo>
                    <a:pt x="2235" y="2597"/>
                  </a:lnTo>
                  <a:lnTo>
                    <a:pt x="2231" y="2602"/>
                  </a:lnTo>
                  <a:lnTo>
                    <a:pt x="2229" y="2605"/>
                  </a:lnTo>
                  <a:lnTo>
                    <a:pt x="2229" y="2609"/>
                  </a:lnTo>
                  <a:lnTo>
                    <a:pt x="2230" y="2612"/>
                  </a:lnTo>
                  <a:lnTo>
                    <a:pt x="2232" y="2617"/>
                  </a:lnTo>
                  <a:lnTo>
                    <a:pt x="2239" y="2625"/>
                  </a:lnTo>
                  <a:lnTo>
                    <a:pt x="2246" y="2634"/>
                  </a:lnTo>
                  <a:lnTo>
                    <a:pt x="2249" y="2640"/>
                  </a:lnTo>
                  <a:lnTo>
                    <a:pt x="2252" y="2645"/>
                  </a:lnTo>
                  <a:lnTo>
                    <a:pt x="2255" y="2650"/>
                  </a:lnTo>
                  <a:lnTo>
                    <a:pt x="2257" y="2655"/>
                  </a:lnTo>
                  <a:lnTo>
                    <a:pt x="2257" y="2661"/>
                  </a:lnTo>
                  <a:lnTo>
                    <a:pt x="2257" y="2668"/>
                  </a:lnTo>
                  <a:lnTo>
                    <a:pt x="2255" y="2675"/>
                  </a:lnTo>
                  <a:lnTo>
                    <a:pt x="2252" y="2682"/>
                  </a:lnTo>
                  <a:lnTo>
                    <a:pt x="2246" y="2690"/>
                  </a:lnTo>
                  <a:lnTo>
                    <a:pt x="2240" y="2696"/>
                  </a:lnTo>
                  <a:lnTo>
                    <a:pt x="2234" y="2700"/>
                  </a:lnTo>
                  <a:lnTo>
                    <a:pt x="2228" y="2704"/>
                  </a:lnTo>
                  <a:lnTo>
                    <a:pt x="2224" y="2709"/>
                  </a:lnTo>
                  <a:lnTo>
                    <a:pt x="2221" y="2716"/>
                  </a:lnTo>
                  <a:lnTo>
                    <a:pt x="2220" y="2720"/>
                  </a:lnTo>
                  <a:lnTo>
                    <a:pt x="2220" y="2725"/>
                  </a:lnTo>
                  <a:lnTo>
                    <a:pt x="2220" y="2730"/>
                  </a:lnTo>
                  <a:lnTo>
                    <a:pt x="2220" y="2736"/>
                  </a:lnTo>
                  <a:lnTo>
                    <a:pt x="2223" y="2749"/>
                  </a:lnTo>
                  <a:lnTo>
                    <a:pt x="2226" y="2762"/>
                  </a:lnTo>
                  <a:lnTo>
                    <a:pt x="2227" y="2768"/>
                  </a:lnTo>
                  <a:lnTo>
                    <a:pt x="2228" y="2774"/>
                  </a:lnTo>
                  <a:lnTo>
                    <a:pt x="2227" y="2781"/>
                  </a:lnTo>
                  <a:lnTo>
                    <a:pt x="2226" y="2789"/>
                  </a:lnTo>
                  <a:lnTo>
                    <a:pt x="2223" y="2802"/>
                  </a:lnTo>
                  <a:lnTo>
                    <a:pt x="2222" y="2813"/>
                  </a:lnTo>
                  <a:lnTo>
                    <a:pt x="2222" y="2818"/>
                  </a:lnTo>
                  <a:lnTo>
                    <a:pt x="2223" y="2821"/>
                  </a:lnTo>
                  <a:lnTo>
                    <a:pt x="2225" y="2825"/>
                  </a:lnTo>
                  <a:lnTo>
                    <a:pt x="2227" y="2827"/>
                  </a:lnTo>
                  <a:lnTo>
                    <a:pt x="2230" y="2829"/>
                  </a:lnTo>
                  <a:lnTo>
                    <a:pt x="2234" y="2831"/>
                  </a:lnTo>
                  <a:lnTo>
                    <a:pt x="2239" y="2833"/>
                  </a:lnTo>
                  <a:lnTo>
                    <a:pt x="2245" y="2834"/>
                  </a:lnTo>
                  <a:lnTo>
                    <a:pt x="2257" y="2834"/>
                  </a:lnTo>
                  <a:lnTo>
                    <a:pt x="2272" y="2833"/>
                  </a:lnTo>
                  <a:lnTo>
                    <a:pt x="2283" y="2831"/>
                  </a:lnTo>
                  <a:lnTo>
                    <a:pt x="2294" y="2831"/>
                  </a:lnTo>
                  <a:lnTo>
                    <a:pt x="2303" y="2831"/>
                  </a:lnTo>
                  <a:lnTo>
                    <a:pt x="2312" y="2833"/>
                  </a:lnTo>
                  <a:lnTo>
                    <a:pt x="2321" y="2835"/>
                  </a:lnTo>
                  <a:lnTo>
                    <a:pt x="2328" y="2839"/>
                  </a:lnTo>
                  <a:lnTo>
                    <a:pt x="2335" y="2844"/>
                  </a:lnTo>
                  <a:lnTo>
                    <a:pt x="2344" y="2852"/>
                  </a:lnTo>
                  <a:lnTo>
                    <a:pt x="2343" y="2861"/>
                  </a:lnTo>
                  <a:lnTo>
                    <a:pt x="2341" y="2869"/>
                  </a:lnTo>
                  <a:lnTo>
                    <a:pt x="2339" y="2877"/>
                  </a:lnTo>
                  <a:lnTo>
                    <a:pt x="2337" y="2885"/>
                  </a:lnTo>
                  <a:lnTo>
                    <a:pt x="2333" y="2892"/>
                  </a:lnTo>
                  <a:lnTo>
                    <a:pt x="2331" y="2899"/>
                  </a:lnTo>
                  <a:lnTo>
                    <a:pt x="2329" y="2907"/>
                  </a:lnTo>
                  <a:lnTo>
                    <a:pt x="2329" y="2914"/>
                  </a:lnTo>
                  <a:lnTo>
                    <a:pt x="2328" y="2916"/>
                  </a:lnTo>
                  <a:lnTo>
                    <a:pt x="2327" y="2918"/>
                  </a:lnTo>
                  <a:lnTo>
                    <a:pt x="2327" y="2929"/>
                  </a:lnTo>
                  <a:lnTo>
                    <a:pt x="2329" y="2940"/>
                  </a:lnTo>
                  <a:lnTo>
                    <a:pt x="2331" y="2950"/>
                  </a:lnTo>
                  <a:lnTo>
                    <a:pt x="2333" y="2960"/>
                  </a:lnTo>
                  <a:lnTo>
                    <a:pt x="2335" y="2970"/>
                  </a:lnTo>
                  <a:lnTo>
                    <a:pt x="2338" y="2981"/>
                  </a:lnTo>
                  <a:lnTo>
                    <a:pt x="2340" y="2991"/>
                  </a:lnTo>
                  <a:lnTo>
                    <a:pt x="2340" y="3002"/>
                  </a:lnTo>
                  <a:lnTo>
                    <a:pt x="2340" y="3002"/>
                  </a:lnTo>
                  <a:lnTo>
                    <a:pt x="2327" y="3001"/>
                  </a:lnTo>
                  <a:lnTo>
                    <a:pt x="2314" y="2999"/>
                  </a:lnTo>
                  <a:lnTo>
                    <a:pt x="2301" y="2999"/>
                  </a:lnTo>
                  <a:lnTo>
                    <a:pt x="2289" y="3001"/>
                  </a:lnTo>
                  <a:lnTo>
                    <a:pt x="2281" y="3003"/>
                  </a:lnTo>
                  <a:lnTo>
                    <a:pt x="2274" y="3006"/>
                  </a:lnTo>
                  <a:lnTo>
                    <a:pt x="2268" y="3008"/>
                  </a:lnTo>
                  <a:lnTo>
                    <a:pt x="2261" y="3012"/>
                  </a:lnTo>
                  <a:lnTo>
                    <a:pt x="2249" y="3018"/>
                  </a:lnTo>
                  <a:lnTo>
                    <a:pt x="2236" y="3025"/>
                  </a:lnTo>
                  <a:lnTo>
                    <a:pt x="2226" y="3050"/>
                  </a:lnTo>
                  <a:lnTo>
                    <a:pt x="2215" y="3079"/>
                  </a:lnTo>
                  <a:lnTo>
                    <a:pt x="2208" y="3093"/>
                  </a:lnTo>
                  <a:lnTo>
                    <a:pt x="2202" y="3107"/>
                  </a:lnTo>
                  <a:lnTo>
                    <a:pt x="2195" y="3119"/>
                  </a:lnTo>
                  <a:lnTo>
                    <a:pt x="2187" y="3130"/>
                  </a:lnTo>
                  <a:lnTo>
                    <a:pt x="2181" y="3136"/>
                  </a:lnTo>
                  <a:lnTo>
                    <a:pt x="2176" y="3141"/>
                  </a:lnTo>
                  <a:lnTo>
                    <a:pt x="2170" y="3146"/>
                  </a:lnTo>
                  <a:lnTo>
                    <a:pt x="2164" y="3149"/>
                  </a:lnTo>
                  <a:lnTo>
                    <a:pt x="2158" y="3151"/>
                  </a:lnTo>
                  <a:lnTo>
                    <a:pt x="2152" y="3153"/>
                  </a:lnTo>
                  <a:lnTo>
                    <a:pt x="2145" y="3153"/>
                  </a:lnTo>
                  <a:lnTo>
                    <a:pt x="2135" y="3153"/>
                  </a:lnTo>
                  <a:lnTo>
                    <a:pt x="2125" y="3152"/>
                  </a:lnTo>
                  <a:lnTo>
                    <a:pt x="2114" y="3150"/>
                  </a:lnTo>
                  <a:lnTo>
                    <a:pt x="2106" y="3147"/>
                  </a:lnTo>
                  <a:lnTo>
                    <a:pt x="2097" y="3142"/>
                  </a:lnTo>
                  <a:lnTo>
                    <a:pt x="2079" y="3135"/>
                  </a:lnTo>
                  <a:lnTo>
                    <a:pt x="2059" y="3128"/>
                  </a:lnTo>
                  <a:lnTo>
                    <a:pt x="2059" y="3128"/>
                  </a:lnTo>
                  <a:lnTo>
                    <a:pt x="2053" y="3123"/>
                  </a:lnTo>
                  <a:lnTo>
                    <a:pt x="2046" y="3118"/>
                  </a:lnTo>
                  <a:lnTo>
                    <a:pt x="2037" y="3114"/>
                  </a:lnTo>
                  <a:lnTo>
                    <a:pt x="2028" y="3110"/>
                  </a:lnTo>
                  <a:lnTo>
                    <a:pt x="2007" y="3103"/>
                  </a:lnTo>
                  <a:lnTo>
                    <a:pt x="1984" y="3096"/>
                  </a:lnTo>
                  <a:lnTo>
                    <a:pt x="1961" y="3091"/>
                  </a:lnTo>
                  <a:lnTo>
                    <a:pt x="1938" y="3088"/>
                  </a:lnTo>
                  <a:lnTo>
                    <a:pt x="1918" y="3086"/>
                  </a:lnTo>
                  <a:lnTo>
                    <a:pt x="1901" y="3086"/>
                  </a:lnTo>
                  <a:lnTo>
                    <a:pt x="1882" y="3086"/>
                  </a:lnTo>
                  <a:lnTo>
                    <a:pt x="1861" y="3088"/>
                  </a:lnTo>
                  <a:lnTo>
                    <a:pt x="1851" y="3088"/>
                  </a:lnTo>
                  <a:lnTo>
                    <a:pt x="1840" y="3088"/>
                  </a:lnTo>
                  <a:lnTo>
                    <a:pt x="1831" y="3087"/>
                  </a:lnTo>
                  <a:lnTo>
                    <a:pt x="1821" y="3086"/>
                  </a:lnTo>
                  <a:lnTo>
                    <a:pt x="1808" y="3082"/>
                  </a:lnTo>
                  <a:lnTo>
                    <a:pt x="1796" y="3079"/>
                  </a:lnTo>
                  <a:lnTo>
                    <a:pt x="1787" y="3076"/>
                  </a:lnTo>
                  <a:lnTo>
                    <a:pt x="1779" y="3071"/>
                  </a:lnTo>
                  <a:lnTo>
                    <a:pt x="1766" y="3064"/>
                  </a:lnTo>
                  <a:lnTo>
                    <a:pt x="1757" y="3057"/>
                  </a:lnTo>
                  <a:lnTo>
                    <a:pt x="1747" y="3048"/>
                  </a:lnTo>
                  <a:lnTo>
                    <a:pt x="1737" y="3040"/>
                  </a:lnTo>
                  <a:lnTo>
                    <a:pt x="1731" y="3036"/>
                  </a:lnTo>
                  <a:lnTo>
                    <a:pt x="1723" y="3032"/>
                  </a:lnTo>
                  <a:lnTo>
                    <a:pt x="1715" y="3028"/>
                  </a:lnTo>
                  <a:lnTo>
                    <a:pt x="1704" y="3022"/>
                  </a:lnTo>
                  <a:lnTo>
                    <a:pt x="1693" y="3018"/>
                  </a:lnTo>
                  <a:lnTo>
                    <a:pt x="1683" y="3013"/>
                  </a:lnTo>
                  <a:lnTo>
                    <a:pt x="1672" y="3007"/>
                  </a:lnTo>
                  <a:lnTo>
                    <a:pt x="1664" y="2999"/>
                  </a:lnTo>
                  <a:lnTo>
                    <a:pt x="1660" y="2995"/>
                  </a:lnTo>
                  <a:lnTo>
                    <a:pt x="1656" y="2991"/>
                  </a:lnTo>
                  <a:lnTo>
                    <a:pt x="1653" y="2987"/>
                  </a:lnTo>
                  <a:lnTo>
                    <a:pt x="1649" y="2983"/>
                  </a:lnTo>
                  <a:lnTo>
                    <a:pt x="1647" y="2978"/>
                  </a:lnTo>
                  <a:lnTo>
                    <a:pt x="1645" y="2971"/>
                  </a:lnTo>
                  <a:lnTo>
                    <a:pt x="1644" y="2966"/>
                  </a:lnTo>
                  <a:lnTo>
                    <a:pt x="1644" y="2960"/>
                  </a:lnTo>
                  <a:lnTo>
                    <a:pt x="1643" y="2942"/>
                  </a:lnTo>
                  <a:lnTo>
                    <a:pt x="1642" y="2925"/>
                  </a:lnTo>
                  <a:lnTo>
                    <a:pt x="1640" y="2909"/>
                  </a:lnTo>
                  <a:lnTo>
                    <a:pt x="1637" y="2893"/>
                  </a:lnTo>
                  <a:lnTo>
                    <a:pt x="1632" y="2878"/>
                  </a:lnTo>
                  <a:lnTo>
                    <a:pt x="1624" y="2863"/>
                  </a:lnTo>
                  <a:lnTo>
                    <a:pt x="1616" y="2848"/>
                  </a:lnTo>
                  <a:lnTo>
                    <a:pt x="1605" y="2835"/>
                  </a:lnTo>
                  <a:lnTo>
                    <a:pt x="1596" y="2826"/>
                  </a:lnTo>
                  <a:lnTo>
                    <a:pt x="1587" y="2819"/>
                  </a:lnTo>
                  <a:lnTo>
                    <a:pt x="1577" y="2812"/>
                  </a:lnTo>
                  <a:lnTo>
                    <a:pt x="1568" y="2806"/>
                  </a:lnTo>
                  <a:lnTo>
                    <a:pt x="1559" y="2800"/>
                  </a:lnTo>
                  <a:lnTo>
                    <a:pt x="1548" y="2795"/>
                  </a:lnTo>
                  <a:lnTo>
                    <a:pt x="1538" y="2791"/>
                  </a:lnTo>
                  <a:lnTo>
                    <a:pt x="1527" y="2787"/>
                  </a:lnTo>
                  <a:lnTo>
                    <a:pt x="1507" y="2779"/>
                  </a:lnTo>
                  <a:lnTo>
                    <a:pt x="1485" y="2774"/>
                  </a:lnTo>
                  <a:lnTo>
                    <a:pt x="1462" y="2770"/>
                  </a:lnTo>
                  <a:lnTo>
                    <a:pt x="1439" y="2766"/>
                  </a:lnTo>
                  <a:lnTo>
                    <a:pt x="1393" y="2760"/>
                  </a:lnTo>
                  <a:lnTo>
                    <a:pt x="1348" y="2752"/>
                  </a:lnTo>
                  <a:lnTo>
                    <a:pt x="1326" y="2747"/>
                  </a:lnTo>
                  <a:lnTo>
                    <a:pt x="1304" y="2741"/>
                  </a:lnTo>
                  <a:lnTo>
                    <a:pt x="1283" y="2734"/>
                  </a:lnTo>
                  <a:lnTo>
                    <a:pt x="1264" y="2725"/>
                  </a:lnTo>
                  <a:lnTo>
                    <a:pt x="1257" y="2718"/>
                  </a:lnTo>
                  <a:lnTo>
                    <a:pt x="1251" y="2710"/>
                  </a:lnTo>
                  <a:lnTo>
                    <a:pt x="1244" y="2703"/>
                  </a:lnTo>
                  <a:lnTo>
                    <a:pt x="1237" y="2697"/>
                  </a:lnTo>
                  <a:lnTo>
                    <a:pt x="1227" y="2692"/>
                  </a:lnTo>
                  <a:lnTo>
                    <a:pt x="1219" y="2685"/>
                  </a:lnTo>
                  <a:lnTo>
                    <a:pt x="1208" y="2681"/>
                  </a:lnTo>
                  <a:lnTo>
                    <a:pt x="1199" y="2677"/>
                  </a:lnTo>
                  <a:lnTo>
                    <a:pt x="1189" y="2673"/>
                  </a:lnTo>
                  <a:lnTo>
                    <a:pt x="1178" y="2670"/>
                  </a:lnTo>
                  <a:lnTo>
                    <a:pt x="1168" y="2667"/>
                  </a:lnTo>
                  <a:lnTo>
                    <a:pt x="1158" y="2666"/>
                  </a:lnTo>
                  <a:lnTo>
                    <a:pt x="1148" y="2665"/>
                  </a:lnTo>
                  <a:lnTo>
                    <a:pt x="1139" y="2664"/>
                  </a:lnTo>
                  <a:lnTo>
                    <a:pt x="1129" y="2664"/>
                  </a:lnTo>
                  <a:lnTo>
                    <a:pt x="1121" y="2665"/>
                  </a:lnTo>
                  <a:lnTo>
                    <a:pt x="1094" y="2671"/>
                  </a:lnTo>
                  <a:lnTo>
                    <a:pt x="1066" y="2678"/>
                  </a:lnTo>
                  <a:lnTo>
                    <a:pt x="1052" y="2681"/>
                  </a:lnTo>
                  <a:lnTo>
                    <a:pt x="1037" y="2683"/>
                  </a:lnTo>
                  <a:lnTo>
                    <a:pt x="1024" y="2683"/>
                  </a:lnTo>
                  <a:lnTo>
                    <a:pt x="1010" y="2681"/>
                  </a:lnTo>
                  <a:lnTo>
                    <a:pt x="994" y="2665"/>
                  </a:lnTo>
                  <a:lnTo>
                    <a:pt x="980" y="2650"/>
                  </a:lnTo>
                  <a:lnTo>
                    <a:pt x="964" y="2637"/>
                  </a:lnTo>
                  <a:lnTo>
                    <a:pt x="945" y="2623"/>
                  </a:lnTo>
                  <a:lnTo>
                    <a:pt x="912" y="2600"/>
                  </a:lnTo>
                  <a:lnTo>
                    <a:pt x="879" y="2577"/>
                  </a:lnTo>
                  <a:lnTo>
                    <a:pt x="847" y="2554"/>
                  </a:lnTo>
                  <a:lnTo>
                    <a:pt x="813" y="2531"/>
                  </a:lnTo>
                  <a:lnTo>
                    <a:pt x="780" y="2509"/>
                  </a:lnTo>
                  <a:lnTo>
                    <a:pt x="746" y="2486"/>
                  </a:lnTo>
                  <a:lnTo>
                    <a:pt x="713" y="2464"/>
                  </a:lnTo>
                  <a:lnTo>
                    <a:pt x="680" y="2441"/>
                  </a:lnTo>
                  <a:lnTo>
                    <a:pt x="670" y="2434"/>
                  </a:lnTo>
                  <a:lnTo>
                    <a:pt x="662" y="2429"/>
                  </a:lnTo>
                  <a:lnTo>
                    <a:pt x="652" y="2424"/>
                  </a:lnTo>
                  <a:lnTo>
                    <a:pt x="642" y="2420"/>
                  </a:lnTo>
                  <a:lnTo>
                    <a:pt x="632" y="2418"/>
                  </a:lnTo>
                  <a:lnTo>
                    <a:pt x="622" y="2417"/>
                  </a:lnTo>
                  <a:lnTo>
                    <a:pt x="612" y="2417"/>
                  </a:lnTo>
                  <a:lnTo>
                    <a:pt x="603" y="2418"/>
                  </a:lnTo>
                  <a:lnTo>
                    <a:pt x="593" y="2420"/>
                  </a:lnTo>
                  <a:lnTo>
                    <a:pt x="583" y="2424"/>
                  </a:lnTo>
                  <a:lnTo>
                    <a:pt x="574" y="2428"/>
                  </a:lnTo>
                  <a:lnTo>
                    <a:pt x="565" y="2434"/>
                  </a:lnTo>
                  <a:lnTo>
                    <a:pt x="557" y="2440"/>
                  </a:lnTo>
                  <a:lnTo>
                    <a:pt x="549" y="2448"/>
                  </a:lnTo>
                  <a:lnTo>
                    <a:pt x="542" y="2455"/>
                  </a:lnTo>
                  <a:lnTo>
                    <a:pt x="535" y="2464"/>
                  </a:lnTo>
                  <a:lnTo>
                    <a:pt x="525" y="2478"/>
                  </a:lnTo>
                  <a:lnTo>
                    <a:pt x="516" y="2488"/>
                  </a:lnTo>
                  <a:lnTo>
                    <a:pt x="509" y="2495"/>
                  </a:lnTo>
                  <a:lnTo>
                    <a:pt x="501" y="2499"/>
                  </a:lnTo>
                  <a:lnTo>
                    <a:pt x="497" y="2500"/>
                  </a:lnTo>
                  <a:lnTo>
                    <a:pt x="494" y="2500"/>
                  </a:lnTo>
                  <a:lnTo>
                    <a:pt x="491" y="2500"/>
                  </a:lnTo>
                  <a:lnTo>
                    <a:pt x="489" y="2499"/>
                  </a:lnTo>
                  <a:lnTo>
                    <a:pt x="484" y="2495"/>
                  </a:lnTo>
                  <a:lnTo>
                    <a:pt x="479" y="2489"/>
                  </a:lnTo>
                  <a:lnTo>
                    <a:pt x="475" y="2482"/>
                  </a:lnTo>
                  <a:lnTo>
                    <a:pt x="471" y="2474"/>
                  </a:lnTo>
                  <a:lnTo>
                    <a:pt x="469" y="2464"/>
                  </a:lnTo>
                  <a:lnTo>
                    <a:pt x="466" y="2454"/>
                  </a:lnTo>
                  <a:lnTo>
                    <a:pt x="463" y="2433"/>
                  </a:lnTo>
                  <a:lnTo>
                    <a:pt x="462" y="2411"/>
                  </a:lnTo>
                  <a:lnTo>
                    <a:pt x="461" y="2396"/>
                  </a:lnTo>
                  <a:lnTo>
                    <a:pt x="459" y="2384"/>
                  </a:lnTo>
                  <a:lnTo>
                    <a:pt x="455" y="2376"/>
                  </a:lnTo>
                  <a:lnTo>
                    <a:pt x="450" y="2369"/>
                  </a:lnTo>
                  <a:lnTo>
                    <a:pt x="445" y="2365"/>
                  </a:lnTo>
                  <a:lnTo>
                    <a:pt x="439" y="2363"/>
                  </a:lnTo>
                  <a:lnTo>
                    <a:pt x="432" y="2364"/>
                  </a:lnTo>
                  <a:lnTo>
                    <a:pt x="424" y="2366"/>
                  </a:lnTo>
                  <a:lnTo>
                    <a:pt x="416" y="2370"/>
                  </a:lnTo>
                  <a:lnTo>
                    <a:pt x="407" y="2376"/>
                  </a:lnTo>
                  <a:lnTo>
                    <a:pt x="397" y="2382"/>
                  </a:lnTo>
                  <a:lnTo>
                    <a:pt x="388" y="2390"/>
                  </a:lnTo>
                  <a:lnTo>
                    <a:pt x="367" y="2407"/>
                  </a:lnTo>
                  <a:lnTo>
                    <a:pt x="345" y="2427"/>
                  </a:lnTo>
                  <a:lnTo>
                    <a:pt x="323" y="2445"/>
                  </a:lnTo>
                  <a:lnTo>
                    <a:pt x="301" y="2462"/>
                  </a:lnTo>
                  <a:lnTo>
                    <a:pt x="291" y="2471"/>
                  </a:lnTo>
                  <a:lnTo>
                    <a:pt x="280" y="2477"/>
                  </a:lnTo>
                  <a:lnTo>
                    <a:pt x="270" y="2482"/>
                  </a:lnTo>
                  <a:lnTo>
                    <a:pt x="261" y="2485"/>
                  </a:lnTo>
                  <a:lnTo>
                    <a:pt x="252" y="2487"/>
                  </a:lnTo>
                  <a:lnTo>
                    <a:pt x="244" y="2488"/>
                  </a:lnTo>
                  <a:lnTo>
                    <a:pt x="237" y="2486"/>
                  </a:lnTo>
                  <a:lnTo>
                    <a:pt x="229" y="2482"/>
                  </a:lnTo>
                  <a:lnTo>
                    <a:pt x="223" y="2476"/>
                  </a:lnTo>
                  <a:lnTo>
                    <a:pt x="218" y="2466"/>
                  </a:lnTo>
                  <a:lnTo>
                    <a:pt x="214" y="2454"/>
                  </a:lnTo>
                  <a:lnTo>
                    <a:pt x="211" y="2438"/>
                  </a:lnTo>
                  <a:lnTo>
                    <a:pt x="210" y="2432"/>
                  </a:lnTo>
                  <a:lnTo>
                    <a:pt x="210" y="2425"/>
                  </a:lnTo>
                  <a:lnTo>
                    <a:pt x="211" y="2419"/>
                  </a:lnTo>
                  <a:lnTo>
                    <a:pt x="212" y="2414"/>
                  </a:lnTo>
                  <a:lnTo>
                    <a:pt x="216" y="2405"/>
                  </a:lnTo>
                  <a:lnTo>
                    <a:pt x="221" y="2396"/>
                  </a:lnTo>
                  <a:lnTo>
                    <a:pt x="226" y="2389"/>
                  </a:lnTo>
                  <a:lnTo>
                    <a:pt x="232" y="2381"/>
                  </a:lnTo>
                  <a:lnTo>
                    <a:pt x="237" y="2372"/>
                  </a:lnTo>
                  <a:lnTo>
                    <a:pt x="240" y="2363"/>
                  </a:lnTo>
                  <a:lnTo>
                    <a:pt x="247" y="2357"/>
                  </a:lnTo>
                  <a:lnTo>
                    <a:pt x="253" y="2351"/>
                  </a:lnTo>
                  <a:lnTo>
                    <a:pt x="256" y="2343"/>
                  </a:lnTo>
                  <a:lnTo>
                    <a:pt x="260" y="2337"/>
                  </a:lnTo>
                  <a:lnTo>
                    <a:pt x="261" y="2331"/>
                  </a:lnTo>
                  <a:lnTo>
                    <a:pt x="261" y="2323"/>
                  </a:lnTo>
                  <a:lnTo>
                    <a:pt x="261" y="2316"/>
                  </a:lnTo>
                  <a:lnTo>
                    <a:pt x="260" y="2310"/>
                  </a:lnTo>
                  <a:lnTo>
                    <a:pt x="257" y="2296"/>
                  </a:lnTo>
                  <a:lnTo>
                    <a:pt x="255" y="2283"/>
                  </a:lnTo>
                  <a:lnTo>
                    <a:pt x="255" y="2276"/>
                  </a:lnTo>
                  <a:lnTo>
                    <a:pt x="256" y="2270"/>
                  </a:lnTo>
                  <a:lnTo>
                    <a:pt x="260" y="2265"/>
                  </a:lnTo>
                  <a:lnTo>
                    <a:pt x="263" y="2259"/>
                  </a:lnTo>
                  <a:lnTo>
                    <a:pt x="268" y="2252"/>
                  </a:lnTo>
                  <a:lnTo>
                    <a:pt x="274" y="2247"/>
                  </a:lnTo>
                  <a:lnTo>
                    <a:pt x="280" y="2243"/>
                  </a:lnTo>
                  <a:lnTo>
                    <a:pt x="288" y="2239"/>
                  </a:lnTo>
                  <a:lnTo>
                    <a:pt x="302" y="2231"/>
                  </a:lnTo>
                  <a:lnTo>
                    <a:pt x="316" y="2223"/>
                  </a:lnTo>
                  <a:lnTo>
                    <a:pt x="322" y="2219"/>
                  </a:lnTo>
                  <a:lnTo>
                    <a:pt x="328" y="2214"/>
                  </a:lnTo>
                  <a:lnTo>
                    <a:pt x="334" y="2209"/>
                  </a:lnTo>
                  <a:lnTo>
                    <a:pt x="338" y="2203"/>
                  </a:lnTo>
                  <a:lnTo>
                    <a:pt x="342" y="2196"/>
                  </a:lnTo>
                  <a:lnTo>
                    <a:pt x="344" y="2188"/>
                  </a:lnTo>
                  <a:lnTo>
                    <a:pt x="346" y="2178"/>
                  </a:lnTo>
                  <a:lnTo>
                    <a:pt x="346" y="2168"/>
                  </a:lnTo>
                  <a:lnTo>
                    <a:pt x="345" y="2162"/>
                  </a:lnTo>
                  <a:lnTo>
                    <a:pt x="344" y="2157"/>
                  </a:lnTo>
                  <a:lnTo>
                    <a:pt x="342" y="2153"/>
                  </a:lnTo>
                  <a:lnTo>
                    <a:pt x="339" y="2150"/>
                  </a:lnTo>
                  <a:lnTo>
                    <a:pt x="334" y="2145"/>
                  </a:lnTo>
                  <a:lnTo>
                    <a:pt x="326" y="2143"/>
                  </a:lnTo>
                  <a:lnTo>
                    <a:pt x="319" y="2141"/>
                  </a:lnTo>
                  <a:lnTo>
                    <a:pt x="312" y="2139"/>
                  </a:lnTo>
                  <a:lnTo>
                    <a:pt x="309" y="2138"/>
                  </a:lnTo>
                  <a:lnTo>
                    <a:pt x="305" y="2136"/>
                  </a:lnTo>
                  <a:lnTo>
                    <a:pt x="303" y="2133"/>
                  </a:lnTo>
                  <a:lnTo>
                    <a:pt x="302" y="2129"/>
                  </a:lnTo>
                  <a:lnTo>
                    <a:pt x="301" y="2125"/>
                  </a:lnTo>
                  <a:lnTo>
                    <a:pt x="301" y="2120"/>
                  </a:lnTo>
                  <a:lnTo>
                    <a:pt x="301" y="2115"/>
                  </a:lnTo>
                  <a:lnTo>
                    <a:pt x="302" y="2110"/>
                  </a:lnTo>
                  <a:lnTo>
                    <a:pt x="305" y="2098"/>
                  </a:lnTo>
                  <a:lnTo>
                    <a:pt x="309" y="2086"/>
                  </a:lnTo>
                  <a:lnTo>
                    <a:pt x="312" y="2073"/>
                  </a:lnTo>
                  <a:lnTo>
                    <a:pt x="313" y="2062"/>
                  </a:lnTo>
                  <a:lnTo>
                    <a:pt x="313" y="2056"/>
                  </a:lnTo>
                  <a:lnTo>
                    <a:pt x="312" y="2051"/>
                  </a:lnTo>
                  <a:lnTo>
                    <a:pt x="310" y="2047"/>
                  </a:lnTo>
                  <a:lnTo>
                    <a:pt x="308" y="2043"/>
                  </a:lnTo>
                  <a:lnTo>
                    <a:pt x="294" y="2028"/>
                  </a:lnTo>
                  <a:lnTo>
                    <a:pt x="284" y="2017"/>
                  </a:lnTo>
                  <a:lnTo>
                    <a:pt x="276" y="2008"/>
                  </a:lnTo>
                  <a:lnTo>
                    <a:pt x="271" y="2000"/>
                  </a:lnTo>
                  <a:lnTo>
                    <a:pt x="268" y="1991"/>
                  </a:lnTo>
                  <a:lnTo>
                    <a:pt x="267" y="1980"/>
                  </a:lnTo>
                  <a:lnTo>
                    <a:pt x="266" y="1965"/>
                  </a:lnTo>
                  <a:lnTo>
                    <a:pt x="266" y="1945"/>
                  </a:lnTo>
                  <a:lnTo>
                    <a:pt x="269" y="1941"/>
                  </a:lnTo>
                  <a:lnTo>
                    <a:pt x="270" y="1932"/>
                  </a:lnTo>
                  <a:lnTo>
                    <a:pt x="272" y="1924"/>
                  </a:lnTo>
                  <a:lnTo>
                    <a:pt x="273" y="1919"/>
                  </a:lnTo>
                  <a:lnTo>
                    <a:pt x="272" y="1913"/>
                  </a:lnTo>
                  <a:lnTo>
                    <a:pt x="269" y="1909"/>
                  </a:lnTo>
                  <a:lnTo>
                    <a:pt x="265" y="1904"/>
                  </a:lnTo>
                  <a:lnTo>
                    <a:pt x="261" y="1899"/>
                  </a:lnTo>
                  <a:lnTo>
                    <a:pt x="255" y="1894"/>
                  </a:lnTo>
                  <a:lnTo>
                    <a:pt x="251" y="1888"/>
                  </a:lnTo>
                  <a:lnTo>
                    <a:pt x="247" y="1883"/>
                  </a:lnTo>
                  <a:lnTo>
                    <a:pt x="245" y="1878"/>
                  </a:lnTo>
                  <a:lnTo>
                    <a:pt x="245" y="1873"/>
                  </a:lnTo>
                  <a:lnTo>
                    <a:pt x="246" y="1869"/>
                  </a:lnTo>
                  <a:lnTo>
                    <a:pt x="249" y="1864"/>
                  </a:lnTo>
                  <a:lnTo>
                    <a:pt x="253" y="1861"/>
                  </a:lnTo>
                  <a:lnTo>
                    <a:pt x="264" y="1855"/>
                  </a:lnTo>
                  <a:lnTo>
                    <a:pt x="272" y="1851"/>
                  </a:lnTo>
                  <a:lnTo>
                    <a:pt x="295" y="1839"/>
                  </a:lnTo>
                  <a:lnTo>
                    <a:pt x="317" y="1829"/>
                  </a:lnTo>
                  <a:lnTo>
                    <a:pt x="338" y="1817"/>
                  </a:lnTo>
                  <a:lnTo>
                    <a:pt x="359" y="1805"/>
                  </a:lnTo>
                  <a:lnTo>
                    <a:pt x="363" y="1795"/>
                  </a:lnTo>
                  <a:lnTo>
                    <a:pt x="366" y="1786"/>
                  </a:lnTo>
                  <a:lnTo>
                    <a:pt x="367" y="1781"/>
                  </a:lnTo>
                  <a:lnTo>
                    <a:pt x="366" y="1777"/>
                  </a:lnTo>
                  <a:lnTo>
                    <a:pt x="365" y="1771"/>
                  </a:lnTo>
                  <a:lnTo>
                    <a:pt x="362" y="1764"/>
                  </a:lnTo>
                  <a:lnTo>
                    <a:pt x="354" y="1753"/>
                  </a:lnTo>
                  <a:lnTo>
                    <a:pt x="347" y="1743"/>
                  </a:lnTo>
                  <a:lnTo>
                    <a:pt x="339" y="1734"/>
                  </a:lnTo>
                  <a:lnTo>
                    <a:pt x="330" y="1724"/>
                  </a:lnTo>
                  <a:lnTo>
                    <a:pt x="320" y="1713"/>
                  </a:lnTo>
                  <a:lnTo>
                    <a:pt x="311" y="1703"/>
                  </a:lnTo>
                  <a:lnTo>
                    <a:pt x="301" y="1694"/>
                  </a:lnTo>
                  <a:lnTo>
                    <a:pt x="291" y="1687"/>
                  </a:lnTo>
                  <a:lnTo>
                    <a:pt x="279" y="1681"/>
                  </a:lnTo>
                  <a:lnTo>
                    <a:pt x="268" y="1676"/>
                  </a:lnTo>
                  <a:lnTo>
                    <a:pt x="254" y="1671"/>
                  </a:lnTo>
                  <a:lnTo>
                    <a:pt x="240" y="1669"/>
                  </a:lnTo>
                  <a:lnTo>
                    <a:pt x="217" y="1666"/>
                  </a:lnTo>
                  <a:lnTo>
                    <a:pt x="191" y="1664"/>
                  </a:lnTo>
                  <a:lnTo>
                    <a:pt x="177" y="1664"/>
                  </a:lnTo>
                  <a:lnTo>
                    <a:pt x="165" y="1664"/>
                  </a:lnTo>
                  <a:lnTo>
                    <a:pt x="153" y="1665"/>
                  </a:lnTo>
                  <a:lnTo>
                    <a:pt x="143" y="1667"/>
                  </a:lnTo>
                  <a:lnTo>
                    <a:pt x="143" y="1667"/>
                  </a:lnTo>
                  <a:lnTo>
                    <a:pt x="143" y="1639"/>
                  </a:lnTo>
                  <a:lnTo>
                    <a:pt x="146" y="1612"/>
                  </a:lnTo>
                  <a:lnTo>
                    <a:pt x="149" y="1584"/>
                  </a:lnTo>
                  <a:lnTo>
                    <a:pt x="153" y="1557"/>
                  </a:lnTo>
                  <a:lnTo>
                    <a:pt x="155" y="1545"/>
                  </a:lnTo>
                  <a:lnTo>
                    <a:pt x="159" y="1534"/>
                  </a:lnTo>
                  <a:lnTo>
                    <a:pt x="164" y="1521"/>
                  </a:lnTo>
                  <a:lnTo>
                    <a:pt x="169" y="1509"/>
                  </a:lnTo>
                  <a:lnTo>
                    <a:pt x="173" y="1497"/>
                  </a:lnTo>
                  <a:lnTo>
                    <a:pt x="176" y="1485"/>
                  </a:lnTo>
                  <a:lnTo>
                    <a:pt x="178" y="1474"/>
                  </a:lnTo>
                  <a:lnTo>
                    <a:pt x="178" y="1463"/>
                  </a:lnTo>
                  <a:lnTo>
                    <a:pt x="168" y="1459"/>
                  </a:lnTo>
                  <a:lnTo>
                    <a:pt x="157" y="1453"/>
                  </a:lnTo>
                  <a:lnTo>
                    <a:pt x="146" y="1449"/>
                  </a:lnTo>
                  <a:lnTo>
                    <a:pt x="134" y="1446"/>
                  </a:lnTo>
                  <a:lnTo>
                    <a:pt x="109" y="1440"/>
                  </a:lnTo>
                  <a:lnTo>
                    <a:pt x="83" y="1434"/>
                  </a:lnTo>
                  <a:lnTo>
                    <a:pt x="58" y="1428"/>
                  </a:lnTo>
                  <a:lnTo>
                    <a:pt x="35" y="1422"/>
                  </a:lnTo>
                  <a:lnTo>
                    <a:pt x="25" y="1418"/>
                  </a:lnTo>
                  <a:lnTo>
                    <a:pt x="16" y="1414"/>
                  </a:lnTo>
                  <a:lnTo>
                    <a:pt x="7" y="1410"/>
                  </a:lnTo>
                  <a:lnTo>
                    <a:pt x="0" y="1404"/>
                  </a:lnTo>
                  <a:lnTo>
                    <a:pt x="1" y="1381"/>
                  </a:lnTo>
                  <a:lnTo>
                    <a:pt x="2" y="1358"/>
                  </a:lnTo>
                  <a:lnTo>
                    <a:pt x="3" y="1335"/>
                  </a:lnTo>
                  <a:lnTo>
                    <a:pt x="1" y="1311"/>
                  </a:lnTo>
                  <a:lnTo>
                    <a:pt x="7" y="1222"/>
                  </a:lnTo>
                  <a:lnTo>
                    <a:pt x="7" y="1222"/>
                  </a:lnTo>
                  <a:lnTo>
                    <a:pt x="15" y="1222"/>
                  </a:lnTo>
                  <a:lnTo>
                    <a:pt x="22" y="1222"/>
                  </a:lnTo>
                  <a:lnTo>
                    <a:pt x="28" y="1221"/>
                  </a:lnTo>
                  <a:lnTo>
                    <a:pt x="35" y="1220"/>
                  </a:lnTo>
                  <a:lnTo>
                    <a:pt x="42" y="1217"/>
                  </a:lnTo>
                  <a:lnTo>
                    <a:pt x="47" y="1213"/>
                  </a:lnTo>
                  <a:lnTo>
                    <a:pt x="53" y="1209"/>
                  </a:lnTo>
                  <a:lnTo>
                    <a:pt x="58" y="1204"/>
                  </a:lnTo>
                  <a:lnTo>
                    <a:pt x="76" y="1181"/>
                  </a:lnTo>
                  <a:lnTo>
                    <a:pt x="95" y="1158"/>
                  </a:lnTo>
                  <a:lnTo>
                    <a:pt x="100" y="1153"/>
                  </a:lnTo>
                  <a:lnTo>
                    <a:pt x="105" y="1149"/>
                  </a:lnTo>
                  <a:lnTo>
                    <a:pt x="110" y="1145"/>
                  </a:lnTo>
                  <a:lnTo>
                    <a:pt x="117" y="1140"/>
                  </a:lnTo>
                  <a:lnTo>
                    <a:pt x="123" y="1137"/>
                  </a:lnTo>
                  <a:lnTo>
                    <a:pt x="129" y="1135"/>
                  </a:lnTo>
                  <a:lnTo>
                    <a:pt x="137" y="1134"/>
                  </a:lnTo>
                  <a:lnTo>
                    <a:pt x="145" y="1134"/>
                  </a:lnTo>
                  <a:lnTo>
                    <a:pt x="151" y="1135"/>
                  </a:lnTo>
                  <a:lnTo>
                    <a:pt x="158" y="1138"/>
                  </a:lnTo>
                  <a:lnTo>
                    <a:pt x="166" y="1141"/>
                  </a:lnTo>
                  <a:lnTo>
                    <a:pt x="174" y="1147"/>
                  </a:lnTo>
                  <a:lnTo>
                    <a:pt x="190" y="1157"/>
                  </a:lnTo>
                  <a:lnTo>
                    <a:pt x="207" y="1168"/>
                  </a:lnTo>
                  <a:lnTo>
                    <a:pt x="216" y="1172"/>
                  </a:lnTo>
                  <a:lnTo>
                    <a:pt x="225" y="1176"/>
                  </a:lnTo>
                  <a:lnTo>
                    <a:pt x="234" y="1178"/>
                  </a:lnTo>
                  <a:lnTo>
                    <a:pt x="242" y="1179"/>
                  </a:lnTo>
                  <a:lnTo>
                    <a:pt x="246" y="1179"/>
                  </a:lnTo>
                  <a:lnTo>
                    <a:pt x="249" y="1179"/>
                  </a:lnTo>
                  <a:lnTo>
                    <a:pt x="253" y="1178"/>
                  </a:lnTo>
                  <a:lnTo>
                    <a:pt x="257" y="1176"/>
                  </a:lnTo>
                  <a:lnTo>
                    <a:pt x="261" y="1174"/>
                  </a:lnTo>
                  <a:lnTo>
                    <a:pt x="265" y="1171"/>
                  </a:lnTo>
                  <a:lnTo>
                    <a:pt x="268" y="1168"/>
                  </a:lnTo>
                  <a:lnTo>
                    <a:pt x="271" y="1163"/>
                  </a:lnTo>
                  <a:lnTo>
                    <a:pt x="276" y="1157"/>
                  </a:lnTo>
                  <a:lnTo>
                    <a:pt x="280" y="1152"/>
                  </a:lnTo>
                  <a:lnTo>
                    <a:pt x="285" y="1148"/>
                  </a:lnTo>
                  <a:lnTo>
                    <a:pt x="290" y="1145"/>
                  </a:lnTo>
                  <a:lnTo>
                    <a:pt x="294" y="1141"/>
                  </a:lnTo>
                  <a:lnTo>
                    <a:pt x="298" y="1139"/>
                  </a:lnTo>
                  <a:lnTo>
                    <a:pt x="303" y="1138"/>
                  </a:lnTo>
                  <a:lnTo>
                    <a:pt x="308" y="1138"/>
                  </a:lnTo>
                  <a:lnTo>
                    <a:pt x="312" y="1138"/>
                  </a:lnTo>
                  <a:lnTo>
                    <a:pt x="316" y="1139"/>
                  </a:lnTo>
                  <a:lnTo>
                    <a:pt x="320" y="1140"/>
                  </a:lnTo>
                  <a:lnTo>
                    <a:pt x="324" y="1142"/>
                  </a:lnTo>
                  <a:lnTo>
                    <a:pt x="332" y="1148"/>
                  </a:lnTo>
                  <a:lnTo>
                    <a:pt x="340" y="1154"/>
                  </a:lnTo>
                  <a:lnTo>
                    <a:pt x="346" y="1162"/>
                  </a:lnTo>
                  <a:lnTo>
                    <a:pt x="352" y="1172"/>
                  </a:lnTo>
                  <a:lnTo>
                    <a:pt x="359" y="1182"/>
                  </a:lnTo>
                  <a:lnTo>
                    <a:pt x="364" y="1193"/>
                  </a:lnTo>
                  <a:lnTo>
                    <a:pt x="368" y="1204"/>
                  </a:lnTo>
                  <a:lnTo>
                    <a:pt x="371" y="1214"/>
                  </a:lnTo>
                  <a:lnTo>
                    <a:pt x="374" y="1226"/>
                  </a:lnTo>
                  <a:lnTo>
                    <a:pt x="376" y="1235"/>
                  </a:lnTo>
                  <a:lnTo>
                    <a:pt x="385" y="1239"/>
                  </a:lnTo>
                  <a:lnTo>
                    <a:pt x="392" y="1241"/>
                  </a:lnTo>
                  <a:lnTo>
                    <a:pt x="399" y="1241"/>
                  </a:lnTo>
                  <a:lnTo>
                    <a:pt x="406" y="1239"/>
                  </a:lnTo>
                  <a:lnTo>
                    <a:pt x="411" y="1237"/>
                  </a:lnTo>
                  <a:lnTo>
                    <a:pt x="415" y="1233"/>
                  </a:lnTo>
                  <a:lnTo>
                    <a:pt x="419" y="1229"/>
                  </a:lnTo>
                  <a:lnTo>
                    <a:pt x="423" y="1224"/>
                  </a:lnTo>
                  <a:lnTo>
                    <a:pt x="436" y="1198"/>
                  </a:lnTo>
                  <a:lnTo>
                    <a:pt x="446" y="1174"/>
                  </a:lnTo>
                  <a:lnTo>
                    <a:pt x="452" y="1174"/>
                  </a:lnTo>
                  <a:lnTo>
                    <a:pt x="459" y="1174"/>
                  </a:lnTo>
                  <a:lnTo>
                    <a:pt x="465" y="1175"/>
                  </a:lnTo>
                  <a:lnTo>
                    <a:pt x="470" y="1177"/>
                  </a:lnTo>
                  <a:lnTo>
                    <a:pt x="481" y="1181"/>
                  </a:lnTo>
                  <a:lnTo>
                    <a:pt x="491" y="1186"/>
                  </a:lnTo>
                  <a:lnTo>
                    <a:pt x="499" y="1192"/>
                  </a:lnTo>
                  <a:lnTo>
                    <a:pt x="509" y="1196"/>
                  </a:lnTo>
                  <a:lnTo>
                    <a:pt x="513" y="1197"/>
                  </a:lnTo>
                  <a:lnTo>
                    <a:pt x="517" y="1198"/>
                  </a:lnTo>
                  <a:lnTo>
                    <a:pt x="522" y="1198"/>
                  </a:lnTo>
                  <a:lnTo>
                    <a:pt x="526" y="1197"/>
                  </a:lnTo>
                  <a:lnTo>
                    <a:pt x="532" y="1195"/>
                  </a:lnTo>
                  <a:lnTo>
                    <a:pt x="536" y="1192"/>
                  </a:lnTo>
                  <a:lnTo>
                    <a:pt x="539" y="1187"/>
                  </a:lnTo>
                  <a:lnTo>
                    <a:pt x="541" y="1182"/>
                  </a:lnTo>
                  <a:lnTo>
                    <a:pt x="544" y="1171"/>
                  </a:lnTo>
                  <a:lnTo>
                    <a:pt x="545" y="1158"/>
                  </a:lnTo>
                  <a:lnTo>
                    <a:pt x="544" y="1145"/>
                  </a:lnTo>
                  <a:lnTo>
                    <a:pt x="545" y="1132"/>
                  </a:lnTo>
                  <a:lnTo>
                    <a:pt x="545" y="1127"/>
                  </a:lnTo>
                  <a:lnTo>
                    <a:pt x="546" y="1122"/>
                  </a:lnTo>
                  <a:lnTo>
                    <a:pt x="548" y="1116"/>
                  </a:lnTo>
                  <a:lnTo>
                    <a:pt x="550" y="1112"/>
                  </a:lnTo>
                  <a:lnTo>
                    <a:pt x="556" y="1107"/>
                  </a:lnTo>
                  <a:lnTo>
                    <a:pt x="561" y="1103"/>
                  </a:lnTo>
                  <a:lnTo>
                    <a:pt x="565" y="1099"/>
                  </a:lnTo>
                  <a:lnTo>
                    <a:pt x="570" y="1096"/>
                  </a:lnTo>
                  <a:lnTo>
                    <a:pt x="576" y="1093"/>
                  </a:lnTo>
                  <a:lnTo>
                    <a:pt x="580" y="1091"/>
                  </a:lnTo>
                  <a:lnTo>
                    <a:pt x="585" y="1090"/>
                  </a:lnTo>
                  <a:lnTo>
                    <a:pt x="589" y="1089"/>
                  </a:lnTo>
                  <a:lnTo>
                    <a:pt x="598" y="1090"/>
                  </a:lnTo>
                  <a:lnTo>
                    <a:pt x="608" y="1092"/>
                  </a:lnTo>
                  <a:lnTo>
                    <a:pt x="616" y="1097"/>
                  </a:lnTo>
                  <a:lnTo>
                    <a:pt x="625" y="1102"/>
                  </a:lnTo>
                  <a:lnTo>
                    <a:pt x="632" y="1109"/>
                  </a:lnTo>
                  <a:lnTo>
                    <a:pt x="639" y="1117"/>
                  </a:lnTo>
                  <a:lnTo>
                    <a:pt x="646" y="1126"/>
                  </a:lnTo>
                  <a:lnTo>
                    <a:pt x="653" y="1135"/>
                  </a:lnTo>
                  <a:lnTo>
                    <a:pt x="658" y="1145"/>
                  </a:lnTo>
                  <a:lnTo>
                    <a:pt x="662" y="1154"/>
                  </a:lnTo>
                  <a:lnTo>
                    <a:pt x="666" y="1163"/>
                  </a:lnTo>
                  <a:lnTo>
                    <a:pt x="669" y="1173"/>
                  </a:lnTo>
                  <a:lnTo>
                    <a:pt x="680" y="1176"/>
                  </a:lnTo>
                  <a:lnTo>
                    <a:pt x="688" y="1178"/>
                  </a:lnTo>
                  <a:lnTo>
                    <a:pt x="695" y="1178"/>
                  </a:lnTo>
                  <a:lnTo>
                    <a:pt x="703" y="1178"/>
                  </a:lnTo>
                  <a:lnTo>
                    <a:pt x="706" y="1178"/>
                  </a:lnTo>
                  <a:lnTo>
                    <a:pt x="708" y="1179"/>
                  </a:lnTo>
                  <a:lnTo>
                    <a:pt x="711" y="1180"/>
                  </a:lnTo>
                  <a:lnTo>
                    <a:pt x="714" y="1182"/>
                  </a:lnTo>
                  <a:lnTo>
                    <a:pt x="716" y="1184"/>
                  </a:lnTo>
                  <a:lnTo>
                    <a:pt x="719" y="1188"/>
                  </a:lnTo>
                  <a:lnTo>
                    <a:pt x="723" y="1193"/>
                  </a:lnTo>
                  <a:lnTo>
                    <a:pt x="726" y="1199"/>
                  </a:lnTo>
                  <a:lnTo>
                    <a:pt x="729" y="1204"/>
                  </a:lnTo>
                  <a:lnTo>
                    <a:pt x="732" y="1207"/>
                  </a:lnTo>
                  <a:lnTo>
                    <a:pt x="735" y="1210"/>
                  </a:lnTo>
                  <a:lnTo>
                    <a:pt x="739" y="1211"/>
                  </a:lnTo>
                  <a:lnTo>
                    <a:pt x="743" y="1212"/>
                  </a:lnTo>
                  <a:lnTo>
                    <a:pt x="749" y="1213"/>
                  </a:lnTo>
                  <a:lnTo>
                    <a:pt x="753" y="1212"/>
                  </a:lnTo>
                  <a:lnTo>
                    <a:pt x="758" y="1211"/>
                  </a:lnTo>
                  <a:lnTo>
                    <a:pt x="767" y="1208"/>
                  </a:lnTo>
                  <a:lnTo>
                    <a:pt x="776" y="1203"/>
                  </a:lnTo>
                  <a:lnTo>
                    <a:pt x="784" y="1197"/>
                  </a:lnTo>
                  <a:lnTo>
                    <a:pt x="789" y="1190"/>
                  </a:lnTo>
                  <a:lnTo>
                    <a:pt x="792" y="1185"/>
                  </a:lnTo>
                  <a:lnTo>
                    <a:pt x="794" y="1178"/>
                  </a:lnTo>
                  <a:lnTo>
                    <a:pt x="797" y="1170"/>
                  </a:lnTo>
                  <a:lnTo>
                    <a:pt x="797" y="1160"/>
                  </a:lnTo>
                  <a:lnTo>
                    <a:pt x="798" y="1139"/>
                  </a:lnTo>
                  <a:lnTo>
                    <a:pt x="797" y="1116"/>
                  </a:lnTo>
                  <a:lnTo>
                    <a:pt x="794" y="1093"/>
                  </a:lnTo>
                  <a:lnTo>
                    <a:pt x="791" y="1073"/>
                  </a:lnTo>
                  <a:lnTo>
                    <a:pt x="788" y="1054"/>
                  </a:lnTo>
                  <a:lnTo>
                    <a:pt x="785" y="1041"/>
                  </a:lnTo>
                  <a:lnTo>
                    <a:pt x="775" y="1038"/>
                  </a:lnTo>
                  <a:lnTo>
                    <a:pt x="765" y="1035"/>
                  </a:lnTo>
                  <a:lnTo>
                    <a:pt x="758" y="1032"/>
                  </a:lnTo>
                  <a:lnTo>
                    <a:pt x="752" y="1029"/>
                  </a:lnTo>
                  <a:lnTo>
                    <a:pt x="748" y="1026"/>
                  </a:lnTo>
                  <a:lnTo>
                    <a:pt x="743" y="1023"/>
                  </a:lnTo>
                  <a:lnTo>
                    <a:pt x="740" y="1019"/>
                  </a:lnTo>
                  <a:lnTo>
                    <a:pt x="739" y="1016"/>
                  </a:lnTo>
                  <a:lnTo>
                    <a:pt x="738" y="1013"/>
                  </a:lnTo>
                  <a:lnTo>
                    <a:pt x="739" y="1009"/>
                  </a:lnTo>
                  <a:lnTo>
                    <a:pt x="740" y="1006"/>
                  </a:lnTo>
                  <a:lnTo>
                    <a:pt x="741" y="1003"/>
                  </a:lnTo>
                  <a:lnTo>
                    <a:pt x="748" y="994"/>
                  </a:lnTo>
                  <a:lnTo>
                    <a:pt x="755" y="987"/>
                  </a:lnTo>
                  <a:lnTo>
                    <a:pt x="774" y="969"/>
                  </a:lnTo>
                  <a:lnTo>
                    <a:pt x="793" y="949"/>
                  </a:lnTo>
                  <a:lnTo>
                    <a:pt x="802" y="939"/>
                  </a:lnTo>
                  <a:lnTo>
                    <a:pt x="809" y="928"/>
                  </a:lnTo>
                  <a:lnTo>
                    <a:pt x="812" y="922"/>
                  </a:lnTo>
                  <a:lnTo>
                    <a:pt x="814" y="916"/>
                  </a:lnTo>
                  <a:lnTo>
                    <a:pt x="815" y="910"/>
                  </a:lnTo>
                  <a:lnTo>
                    <a:pt x="816" y="904"/>
                  </a:lnTo>
                  <a:lnTo>
                    <a:pt x="816" y="896"/>
                  </a:lnTo>
                  <a:lnTo>
                    <a:pt x="815" y="888"/>
                  </a:lnTo>
                  <a:lnTo>
                    <a:pt x="813" y="882"/>
                  </a:lnTo>
                  <a:lnTo>
                    <a:pt x="811" y="875"/>
                  </a:lnTo>
                  <a:lnTo>
                    <a:pt x="809" y="869"/>
                  </a:lnTo>
                  <a:lnTo>
                    <a:pt x="805" y="863"/>
                  </a:lnTo>
                  <a:lnTo>
                    <a:pt x="802" y="858"/>
                  </a:lnTo>
                  <a:lnTo>
                    <a:pt x="798" y="852"/>
                  </a:lnTo>
                  <a:lnTo>
                    <a:pt x="787" y="843"/>
                  </a:lnTo>
                  <a:lnTo>
                    <a:pt x="777" y="835"/>
                  </a:lnTo>
                  <a:lnTo>
                    <a:pt x="765" y="826"/>
                  </a:lnTo>
                  <a:lnTo>
                    <a:pt x="753" y="818"/>
                  </a:lnTo>
                  <a:lnTo>
                    <a:pt x="741" y="810"/>
                  </a:lnTo>
                  <a:lnTo>
                    <a:pt x="729" y="800"/>
                  </a:lnTo>
                  <a:lnTo>
                    <a:pt x="718" y="791"/>
                  </a:lnTo>
                  <a:lnTo>
                    <a:pt x="709" y="780"/>
                  </a:lnTo>
                  <a:lnTo>
                    <a:pt x="705" y="774"/>
                  </a:lnTo>
                  <a:lnTo>
                    <a:pt x="701" y="768"/>
                  </a:lnTo>
                  <a:lnTo>
                    <a:pt x="697" y="762"/>
                  </a:lnTo>
                  <a:lnTo>
                    <a:pt x="694" y="754"/>
                  </a:lnTo>
                  <a:lnTo>
                    <a:pt x="692" y="747"/>
                  </a:lnTo>
                  <a:lnTo>
                    <a:pt x="691" y="739"/>
                  </a:lnTo>
                  <a:lnTo>
                    <a:pt x="690" y="729"/>
                  </a:lnTo>
                  <a:lnTo>
                    <a:pt x="690" y="720"/>
                  </a:lnTo>
                  <a:lnTo>
                    <a:pt x="713" y="687"/>
                  </a:lnTo>
                  <a:lnTo>
                    <a:pt x="740" y="651"/>
                  </a:lnTo>
                  <a:lnTo>
                    <a:pt x="753" y="632"/>
                  </a:lnTo>
                  <a:lnTo>
                    <a:pt x="764" y="614"/>
                  </a:lnTo>
                  <a:lnTo>
                    <a:pt x="769" y="605"/>
                  </a:lnTo>
                  <a:lnTo>
                    <a:pt x="774" y="596"/>
                  </a:lnTo>
                  <a:lnTo>
                    <a:pt x="778" y="586"/>
                  </a:lnTo>
                  <a:lnTo>
                    <a:pt x="780" y="578"/>
                  </a:lnTo>
                  <a:lnTo>
                    <a:pt x="782" y="571"/>
                  </a:lnTo>
                  <a:lnTo>
                    <a:pt x="783" y="563"/>
                  </a:lnTo>
                  <a:lnTo>
                    <a:pt x="784" y="555"/>
                  </a:lnTo>
                  <a:lnTo>
                    <a:pt x="784" y="547"/>
                  </a:lnTo>
                  <a:lnTo>
                    <a:pt x="783" y="530"/>
                  </a:lnTo>
                  <a:lnTo>
                    <a:pt x="782" y="512"/>
                  </a:lnTo>
                  <a:lnTo>
                    <a:pt x="777" y="478"/>
                  </a:lnTo>
                  <a:lnTo>
                    <a:pt x="775" y="446"/>
                  </a:lnTo>
                  <a:lnTo>
                    <a:pt x="770" y="445"/>
                  </a:lnTo>
                  <a:lnTo>
                    <a:pt x="765" y="445"/>
                  </a:lnTo>
                  <a:lnTo>
                    <a:pt x="758" y="446"/>
                  </a:lnTo>
                  <a:lnTo>
                    <a:pt x="750" y="448"/>
                  </a:lnTo>
                  <a:lnTo>
                    <a:pt x="741" y="449"/>
                  </a:lnTo>
                  <a:lnTo>
                    <a:pt x="733" y="450"/>
                  </a:lnTo>
                  <a:lnTo>
                    <a:pt x="729" y="450"/>
                  </a:lnTo>
                  <a:lnTo>
                    <a:pt x="725" y="450"/>
                  </a:lnTo>
                  <a:lnTo>
                    <a:pt x="721" y="449"/>
                  </a:lnTo>
                  <a:lnTo>
                    <a:pt x="717" y="447"/>
                  </a:lnTo>
                  <a:lnTo>
                    <a:pt x="711" y="442"/>
                  </a:lnTo>
                  <a:lnTo>
                    <a:pt x="706" y="436"/>
                  </a:lnTo>
                  <a:lnTo>
                    <a:pt x="702" y="429"/>
                  </a:lnTo>
                  <a:lnTo>
                    <a:pt x="699" y="422"/>
                  </a:lnTo>
                  <a:lnTo>
                    <a:pt x="691" y="406"/>
                  </a:lnTo>
                  <a:lnTo>
                    <a:pt x="684" y="391"/>
                  </a:lnTo>
                  <a:lnTo>
                    <a:pt x="678" y="379"/>
                  </a:lnTo>
                  <a:lnTo>
                    <a:pt x="674" y="366"/>
                  </a:lnTo>
                  <a:lnTo>
                    <a:pt x="670" y="354"/>
                  </a:lnTo>
                  <a:lnTo>
                    <a:pt x="668" y="340"/>
                  </a:lnTo>
                  <a:lnTo>
                    <a:pt x="666" y="328"/>
                  </a:lnTo>
                  <a:lnTo>
                    <a:pt x="662" y="315"/>
                  </a:lnTo>
                  <a:lnTo>
                    <a:pt x="660" y="308"/>
                  </a:lnTo>
                  <a:lnTo>
                    <a:pt x="658" y="302"/>
                  </a:lnTo>
                  <a:lnTo>
                    <a:pt x="655" y="295"/>
                  </a:lnTo>
                  <a:lnTo>
                    <a:pt x="651" y="289"/>
                  </a:lnTo>
                  <a:lnTo>
                    <a:pt x="643" y="281"/>
                  </a:lnTo>
                  <a:lnTo>
                    <a:pt x="634" y="273"/>
                  </a:lnTo>
                  <a:lnTo>
                    <a:pt x="623" y="267"/>
                  </a:lnTo>
                  <a:lnTo>
                    <a:pt x="613" y="261"/>
                  </a:lnTo>
                  <a:lnTo>
                    <a:pt x="603" y="255"/>
                  </a:lnTo>
                  <a:lnTo>
                    <a:pt x="593" y="247"/>
                  </a:lnTo>
                  <a:lnTo>
                    <a:pt x="589" y="243"/>
                  </a:lnTo>
                  <a:lnTo>
                    <a:pt x="585" y="240"/>
                  </a:lnTo>
                  <a:lnTo>
                    <a:pt x="582" y="235"/>
                  </a:lnTo>
                  <a:lnTo>
                    <a:pt x="579" y="231"/>
                  </a:lnTo>
                  <a:lnTo>
                    <a:pt x="576" y="222"/>
                  </a:lnTo>
                  <a:lnTo>
                    <a:pt x="573" y="215"/>
                  </a:lnTo>
                  <a:lnTo>
                    <a:pt x="572" y="208"/>
                  </a:lnTo>
                  <a:lnTo>
                    <a:pt x="573" y="203"/>
                  </a:lnTo>
                  <a:lnTo>
                    <a:pt x="576" y="197"/>
                  </a:lnTo>
                  <a:lnTo>
                    <a:pt x="580" y="193"/>
                  </a:lnTo>
                  <a:lnTo>
                    <a:pt x="584" y="189"/>
                  </a:lnTo>
                  <a:lnTo>
                    <a:pt x="589" y="186"/>
                  </a:lnTo>
                  <a:lnTo>
                    <a:pt x="602" y="180"/>
                  </a:lnTo>
                  <a:lnTo>
                    <a:pt x="615" y="175"/>
                  </a:lnTo>
                  <a:lnTo>
                    <a:pt x="630" y="172"/>
                  </a:lnTo>
                  <a:lnTo>
                    <a:pt x="642" y="168"/>
                  </a:lnTo>
                  <a:lnTo>
                    <a:pt x="653" y="160"/>
                  </a:lnTo>
                  <a:lnTo>
                    <a:pt x="661" y="150"/>
                  </a:lnTo>
                  <a:lnTo>
                    <a:pt x="668" y="140"/>
                  </a:lnTo>
                  <a:lnTo>
                    <a:pt x="676" y="128"/>
                  </a:lnTo>
                  <a:lnTo>
                    <a:pt x="687" y="103"/>
                  </a:lnTo>
                  <a:lnTo>
                    <a:pt x="696" y="78"/>
                  </a:lnTo>
                  <a:lnTo>
                    <a:pt x="706" y="53"/>
                  </a:lnTo>
                  <a:lnTo>
                    <a:pt x="715" y="31"/>
                  </a:lnTo>
                  <a:lnTo>
                    <a:pt x="720" y="21"/>
                  </a:lnTo>
                  <a:lnTo>
                    <a:pt x="726" y="13"/>
                  </a:lnTo>
                  <a:lnTo>
                    <a:pt x="732" y="6"/>
                  </a:lnTo>
                  <a:lnTo>
                    <a:pt x="739" y="0"/>
                  </a:lnTo>
                  <a:lnTo>
                    <a:pt x="748" y="3"/>
                  </a:lnTo>
                  <a:lnTo>
                    <a:pt x="756" y="5"/>
                  </a:lnTo>
                  <a:lnTo>
                    <a:pt x="764" y="8"/>
                  </a:lnTo>
                  <a:lnTo>
                    <a:pt x="774" y="11"/>
                  </a:lnTo>
                  <a:lnTo>
                    <a:pt x="782" y="14"/>
                  </a:lnTo>
                  <a:lnTo>
                    <a:pt x="789" y="17"/>
                  </a:lnTo>
                  <a:lnTo>
                    <a:pt x="796" y="20"/>
                  </a:lnTo>
                  <a:lnTo>
                    <a:pt x="801" y="24"/>
                  </a:lnTo>
                  <a:lnTo>
                    <a:pt x="806" y="28"/>
                  </a:lnTo>
                  <a:lnTo>
                    <a:pt x="809" y="34"/>
                  </a:lnTo>
                  <a:lnTo>
                    <a:pt x="812" y="38"/>
                  </a:lnTo>
                  <a:lnTo>
                    <a:pt x="814" y="43"/>
                  </a:lnTo>
                  <a:lnTo>
                    <a:pt x="817" y="55"/>
                  </a:lnTo>
                  <a:lnTo>
                    <a:pt x="818" y="68"/>
                  </a:lnTo>
                  <a:lnTo>
                    <a:pt x="819" y="83"/>
                  </a:lnTo>
                  <a:lnTo>
                    <a:pt x="819" y="98"/>
                  </a:lnTo>
                  <a:lnTo>
                    <a:pt x="821" y="111"/>
                  </a:lnTo>
                  <a:lnTo>
                    <a:pt x="823" y="121"/>
                  </a:lnTo>
                  <a:lnTo>
                    <a:pt x="825" y="129"/>
                  </a:lnTo>
                  <a:lnTo>
                    <a:pt x="828" y="137"/>
                  </a:lnTo>
                  <a:lnTo>
                    <a:pt x="831" y="142"/>
                  </a:lnTo>
                  <a:lnTo>
                    <a:pt x="835" y="146"/>
                  </a:lnTo>
                  <a:lnTo>
                    <a:pt x="839" y="149"/>
                  </a:lnTo>
                  <a:lnTo>
                    <a:pt x="845" y="150"/>
                  </a:lnTo>
                  <a:lnTo>
                    <a:pt x="850" y="151"/>
                  </a:lnTo>
                  <a:lnTo>
                    <a:pt x="856" y="151"/>
                  </a:lnTo>
                  <a:lnTo>
                    <a:pt x="862" y="150"/>
                  </a:lnTo>
                  <a:lnTo>
                    <a:pt x="868" y="149"/>
                  </a:lnTo>
                  <a:lnTo>
                    <a:pt x="883" y="145"/>
                  </a:lnTo>
                  <a:lnTo>
                    <a:pt x="898" y="140"/>
                  </a:lnTo>
                  <a:lnTo>
                    <a:pt x="912" y="135"/>
                  </a:lnTo>
                  <a:lnTo>
                    <a:pt x="928" y="131"/>
                  </a:lnTo>
                  <a:lnTo>
                    <a:pt x="936" y="128"/>
                  </a:lnTo>
                  <a:lnTo>
                    <a:pt x="944" y="128"/>
                  </a:lnTo>
                  <a:lnTo>
                    <a:pt x="952" y="127"/>
                  </a:lnTo>
                  <a:lnTo>
                    <a:pt x="959" y="128"/>
                  </a:lnTo>
                  <a:lnTo>
                    <a:pt x="966" y="131"/>
                  </a:lnTo>
                  <a:lnTo>
                    <a:pt x="974" y="134"/>
                  </a:lnTo>
                  <a:lnTo>
                    <a:pt x="980" y="137"/>
                  </a:lnTo>
                  <a:lnTo>
                    <a:pt x="987" y="143"/>
                  </a:lnTo>
                  <a:lnTo>
                    <a:pt x="994" y="149"/>
                  </a:lnTo>
                  <a:lnTo>
                    <a:pt x="1000" y="158"/>
                  </a:lnTo>
                  <a:lnTo>
                    <a:pt x="1005" y="168"/>
                  </a:lnTo>
                  <a:lnTo>
                    <a:pt x="1010" y="181"/>
                  </a:lnTo>
                  <a:lnTo>
                    <a:pt x="1014" y="191"/>
                  </a:lnTo>
                  <a:lnTo>
                    <a:pt x="1021" y="200"/>
                  </a:lnTo>
                  <a:lnTo>
                    <a:pt x="1027" y="209"/>
                  </a:lnTo>
                  <a:lnTo>
                    <a:pt x="1034" y="217"/>
                  </a:lnTo>
                  <a:lnTo>
                    <a:pt x="1042" y="223"/>
                  </a:lnTo>
                  <a:lnTo>
                    <a:pt x="1050" y="229"/>
                  </a:lnTo>
                  <a:lnTo>
                    <a:pt x="1058" y="233"/>
                  </a:lnTo>
                  <a:lnTo>
                    <a:pt x="1068" y="236"/>
                  </a:lnTo>
                  <a:lnTo>
                    <a:pt x="1076" y="237"/>
                  </a:lnTo>
                  <a:lnTo>
                    <a:pt x="1085" y="236"/>
                  </a:lnTo>
                  <a:lnTo>
                    <a:pt x="1094" y="234"/>
                  </a:lnTo>
                  <a:lnTo>
                    <a:pt x="1102" y="230"/>
                  </a:lnTo>
                  <a:lnTo>
                    <a:pt x="1109" y="223"/>
                  </a:lnTo>
                  <a:lnTo>
                    <a:pt x="1117" y="215"/>
                  </a:lnTo>
                  <a:lnTo>
                    <a:pt x="1124" y="205"/>
                  </a:lnTo>
                  <a:lnTo>
                    <a:pt x="1129" y="192"/>
                  </a:lnTo>
                  <a:lnTo>
                    <a:pt x="1137" y="172"/>
                  </a:lnTo>
                  <a:lnTo>
                    <a:pt x="1144" y="157"/>
                  </a:lnTo>
                  <a:lnTo>
                    <a:pt x="1151" y="144"/>
                  </a:lnTo>
                  <a:lnTo>
                    <a:pt x="1156" y="135"/>
                  </a:lnTo>
                  <a:lnTo>
                    <a:pt x="1163" y="129"/>
                  </a:lnTo>
                  <a:lnTo>
                    <a:pt x="1168" y="125"/>
                  </a:lnTo>
                  <a:lnTo>
                    <a:pt x="1171" y="125"/>
                  </a:lnTo>
                  <a:lnTo>
                    <a:pt x="1173" y="125"/>
                  </a:lnTo>
                  <a:lnTo>
                    <a:pt x="1176" y="125"/>
                  </a:lnTo>
                  <a:lnTo>
                    <a:pt x="1178" y="126"/>
                  </a:lnTo>
                  <a:lnTo>
                    <a:pt x="1184" y="129"/>
                  </a:lnTo>
                  <a:lnTo>
                    <a:pt x="1190" y="135"/>
                  </a:lnTo>
                  <a:lnTo>
                    <a:pt x="1196" y="142"/>
                  </a:lnTo>
                  <a:lnTo>
                    <a:pt x="1202" y="150"/>
                  </a:lnTo>
                  <a:lnTo>
                    <a:pt x="1218" y="170"/>
                  </a:lnTo>
                  <a:lnTo>
                    <a:pt x="1237" y="192"/>
                  </a:lnTo>
                  <a:lnTo>
                    <a:pt x="1241" y="196"/>
                  </a:lnTo>
                  <a:lnTo>
                    <a:pt x="1246" y="198"/>
                  </a:lnTo>
                  <a:lnTo>
                    <a:pt x="1250" y="198"/>
                  </a:lnTo>
                  <a:lnTo>
                    <a:pt x="1254" y="198"/>
                  </a:lnTo>
                  <a:lnTo>
                    <a:pt x="1258" y="196"/>
                  </a:lnTo>
                  <a:lnTo>
                    <a:pt x="1264" y="193"/>
                  </a:lnTo>
                  <a:lnTo>
                    <a:pt x="1268" y="190"/>
                  </a:lnTo>
                  <a:lnTo>
                    <a:pt x="1272" y="186"/>
                  </a:lnTo>
                  <a:lnTo>
                    <a:pt x="1287" y="166"/>
                  </a:lnTo>
                  <a:lnTo>
                    <a:pt x="1297" y="148"/>
                  </a:lnTo>
                  <a:lnTo>
                    <a:pt x="1302" y="143"/>
                  </a:lnTo>
                  <a:lnTo>
                    <a:pt x="1307" y="139"/>
                  </a:lnTo>
                  <a:lnTo>
                    <a:pt x="1312" y="137"/>
                  </a:lnTo>
                  <a:lnTo>
                    <a:pt x="1317" y="136"/>
                  </a:lnTo>
                  <a:lnTo>
                    <a:pt x="1321" y="137"/>
                  </a:lnTo>
                  <a:lnTo>
                    <a:pt x="1325" y="140"/>
                  </a:lnTo>
                  <a:lnTo>
                    <a:pt x="1329" y="143"/>
                  </a:lnTo>
                  <a:lnTo>
                    <a:pt x="1334" y="148"/>
                  </a:lnTo>
                  <a:lnTo>
                    <a:pt x="1340" y="160"/>
                  </a:lnTo>
                  <a:lnTo>
                    <a:pt x="1344" y="172"/>
                  </a:lnTo>
                  <a:lnTo>
                    <a:pt x="1347" y="184"/>
                  </a:lnTo>
                  <a:lnTo>
                    <a:pt x="1348" y="195"/>
                  </a:lnTo>
                  <a:lnTo>
                    <a:pt x="1347" y="230"/>
                  </a:lnTo>
                  <a:lnTo>
                    <a:pt x="1345" y="261"/>
                  </a:lnTo>
                  <a:lnTo>
                    <a:pt x="1344" y="276"/>
                  </a:lnTo>
                  <a:lnTo>
                    <a:pt x="1343" y="289"/>
                  </a:lnTo>
                  <a:lnTo>
                    <a:pt x="1344" y="302"/>
                  </a:lnTo>
                  <a:lnTo>
                    <a:pt x="1346" y="312"/>
                  </a:lnTo>
                  <a:lnTo>
                    <a:pt x="1347" y="317"/>
                  </a:lnTo>
                  <a:lnTo>
                    <a:pt x="1349" y="321"/>
                  </a:lnTo>
                  <a:lnTo>
                    <a:pt x="1351" y="326"/>
                  </a:lnTo>
                  <a:lnTo>
                    <a:pt x="1354" y="330"/>
                  </a:lnTo>
                  <a:lnTo>
                    <a:pt x="1357" y="333"/>
                  </a:lnTo>
                  <a:lnTo>
                    <a:pt x="1362" y="336"/>
                  </a:lnTo>
                  <a:lnTo>
                    <a:pt x="1366" y="338"/>
                  </a:lnTo>
                  <a:lnTo>
                    <a:pt x="1372" y="340"/>
                  </a:lnTo>
                  <a:lnTo>
                    <a:pt x="1377" y="341"/>
                  </a:lnTo>
                  <a:lnTo>
                    <a:pt x="1385" y="342"/>
                  </a:lnTo>
                  <a:lnTo>
                    <a:pt x="1392" y="343"/>
                  </a:lnTo>
                  <a:lnTo>
                    <a:pt x="1400" y="343"/>
                  </a:lnTo>
                  <a:lnTo>
                    <a:pt x="1419" y="341"/>
                  </a:lnTo>
                  <a:lnTo>
                    <a:pt x="1442" y="337"/>
                  </a:lnTo>
                  <a:lnTo>
                    <a:pt x="1457" y="333"/>
                  </a:lnTo>
                  <a:lnTo>
                    <a:pt x="1470" y="329"/>
                  </a:lnTo>
                  <a:lnTo>
                    <a:pt x="1483" y="324"/>
                  </a:lnTo>
                  <a:lnTo>
                    <a:pt x="1496" y="318"/>
                  </a:lnTo>
                  <a:lnTo>
                    <a:pt x="1521" y="306"/>
                  </a:lnTo>
                  <a:lnTo>
                    <a:pt x="1545" y="293"/>
                  </a:lnTo>
                  <a:lnTo>
                    <a:pt x="1558" y="287"/>
                  </a:lnTo>
                  <a:lnTo>
                    <a:pt x="1570" y="282"/>
                  </a:lnTo>
                  <a:lnTo>
                    <a:pt x="1583" y="277"/>
                  </a:lnTo>
                  <a:lnTo>
                    <a:pt x="1596" y="272"/>
                  </a:lnTo>
                  <a:lnTo>
                    <a:pt x="1611" y="269"/>
                  </a:lnTo>
                  <a:lnTo>
                    <a:pt x="1625" y="267"/>
                  </a:lnTo>
                  <a:lnTo>
                    <a:pt x="1640" y="266"/>
                  </a:lnTo>
                  <a:lnTo>
                    <a:pt x="1657" y="266"/>
                  </a:lnTo>
                  <a:lnTo>
                    <a:pt x="1663" y="267"/>
                  </a:lnTo>
                  <a:lnTo>
                    <a:pt x="1669" y="268"/>
                  </a:lnTo>
                  <a:lnTo>
                    <a:pt x="1674" y="270"/>
                  </a:lnTo>
                  <a:lnTo>
                    <a:pt x="1679" y="272"/>
                  </a:lnTo>
                  <a:lnTo>
                    <a:pt x="1683" y="274"/>
                  </a:lnTo>
                  <a:lnTo>
                    <a:pt x="1686" y="278"/>
                  </a:lnTo>
                  <a:lnTo>
                    <a:pt x="1689" y="281"/>
                  </a:lnTo>
                  <a:lnTo>
                    <a:pt x="1691" y="285"/>
                  </a:lnTo>
                  <a:lnTo>
                    <a:pt x="1695" y="293"/>
                  </a:lnTo>
                  <a:lnTo>
                    <a:pt x="1699" y="303"/>
                  </a:lnTo>
                  <a:lnTo>
                    <a:pt x="1702" y="313"/>
                  </a:lnTo>
                  <a:lnTo>
                    <a:pt x="1704" y="324"/>
                  </a:lnTo>
                  <a:lnTo>
                    <a:pt x="1704" y="324"/>
                  </a:lnTo>
                  <a:lnTo>
                    <a:pt x="1703" y="369"/>
                  </a:lnTo>
                  <a:lnTo>
                    <a:pt x="1723" y="383"/>
                  </a:lnTo>
                  <a:lnTo>
                    <a:pt x="1739" y="394"/>
                  </a:lnTo>
                  <a:lnTo>
                    <a:pt x="1752" y="408"/>
                  </a:lnTo>
                  <a:lnTo>
                    <a:pt x="1765" y="426"/>
                  </a:lnTo>
                  <a:lnTo>
                    <a:pt x="1761" y="434"/>
                  </a:lnTo>
                  <a:lnTo>
                    <a:pt x="1757" y="442"/>
                  </a:lnTo>
                  <a:lnTo>
                    <a:pt x="1754" y="452"/>
                  </a:lnTo>
                  <a:lnTo>
                    <a:pt x="1752" y="459"/>
                  </a:lnTo>
                  <a:lnTo>
                    <a:pt x="1751" y="467"/>
                  </a:lnTo>
                  <a:lnTo>
                    <a:pt x="1751" y="475"/>
                  </a:lnTo>
                  <a:lnTo>
                    <a:pt x="1752" y="481"/>
                  </a:lnTo>
                  <a:lnTo>
                    <a:pt x="1754" y="487"/>
                  </a:lnTo>
                  <a:lnTo>
                    <a:pt x="1757" y="493"/>
                  </a:lnTo>
                  <a:lnTo>
                    <a:pt x="1761" y="497"/>
                  </a:lnTo>
                  <a:lnTo>
                    <a:pt x="1766" y="501"/>
                  </a:lnTo>
                  <a:lnTo>
                    <a:pt x="1772" y="504"/>
                  </a:lnTo>
                  <a:lnTo>
                    <a:pt x="1780" y="505"/>
                  </a:lnTo>
                  <a:lnTo>
                    <a:pt x="1789" y="506"/>
                  </a:lnTo>
                  <a:lnTo>
                    <a:pt x="1799" y="506"/>
                  </a:lnTo>
                  <a:lnTo>
                    <a:pt x="1809" y="504"/>
                  </a:lnTo>
                  <a:lnTo>
                    <a:pt x="1815" y="504"/>
                  </a:lnTo>
                  <a:lnTo>
                    <a:pt x="1821" y="505"/>
                  </a:lnTo>
                  <a:lnTo>
                    <a:pt x="1827" y="507"/>
                  </a:lnTo>
                  <a:lnTo>
                    <a:pt x="1832" y="510"/>
                  </a:lnTo>
                  <a:lnTo>
                    <a:pt x="1837" y="514"/>
                  </a:lnTo>
                  <a:lnTo>
                    <a:pt x="1842" y="520"/>
                  </a:lnTo>
                  <a:lnTo>
                    <a:pt x="1846" y="526"/>
                  </a:lnTo>
                  <a:lnTo>
                    <a:pt x="1851" y="532"/>
                  </a:lnTo>
                  <a:lnTo>
                    <a:pt x="1865" y="559"/>
                  </a:lnTo>
                  <a:lnTo>
                    <a:pt x="1877" y="582"/>
                  </a:lnTo>
                  <a:lnTo>
                    <a:pt x="1884" y="595"/>
                  </a:lnTo>
                  <a:lnTo>
                    <a:pt x="1891" y="607"/>
                  </a:lnTo>
                  <a:lnTo>
                    <a:pt x="1900" y="620"/>
                  </a:lnTo>
                  <a:lnTo>
                    <a:pt x="1908" y="630"/>
                  </a:lnTo>
                  <a:lnTo>
                    <a:pt x="1918" y="641"/>
                  </a:lnTo>
                  <a:lnTo>
                    <a:pt x="1929" y="649"/>
                  </a:lnTo>
                  <a:lnTo>
                    <a:pt x="1935" y="652"/>
                  </a:lnTo>
                  <a:lnTo>
                    <a:pt x="1941" y="655"/>
                  </a:lnTo>
                  <a:lnTo>
                    <a:pt x="1949" y="657"/>
                  </a:lnTo>
                  <a:lnTo>
                    <a:pt x="1956" y="659"/>
                  </a:lnTo>
                  <a:lnTo>
                    <a:pt x="1967" y="663"/>
                  </a:lnTo>
                  <a:lnTo>
                    <a:pt x="1978" y="668"/>
                  </a:lnTo>
                  <a:lnTo>
                    <a:pt x="1989" y="675"/>
                  </a:lnTo>
                  <a:lnTo>
                    <a:pt x="2000" y="683"/>
                  </a:lnTo>
                  <a:lnTo>
                    <a:pt x="2023" y="703"/>
                  </a:lnTo>
                  <a:lnTo>
                    <a:pt x="2045" y="724"/>
                  </a:lnTo>
                  <a:lnTo>
                    <a:pt x="2055" y="734"/>
                  </a:lnTo>
                  <a:lnTo>
                    <a:pt x="2066" y="743"/>
                  </a:lnTo>
                  <a:lnTo>
                    <a:pt x="2077" y="751"/>
                  </a:lnTo>
                  <a:lnTo>
                    <a:pt x="2087" y="758"/>
                  </a:lnTo>
                  <a:lnTo>
                    <a:pt x="2093" y="761"/>
                  </a:lnTo>
                  <a:lnTo>
                    <a:pt x="2099" y="763"/>
                  </a:lnTo>
                  <a:lnTo>
                    <a:pt x="2104" y="764"/>
                  </a:lnTo>
                  <a:lnTo>
                    <a:pt x="2109" y="765"/>
                  </a:lnTo>
                  <a:lnTo>
                    <a:pt x="2113" y="765"/>
                  </a:lnTo>
                  <a:lnTo>
                    <a:pt x="2119" y="765"/>
                  </a:lnTo>
                  <a:lnTo>
                    <a:pt x="2124" y="764"/>
                  </a:lnTo>
                  <a:lnTo>
                    <a:pt x="2129" y="762"/>
                  </a:lnTo>
                  <a:lnTo>
                    <a:pt x="2146" y="750"/>
                  </a:lnTo>
                  <a:lnTo>
                    <a:pt x="2160" y="738"/>
                  </a:lnTo>
                  <a:lnTo>
                    <a:pt x="2164" y="736"/>
                  </a:lnTo>
                  <a:lnTo>
                    <a:pt x="2169" y="734"/>
                  </a:lnTo>
                  <a:lnTo>
                    <a:pt x="2173" y="731"/>
                  </a:lnTo>
                  <a:lnTo>
                    <a:pt x="2177" y="730"/>
                  </a:lnTo>
                  <a:lnTo>
                    <a:pt x="2182" y="730"/>
                  </a:lnTo>
                  <a:lnTo>
                    <a:pt x="2187" y="730"/>
                  </a:lnTo>
                  <a:lnTo>
                    <a:pt x="2193" y="731"/>
                  </a:lnTo>
                  <a:lnTo>
                    <a:pt x="2199" y="735"/>
                  </a:lnTo>
                  <a:lnTo>
                    <a:pt x="2209" y="738"/>
                  </a:lnTo>
                  <a:lnTo>
                    <a:pt x="2219" y="740"/>
                  </a:lnTo>
                  <a:lnTo>
                    <a:pt x="2227" y="741"/>
                  </a:lnTo>
                  <a:lnTo>
                    <a:pt x="2235" y="741"/>
                  </a:lnTo>
                  <a:lnTo>
                    <a:pt x="2244" y="740"/>
                  </a:lnTo>
                  <a:lnTo>
                    <a:pt x="2251" y="738"/>
                  </a:lnTo>
                  <a:lnTo>
                    <a:pt x="2257" y="735"/>
                  </a:lnTo>
                  <a:lnTo>
                    <a:pt x="2265" y="730"/>
                  </a:lnTo>
                  <a:lnTo>
                    <a:pt x="2290" y="711"/>
                  </a:lnTo>
                  <a:lnTo>
                    <a:pt x="2316" y="687"/>
                  </a:lnTo>
                  <a:lnTo>
                    <a:pt x="2327" y="679"/>
                  </a:lnTo>
                  <a:lnTo>
                    <a:pt x="2337" y="674"/>
                  </a:lnTo>
                  <a:lnTo>
                    <a:pt x="2342" y="673"/>
                  </a:lnTo>
                  <a:lnTo>
                    <a:pt x="2347" y="672"/>
                  </a:lnTo>
                  <a:lnTo>
                    <a:pt x="2351" y="673"/>
                  </a:lnTo>
                  <a:lnTo>
                    <a:pt x="2355" y="673"/>
                  </a:lnTo>
                  <a:lnTo>
                    <a:pt x="2358" y="675"/>
                  </a:lnTo>
                  <a:lnTo>
                    <a:pt x="2362" y="677"/>
                  </a:lnTo>
                  <a:lnTo>
                    <a:pt x="2365" y="680"/>
                  </a:lnTo>
                  <a:lnTo>
                    <a:pt x="2368" y="684"/>
                  </a:lnTo>
                  <a:lnTo>
                    <a:pt x="2369" y="690"/>
                  </a:lnTo>
                  <a:lnTo>
                    <a:pt x="2371" y="696"/>
                  </a:lnTo>
                  <a:lnTo>
                    <a:pt x="2372" y="702"/>
                  </a:lnTo>
                  <a:lnTo>
                    <a:pt x="2372" y="710"/>
                  </a:lnTo>
                  <a:lnTo>
                    <a:pt x="2372" y="715"/>
                  </a:lnTo>
                  <a:lnTo>
                    <a:pt x="2373" y="719"/>
                  </a:lnTo>
                  <a:lnTo>
                    <a:pt x="2375" y="723"/>
                  </a:lnTo>
                  <a:lnTo>
                    <a:pt x="2376" y="727"/>
                  </a:lnTo>
                  <a:lnTo>
                    <a:pt x="2381" y="735"/>
                  </a:lnTo>
                  <a:lnTo>
                    <a:pt x="2388" y="742"/>
                  </a:lnTo>
                  <a:lnTo>
                    <a:pt x="2403" y="753"/>
                  </a:lnTo>
                  <a:lnTo>
                    <a:pt x="2419" y="764"/>
                  </a:lnTo>
                  <a:lnTo>
                    <a:pt x="2426" y="769"/>
                  </a:lnTo>
                  <a:lnTo>
                    <a:pt x="2432" y="773"/>
                  </a:lnTo>
                  <a:lnTo>
                    <a:pt x="2438" y="778"/>
                  </a:lnTo>
                  <a:lnTo>
                    <a:pt x="2441" y="784"/>
                  </a:lnTo>
                  <a:lnTo>
                    <a:pt x="2442" y="786"/>
                  </a:lnTo>
                  <a:lnTo>
                    <a:pt x="2442" y="789"/>
                  </a:lnTo>
                  <a:lnTo>
                    <a:pt x="2442" y="791"/>
                  </a:lnTo>
                  <a:lnTo>
                    <a:pt x="2441" y="794"/>
                  </a:lnTo>
                  <a:lnTo>
                    <a:pt x="2437" y="800"/>
                  </a:lnTo>
                  <a:lnTo>
                    <a:pt x="2429" y="808"/>
                  </a:lnTo>
                  <a:lnTo>
                    <a:pt x="2420" y="816"/>
                  </a:lnTo>
                  <a:lnTo>
                    <a:pt x="2413" y="822"/>
                  </a:lnTo>
                  <a:lnTo>
                    <a:pt x="2407" y="828"/>
                  </a:lnTo>
                  <a:lnTo>
                    <a:pt x="2405" y="834"/>
                  </a:lnTo>
                  <a:lnTo>
                    <a:pt x="2404" y="838"/>
                  </a:lnTo>
                  <a:lnTo>
                    <a:pt x="2404" y="843"/>
                  </a:lnTo>
                  <a:lnTo>
                    <a:pt x="2406" y="846"/>
                  </a:lnTo>
                  <a:lnTo>
                    <a:pt x="2411" y="850"/>
                  </a:lnTo>
                  <a:lnTo>
                    <a:pt x="2419" y="860"/>
                  </a:lnTo>
                  <a:lnTo>
                    <a:pt x="2429" y="870"/>
                  </a:lnTo>
                  <a:lnTo>
                    <a:pt x="2435" y="877"/>
                  </a:lnTo>
                  <a:lnTo>
                    <a:pt x="2439" y="886"/>
                  </a:lnTo>
                  <a:lnTo>
                    <a:pt x="2443" y="896"/>
                  </a:lnTo>
                  <a:lnTo>
                    <a:pt x="2447" y="908"/>
                  </a:lnTo>
                  <a:lnTo>
                    <a:pt x="2445" y="920"/>
                  </a:lnTo>
                  <a:lnTo>
                    <a:pt x="2444" y="933"/>
                  </a:lnTo>
                  <a:lnTo>
                    <a:pt x="2444" y="939"/>
                  </a:lnTo>
                  <a:lnTo>
                    <a:pt x="2445" y="944"/>
                  </a:lnTo>
                  <a:lnTo>
                    <a:pt x="2448" y="948"/>
                  </a:lnTo>
                  <a:lnTo>
                    <a:pt x="2452" y="953"/>
                  </a:lnTo>
                  <a:lnTo>
                    <a:pt x="2457" y="951"/>
                  </a:lnTo>
                  <a:lnTo>
                    <a:pt x="2463" y="946"/>
                  </a:lnTo>
                  <a:lnTo>
                    <a:pt x="2468" y="942"/>
                  </a:lnTo>
                  <a:lnTo>
                    <a:pt x="2474" y="937"/>
                  </a:lnTo>
                  <a:lnTo>
                    <a:pt x="2488" y="924"/>
                  </a:lnTo>
                  <a:lnTo>
                    <a:pt x="2500" y="914"/>
                  </a:lnTo>
                  <a:lnTo>
                    <a:pt x="2508" y="909"/>
                  </a:lnTo>
                  <a:lnTo>
                    <a:pt x="2514" y="905"/>
                  </a:lnTo>
                  <a:lnTo>
                    <a:pt x="2519" y="903"/>
                  </a:lnTo>
                  <a:lnTo>
                    <a:pt x="2525" y="901"/>
                  </a:lnTo>
                  <a:lnTo>
                    <a:pt x="2527" y="901"/>
                  </a:lnTo>
                  <a:lnTo>
                    <a:pt x="2530" y="901"/>
                  </a:lnTo>
                  <a:lnTo>
                    <a:pt x="2533" y="903"/>
                  </a:lnTo>
                  <a:lnTo>
                    <a:pt x="2535" y="905"/>
                  </a:lnTo>
                  <a:lnTo>
                    <a:pt x="2538" y="909"/>
                  </a:lnTo>
                  <a:lnTo>
                    <a:pt x="2541" y="916"/>
                  </a:lnTo>
                  <a:lnTo>
                    <a:pt x="2547" y="940"/>
                  </a:lnTo>
                  <a:lnTo>
                    <a:pt x="2553" y="965"/>
                  </a:lnTo>
                  <a:lnTo>
                    <a:pt x="2558" y="989"/>
                  </a:lnTo>
                  <a:lnTo>
                    <a:pt x="2562" y="1014"/>
                  </a:lnTo>
                  <a:lnTo>
                    <a:pt x="2565" y="1039"/>
                  </a:lnTo>
                  <a:lnTo>
                    <a:pt x="2567" y="1064"/>
                  </a:lnTo>
                  <a:lnTo>
                    <a:pt x="2569" y="1089"/>
                  </a:lnTo>
                  <a:lnTo>
                    <a:pt x="2569" y="1114"/>
                  </a:lnTo>
                  <a:lnTo>
                    <a:pt x="2569" y="1122"/>
                  </a:lnTo>
                  <a:lnTo>
                    <a:pt x="2568" y="1129"/>
                  </a:lnTo>
                  <a:lnTo>
                    <a:pt x="2566" y="1135"/>
                  </a:lnTo>
                  <a:lnTo>
                    <a:pt x="2564" y="1140"/>
                  </a:lnTo>
                  <a:lnTo>
                    <a:pt x="2559" y="1152"/>
                  </a:lnTo>
                  <a:lnTo>
                    <a:pt x="2551" y="1161"/>
                  </a:lnTo>
                  <a:lnTo>
                    <a:pt x="2542" y="1171"/>
                  </a:lnTo>
                  <a:lnTo>
                    <a:pt x="2533" y="1179"/>
                  </a:lnTo>
                  <a:lnTo>
                    <a:pt x="2522" y="1187"/>
                  </a:lnTo>
                  <a:lnTo>
                    <a:pt x="2512" y="1195"/>
                  </a:lnTo>
                  <a:lnTo>
                    <a:pt x="2500" y="1203"/>
                  </a:lnTo>
                  <a:lnTo>
                    <a:pt x="2490" y="1211"/>
                  </a:lnTo>
                  <a:lnTo>
                    <a:pt x="2480" y="1220"/>
                  </a:lnTo>
                  <a:lnTo>
                    <a:pt x="2472" y="1229"/>
                  </a:lnTo>
                  <a:lnTo>
                    <a:pt x="2465" y="1239"/>
                  </a:lnTo>
                  <a:lnTo>
                    <a:pt x="2459" y="1250"/>
                  </a:lnTo>
                  <a:lnTo>
                    <a:pt x="2456" y="1256"/>
                  </a:lnTo>
                  <a:lnTo>
                    <a:pt x="2455" y="1262"/>
                  </a:lnTo>
                  <a:lnTo>
                    <a:pt x="2454" y="1270"/>
                  </a:lnTo>
                  <a:lnTo>
                    <a:pt x="2453" y="1277"/>
                  </a:lnTo>
                  <a:lnTo>
                    <a:pt x="2461" y="1282"/>
                  </a:lnTo>
                  <a:lnTo>
                    <a:pt x="2468" y="1285"/>
                  </a:lnTo>
                  <a:lnTo>
                    <a:pt x="2476" y="1287"/>
                  </a:lnTo>
                  <a:lnTo>
                    <a:pt x="2485" y="1290"/>
                  </a:lnTo>
                  <a:lnTo>
                    <a:pt x="2501" y="1290"/>
                  </a:lnTo>
                  <a:lnTo>
                    <a:pt x="2519" y="1289"/>
                  </a:lnTo>
                  <a:lnTo>
                    <a:pt x="2537" y="1286"/>
                  </a:lnTo>
                  <a:lnTo>
                    <a:pt x="2554" y="1285"/>
                  </a:lnTo>
                  <a:lnTo>
                    <a:pt x="2564" y="1285"/>
                  </a:lnTo>
                  <a:lnTo>
                    <a:pt x="2571" y="1286"/>
                  </a:lnTo>
                  <a:lnTo>
                    <a:pt x="2579" y="1289"/>
                  </a:lnTo>
                  <a:lnTo>
                    <a:pt x="2587" y="1293"/>
                  </a:lnTo>
                  <a:lnTo>
                    <a:pt x="2594" y="1297"/>
                  </a:lnTo>
                  <a:lnTo>
                    <a:pt x="2603" y="1305"/>
                  </a:lnTo>
                  <a:lnTo>
                    <a:pt x="2614" y="1316"/>
                  </a:lnTo>
                  <a:lnTo>
                    <a:pt x="2625" y="1328"/>
                  </a:lnTo>
                  <a:lnTo>
                    <a:pt x="2635" y="1341"/>
                  </a:lnTo>
                  <a:lnTo>
                    <a:pt x="2644" y="1353"/>
                  </a:lnTo>
                  <a:lnTo>
                    <a:pt x="2647" y="1358"/>
                  </a:lnTo>
                  <a:lnTo>
                    <a:pt x="2649" y="1364"/>
                  </a:lnTo>
                  <a:lnTo>
                    <a:pt x="2651" y="1368"/>
                  </a:lnTo>
                  <a:lnTo>
                    <a:pt x="2651" y="1372"/>
                  </a:lnTo>
                  <a:lnTo>
                    <a:pt x="2644" y="1376"/>
                  </a:lnTo>
                  <a:lnTo>
                    <a:pt x="2636" y="1379"/>
                  </a:lnTo>
                  <a:lnTo>
                    <a:pt x="2628" y="1382"/>
                  </a:lnTo>
                  <a:lnTo>
                    <a:pt x="2620" y="1383"/>
                  </a:lnTo>
                  <a:lnTo>
                    <a:pt x="2613" y="1386"/>
                  </a:lnTo>
                  <a:lnTo>
                    <a:pt x="2604" y="1388"/>
                  </a:lnTo>
                  <a:lnTo>
                    <a:pt x="2596" y="1391"/>
                  </a:lnTo>
                  <a:lnTo>
                    <a:pt x="2588" y="1394"/>
                  </a:lnTo>
                  <a:lnTo>
                    <a:pt x="2578" y="1399"/>
                  </a:lnTo>
                  <a:lnTo>
                    <a:pt x="2572" y="1404"/>
                  </a:lnTo>
                  <a:lnTo>
                    <a:pt x="2567" y="1410"/>
                  </a:lnTo>
                  <a:lnTo>
                    <a:pt x="2564" y="1416"/>
                  </a:lnTo>
                  <a:lnTo>
                    <a:pt x="2560" y="1428"/>
                  </a:lnTo>
                  <a:lnTo>
                    <a:pt x="2553" y="1445"/>
                  </a:lnTo>
                  <a:lnTo>
                    <a:pt x="2551" y="1452"/>
                  </a:lnTo>
                  <a:lnTo>
                    <a:pt x="2551" y="1460"/>
                  </a:lnTo>
                  <a:lnTo>
                    <a:pt x="2552" y="1466"/>
                  </a:lnTo>
                  <a:lnTo>
                    <a:pt x="2555" y="1471"/>
                  </a:lnTo>
                  <a:lnTo>
                    <a:pt x="2561" y="1475"/>
                  </a:lnTo>
                  <a:lnTo>
                    <a:pt x="2566" y="1479"/>
                  </a:lnTo>
                  <a:lnTo>
                    <a:pt x="2572" y="1483"/>
                  </a:lnTo>
                  <a:lnTo>
                    <a:pt x="2579" y="1486"/>
                  </a:lnTo>
                  <a:lnTo>
                    <a:pt x="2594" y="1492"/>
                  </a:lnTo>
                  <a:lnTo>
                    <a:pt x="2608" y="1498"/>
                  </a:lnTo>
                  <a:lnTo>
                    <a:pt x="2614" y="1502"/>
                  </a:lnTo>
                  <a:lnTo>
                    <a:pt x="2619" y="1507"/>
                  </a:lnTo>
                  <a:lnTo>
                    <a:pt x="2622" y="1512"/>
                  </a:lnTo>
                  <a:lnTo>
                    <a:pt x="2625" y="1518"/>
                  </a:lnTo>
                  <a:lnTo>
                    <a:pt x="2626" y="1525"/>
                  </a:lnTo>
                  <a:lnTo>
                    <a:pt x="2626" y="1532"/>
                  </a:lnTo>
                  <a:lnTo>
                    <a:pt x="2625" y="1537"/>
                  </a:lnTo>
                  <a:lnTo>
                    <a:pt x="2623" y="1541"/>
                  </a:lnTo>
                  <a:lnTo>
                    <a:pt x="2620" y="1544"/>
                  </a:lnTo>
                  <a:lnTo>
                    <a:pt x="2616" y="1546"/>
                  </a:lnTo>
                  <a:lnTo>
                    <a:pt x="2611" y="1548"/>
                  </a:lnTo>
                  <a:lnTo>
                    <a:pt x="2606" y="1549"/>
                  </a:lnTo>
                  <a:lnTo>
                    <a:pt x="2599" y="1549"/>
                  </a:lnTo>
                  <a:lnTo>
                    <a:pt x="2592" y="1549"/>
                  </a:lnTo>
                  <a:lnTo>
                    <a:pt x="2585" y="1548"/>
                  </a:lnTo>
                  <a:lnTo>
                    <a:pt x="2576" y="1547"/>
                  </a:lnTo>
                  <a:lnTo>
                    <a:pt x="2560" y="1543"/>
                  </a:lnTo>
                  <a:lnTo>
                    <a:pt x="2542" y="1538"/>
                  </a:lnTo>
                  <a:lnTo>
                    <a:pt x="2504" y="1525"/>
                  </a:lnTo>
                  <a:lnTo>
                    <a:pt x="2470" y="1512"/>
                  </a:lnTo>
                  <a:lnTo>
                    <a:pt x="2443" y="1500"/>
                  </a:lnTo>
                  <a:lnTo>
                    <a:pt x="2427" y="1496"/>
                  </a:lnTo>
                  <a:lnTo>
                    <a:pt x="2417" y="1496"/>
                  </a:lnTo>
                  <a:lnTo>
                    <a:pt x="2406" y="1498"/>
                  </a:lnTo>
                  <a:lnTo>
                    <a:pt x="2397" y="1501"/>
                  </a:lnTo>
                  <a:lnTo>
                    <a:pt x="2387" y="1506"/>
                  </a:lnTo>
                  <a:lnTo>
                    <a:pt x="2378" y="1511"/>
                  </a:lnTo>
                  <a:lnTo>
                    <a:pt x="2370" y="1516"/>
                  </a:lnTo>
                  <a:lnTo>
                    <a:pt x="2363" y="1522"/>
                  </a:lnTo>
                  <a:lnTo>
                    <a:pt x="2357" y="1530"/>
                  </a:lnTo>
                  <a:lnTo>
                    <a:pt x="2353" y="1536"/>
                  </a:lnTo>
                  <a:lnTo>
                    <a:pt x="2350" y="1542"/>
                  </a:lnTo>
                  <a:lnTo>
                    <a:pt x="2350" y="1546"/>
                  </a:lnTo>
                  <a:lnTo>
                    <a:pt x="2350" y="1549"/>
                  </a:lnTo>
                  <a:lnTo>
                    <a:pt x="2351" y="1552"/>
                  </a:lnTo>
                  <a:lnTo>
                    <a:pt x="2353" y="1556"/>
                  </a:lnTo>
                  <a:lnTo>
                    <a:pt x="2354" y="1558"/>
                  </a:lnTo>
                  <a:lnTo>
                    <a:pt x="2357" y="1561"/>
                  </a:lnTo>
                  <a:lnTo>
                    <a:pt x="2361" y="1563"/>
                  </a:lnTo>
                  <a:lnTo>
                    <a:pt x="2365" y="1566"/>
                  </a:lnTo>
                  <a:lnTo>
                    <a:pt x="2376" y="1569"/>
                  </a:lnTo>
                  <a:lnTo>
                    <a:pt x="2390" y="1572"/>
                  </a:lnTo>
                  <a:lnTo>
                    <a:pt x="2420" y="1574"/>
                  </a:lnTo>
                  <a:lnTo>
                    <a:pt x="2457" y="1579"/>
                  </a:lnTo>
                  <a:lnTo>
                    <a:pt x="2467" y="1581"/>
                  </a:lnTo>
                  <a:lnTo>
                    <a:pt x="2475" y="1583"/>
                  </a:lnTo>
                  <a:lnTo>
                    <a:pt x="2483" y="1587"/>
                  </a:lnTo>
                  <a:lnTo>
                    <a:pt x="2489" y="1591"/>
                  </a:lnTo>
                  <a:lnTo>
                    <a:pt x="2495" y="1596"/>
                  </a:lnTo>
                  <a:lnTo>
                    <a:pt x="2499" y="1603"/>
                  </a:lnTo>
                  <a:lnTo>
                    <a:pt x="2501" y="1610"/>
                  </a:lnTo>
                  <a:lnTo>
                    <a:pt x="2502" y="1618"/>
                  </a:lnTo>
                  <a:lnTo>
                    <a:pt x="2502" y="1621"/>
                  </a:lnTo>
                  <a:lnTo>
                    <a:pt x="2500" y="1624"/>
                  </a:lnTo>
                  <a:lnTo>
                    <a:pt x="2498" y="1627"/>
                  </a:lnTo>
                  <a:lnTo>
                    <a:pt x="2496" y="1629"/>
                  </a:lnTo>
                  <a:lnTo>
                    <a:pt x="2488" y="1632"/>
                  </a:lnTo>
                  <a:lnTo>
                    <a:pt x="2478" y="1633"/>
                  </a:lnTo>
                  <a:lnTo>
                    <a:pt x="2453" y="1634"/>
                  </a:lnTo>
                  <a:lnTo>
                    <a:pt x="2425" y="1633"/>
                  </a:lnTo>
                  <a:lnTo>
                    <a:pt x="2411" y="1634"/>
                  </a:lnTo>
                  <a:lnTo>
                    <a:pt x="2396" y="1634"/>
                  </a:lnTo>
                  <a:lnTo>
                    <a:pt x="2383" y="1636"/>
                  </a:lnTo>
                  <a:lnTo>
                    <a:pt x="2372" y="1639"/>
                  </a:lnTo>
                  <a:lnTo>
                    <a:pt x="2367" y="1642"/>
                  </a:lnTo>
                  <a:lnTo>
                    <a:pt x="2363" y="1644"/>
                  </a:lnTo>
                  <a:lnTo>
                    <a:pt x="2358" y="1647"/>
                  </a:lnTo>
                  <a:lnTo>
                    <a:pt x="2355" y="1652"/>
                  </a:lnTo>
                  <a:lnTo>
                    <a:pt x="2352" y="1656"/>
                  </a:lnTo>
                  <a:lnTo>
                    <a:pt x="2351" y="1661"/>
                  </a:lnTo>
                  <a:lnTo>
                    <a:pt x="2350" y="1666"/>
                  </a:lnTo>
                  <a:lnTo>
                    <a:pt x="2350" y="1672"/>
                  </a:lnTo>
                  <a:lnTo>
                    <a:pt x="2351" y="1679"/>
                  </a:lnTo>
                  <a:lnTo>
                    <a:pt x="2353" y="1684"/>
                  </a:lnTo>
                  <a:lnTo>
                    <a:pt x="2357" y="1689"/>
                  </a:lnTo>
                  <a:lnTo>
                    <a:pt x="2364" y="1693"/>
                  </a:lnTo>
                  <a:lnTo>
                    <a:pt x="2370" y="1697"/>
                  </a:lnTo>
                  <a:lnTo>
                    <a:pt x="2377" y="1701"/>
                  </a:lnTo>
                  <a:lnTo>
                    <a:pt x="2387" y="1704"/>
                  </a:lnTo>
                  <a:lnTo>
                    <a:pt x="2396" y="1706"/>
                  </a:lnTo>
                  <a:lnTo>
                    <a:pt x="2417" y="1710"/>
                  </a:lnTo>
                  <a:lnTo>
                    <a:pt x="2440" y="1713"/>
                  </a:lnTo>
                  <a:lnTo>
                    <a:pt x="2463" y="1716"/>
                  </a:lnTo>
                  <a:lnTo>
                    <a:pt x="2487" y="1718"/>
                  </a:lnTo>
                  <a:lnTo>
                    <a:pt x="2487" y="1718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39" name="Freeform 176">
              <a:extLst>
                <a:ext uri="{FF2B5EF4-FFF2-40B4-BE49-F238E27FC236}">
                  <a16:creationId xmlns:a16="http://schemas.microsoft.com/office/drawing/2014/main" id="{7FBF8523-2BD9-405D-8E12-7BFCEF43F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3704" y="3042200"/>
              <a:ext cx="666226" cy="764995"/>
            </a:xfrm>
            <a:custGeom>
              <a:avLst/>
              <a:gdLst>
                <a:gd name="T0" fmla="*/ 2522 w 2651"/>
                <a:gd name="T1" fmla="*/ 1817 h 3153"/>
                <a:gd name="T2" fmla="*/ 2529 w 2651"/>
                <a:gd name="T3" fmla="*/ 1897 h 3153"/>
                <a:gd name="T4" fmla="*/ 2481 w 2651"/>
                <a:gd name="T5" fmla="*/ 2083 h 3153"/>
                <a:gd name="T6" fmla="*/ 2536 w 2651"/>
                <a:gd name="T7" fmla="*/ 2439 h 3153"/>
                <a:gd name="T8" fmla="*/ 2345 w 2651"/>
                <a:gd name="T9" fmla="*/ 2505 h 3153"/>
                <a:gd name="T10" fmla="*/ 2229 w 2651"/>
                <a:gd name="T11" fmla="*/ 2605 h 3153"/>
                <a:gd name="T12" fmla="*/ 2220 w 2651"/>
                <a:gd name="T13" fmla="*/ 2720 h 3153"/>
                <a:gd name="T14" fmla="*/ 2257 w 2651"/>
                <a:gd name="T15" fmla="*/ 2834 h 3153"/>
                <a:gd name="T16" fmla="*/ 2327 w 2651"/>
                <a:gd name="T17" fmla="*/ 2929 h 3153"/>
                <a:gd name="T18" fmla="*/ 2215 w 2651"/>
                <a:gd name="T19" fmla="*/ 3079 h 3153"/>
                <a:gd name="T20" fmla="*/ 2053 w 2651"/>
                <a:gd name="T21" fmla="*/ 3123 h 3153"/>
                <a:gd name="T22" fmla="*/ 1766 w 2651"/>
                <a:gd name="T23" fmla="*/ 3064 h 3153"/>
                <a:gd name="T24" fmla="*/ 1643 w 2651"/>
                <a:gd name="T25" fmla="*/ 2942 h 3153"/>
                <a:gd name="T26" fmla="*/ 1393 w 2651"/>
                <a:gd name="T27" fmla="*/ 2760 h 3153"/>
                <a:gd name="T28" fmla="*/ 1129 w 2651"/>
                <a:gd name="T29" fmla="*/ 2664 h 3153"/>
                <a:gd name="T30" fmla="*/ 670 w 2651"/>
                <a:gd name="T31" fmla="*/ 2434 h 3153"/>
                <a:gd name="T32" fmla="*/ 497 w 2651"/>
                <a:gd name="T33" fmla="*/ 2500 h 3153"/>
                <a:gd name="T34" fmla="*/ 416 w 2651"/>
                <a:gd name="T35" fmla="*/ 2370 h 3153"/>
                <a:gd name="T36" fmla="*/ 210 w 2651"/>
                <a:gd name="T37" fmla="*/ 2432 h 3153"/>
                <a:gd name="T38" fmla="*/ 255 w 2651"/>
                <a:gd name="T39" fmla="*/ 2276 h 3153"/>
                <a:gd name="T40" fmla="*/ 342 w 2651"/>
                <a:gd name="T41" fmla="*/ 2153 h 3153"/>
                <a:gd name="T42" fmla="*/ 310 w 2651"/>
                <a:gd name="T43" fmla="*/ 2047 h 3153"/>
                <a:gd name="T44" fmla="*/ 247 w 2651"/>
                <a:gd name="T45" fmla="*/ 1883 h 3153"/>
                <a:gd name="T46" fmla="*/ 339 w 2651"/>
                <a:gd name="T47" fmla="*/ 1734 h 3153"/>
                <a:gd name="T48" fmla="*/ 153 w 2651"/>
                <a:gd name="T49" fmla="*/ 1557 h 3153"/>
                <a:gd name="T50" fmla="*/ 0 w 2651"/>
                <a:gd name="T51" fmla="*/ 1404 h 3153"/>
                <a:gd name="T52" fmla="*/ 117 w 2651"/>
                <a:gd name="T53" fmla="*/ 1140 h 3153"/>
                <a:gd name="T54" fmla="*/ 265 w 2651"/>
                <a:gd name="T55" fmla="*/ 1171 h 3153"/>
                <a:gd name="T56" fmla="*/ 364 w 2651"/>
                <a:gd name="T57" fmla="*/ 1193 h 3153"/>
                <a:gd name="T58" fmla="*/ 491 w 2651"/>
                <a:gd name="T59" fmla="*/ 1186 h 3153"/>
                <a:gd name="T60" fmla="*/ 561 w 2651"/>
                <a:gd name="T61" fmla="*/ 1103 h 3153"/>
                <a:gd name="T62" fmla="*/ 688 w 2651"/>
                <a:gd name="T63" fmla="*/ 1178 h 3153"/>
                <a:gd name="T64" fmla="*/ 776 w 2651"/>
                <a:gd name="T65" fmla="*/ 1203 h 3153"/>
                <a:gd name="T66" fmla="*/ 739 w 2651"/>
                <a:gd name="T67" fmla="*/ 1016 h 3153"/>
                <a:gd name="T68" fmla="*/ 805 w 2651"/>
                <a:gd name="T69" fmla="*/ 863 h 3153"/>
                <a:gd name="T70" fmla="*/ 740 w 2651"/>
                <a:gd name="T71" fmla="*/ 651 h 3153"/>
                <a:gd name="T72" fmla="*/ 733 w 2651"/>
                <a:gd name="T73" fmla="*/ 450 h 3153"/>
                <a:gd name="T74" fmla="*/ 651 w 2651"/>
                <a:gd name="T75" fmla="*/ 289 h 3153"/>
                <a:gd name="T76" fmla="*/ 615 w 2651"/>
                <a:gd name="T77" fmla="*/ 175 h 3153"/>
                <a:gd name="T78" fmla="*/ 789 w 2651"/>
                <a:gd name="T79" fmla="*/ 17 h 3153"/>
                <a:gd name="T80" fmla="*/ 856 w 2651"/>
                <a:gd name="T81" fmla="*/ 151 h 3153"/>
                <a:gd name="T82" fmla="*/ 1021 w 2651"/>
                <a:gd name="T83" fmla="*/ 200 h 3153"/>
                <a:gd name="T84" fmla="*/ 1168 w 2651"/>
                <a:gd name="T85" fmla="*/ 125 h 3153"/>
                <a:gd name="T86" fmla="*/ 1297 w 2651"/>
                <a:gd name="T87" fmla="*/ 148 h 3153"/>
                <a:gd name="T88" fmla="*/ 1349 w 2651"/>
                <a:gd name="T89" fmla="*/ 321 h 3153"/>
                <a:gd name="T90" fmla="*/ 1570 w 2651"/>
                <a:gd name="T91" fmla="*/ 282 h 3153"/>
                <a:gd name="T92" fmla="*/ 1703 w 2651"/>
                <a:gd name="T93" fmla="*/ 369 h 3153"/>
                <a:gd name="T94" fmla="*/ 1809 w 2651"/>
                <a:gd name="T95" fmla="*/ 504 h 3153"/>
                <a:gd name="T96" fmla="*/ 1956 w 2651"/>
                <a:gd name="T97" fmla="*/ 659 h 3153"/>
                <a:gd name="T98" fmla="*/ 2160 w 2651"/>
                <a:gd name="T99" fmla="*/ 738 h 3153"/>
                <a:gd name="T100" fmla="*/ 2337 w 2651"/>
                <a:gd name="T101" fmla="*/ 674 h 3153"/>
                <a:gd name="T102" fmla="*/ 2419 w 2651"/>
                <a:gd name="T103" fmla="*/ 764 h 3153"/>
                <a:gd name="T104" fmla="*/ 2429 w 2651"/>
                <a:gd name="T105" fmla="*/ 870 h 3153"/>
                <a:gd name="T106" fmla="*/ 2525 w 2651"/>
                <a:gd name="T107" fmla="*/ 901 h 3153"/>
                <a:gd name="T108" fmla="*/ 2551 w 2651"/>
                <a:gd name="T109" fmla="*/ 1161 h 3153"/>
                <a:gd name="T110" fmla="*/ 2519 w 2651"/>
                <a:gd name="T111" fmla="*/ 1289 h 3153"/>
                <a:gd name="T112" fmla="*/ 2620 w 2651"/>
                <a:gd name="T113" fmla="*/ 1383 h 3153"/>
                <a:gd name="T114" fmla="*/ 2608 w 2651"/>
                <a:gd name="T115" fmla="*/ 1498 h 3153"/>
                <a:gd name="T116" fmla="*/ 2470 w 2651"/>
                <a:gd name="T117" fmla="*/ 1512 h 3153"/>
                <a:gd name="T118" fmla="*/ 2365 w 2651"/>
                <a:gd name="T119" fmla="*/ 1566 h 3153"/>
                <a:gd name="T120" fmla="*/ 2425 w 2651"/>
                <a:gd name="T121" fmla="*/ 1633 h 3153"/>
                <a:gd name="T122" fmla="*/ 2396 w 2651"/>
                <a:gd name="T123" fmla="*/ 1706 h 3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51" h="3153">
                  <a:moveTo>
                    <a:pt x="2487" y="1718"/>
                  </a:moveTo>
                  <a:lnTo>
                    <a:pt x="2510" y="1721"/>
                  </a:lnTo>
                  <a:lnTo>
                    <a:pt x="2532" y="1725"/>
                  </a:lnTo>
                  <a:lnTo>
                    <a:pt x="2541" y="1726"/>
                  </a:lnTo>
                  <a:lnTo>
                    <a:pt x="2549" y="1728"/>
                  </a:lnTo>
                  <a:lnTo>
                    <a:pt x="2557" y="1731"/>
                  </a:lnTo>
                  <a:lnTo>
                    <a:pt x="2562" y="1733"/>
                  </a:lnTo>
                  <a:lnTo>
                    <a:pt x="2562" y="1739"/>
                  </a:lnTo>
                  <a:lnTo>
                    <a:pt x="2561" y="1744"/>
                  </a:lnTo>
                  <a:lnTo>
                    <a:pt x="2560" y="1751"/>
                  </a:lnTo>
                  <a:lnTo>
                    <a:pt x="2557" y="1757"/>
                  </a:lnTo>
                  <a:lnTo>
                    <a:pt x="2549" y="1768"/>
                  </a:lnTo>
                  <a:lnTo>
                    <a:pt x="2541" y="1780"/>
                  </a:lnTo>
                  <a:lnTo>
                    <a:pt x="2533" y="1790"/>
                  </a:lnTo>
                  <a:lnTo>
                    <a:pt x="2525" y="1800"/>
                  </a:lnTo>
                  <a:lnTo>
                    <a:pt x="2523" y="1804"/>
                  </a:lnTo>
                  <a:lnTo>
                    <a:pt x="2521" y="1808"/>
                  </a:lnTo>
                  <a:lnTo>
                    <a:pt x="2520" y="1811"/>
                  </a:lnTo>
                  <a:lnTo>
                    <a:pt x="2520" y="1814"/>
                  </a:lnTo>
                  <a:lnTo>
                    <a:pt x="2522" y="1817"/>
                  </a:lnTo>
                  <a:lnTo>
                    <a:pt x="2526" y="1819"/>
                  </a:lnTo>
                  <a:lnTo>
                    <a:pt x="2532" y="1820"/>
                  </a:lnTo>
                  <a:lnTo>
                    <a:pt x="2537" y="1821"/>
                  </a:lnTo>
                  <a:lnTo>
                    <a:pt x="2551" y="1820"/>
                  </a:lnTo>
                  <a:lnTo>
                    <a:pt x="2568" y="1817"/>
                  </a:lnTo>
                  <a:lnTo>
                    <a:pt x="2576" y="1817"/>
                  </a:lnTo>
                  <a:lnTo>
                    <a:pt x="2584" y="1817"/>
                  </a:lnTo>
                  <a:lnTo>
                    <a:pt x="2591" y="1819"/>
                  </a:lnTo>
                  <a:lnTo>
                    <a:pt x="2597" y="1821"/>
                  </a:lnTo>
                  <a:lnTo>
                    <a:pt x="2602" y="1823"/>
                  </a:lnTo>
                  <a:lnTo>
                    <a:pt x="2607" y="1827"/>
                  </a:lnTo>
                  <a:lnTo>
                    <a:pt x="2609" y="1830"/>
                  </a:lnTo>
                  <a:lnTo>
                    <a:pt x="2610" y="1832"/>
                  </a:lnTo>
                  <a:lnTo>
                    <a:pt x="2611" y="1836"/>
                  </a:lnTo>
                  <a:lnTo>
                    <a:pt x="2611" y="1839"/>
                  </a:lnTo>
                  <a:lnTo>
                    <a:pt x="2588" y="1857"/>
                  </a:lnTo>
                  <a:lnTo>
                    <a:pt x="2566" y="1874"/>
                  </a:lnTo>
                  <a:lnTo>
                    <a:pt x="2554" y="1882"/>
                  </a:lnTo>
                  <a:lnTo>
                    <a:pt x="2542" y="1889"/>
                  </a:lnTo>
                  <a:lnTo>
                    <a:pt x="2529" y="1897"/>
                  </a:lnTo>
                  <a:lnTo>
                    <a:pt x="2515" y="1903"/>
                  </a:lnTo>
                  <a:lnTo>
                    <a:pt x="2506" y="1907"/>
                  </a:lnTo>
                  <a:lnTo>
                    <a:pt x="2499" y="1911"/>
                  </a:lnTo>
                  <a:lnTo>
                    <a:pt x="2493" y="1916"/>
                  </a:lnTo>
                  <a:lnTo>
                    <a:pt x="2488" y="1921"/>
                  </a:lnTo>
                  <a:lnTo>
                    <a:pt x="2478" y="1931"/>
                  </a:lnTo>
                  <a:lnTo>
                    <a:pt x="2471" y="1942"/>
                  </a:lnTo>
                  <a:lnTo>
                    <a:pt x="2465" y="1954"/>
                  </a:lnTo>
                  <a:lnTo>
                    <a:pt x="2457" y="1967"/>
                  </a:lnTo>
                  <a:lnTo>
                    <a:pt x="2450" y="1979"/>
                  </a:lnTo>
                  <a:lnTo>
                    <a:pt x="2441" y="1991"/>
                  </a:lnTo>
                  <a:lnTo>
                    <a:pt x="2442" y="2006"/>
                  </a:lnTo>
                  <a:lnTo>
                    <a:pt x="2444" y="2019"/>
                  </a:lnTo>
                  <a:lnTo>
                    <a:pt x="2447" y="2031"/>
                  </a:lnTo>
                  <a:lnTo>
                    <a:pt x="2452" y="2046"/>
                  </a:lnTo>
                  <a:lnTo>
                    <a:pt x="2460" y="2056"/>
                  </a:lnTo>
                  <a:lnTo>
                    <a:pt x="2469" y="2068"/>
                  </a:lnTo>
                  <a:lnTo>
                    <a:pt x="2474" y="2073"/>
                  </a:lnTo>
                  <a:lnTo>
                    <a:pt x="2478" y="2078"/>
                  </a:lnTo>
                  <a:lnTo>
                    <a:pt x="2481" y="2083"/>
                  </a:lnTo>
                  <a:lnTo>
                    <a:pt x="2484" y="2088"/>
                  </a:lnTo>
                  <a:lnTo>
                    <a:pt x="2486" y="2092"/>
                  </a:lnTo>
                  <a:lnTo>
                    <a:pt x="2489" y="2098"/>
                  </a:lnTo>
                  <a:lnTo>
                    <a:pt x="2492" y="2107"/>
                  </a:lnTo>
                  <a:lnTo>
                    <a:pt x="2496" y="2118"/>
                  </a:lnTo>
                  <a:lnTo>
                    <a:pt x="2501" y="2145"/>
                  </a:lnTo>
                  <a:lnTo>
                    <a:pt x="2508" y="2175"/>
                  </a:lnTo>
                  <a:lnTo>
                    <a:pt x="2513" y="2206"/>
                  </a:lnTo>
                  <a:lnTo>
                    <a:pt x="2517" y="2235"/>
                  </a:lnTo>
                  <a:lnTo>
                    <a:pt x="2521" y="2258"/>
                  </a:lnTo>
                  <a:lnTo>
                    <a:pt x="2522" y="2272"/>
                  </a:lnTo>
                  <a:lnTo>
                    <a:pt x="2525" y="2294"/>
                  </a:lnTo>
                  <a:lnTo>
                    <a:pt x="2529" y="2319"/>
                  </a:lnTo>
                  <a:lnTo>
                    <a:pt x="2533" y="2345"/>
                  </a:lnTo>
                  <a:lnTo>
                    <a:pt x="2536" y="2374"/>
                  </a:lnTo>
                  <a:lnTo>
                    <a:pt x="2537" y="2388"/>
                  </a:lnTo>
                  <a:lnTo>
                    <a:pt x="2538" y="2402"/>
                  </a:lnTo>
                  <a:lnTo>
                    <a:pt x="2538" y="2414"/>
                  </a:lnTo>
                  <a:lnTo>
                    <a:pt x="2537" y="2428"/>
                  </a:lnTo>
                  <a:lnTo>
                    <a:pt x="2536" y="2439"/>
                  </a:lnTo>
                  <a:lnTo>
                    <a:pt x="2533" y="2451"/>
                  </a:lnTo>
                  <a:lnTo>
                    <a:pt x="2529" y="2461"/>
                  </a:lnTo>
                  <a:lnTo>
                    <a:pt x="2525" y="2471"/>
                  </a:lnTo>
                  <a:lnTo>
                    <a:pt x="2519" y="2473"/>
                  </a:lnTo>
                  <a:lnTo>
                    <a:pt x="2513" y="2476"/>
                  </a:lnTo>
                  <a:lnTo>
                    <a:pt x="2506" y="2480"/>
                  </a:lnTo>
                  <a:lnTo>
                    <a:pt x="2500" y="2484"/>
                  </a:lnTo>
                  <a:lnTo>
                    <a:pt x="2494" y="2488"/>
                  </a:lnTo>
                  <a:lnTo>
                    <a:pt x="2487" y="2492"/>
                  </a:lnTo>
                  <a:lnTo>
                    <a:pt x="2479" y="2496"/>
                  </a:lnTo>
                  <a:lnTo>
                    <a:pt x="2470" y="2498"/>
                  </a:lnTo>
                  <a:lnTo>
                    <a:pt x="2457" y="2499"/>
                  </a:lnTo>
                  <a:lnTo>
                    <a:pt x="2444" y="2500"/>
                  </a:lnTo>
                  <a:lnTo>
                    <a:pt x="2431" y="2500"/>
                  </a:lnTo>
                  <a:lnTo>
                    <a:pt x="2419" y="2499"/>
                  </a:lnTo>
                  <a:lnTo>
                    <a:pt x="2396" y="2498"/>
                  </a:lnTo>
                  <a:lnTo>
                    <a:pt x="2374" y="2498"/>
                  </a:lnTo>
                  <a:lnTo>
                    <a:pt x="2364" y="2499"/>
                  </a:lnTo>
                  <a:lnTo>
                    <a:pt x="2354" y="2501"/>
                  </a:lnTo>
                  <a:lnTo>
                    <a:pt x="2345" y="2505"/>
                  </a:lnTo>
                  <a:lnTo>
                    <a:pt x="2335" y="2510"/>
                  </a:lnTo>
                  <a:lnTo>
                    <a:pt x="2328" y="2516"/>
                  </a:lnTo>
                  <a:lnTo>
                    <a:pt x="2321" y="2526"/>
                  </a:lnTo>
                  <a:lnTo>
                    <a:pt x="2315" y="2536"/>
                  </a:lnTo>
                  <a:lnTo>
                    <a:pt x="2308" y="2550"/>
                  </a:lnTo>
                  <a:lnTo>
                    <a:pt x="2309" y="2562"/>
                  </a:lnTo>
                  <a:lnTo>
                    <a:pt x="2309" y="2572"/>
                  </a:lnTo>
                  <a:lnTo>
                    <a:pt x="2307" y="2578"/>
                  </a:lnTo>
                  <a:lnTo>
                    <a:pt x="2304" y="2583"/>
                  </a:lnTo>
                  <a:lnTo>
                    <a:pt x="2300" y="2587"/>
                  </a:lnTo>
                  <a:lnTo>
                    <a:pt x="2295" y="2589"/>
                  </a:lnTo>
                  <a:lnTo>
                    <a:pt x="2289" y="2591"/>
                  </a:lnTo>
                  <a:lnTo>
                    <a:pt x="2281" y="2591"/>
                  </a:lnTo>
                  <a:lnTo>
                    <a:pt x="2268" y="2589"/>
                  </a:lnTo>
                  <a:lnTo>
                    <a:pt x="2253" y="2589"/>
                  </a:lnTo>
                  <a:lnTo>
                    <a:pt x="2247" y="2591"/>
                  </a:lnTo>
                  <a:lnTo>
                    <a:pt x="2241" y="2593"/>
                  </a:lnTo>
                  <a:lnTo>
                    <a:pt x="2235" y="2597"/>
                  </a:lnTo>
                  <a:lnTo>
                    <a:pt x="2231" y="2602"/>
                  </a:lnTo>
                  <a:lnTo>
                    <a:pt x="2229" y="2605"/>
                  </a:lnTo>
                  <a:lnTo>
                    <a:pt x="2229" y="2609"/>
                  </a:lnTo>
                  <a:lnTo>
                    <a:pt x="2230" y="2612"/>
                  </a:lnTo>
                  <a:lnTo>
                    <a:pt x="2232" y="2617"/>
                  </a:lnTo>
                  <a:lnTo>
                    <a:pt x="2239" y="2625"/>
                  </a:lnTo>
                  <a:lnTo>
                    <a:pt x="2246" y="2634"/>
                  </a:lnTo>
                  <a:lnTo>
                    <a:pt x="2249" y="2640"/>
                  </a:lnTo>
                  <a:lnTo>
                    <a:pt x="2252" y="2645"/>
                  </a:lnTo>
                  <a:lnTo>
                    <a:pt x="2255" y="2650"/>
                  </a:lnTo>
                  <a:lnTo>
                    <a:pt x="2257" y="2655"/>
                  </a:lnTo>
                  <a:lnTo>
                    <a:pt x="2257" y="2661"/>
                  </a:lnTo>
                  <a:lnTo>
                    <a:pt x="2257" y="2668"/>
                  </a:lnTo>
                  <a:lnTo>
                    <a:pt x="2255" y="2675"/>
                  </a:lnTo>
                  <a:lnTo>
                    <a:pt x="2252" y="2682"/>
                  </a:lnTo>
                  <a:lnTo>
                    <a:pt x="2246" y="2690"/>
                  </a:lnTo>
                  <a:lnTo>
                    <a:pt x="2240" y="2696"/>
                  </a:lnTo>
                  <a:lnTo>
                    <a:pt x="2234" y="2700"/>
                  </a:lnTo>
                  <a:lnTo>
                    <a:pt x="2228" y="2704"/>
                  </a:lnTo>
                  <a:lnTo>
                    <a:pt x="2224" y="2709"/>
                  </a:lnTo>
                  <a:lnTo>
                    <a:pt x="2221" y="2716"/>
                  </a:lnTo>
                  <a:lnTo>
                    <a:pt x="2220" y="2720"/>
                  </a:lnTo>
                  <a:lnTo>
                    <a:pt x="2220" y="2725"/>
                  </a:lnTo>
                  <a:lnTo>
                    <a:pt x="2220" y="2730"/>
                  </a:lnTo>
                  <a:lnTo>
                    <a:pt x="2220" y="2736"/>
                  </a:lnTo>
                  <a:lnTo>
                    <a:pt x="2223" y="2749"/>
                  </a:lnTo>
                  <a:lnTo>
                    <a:pt x="2226" y="2762"/>
                  </a:lnTo>
                  <a:lnTo>
                    <a:pt x="2227" y="2768"/>
                  </a:lnTo>
                  <a:lnTo>
                    <a:pt x="2228" y="2774"/>
                  </a:lnTo>
                  <a:lnTo>
                    <a:pt x="2227" y="2781"/>
                  </a:lnTo>
                  <a:lnTo>
                    <a:pt x="2226" y="2789"/>
                  </a:lnTo>
                  <a:lnTo>
                    <a:pt x="2223" y="2802"/>
                  </a:lnTo>
                  <a:lnTo>
                    <a:pt x="2222" y="2813"/>
                  </a:lnTo>
                  <a:lnTo>
                    <a:pt x="2222" y="2818"/>
                  </a:lnTo>
                  <a:lnTo>
                    <a:pt x="2223" y="2821"/>
                  </a:lnTo>
                  <a:lnTo>
                    <a:pt x="2225" y="2825"/>
                  </a:lnTo>
                  <a:lnTo>
                    <a:pt x="2227" y="2827"/>
                  </a:lnTo>
                  <a:lnTo>
                    <a:pt x="2230" y="2829"/>
                  </a:lnTo>
                  <a:lnTo>
                    <a:pt x="2234" y="2831"/>
                  </a:lnTo>
                  <a:lnTo>
                    <a:pt x="2239" y="2833"/>
                  </a:lnTo>
                  <a:lnTo>
                    <a:pt x="2245" y="2834"/>
                  </a:lnTo>
                  <a:lnTo>
                    <a:pt x="2257" y="2834"/>
                  </a:lnTo>
                  <a:lnTo>
                    <a:pt x="2272" y="2833"/>
                  </a:lnTo>
                  <a:lnTo>
                    <a:pt x="2283" y="2831"/>
                  </a:lnTo>
                  <a:lnTo>
                    <a:pt x="2294" y="2831"/>
                  </a:lnTo>
                  <a:lnTo>
                    <a:pt x="2303" y="2831"/>
                  </a:lnTo>
                  <a:lnTo>
                    <a:pt x="2312" y="2833"/>
                  </a:lnTo>
                  <a:lnTo>
                    <a:pt x="2321" y="2835"/>
                  </a:lnTo>
                  <a:lnTo>
                    <a:pt x="2328" y="2839"/>
                  </a:lnTo>
                  <a:lnTo>
                    <a:pt x="2335" y="2844"/>
                  </a:lnTo>
                  <a:lnTo>
                    <a:pt x="2344" y="2852"/>
                  </a:lnTo>
                  <a:lnTo>
                    <a:pt x="2343" y="2861"/>
                  </a:lnTo>
                  <a:lnTo>
                    <a:pt x="2341" y="2869"/>
                  </a:lnTo>
                  <a:lnTo>
                    <a:pt x="2339" y="2877"/>
                  </a:lnTo>
                  <a:lnTo>
                    <a:pt x="2337" y="2885"/>
                  </a:lnTo>
                  <a:lnTo>
                    <a:pt x="2333" y="2892"/>
                  </a:lnTo>
                  <a:lnTo>
                    <a:pt x="2331" y="2899"/>
                  </a:lnTo>
                  <a:lnTo>
                    <a:pt x="2329" y="2907"/>
                  </a:lnTo>
                  <a:lnTo>
                    <a:pt x="2329" y="2914"/>
                  </a:lnTo>
                  <a:lnTo>
                    <a:pt x="2328" y="2916"/>
                  </a:lnTo>
                  <a:lnTo>
                    <a:pt x="2327" y="2918"/>
                  </a:lnTo>
                  <a:lnTo>
                    <a:pt x="2327" y="2929"/>
                  </a:lnTo>
                  <a:lnTo>
                    <a:pt x="2329" y="2940"/>
                  </a:lnTo>
                  <a:lnTo>
                    <a:pt x="2331" y="2950"/>
                  </a:lnTo>
                  <a:lnTo>
                    <a:pt x="2333" y="2960"/>
                  </a:lnTo>
                  <a:lnTo>
                    <a:pt x="2335" y="2970"/>
                  </a:lnTo>
                  <a:lnTo>
                    <a:pt x="2338" y="2981"/>
                  </a:lnTo>
                  <a:lnTo>
                    <a:pt x="2340" y="2991"/>
                  </a:lnTo>
                  <a:lnTo>
                    <a:pt x="2340" y="3002"/>
                  </a:lnTo>
                  <a:lnTo>
                    <a:pt x="2340" y="3002"/>
                  </a:lnTo>
                  <a:lnTo>
                    <a:pt x="2327" y="3001"/>
                  </a:lnTo>
                  <a:lnTo>
                    <a:pt x="2314" y="2999"/>
                  </a:lnTo>
                  <a:lnTo>
                    <a:pt x="2301" y="2999"/>
                  </a:lnTo>
                  <a:lnTo>
                    <a:pt x="2289" y="3001"/>
                  </a:lnTo>
                  <a:lnTo>
                    <a:pt x="2281" y="3003"/>
                  </a:lnTo>
                  <a:lnTo>
                    <a:pt x="2274" y="3006"/>
                  </a:lnTo>
                  <a:lnTo>
                    <a:pt x="2268" y="3008"/>
                  </a:lnTo>
                  <a:lnTo>
                    <a:pt x="2261" y="3012"/>
                  </a:lnTo>
                  <a:lnTo>
                    <a:pt x="2249" y="3018"/>
                  </a:lnTo>
                  <a:lnTo>
                    <a:pt x="2236" y="3025"/>
                  </a:lnTo>
                  <a:lnTo>
                    <a:pt x="2226" y="3050"/>
                  </a:lnTo>
                  <a:lnTo>
                    <a:pt x="2215" y="3079"/>
                  </a:lnTo>
                  <a:lnTo>
                    <a:pt x="2208" y="3093"/>
                  </a:lnTo>
                  <a:lnTo>
                    <a:pt x="2202" y="3107"/>
                  </a:lnTo>
                  <a:lnTo>
                    <a:pt x="2195" y="3119"/>
                  </a:lnTo>
                  <a:lnTo>
                    <a:pt x="2187" y="3130"/>
                  </a:lnTo>
                  <a:lnTo>
                    <a:pt x="2181" y="3136"/>
                  </a:lnTo>
                  <a:lnTo>
                    <a:pt x="2176" y="3141"/>
                  </a:lnTo>
                  <a:lnTo>
                    <a:pt x="2170" y="3146"/>
                  </a:lnTo>
                  <a:lnTo>
                    <a:pt x="2164" y="3149"/>
                  </a:lnTo>
                  <a:lnTo>
                    <a:pt x="2158" y="3151"/>
                  </a:lnTo>
                  <a:lnTo>
                    <a:pt x="2152" y="3153"/>
                  </a:lnTo>
                  <a:lnTo>
                    <a:pt x="2145" y="3153"/>
                  </a:lnTo>
                  <a:lnTo>
                    <a:pt x="2135" y="3153"/>
                  </a:lnTo>
                  <a:lnTo>
                    <a:pt x="2125" y="3152"/>
                  </a:lnTo>
                  <a:lnTo>
                    <a:pt x="2114" y="3150"/>
                  </a:lnTo>
                  <a:lnTo>
                    <a:pt x="2106" y="3147"/>
                  </a:lnTo>
                  <a:lnTo>
                    <a:pt x="2097" y="3142"/>
                  </a:lnTo>
                  <a:lnTo>
                    <a:pt x="2079" y="3135"/>
                  </a:lnTo>
                  <a:lnTo>
                    <a:pt x="2059" y="3128"/>
                  </a:lnTo>
                  <a:lnTo>
                    <a:pt x="2059" y="3128"/>
                  </a:lnTo>
                  <a:lnTo>
                    <a:pt x="2053" y="3123"/>
                  </a:lnTo>
                  <a:lnTo>
                    <a:pt x="2046" y="3118"/>
                  </a:lnTo>
                  <a:lnTo>
                    <a:pt x="2037" y="3114"/>
                  </a:lnTo>
                  <a:lnTo>
                    <a:pt x="2028" y="3110"/>
                  </a:lnTo>
                  <a:lnTo>
                    <a:pt x="2007" y="3103"/>
                  </a:lnTo>
                  <a:lnTo>
                    <a:pt x="1984" y="3096"/>
                  </a:lnTo>
                  <a:lnTo>
                    <a:pt x="1961" y="3091"/>
                  </a:lnTo>
                  <a:lnTo>
                    <a:pt x="1938" y="3088"/>
                  </a:lnTo>
                  <a:lnTo>
                    <a:pt x="1918" y="3086"/>
                  </a:lnTo>
                  <a:lnTo>
                    <a:pt x="1901" y="3086"/>
                  </a:lnTo>
                  <a:lnTo>
                    <a:pt x="1882" y="3086"/>
                  </a:lnTo>
                  <a:lnTo>
                    <a:pt x="1861" y="3088"/>
                  </a:lnTo>
                  <a:lnTo>
                    <a:pt x="1851" y="3088"/>
                  </a:lnTo>
                  <a:lnTo>
                    <a:pt x="1840" y="3088"/>
                  </a:lnTo>
                  <a:lnTo>
                    <a:pt x="1831" y="3087"/>
                  </a:lnTo>
                  <a:lnTo>
                    <a:pt x="1821" y="3086"/>
                  </a:lnTo>
                  <a:lnTo>
                    <a:pt x="1808" y="3082"/>
                  </a:lnTo>
                  <a:lnTo>
                    <a:pt x="1796" y="3079"/>
                  </a:lnTo>
                  <a:lnTo>
                    <a:pt x="1787" y="3076"/>
                  </a:lnTo>
                  <a:lnTo>
                    <a:pt x="1779" y="3071"/>
                  </a:lnTo>
                  <a:lnTo>
                    <a:pt x="1766" y="3064"/>
                  </a:lnTo>
                  <a:lnTo>
                    <a:pt x="1757" y="3057"/>
                  </a:lnTo>
                  <a:lnTo>
                    <a:pt x="1747" y="3048"/>
                  </a:lnTo>
                  <a:lnTo>
                    <a:pt x="1737" y="3040"/>
                  </a:lnTo>
                  <a:lnTo>
                    <a:pt x="1731" y="3036"/>
                  </a:lnTo>
                  <a:lnTo>
                    <a:pt x="1723" y="3032"/>
                  </a:lnTo>
                  <a:lnTo>
                    <a:pt x="1715" y="3028"/>
                  </a:lnTo>
                  <a:lnTo>
                    <a:pt x="1704" y="3022"/>
                  </a:lnTo>
                  <a:lnTo>
                    <a:pt x="1693" y="3018"/>
                  </a:lnTo>
                  <a:lnTo>
                    <a:pt x="1683" y="3013"/>
                  </a:lnTo>
                  <a:lnTo>
                    <a:pt x="1672" y="3007"/>
                  </a:lnTo>
                  <a:lnTo>
                    <a:pt x="1664" y="2999"/>
                  </a:lnTo>
                  <a:lnTo>
                    <a:pt x="1660" y="2995"/>
                  </a:lnTo>
                  <a:lnTo>
                    <a:pt x="1656" y="2991"/>
                  </a:lnTo>
                  <a:lnTo>
                    <a:pt x="1653" y="2987"/>
                  </a:lnTo>
                  <a:lnTo>
                    <a:pt x="1649" y="2983"/>
                  </a:lnTo>
                  <a:lnTo>
                    <a:pt x="1647" y="2978"/>
                  </a:lnTo>
                  <a:lnTo>
                    <a:pt x="1645" y="2971"/>
                  </a:lnTo>
                  <a:lnTo>
                    <a:pt x="1644" y="2966"/>
                  </a:lnTo>
                  <a:lnTo>
                    <a:pt x="1644" y="2960"/>
                  </a:lnTo>
                  <a:lnTo>
                    <a:pt x="1643" y="2942"/>
                  </a:lnTo>
                  <a:lnTo>
                    <a:pt x="1642" y="2925"/>
                  </a:lnTo>
                  <a:lnTo>
                    <a:pt x="1640" y="2909"/>
                  </a:lnTo>
                  <a:lnTo>
                    <a:pt x="1637" y="2893"/>
                  </a:lnTo>
                  <a:lnTo>
                    <a:pt x="1632" y="2878"/>
                  </a:lnTo>
                  <a:lnTo>
                    <a:pt x="1624" y="2863"/>
                  </a:lnTo>
                  <a:lnTo>
                    <a:pt x="1616" y="2848"/>
                  </a:lnTo>
                  <a:lnTo>
                    <a:pt x="1605" y="2835"/>
                  </a:lnTo>
                  <a:lnTo>
                    <a:pt x="1596" y="2826"/>
                  </a:lnTo>
                  <a:lnTo>
                    <a:pt x="1587" y="2819"/>
                  </a:lnTo>
                  <a:lnTo>
                    <a:pt x="1577" y="2812"/>
                  </a:lnTo>
                  <a:lnTo>
                    <a:pt x="1568" y="2806"/>
                  </a:lnTo>
                  <a:lnTo>
                    <a:pt x="1559" y="2800"/>
                  </a:lnTo>
                  <a:lnTo>
                    <a:pt x="1548" y="2795"/>
                  </a:lnTo>
                  <a:lnTo>
                    <a:pt x="1538" y="2791"/>
                  </a:lnTo>
                  <a:lnTo>
                    <a:pt x="1527" y="2787"/>
                  </a:lnTo>
                  <a:lnTo>
                    <a:pt x="1507" y="2779"/>
                  </a:lnTo>
                  <a:lnTo>
                    <a:pt x="1485" y="2774"/>
                  </a:lnTo>
                  <a:lnTo>
                    <a:pt x="1462" y="2770"/>
                  </a:lnTo>
                  <a:lnTo>
                    <a:pt x="1439" y="2766"/>
                  </a:lnTo>
                  <a:lnTo>
                    <a:pt x="1393" y="2760"/>
                  </a:lnTo>
                  <a:lnTo>
                    <a:pt x="1348" y="2752"/>
                  </a:lnTo>
                  <a:lnTo>
                    <a:pt x="1326" y="2747"/>
                  </a:lnTo>
                  <a:lnTo>
                    <a:pt x="1304" y="2741"/>
                  </a:lnTo>
                  <a:lnTo>
                    <a:pt x="1283" y="2734"/>
                  </a:lnTo>
                  <a:lnTo>
                    <a:pt x="1264" y="2725"/>
                  </a:lnTo>
                  <a:lnTo>
                    <a:pt x="1257" y="2718"/>
                  </a:lnTo>
                  <a:lnTo>
                    <a:pt x="1251" y="2710"/>
                  </a:lnTo>
                  <a:lnTo>
                    <a:pt x="1244" y="2703"/>
                  </a:lnTo>
                  <a:lnTo>
                    <a:pt x="1237" y="2697"/>
                  </a:lnTo>
                  <a:lnTo>
                    <a:pt x="1227" y="2692"/>
                  </a:lnTo>
                  <a:lnTo>
                    <a:pt x="1219" y="2685"/>
                  </a:lnTo>
                  <a:lnTo>
                    <a:pt x="1208" y="2681"/>
                  </a:lnTo>
                  <a:lnTo>
                    <a:pt x="1199" y="2677"/>
                  </a:lnTo>
                  <a:lnTo>
                    <a:pt x="1189" y="2673"/>
                  </a:lnTo>
                  <a:lnTo>
                    <a:pt x="1178" y="2670"/>
                  </a:lnTo>
                  <a:lnTo>
                    <a:pt x="1168" y="2667"/>
                  </a:lnTo>
                  <a:lnTo>
                    <a:pt x="1158" y="2666"/>
                  </a:lnTo>
                  <a:lnTo>
                    <a:pt x="1148" y="2665"/>
                  </a:lnTo>
                  <a:lnTo>
                    <a:pt x="1139" y="2664"/>
                  </a:lnTo>
                  <a:lnTo>
                    <a:pt x="1129" y="2664"/>
                  </a:lnTo>
                  <a:lnTo>
                    <a:pt x="1121" y="2665"/>
                  </a:lnTo>
                  <a:lnTo>
                    <a:pt x="1094" y="2671"/>
                  </a:lnTo>
                  <a:lnTo>
                    <a:pt x="1066" y="2678"/>
                  </a:lnTo>
                  <a:lnTo>
                    <a:pt x="1052" y="2681"/>
                  </a:lnTo>
                  <a:lnTo>
                    <a:pt x="1037" y="2683"/>
                  </a:lnTo>
                  <a:lnTo>
                    <a:pt x="1024" y="2683"/>
                  </a:lnTo>
                  <a:lnTo>
                    <a:pt x="1010" y="2681"/>
                  </a:lnTo>
                  <a:lnTo>
                    <a:pt x="994" y="2665"/>
                  </a:lnTo>
                  <a:lnTo>
                    <a:pt x="980" y="2650"/>
                  </a:lnTo>
                  <a:lnTo>
                    <a:pt x="964" y="2637"/>
                  </a:lnTo>
                  <a:lnTo>
                    <a:pt x="945" y="2623"/>
                  </a:lnTo>
                  <a:lnTo>
                    <a:pt x="912" y="2600"/>
                  </a:lnTo>
                  <a:lnTo>
                    <a:pt x="879" y="2577"/>
                  </a:lnTo>
                  <a:lnTo>
                    <a:pt x="847" y="2554"/>
                  </a:lnTo>
                  <a:lnTo>
                    <a:pt x="813" y="2531"/>
                  </a:lnTo>
                  <a:lnTo>
                    <a:pt x="780" y="2509"/>
                  </a:lnTo>
                  <a:lnTo>
                    <a:pt x="746" y="2486"/>
                  </a:lnTo>
                  <a:lnTo>
                    <a:pt x="713" y="2464"/>
                  </a:lnTo>
                  <a:lnTo>
                    <a:pt x="680" y="2441"/>
                  </a:lnTo>
                  <a:lnTo>
                    <a:pt x="670" y="2434"/>
                  </a:lnTo>
                  <a:lnTo>
                    <a:pt x="662" y="2429"/>
                  </a:lnTo>
                  <a:lnTo>
                    <a:pt x="652" y="2424"/>
                  </a:lnTo>
                  <a:lnTo>
                    <a:pt x="642" y="2420"/>
                  </a:lnTo>
                  <a:lnTo>
                    <a:pt x="632" y="2418"/>
                  </a:lnTo>
                  <a:lnTo>
                    <a:pt x="622" y="2417"/>
                  </a:lnTo>
                  <a:lnTo>
                    <a:pt x="612" y="2417"/>
                  </a:lnTo>
                  <a:lnTo>
                    <a:pt x="603" y="2418"/>
                  </a:lnTo>
                  <a:lnTo>
                    <a:pt x="593" y="2420"/>
                  </a:lnTo>
                  <a:lnTo>
                    <a:pt x="583" y="2424"/>
                  </a:lnTo>
                  <a:lnTo>
                    <a:pt x="574" y="2428"/>
                  </a:lnTo>
                  <a:lnTo>
                    <a:pt x="565" y="2434"/>
                  </a:lnTo>
                  <a:lnTo>
                    <a:pt x="557" y="2440"/>
                  </a:lnTo>
                  <a:lnTo>
                    <a:pt x="549" y="2448"/>
                  </a:lnTo>
                  <a:lnTo>
                    <a:pt x="542" y="2455"/>
                  </a:lnTo>
                  <a:lnTo>
                    <a:pt x="535" y="2464"/>
                  </a:lnTo>
                  <a:lnTo>
                    <a:pt x="525" y="2478"/>
                  </a:lnTo>
                  <a:lnTo>
                    <a:pt x="516" y="2488"/>
                  </a:lnTo>
                  <a:lnTo>
                    <a:pt x="509" y="2495"/>
                  </a:lnTo>
                  <a:lnTo>
                    <a:pt x="501" y="2499"/>
                  </a:lnTo>
                  <a:lnTo>
                    <a:pt x="497" y="2500"/>
                  </a:lnTo>
                  <a:lnTo>
                    <a:pt x="494" y="2500"/>
                  </a:lnTo>
                  <a:lnTo>
                    <a:pt x="491" y="2500"/>
                  </a:lnTo>
                  <a:lnTo>
                    <a:pt x="489" y="2499"/>
                  </a:lnTo>
                  <a:lnTo>
                    <a:pt x="484" y="2495"/>
                  </a:lnTo>
                  <a:lnTo>
                    <a:pt x="479" y="2489"/>
                  </a:lnTo>
                  <a:lnTo>
                    <a:pt x="475" y="2482"/>
                  </a:lnTo>
                  <a:lnTo>
                    <a:pt x="471" y="2474"/>
                  </a:lnTo>
                  <a:lnTo>
                    <a:pt x="469" y="2464"/>
                  </a:lnTo>
                  <a:lnTo>
                    <a:pt x="466" y="2454"/>
                  </a:lnTo>
                  <a:lnTo>
                    <a:pt x="463" y="2433"/>
                  </a:lnTo>
                  <a:lnTo>
                    <a:pt x="462" y="2411"/>
                  </a:lnTo>
                  <a:lnTo>
                    <a:pt x="461" y="2396"/>
                  </a:lnTo>
                  <a:lnTo>
                    <a:pt x="459" y="2384"/>
                  </a:lnTo>
                  <a:lnTo>
                    <a:pt x="455" y="2376"/>
                  </a:lnTo>
                  <a:lnTo>
                    <a:pt x="450" y="2369"/>
                  </a:lnTo>
                  <a:lnTo>
                    <a:pt x="445" y="2365"/>
                  </a:lnTo>
                  <a:lnTo>
                    <a:pt x="439" y="2363"/>
                  </a:lnTo>
                  <a:lnTo>
                    <a:pt x="432" y="2364"/>
                  </a:lnTo>
                  <a:lnTo>
                    <a:pt x="424" y="2366"/>
                  </a:lnTo>
                  <a:lnTo>
                    <a:pt x="416" y="2370"/>
                  </a:lnTo>
                  <a:lnTo>
                    <a:pt x="407" y="2376"/>
                  </a:lnTo>
                  <a:lnTo>
                    <a:pt x="397" y="2382"/>
                  </a:lnTo>
                  <a:lnTo>
                    <a:pt x="388" y="2390"/>
                  </a:lnTo>
                  <a:lnTo>
                    <a:pt x="367" y="2407"/>
                  </a:lnTo>
                  <a:lnTo>
                    <a:pt x="345" y="2427"/>
                  </a:lnTo>
                  <a:lnTo>
                    <a:pt x="323" y="2445"/>
                  </a:lnTo>
                  <a:lnTo>
                    <a:pt x="301" y="2462"/>
                  </a:lnTo>
                  <a:lnTo>
                    <a:pt x="291" y="2471"/>
                  </a:lnTo>
                  <a:lnTo>
                    <a:pt x="280" y="2477"/>
                  </a:lnTo>
                  <a:lnTo>
                    <a:pt x="270" y="2482"/>
                  </a:lnTo>
                  <a:lnTo>
                    <a:pt x="261" y="2485"/>
                  </a:lnTo>
                  <a:lnTo>
                    <a:pt x="252" y="2487"/>
                  </a:lnTo>
                  <a:lnTo>
                    <a:pt x="244" y="2488"/>
                  </a:lnTo>
                  <a:lnTo>
                    <a:pt x="237" y="2486"/>
                  </a:lnTo>
                  <a:lnTo>
                    <a:pt x="229" y="2482"/>
                  </a:lnTo>
                  <a:lnTo>
                    <a:pt x="223" y="2476"/>
                  </a:lnTo>
                  <a:lnTo>
                    <a:pt x="218" y="2466"/>
                  </a:lnTo>
                  <a:lnTo>
                    <a:pt x="214" y="2454"/>
                  </a:lnTo>
                  <a:lnTo>
                    <a:pt x="211" y="2438"/>
                  </a:lnTo>
                  <a:lnTo>
                    <a:pt x="210" y="2432"/>
                  </a:lnTo>
                  <a:lnTo>
                    <a:pt x="210" y="2425"/>
                  </a:lnTo>
                  <a:lnTo>
                    <a:pt x="211" y="2419"/>
                  </a:lnTo>
                  <a:lnTo>
                    <a:pt x="212" y="2414"/>
                  </a:lnTo>
                  <a:lnTo>
                    <a:pt x="216" y="2405"/>
                  </a:lnTo>
                  <a:lnTo>
                    <a:pt x="221" y="2396"/>
                  </a:lnTo>
                  <a:lnTo>
                    <a:pt x="226" y="2389"/>
                  </a:lnTo>
                  <a:lnTo>
                    <a:pt x="232" y="2381"/>
                  </a:lnTo>
                  <a:lnTo>
                    <a:pt x="237" y="2372"/>
                  </a:lnTo>
                  <a:lnTo>
                    <a:pt x="240" y="2363"/>
                  </a:lnTo>
                  <a:lnTo>
                    <a:pt x="247" y="2357"/>
                  </a:lnTo>
                  <a:lnTo>
                    <a:pt x="253" y="2351"/>
                  </a:lnTo>
                  <a:lnTo>
                    <a:pt x="256" y="2343"/>
                  </a:lnTo>
                  <a:lnTo>
                    <a:pt x="260" y="2337"/>
                  </a:lnTo>
                  <a:lnTo>
                    <a:pt x="261" y="2331"/>
                  </a:lnTo>
                  <a:lnTo>
                    <a:pt x="261" y="2323"/>
                  </a:lnTo>
                  <a:lnTo>
                    <a:pt x="261" y="2316"/>
                  </a:lnTo>
                  <a:lnTo>
                    <a:pt x="260" y="2310"/>
                  </a:lnTo>
                  <a:lnTo>
                    <a:pt x="257" y="2296"/>
                  </a:lnTo>
                  <a:lnTo>
                    <a:pt x="255" y="2283"/>
                  </a:lnTo>
                  <a:lnTo>
                    <a:pt x="255" y="2276"/>
                  </a:lnTo>
                  <a:lnTo>
                    <a:pt x="256" y="2270"/>
                  </a:lnTo>
                  <a:lnTo>
                    <a:pt x="260" y="2265"/>
                  </a:lnTo>
                  <a:lnTo>
                    <a:pt x="263" y="2259"/>
                  </a:lnTo>
                  <a:lnTo>
                    <a:pt x="268" y="2252"/>
                  </a:lnTo>
                  <a:lnTo>
                    <a:pt x="274" y="2247"/>
                  </a:lnTo>
                  <a:lnTo>
                    <a:pt x="280" y="2243"/>
                  </a:lnTo>
                  <a:lnTo>
                    <a:pt x="288" y="2239"/>
                  </a:lnTo>
                  <a:lnTo>
                    <a:pt x="302" y="2231"/>
                  </a:lnTo>
                  <a:lnTo>
                    <a:pt x="316" y="2223"/>
                  </a:lnTo>
                  <a:lnTo>
                    <a:pt x="322" y="2219"/>
                  </a:lnTo>
                  <a:lnTo>
                    <a:pt x="328" y="2214"/>
                  </a:lnTo>
                  <a:lnTo>
                    <a:pt x="334" y="2209"/>
                  </a:lnTo>
                  <a:lnTo>
                    <a:pt x="338" y="2203"/>
                  </a:lnTo>
                  <a:lnTo>
                    <a:pt x="342" y="2196"/>
                  </a:lnTo>
                  <a:lnTo>
                    <a:pt x="344" y="2188"/>
                  </a:lnTo>
                  <a:lnTo>
                    <a:pt x="346" y="2178"/>
                  </a:lnTo>
                  <a:lnTo>
                    <a:pt x="346" y="2168"/>
                  </a:lnTo>
                  <a:lnTo>
                    <a:pt x="345" y="2162"/>
                  </a:lnTo>
                  <a:lnTo>
                    <a:pt x="344" y="2157"/>
                  </a:lnTo>
                  <a:lnTo>
                    <a:pt x="342" y="2153"/>
                  </a:lnTo>
                  <a:lnTo>
                    <a:pt x="339" y="2150"/>
                  </a:lnTo>
                  <a:lnTo>
                    <a:pt x="334" y="2145"/>
                  </a:lnTo>
                  <a:lnTo>
                    <a:pt x="326" y="2143"/>
                  </a:lnTo>
                  <a:lnTo>
                    <a:pt x="319" y="2141"/>
                  </a:lnTo>
                  <a:lnTo>
                    <a:pt x="312" y="2139"/>
                  </a:lnTo>
                  <a:lnTo>
                    <a:pt x="309" y="2138"/>
                  </a:lnTo>
                  <a:lnTo>
                    <a:pt x="305" y="2136"/>
                  </a:lnTo>
                  <a:lnTo>
                    <a:pt x="303" y="2133"/>
                  </a:lnTo>
                  <a:lnTo>
                    <a:pt x="302" y="2129"/>
                  </a:lnTo>
                  <a:lnTo>
                    <a:pt x="301" y="2125"/>
                  </a:lnTo>
                  <a:lnTo>
                    <a:pt x="301" y="2120"/>
                  </a:lnTo>
                  <a:lnTo>
                    <a:pt x="301" y="2115"/>
                  </a:lnTo>
                  <a:lnTo>
                    <a:pt x="302" y="2110"/>
                  </a:lnTo>
                  <a:lnTo>
                    <a:pt x="305" y="2098"/>
                  </a:lnTo>
                  <a:lnTo>
                    <a:pt x="309" y="2086"/>
                  </a:lnTo>
                  <a:lnTo>
                    <a:pt x="312" y="2073"/>
                  </a:lnTo>
                  <a:lnTo>
                    <a:pt x="313" y="2062"/>
                  </a:lnTo>
                  <a:lnTo>
                    <a:pt x="313" y="2056"/>
                  </a:lnTo>
                  <a:lnTo>
                    <a:pt x="312" y="2051"/>
                  </a:lnTo>
                  <a:lnTo>
                    <a:pt x="310" y="2047"/>
                  </a:lnTo>
                  <a:lnTo>
                    <a:pt x="308" y="2043"/>
                  </a:lnTo>
                  <a:lnTo>
                    <a:pt x="294" y="2028"/>
                  </a:lnTo>
                  <a:lnTo>
                    <a:pt x="284" y="2017"/>
                  </a:lnTo>
                  <a:lnTo>
                    <a:pt x="276" y="2008"/>
                  </a:lnTo>
                  <a:lnTo>
                    <a:pt x="271" y="2000"/>
                  </a:lnTo>
                  <a:lnTo>
                    <a:pt x="268" y="1991"/>
                  </a:lnTo>
                  <a:lnTo>
                    <a:pt x="267" y="1980"/>
                  </a:lnTo>
                  <a:lnTo>
                    <a:pt x="266" y="1965"/>
                  </a:lnTo>
                  <a:lnTo>
                    <a:pt x="266" y="1945"/>
                  </a:lnTo>
                  <a:lnTo>
                    <a:pt x="269" y="1941"/>
                  </a:lnTo>
                  <a:lnTo>
                    <a:pt x="270" y="1932"/>
                  </a:lnTo>
                  <a:lnTo>
                    <a:pt x="272" y="1924"/>
                  </a:lnTo>
                  <a:lnTo>
                    <a:pt x="273" y="1919"/>
                  </a:lnTo>
                  <a:lnTo>
                    <a:pt x="272" y="1913"/>
                  </a:lnTo>
                  <a:lnTo>
                    <a:pt x="269" y="1909"/>
                  </a:lnTo>
                  <a:lnTo>
                    <a:pt x="265" y="1904"/>
                  </a:lnTo>
                  <a:lnTo>
                    <a:pt x="261" y="1899"/>
                  </a:lnTo>
                  <a:lnTo>
                    <a:pt x="255" y="1894"/>
                  </a:lnTo>
                  <a:lnTo>
                    <a:pt x="251" y="1888"/>
                  </a:lnTo>
                  <a:lnTo>
                    <a:pt x="247" y="1883"/>
                  </a:lnTo>
                  <a:lnTo>
                    <a:pt x="245" y="1878"/>
                  </a:lnTo>
                  <a:lnTo>
                    <a:pt x="245" y="1873"/>
                  </a:lnTo>
                  <a:lnTo>
                    <a:pt x="246" y="1869"/>
                  </a:lnTo>
                  <a:lnTo>
                    <a:pt x="249" y="1864"/>
                  </a:lnTo>
                  <a:lnTo>
                    <a:pt x="253" y="1861"/>
                  </a:lnTo>
                  <a:lnTo>
                    <a:pt x="264" y="1855"/>
                  </a:lnTo>
                  <a:lnTo>
                    <a:pt x="272" y="1851"/>
                  </a:lnTo>
                  <a:lnTo>
                    <a:pt x="295" y="1839"/>
                  </a:lnTo>
                  <a:lnTo>
                    <a:pt x="317" y="1829"/>
                  </a:lnTo>
                  <a:lnTo>
                    <a:pt x="338" y="1817"/>
                  </a:lnTo>
                  <a:lnTo>
                    <a:pt x="359" y="1805"/>
                  </a:lnTo>
                  <a:lnTo>
                    <a:pt x="363" y="1795"/>
                  </a:lnTo>
                  <a:lnTo>
                    <a:pt x="366" y="1786"/>
                  </a:lnTo>
                  <a:lnTo>
                    <a:pt x="367" y="1781"/>
                  </a:lnTo>
                  <a:lnTo>
                    <a:pt x="366" y="1777"/>
                  </a:lnTo>
                  <a:lnTo>
                    <a:pt x="365" y="1771"/>
                  </a:lnTo>
                  <a:lnTo>
                    <a:pt x="362" y="1764"/>
                  </a:lnTo>
                  <a:lnTo>
                    <a:pt x="354" y="1753"/>
                  </a:lnTo>
                  <a:lnTo>
                    <a:pt x="347" y="1743"/>
                  </a:lnTo>
                  <a:lnTo>
                    <a:pt x="339" y="1734"/>
                  </a:lnTo>
                  <a:lnTo>
                    <a:pt x="330" y="1724"/>
                  </a:lnTo>
                  <a:lnTo>
                    <a:pt x="320" y="1713"/>
                  </a:lnTo>
                  <a:lnTo>
                    <a:pt x="311" y="1703"/>
                  </a:lnTo>
                  <a:lnTo>
                    <a:pt x="301" y="1694"/>
                  </a:lnTo>
                  <a:lnTo>
                    <a:pt x="291" y="1687"/>
                  </a:lnTo>
                  <a:lnTo>
                    <a:pt x="279" y="1681"/>
                  </a:lnTo>
                  <a:lnTo>
                    <a:pt x="268" y="1676"/>
                  </a:lnTo>
                  <a:lnTo>
                    <a:pt x="254" y="1671"/>
                  </a:lnTo>
                  <a:lnTo>
                    <a:pt x="240" y="1669"/>
                  </a:lnTo>
                  <a:lnTo>
                    <a:pt x="217" y="1666"/>
                  </a:lnTo>
                  <a:lnTo>
                    <a:pt x="191" y="1664"/>
                  </a:lnTo>
                  <a:lnTo>
                    <a:pt x="177" y="1664"/>
                  </a:lnTo>
                  <a:lnTo>
                    <a:pt x="165" y="1664"/>
                  </a:lnTo>
                  <a:lnTo>
                    <a:pt x="153" y="1665"/>
                  </a:lnTo>
                  <a:lnTo>
                    <a:pt x="143" y="1667"/>
                  </a:lnTo>
                  <a:lnTo>
                    <a:pt x="143" y="1667"/>
                  </a:lnTo>
                  <a:lnTo>
                    <a:pt x="143" y="1639"/>
                  </a:lnTo>
                  <a:lnTo>
                    <a:pt x="146" y="1612"/>
                  </a:lnTo>
                  <a:lnTo>
                    <a:pt x="149" y="1584"/>
                  </a:lnTo>
                  <a:lnTo>
                    <a:pt x="153" y="1557"/>
                  </a:lnTo>
                  <a:lnTo>
                    <a:pt x="155" y="1545"/>
                  </a:lnTo>
                  <a:lnTo>
                    <a:pt x="159" y="1534"/>
                  </a:lnTo>
                  <a:lnTo>
                    <a:pt x="164" y="1521"/>
                  </a:lnTo>
                  <a:lnTo>
                    <a:pt x="169" y="1509"/>
                  </a:lnTo>
                  <a:lnTo>
                    <a:pt x="173" y="1497"/>
                  </a:lnTo>
                  <a:lnTo>
                    <a:pt x="176" y="1485"/>
                  </a:lnTo>
                  <a:lnTo>
                    <a:pt x="178" y="1474"/>
                  </a:lnTo>
                  <a:lnTo>
                    <a:pt x="178" y="1463"/>
                  </a:lnTo>
                  <a:lnTo>
                    <a:pt x="168" y="1459"/>
                  </a:lnTo>
                  <a:lnTo>
                    <a:pt x="157" y="1453"/>
                  </a:lnTo>
                  <a:lnTo>
                    <a:pt x="146" y="1449"/>
                  </a:lnTo>
                  <a:lnTo>
                    <a:pt x="134" y="1446"/>
                  </a:lnTo>
                  <a:lnTo>
                    <a:pt x="109" y="1440"/>
                  </a:lnTo>
                  <a:lnTo>
                    <a:pt x="83" y="1434"/>
                  </a:lnTo>
                  <a:lnTo>
                    <a:pt x="58" y="1428"/>
                  </a:lnTo>
                  <a:lnTo>
                    <a:pt x="35" y="1422"/>
                  </a:lnTo>
                  <a:lnTo>
                    <a:pt x="25" y="1418"/>
                  </a:lnTo>
                  <a:lnTo>
                    <a:pt x="16" y="1414"/>
                  </a:lnTo>
                  <a:lnTo>
                    <a:pt x="7" y="1410"/>
                  </a:lnTo>
                  <a:lnTo>
                    <a:pt x="0" y="1404"/>
                  </a:lnTo>
                  <a:lnTo>
                    <a:pt x="1" y="1381"/>
                  </a:lnTo>
                  <a:lnTo>
                    <a:pt x="2" y="1358"/>
                  </a:lnTo>
                  <a:lnTo>
                    <a:pt x="3" y="1335"/>
                  </a:lnTo>
                  <a:lnTo>
                    <a:pt x="1" y="1311"/>
                  </a:lnTo>
                  <a:lnTo>
                    <a:pt x="7" y="1222"/>
                  </a:lnTo>
                  <a:lnTo>
                    <a:pt x="7" y="1222"/>
                  </a:lnTo>
                  <a:lnTo>
                    <a:pt x="15" y="1222"/>
                  </a:lnTo>
                  <a:lnTo>
                    <a:pt x="22" y="1222"/>
                  </a:lnTo>
                  <a:lnTo>
                    <a:pt x="28" y="1221"/>
                  </a:lnTo>
                  <a:lnTo>
                    <a:pt x="35" y="1220"/>
                  </a:lnTo>
                  <a:lnTo>
                    <a:pt x="42" y="1217"/>
                  </a:lnTo>
                  <a:lnTo>
                    <a:pt x="47" y="1213"/>
                  </a:lnTo>
                  <a:lnTo>
                    <a:pt x="53" y="1209"/>
                  </a:lnTo>
                  <a:lnTo>
                    <a:pt x="58" y="1204"/>
                  </a:lnTo>
                  <a:lnTo>
                    <a:pt x="76" y="1181"/>
                  </a:lnTo>
                  <a:lnTo>
                    <a:pt x="95" y="1158"/>
                  </a:lnTo>
                  <a:lnTo>
                    <a:pt x="100" y="1153"/>
                  </a:lnTo>
                  <a:lnTo>
                    <a:pt x="105" y="1149"/>
                  </a:lnTo>
                  <a:lnTo>
                    <a:pt x="110" y="1145"/>
                  </a:lnTo>
                  <a:lnTo>
                    <a:pt x="117" y="1140"/>
                  </a:lnTo>
                  <a:lnTo>
                    <a:pt x="123" y="1137"/>
                  </a:lnTo>
                  <a:lnTo>
                    <a:pt x="129" y="1135"/>
                  </a:lnTo>
                  <a:lnTo>
                    <a:pt x="137" y="1134"/>
                  </a:lnTo>
                  <a:lnTo>
                    <a:pt x="145" y="1134"/>
                  </a:lnTo>
                  <a:lnTo>
                    <a:pt x="151" y="1135"/>
                  </a:lnTo>
                  <a:lnTo>
                    <a:pt x="158" y="1138"/>
                  </a:lnTo>
                  <a:lnTo>
                    <a:pt x="166" y="1141"/>
                  </a:lnTo>
                  <a:lnTo>
                    <a:pt x="174" y="1147"/>
                  </a:lnTo>
                  <a:lnTo>
                    <a:pt x="190" y="1157"/>
                  </a:lnTo>
                  <a:lnTo>
                    <a:pt x="207" y="1168"/>
                  </a:lnTo>
                  <a:lnTo>
                    <a:pt x="216" y="1172"/>
                  </a:lnTo>
                  <a:lnTo>
                    <a:pt x="225" y="1176"/>
                  </a:lnTo>
                  <a:lnTo>
                    <a:pt x="234" y="1178"/>
                  </a:lnTo>
                  <a:lnTo>
                    <a:pt x="242" y="1179"/>
                  </a:lnTo>
                  <a:lnTo>
                    <a:pt x="246" y="1179"/>
                  </a:lnTo>
                  <a:lnTo>
                    <a:pt x="249" y="1179"/>
                  </a:lnTo>
                  <a:lnTo>
                    <a:pt x="253" y="1178"/>
                  </a:lnTo>
                  <a:lnTo>
                    <a:pt x="257" y="1176"/>
                  </a:lnTo>
                  <a:lnTo>
                    <a:pt x="261" y="1174"/>
                  </a:lnTo>
                  <a:lnTo>
                    <a:pt x="265" y="1171"/>
                  </a:lnTo>
                  <a:lnTo>
                    <a:pt x="268" y="1168"/>
                  </a:lnTo>
                  <a:lnTo>
                    <a:pt x="271" y="1163"/>
                  </a:lnTo>
                  <a:lnTo>
                    <a:pt x="276" y="1157"/>
                  </a:lnTo>
                  <a:lnTo>
                    <a:pt x="280" y="1152"/>
                  </a:lnTo>
                  <a:lnTo>
                    <a:pt x="285" y="1148"/>
                  </a:lnTo>
                  <a:lnTo>
                    <a:pt x="290" y="1145"/>
                  </a:lnTo>
                  <a:lnTo>
                    <a:pt x="294" y="1141"/>
                  </a:lnTo>
                  <a:lnTo>
                    <a:pt x="298" y="1139"/>
                  </a:lnTo>
                  <a:lnTo>
                    <a:pt x="303" y="1138"/>
                  </a:lnTo>
                  <a:lnTo>
                    <a:pt x="308" y="1138"/>
                  </a:lnTo>
                  <a:lnTo>
                    <a:pt x="312" y="1138"/>
                  </a:lnTo>
                  <a:lnTo>
                    <a:pt x="316" y="1139"/>
                  </a:lnTo>
                  <a:lnTo>
                    <a:pt x="320" y="1140"/>
                  </a:lnTo>
                  <a:lnTo>
                    <a:pt x="324" y="1142"/>
                  </a:lnTo>
                  <a:lnTo>
                    <a:pt x="332" y="1148"/>
                  </a:lnTo>
                  <a:lnTo>
                    <a:pt x="340" y="1154"/>
                  </a:lnTo>
                  <a:lnTo>
                    <a:pt x="346" y="1162"/>
                  </a:lnTo>
                  <a:lnTo>
                    <a:pt x="352" y="1172"/>
                  </a:lnTo>
                  <a:lnTo>
                    <a:pt x="359" y="1182"/>
                  </a:lnTo>
                  <a:lnTo>
                    <a:pt x="364" y="1193"/>
                  </a:lnTo>
                  <a:lnTo>
                    <a:pt x="368" y="1204"/>
                  </a:lnTo>
                  <a:lnTo>
                    <a:pt x="371" y="1214"/>
                  </a:lnTo>
                  <a:lnTo>
                    <a:pt x="374" y="1226"/>
                  </a:lnTo>
                  <a:lnTo>
                    <a:pt x="376" y="1235"/>
                  </a:lnTo>
                  <a:lnTo>
                    <a:pt x="385" y="1239"/>
                  </a:lnTo>
                  <a:lnTo>
                    <a:pt x="392" y="1241"/>
                  </a:lnTo>
                  <a:lnTo>
                    <a:pt x="399" y="1241"/>
                  </a:lnTo>
                  <a:lnTo>
                    <a:pt x="406" y="1239"/>
                  </a:lnTo>
                  <a:lnTo>
                    <a:pt x="411" y="1237"/>
                  </a:lnTo>
                  <a:lnTo>
                    <a:pt x="415" y="1233"/>
                  </a:lnTo>
                  <a:lnTo>
                    <a:pt x="419" y="1229"/>
                  </a:lnTo>
                  <a:lnTo>
                    <a:pt x="423" y="1224"/>
                  </a:lnTo>
                  <a:lnTo>
                    <a:pt x="436" y="1198"/>
                  </a:lnTo>
                  <a:lnTo>
                    <a:pt x="446" y="1174"/>
                  </a:lnTo>
                  <a:lnTo>
                    <a:pt x="452" y="1174"/>
                  </a:lnTo>
                  <a:lnTo>
                    <a:pt x="459" y="1174"/>
                  </a:lnTo>
                  <a:lnTo>
                    <a:pt x="465" y="1175"/>
                  </a:lnTo>
                  <a:lnTo>
                    <a:pt x="470" y="1177"/>
                  </a:lnTo>
                  <a:lnTo>
                    <a:pt x="481" y="1181"/>
                  </a:lnTo>
                  <a:lnTo>
                    <a:pt x="491" y="1186"/>
                  </a:lnTo>
                  <a:lnTo>
                    <a:pt x="499" y="1192"/>
                  </a:lnTo>
                  <a:lnTo>
                    <a:pt x="509" y="1196"/>
                  </a:lnTo>
                  <a:lnTo>
                    <a:pt x="513" y="1197"/>
                  </a:lnTo>
                  <a:lnTo>
                    <a:pt x="517" y="1198"/>
                  </a:lnTo>
                  <a:lnTo>
                    <a:pt x="522" y="1198"/>
                  </a:lnTo>
                  <a:lnTo>
                    <a:pt x="526" y="1197"/>
                  </a:lnTo>
                  <a:lnTo>
                    <a:pt x="532" y="1195"/>
                  </a:lnTo>
                  <a:lnTo>
                    <a:pt x="536" y="1192"/>
                  </a:lnTo>
                  <a:lnTo>
                    <a:pt x="539" y="1187"/>
                  </a:lnTo>
                  <a:lnTo>
                    <a:pt x="541" y="1182"/>
                  </a:lnTo>
                  <a:lnTo>
                    <a:pt x="544" y="1171"/>
                  </a:lnTo>
                  <a:lnTo>
                    <a:pt x="545" y="1158"/>
                  </a:lnTo>
                  <a:lnTo>
                    <a:pt x="544" y="1145"/>
                  </a:lnTo>
                  <a:lnTo>
                    <a:pt x="545" y="1132"/>
                  </a:lnTo>
                  <a:lnTo>
                    <a:pt x="545" y="1127"/>
                  </a:lnTo>
                  <a:lnTo>
                    <a:pt x="546" y="1122"/>
                  </a:lnTo>
                  <a:lnTo>
                    <a:pt x="548" y="1116"/>
                  </a:lnTo>
                  <a:lnTo>
                    <a:pt x="550" y="1112"/>
                  </a:lnTo>
                  <a:lnTo>
                    <a:pt x="556" y="1107"/>
                  </a:lnTo>
                  <a:lnTo>
                    <a:pt x="561" y="1103"/>
                  </a:lnTo>
                  <a:lnTo>
                    <a:pt x="565" y="1099"/>
                  </a:lnTo>
                  <a:lnTo>
                    <a:pt x="570" y="1096"/>
                  </a:lnTo>
                  <a:lnTo>
                    <a:pt x="576" y="1093"/>
                  </a:lnTo>
                  <a:lnTo>
                    <a:pt x="580" y="1091"/>
                  </a:lnTo>
                  <a:lnTo>
                    <a:pt x="585" y="1090"/>
                  </a:lnTo>
                  <a:lnTo>
                    <a:pt x="589" y="1089"/>
                  </a:lnTo>
                  <a:lnTo>
                    <a:pt x="598" y="1090"/>
                  </a:lnTo>
                  <a:lnTo>
                    <a:pt x="608" y="1092"/>
                  </a:lnTo>
                  <a:lnTo>
                    <a:pt x="616" y="1097"/>
                  </a:lnTo>
                  <a:lnTo>
                    <a:pt x="625" y="1102"/>
                  </a:lnTo>
                  <a:lnTo>
                    <a:pt x="632" y="1109"/>
                  </a:lnTo>
                  <a:lnTo>
                    <a:pt x="639" y="1117"/>
                  </a:lnTo>
                  <a:lnTo>
                    <a:pt x="646" y="1126"/>
                  </a:lnTo>
                  <a:lnTo>
                    <a:pt x="653" y="1135"/>
                  </a:lnTo>
                  <a:lnTo>
                    <a:pt x="658" y="1145"/>
                  </a:lnTo>
                  <a:lnTo>
                    <a:pt x="662" y="1154"/>
                  </a:lnTo>
                  <a:lnTo>
                    <a:pt x="666" y="1163"/>
                  </a:lnTo>
                  <a:lnTo>
                    <a:pt x="669" y="1173"/>
                  </a:lnTo>
                  <a:lnTo>
                    <a:pt x="680" y="1176"/>
                  </a:lnTo>
                  <a:lnTo>
                    <a:pt x="688" y="1178"/>
                  </a:lnTo>
                  <a:lnTo>
                    <a:pt x="695" y="1178"/>
                  </a:lnTo>
                  <a:lnTo>
                    <a:pt x="703" y="1178"/>
                  </a:lnTo>
                  <a:lnTo>
                    <a:pt x="706" y="1178"/>
                  </a:lnTo>
                  <a:lnTo>
                    <a:pt x="708" y="1179"/>
                  </a:lnTo>
                  <a:lnTo>
                    <a:pt x="711" y="1180"/>
                  </a:lnTo>
                  <a:lnTo>
                    <a:pt x="714" y="1182"/>
                  </a:lnTo>
                  <a:lnTo>
                    <a:pt x="716" y="1184"/>
                  </a:lnTo>
                  <a:lnTo>
                    <a:pt x="719" y="1188"/>
                  </a:lnTo>
                  <a:lnTo>
                    <a:pt x="723" y="1193"/>
                  </a:lnTo>
                  <a:lnTo>
                    <a:pt x="726" y="1199"/>
                  </a:lnTo>
                  <a:lnTo>
                    <a:pt x="729" y="1204"/>
                  </a:lnTo>
                  <a:lnTo>
                    <a:pt x="732" y="1207"/>
                  </a:lnTo>
                  <a:lnTo>
                    <a:pt x="735" y="1210"/>
                  </a:lnTo>
                  <a:lnTo>
                    <a:pt x="739" y="1211"/>
                  </a:lnTo>
                  <a:lnTo>
                    <a:pt x="743" y="1212"/>
                  </a:lnTo>
                  <a:lnTo>
                    <a:pt x="749" y="1213"/>
                  </a:lnTo>
                  <a:lnTo>
                    <a:pt x="753" y="1212"/>
                  </a:lnTo>
                  <a:lnTo>
                    <a:pt x="758" y="1211"/>
                  </a:lnTo>
                  <a:lnTo>
                    <a:pt x="767" y="1208"/>
                  </a:lnTo>
                  <a:lnTo>
                    <a:pt x="776" y="1203"/>
                  </a:lnTo>
                  <a:lnTo>
                    <a:pt x="784" y="1197"/>
                  </a:lnTo>
                  <a:lnTo>
                    <a:pt x="789" y="1190"/>
                  </a:lnTo>
                  <a:lnTo>
                    <a:pt x="792" y="1185"/>
                  </a:lnTo>
                  <a:lnTo>
                    <a:pt x="794" y="1178"/>
                  </a:lnTo>
                  <a:lnTo>
                    <a:pt x="797" y="1170"/>
                  </a:lnTo>
                  <a:lnTo>
                    <a:pt x="797" y="1160"/>
                  </a:lnTo>
                  <a:lnTo>
                    <a:pt x="798" y="1139"/>
                  </a:lnTo>
                  <a:lnTo>
                    <a:pt x="797" y="1116"/>
                  </a:lnTo>
                  <a:lnTo>
                    <a:pt x="794" y="1093"/>
                  </a:lnTo>
                  <a:lnTo>
                    <a:pt x="791" y="1073"/>
                  </a:lnTo>
                  <a:lnTo>
                    <a:pt x="788" y="1054"/>
                  </a:lnTo>
                  <a:lnTo>
                    <a:pt x="785" y="1041"/>
                  </a:lnTo>
                  <a:lnTo>
                    <a:pt x="775" y="1038"/>
                  </a:lnTo>
                  <a:lnTo>
                    <a:pt x="765" y="1035"/>
                  </a:lnTo>
                  <a:lnTo>
                    <a:pt x="758" y="1032"/>
                  </a:lnTo>
                  <a:lnTo>
                    <a:pt x="752" y="1029"/>
                  </a:lnTo>
                  <a:lnTo>
                    <a:pt x="748" y="1026"/>
                  </a:lnTo>
                  <a:lnTo>
                    <a:pt x="743" y="1023"/>
                  </a:lnTo>
                  <a:lnTo>
                    <a:pt x="740" y="1019"/>
                  </a:lnTo>
                  <a:lnTo>
                    <a:pt x="739" y="1016"/>
                  </a:lnTo>
                  <a:lnTo>
                    <a:pt x="738" y="1013"/>
                  </a:lnTo>
                  <a:lnTo>
                    <a:pt x="739" y="1009"/>
                  </a:lnTo>
                  <a:lnTo>
                    <a:pt x="740" y="1006"/>
                  </a:lnTo>
                  <a:lnTo>
                    <a:pt x="741" y="1003"/>
                  </a:lnTo>
                  <a:lnTo>
                    <a:pt x="748" y="994"/>
                  </a:lnTo>
                  <a:lnTo>
                    <a:pt x="755" y="987"/>
                  </a:lnTo>
                  <a:lnTo>
                    <a:pt x="774" y="969"/>
                  </a:lnTo>
                  <a:lnTo>
                    <a:pt x="793" y="949"/>
                  </a:lnTo>
                  <a:lnTo>
                    <a:pt x="802" y="939"/>
                  </a:lnTo>
                  <a:lnTo>
                    <a:pt x="809" y="928"/>
                  </a:lnTo>
                  <a:lnTo>
                    <a:pt x="812" y="922"/>
                  </a:lnTo>
                  <a:lnTo>
                    <a:pt x="814" y="916"/>
                  </a:lnTo>
                  <a:lnTo>
                    <a:pt x="815" y="910"/>
                  </a:lnTo>
                  <a:lnTo>
                    <a:pt x="816" y="904"/>
                  </a:lnTo>
                  <a:lnTo>
                    <a:pt x="816" y="896"/>
                  </a:lnTo>
                  <a:lnTo>
                    <a:pt x="815" y="888"/>
                  </a:lnTo>
                  <a:lnTo>
                    <a:pt x="813" y="882"/>
                  </a:lnTo>
                  <a:lnTo>
                    <a:pt x="811" y="875"/>
                  </a:lnTo>
                  <a:lnTo>
                    <a:pt x="809" y="869"/>
                  </a:lnTo>
                  <a:lnTo>
                    <a:pt x="805" y="863"/>
                  </a:lnTo>
                  <a:lnTo>
                    <a:pt x="802" y="858"/>
                  </a:lnTo>
                  <a:lnTo>
                    <a:pt x="798" y="852"/>
                  </a:lnTo>
                  <a:lnTo>
                    <a:pt x="787" y="843"/>
                  </a:lnTo>
                  <a:lnTo>
                    <a:pt x="777" y="835"/>
                  </a:lnTo>
                  <a:lnTo>
                    <a:pt x="765" y="826"/>
                  </a:lnTo>
                  <a:lnTo>
                    <a:pt x="753" y="818"/>
                  </a:lnTo>
                  <a:lnTo>
                    <a:pt x="741" y="810"/>
                  </a:lnTo>
                  <a:lnTo>
                    <a:pt x="729" y="800"/>
                  </a:lnTo>
                  <a:lnTo>
                    <a:pt x="718" y="791"/>
                  </a:lnTo>
                  <a:lnTo>
                    <a:pt x="709" y="780"/>
                  </a:lnTo>
                  <a:lnTo>
                    <a:pt x="705" y="774"/>
                  </a:lnTo>
                  <a:lnTo>
                    <a:pt x="701" y="768"/>
                  </a:lnTo>
                  <a:lnTo>
                    <a:pt x="697" y="762"/>
                  </a:lnTo>
                  <a:lnTo>
                    <a:pt x="694" y="754"/>
                  </a:lnTo>
                  <a:lnTo>
                    <a:pt x="692" y="747"/>
                  </a:lnTo>
                  <a:lnTo>
                    <a:pt x="691" y="739"/>
                  </a:lnTo>
                  <a:lnTo>
                    <a:pt x="690" y="729"/>
                  </a:lnTo>
                  <a:lnTo>
                    <a:pt x="690" y="720"/>
                  </a:lnTo>
                  <a:lnTo>
                    <a:pt x="713" y="687"/>
                  </a:lnTo>
                  <a:lnTo>
                    <a:pt x="740" y="651"/>
                  </a:lnTo>
                  <a:lnTo>
                    <a:pt x="753" y="632"/>
                  </a:lnTo>
                  <a:lnTo>
                    <a:pt x="764" y="614"/>
                  </a:lnTo>
                  <a:lnTo>
                    <a:pt x="769" y="605"/>
                  </a:lnTo>
                  <a:lnTo>
                    <a:pt x="774" y="596"/>
                  </a:lnTo>
                  <a:lnTo>
                    <a:pt x="778" y="586"/>
                  </a:lnTo>
                  <a:lnTo>
                    <a:pt x="780" y="578"/>
                  </a:lnTo>
                  <a:lnTo>
                    <a:pt x="782" y="571"/>
                  </a:lnTo>
                  <a:lnTo>
                    <a:pt x="783" y="563"/>
                  </a:lnTo>
                  <a:lnTo>
                    <a:pt x="784" y="555"/>
                  </a:lnTo>
                  <a:lnTo>
                    <a:pt x="784" y="547"/>
                  </a:lnTo>
                  <a:lnTo>
                    <a:pt x="783" y="530"/>
                  </a:lnTo>
                  <a:lnTo>
                    <a:pt x="782" y="512"/>
                  </a:lnTo>
                  <a:lnTo>
                    <a:pt x="777" y="478"/>
                  </a:lnTo>
                  <a:lnTo>
                    <a:pt x="775" y="446"/>
                  </a:lnTo>
                  <a:lnTo>
                    <a:pt x="770" y="445"/>
                  </a:lnTo>
                  <a:lnTo>
                    <a:pt x="765" y="445"/>
                  </a:lnTo>
                  <a:lnTo>
                    <a:pt x="758" y="446"/>
                  </a:lnTo>
                  <a:lnTo>
                    <a:pt x="750" y="448"/>
                  </a:lnTo>
                  <a:lnTo>
                    <a:pt x="741" y="449"/>
                  </a:lnTo>
                  <a:lnTo>
                    <a:pt x="733" y="450"/>
                  </a:lnTo>
                  <a:lnTo>
                    <a:pt x="729" y="450"/>
                  </a:lnTo>
                  <a:lnTo>
                    <a:pt x="725" y="450"/>
                  </a:lnTo>
                  <a:lnTo>
                    <a:pt x="721" y="449"/>
                  </a:lnTo>
                  <a:lnTo>
                    <a:pt x="717" y="447"/>
                  </a:lnTo>
                  <a:lnTo>
                    <a:pt x="711" y="442"/>
                  </a:lnTo>
                  <a:lnTo>
                    <a:pt x="706" y="436"/>
                  </a:lnTo>
                  <a:lnTo>
                    <a:pt x="702" y="429"/>
                  </a:lnTo>
                  <a:lnTo>
                    <a:pt x="699" y="422"/>
                  </a:lnTo>
                  <a:lnTo>
                    <a:pt x="691" y="406"/>
                  </a:lnTo>
                  <a:lnTo>
                    <a:pt x="684" y="391"/>
                  </a:lnTo>
                  <a:lnTo>
                    <a:pt x="678" y="379"/>
                  </a:lnTo>
                  <a:lnTo>
                    <a:pt x="674" y="366"/>
                  </a:lnTo>
                  <a:lnTo>
                    <a:pt x="670" y="354"/>
                  </a:lnTo>
                  <a:lnTo>
                    <a:pt x="668" y="340"/>
                  </a:lnTo>
                  <a:lnTo>
                    <a:pt x="666" y="328"/>
                  </a:lnTo>
                  <a:lnTo>
                    <a:pt x="662" y="315"/>
                  </a:lnTo>
                  <a:lnTo>
                    <a:pt x="660" y="308"/>
                  </a:lnTo>
                  <a:lnTo>
                    <a:pt x="658" y="302"/>
                  </a:lnTo>
                  <a:lnTo>
                    <a:pt x="655" y="295"/>
                  </a:lnTo>
                  <a:lnTo>
                    <a:pt x="651" y="289"/>
                  </a:lnTo>
                  <a:lnTo>
                    <a:pt x="643" y="281"/>
                  </a:lnTo>
                  <a:lnTo>
                    <a:pt x="634" y="273"/>
                  </a:lnTo>
                  <a:lnTo>
                    <a:pt x="623" y="267"/>
                  </a:lnTo>
                  <a:lnTo>
                    <a:pt x="613" y="261"/>
                  </a:lnTo>
                  <a:lnTo>
                    <a:pt x="603" y="255"/>
                  </a:lnTo>
                  <a:lnTo>
                    <a:pt x="593" y="247"/>
                  </a:lnTo>
                  <a:lnTo>
                    <a:pt x="589" y="243"/>
                  </a:lnTo>
                  <a:lnTo>
                    <a:pt x="585" y="240"/>
                  </a:lnTo>
                  <a:lnTo>
                    <a:pt x="582" y="235"/>
                  </a:lnTo>
                  <a:lnTo>
                    <a:pt x="579" y="231"/>
                  </a:lnTo>
                  <a:lnTo>
                    <a:pt x="576" y="222"/>
                  </a:lnTo>
                  <a:lnTo>
                    <a:pt x="573" y="215"/>
                  </a:lnTo>
                  <a:lnTo>
                    <a:pt x="572" y="208"/>
                  </a:lnTo>
                  <a:lnTo>
                    <a:pt x="573" y="203"/>
                  </a:lnTo>
                  <a:lnTo>
                    <a:pt x="576" y="197"/>
                  </a:lnTo>
                  <a:lnTo>
                    <a:pt x="580" y="193"/>
                  </a:lnTo>
                  <a:lnTo>
                    <a:pt x="584" y="189"/>
                  </a:lnTo>
                  <a:lnTo>
                    <a:pt x="589" y="186"/>
                  </a:lnTo>
                  <a:lnTo>
                    <a:pt x="602" y="180"/>
                  </a:lnTo>
                  <a:lnTo>
                    <a:pt x="615" y="175"/>
                  </a:lnTo>
                  <a:lnTo>
                    <a:pt x="630" y="172"/>
                  </a:lnTo>
                  <a:lnTo>
                    <a:pt x="642" y="168"/>
                  </a:lnTo>
                  <a:lnTo>
                    <a:pt x="653" y="160"/>
                  </a:lnTo>
                  <a:lnTo>
                    <a:pt x="661" y="150"/>
                  </a:lnTo>
                  <a:lnTo>
                    <a:pt x="668" y="140"/>
                  </a:lnTo>
                  <a:lnTo>
                    <a:pt x="676" y="128"/>
                  </a:lnTo>
                  <a:lnTo>
                    <a:pt x="687" y="103"/>
                  </a:lnTo>
                  <a:lnTo>
                    <a:pt x="696" y="78"/>
                  </a:lnTo>
                  <a:lnTo>
                    <a:pt x="706" y="53"/>
                  </a:lnTo>
                  <a:lnTo>
                    <a:pt x="715" y="31"/>
                  </a:lnTo>
                  <a:lnTo>
                    <a:pt x="720" y="21"/>
                  </a:lnTo>
                  <a:lnTo>
                    <a:pt x="726" y="13"/>
                  </a:lnTo>
                  <a:lnTo>
                    <a:pt x="732" y="6"/>
                  </a:lnTo>
                  <a:lnTo>
                    <a:pt x="739" y="0"/>
                  </a:lnTo>
                  <a:lnTo>
                    <a:pt x="748" y="3"/>
                  </a:lnTo>
                  <a:lnTo>
                    <a:pt x="756" y="5"/>
                  </a:lnTo>
                  <a:lnTo>
                    <a:pt x="764" y="8"/>
                  </a:lnTo>
                  <a:lnTo>
                    <a:pt x="774" y="11"/>
                  </a:lnTo>
                  <a:lnTo>
                    <a:pt x="782" y="14"/>
                  </a:lnTo>
                  <a:lnTo>
                    <a:pt x="789" y="17"/>
                  </a:lnTo>
                  <a:lnTo>
                    <a:pt x="796" y="20"/>
                  </a:lnTo>
                  <a:lnTo>
                    <a:pt x="801" y="24"/>
                  </a:lnTo>
                  <a:lnTo>
                    <a:pt x="806" y="28"/>
                  </a:lnTo>
                  <a:lnTo>
                    <a:pt x="809" y="34"/>
                  </a:lnTo>
                  <a:lnTo>
                    <a:pt x="812" y="38"/>
                  </a:lnTo>
                  <a:lnTo>
                    <a:pt x="814" y="43"/>
                  </a:lnTo>
                  <a:lnTo>
                    <a:pt x="817" y="55"/>
                  </a:lnTo>
                  <a:lnTo>
                    <a:pt x="818" y="68"/>
                  </a:lnTo>
                  <a:lnTo>
                    <a:pt x="819" y="83"/>
                  </a:lnTo>
                  <a:lnTo>
                    <a:pt x="819" y="98"/>
                  </a:lnTo>
                  <a:lnTo>
                    <a:pt x="821" y="111"/>
                  </a:lnTo>
                  <a:lnTo>
                    <a:pt x="823" y="121"/>
                  </a:lnTo>
                  <a:lnTo>
                    <a:pt x="825" y="129"/>
                  </a:lnTo>
                  <a:lnTo>
                    <a:pt x="828" y="137"/>
                  </a:lnTo>
                  <a:lnTo>
                    <a:pt x="831" y="142"/>
                  </a:lnTo>
                  <a:lnTo>
                    <a:pt x="835" y="146"/>
                  </a:lnTo>
                  <a:lnTo>
                    <a:pt x="839" y="149"/>
                  </a:lnTo>
                  <a:lnTo>
                    <a:pt x="845" y="150"/>
                  </a:lnTo>
                  <a:lnTo>
                    <a:pt x="850" y="151"/>
                  </a:lnTo>
                  <a:lnTo>
                    <a:pt x="856" y="151"/>
                  </a:lnTo>
                  <a:lnTo>
                    <a:pt x="862" y="150"/>
                  </a:lnTo>
                  <a:lnTo>
                    <a:pt x="868" y="149"/>
                  </a:lnTo>
                  <a:lnTo>
                    <a:pt x="883" y="145"/>
                  </a:lnTo>
                  <a:lnTo>
                    <a:pt x="898" y="140"/>
                  </a:lnTo>
                  <a:lnTo>
                    <a:pt x="912" y="135"/>
                  </a:lnTo>
                  <a:lnTo>
                    <a:pt x="928" y="131"/>
                  </a:lnTo>
                  <a:lnTo>
                    <a:pt x="936" y="128"/>
                  </a:lnTo>
                  <a:lnTo>
                    <a:pt x="944" y="128"/>
                  </a:lnTo>
                  <a:lnTo>
                    <a:pt x="952" y="127"/>
                  </a:lnTo>
                  <a:lnTo>
                    <a:pt x="959" y="128"/>
                  </a:lnTo>
                  <a:lnTo>
                    <a:pt x="966" y="131"/>
                  </a:lnTo>
                  <a:lnTo>
                    <a:pt x="974" y="134"/>
                  </a:lnTo>
                  <a:lnTo>
                    <a:pt x="980" y="137"/>
                  </a:lnTo>
                  <a:lnTo>
                    <a:pt x="987" y="143"/>
                  </a:lnTo>
                  <a:lnTo>
                    <a:pt x="994" y="149"/>
                  </a:lnTo>
                  <a:lnTo>
                    <a:pt x="1000" y="158"/>
                  </a:lnTo>
                  <a:lnTo>
                    <a:pt x="1005" y="168"/>
                  </a:lnTo>
                  <a:lnTo>
                    <a:pt x="1010" y="181"/>
                  </a:lnTo>
                  <a:lnTo>
                    <a:pt x="1014" y="191"/>
                  </a:lnTo>
                  <a:lnTo>
                    <a:pt x="1021" y="200"/>
                  </a:lnTo>
                  <a:lnTo>
                    <a:pt x="1027" y="209"/>
                  </a:lnTo>
                  <a:lnTo>
                    <a:pt x="1034" y="217"/>
                  </a:lnTo>
                  <a:lnTo>
                    <a:pt x="1042" y="223"/>
                  </a:lnTo>
                  <a:lnTo>
                    <a:pt x="1050" y="229"/>
                  </a:lnTo>
                  <a:lnTo>
                    <a:pt x="1058" y="233"/>
                  </a:lnTo>
                  <a:lnTo>
                    <a:pt x="1068" y="236"/>
                  </a:lnTo>
                  <a:lnTo>
                    <a:pt x="1076" y="237"/>
                  </a:lnTo>
                  <a:lnTo>
                    <a:pt x="1085" y="236"/>
                  </a:lnTo>
                  <a:lnTo>
                    <a:pt x="1094" y="234"/>
                  </a:lnTo>
                  <a:lnTo>
                    <a:pt x="1102" y="230"/>
                  </a:lnTo>
                  <a:lnTo>
                    <a:pt x="1109" y="223"/>
                  </a:lnTo>
                  <a:lnTo>
                    <a:pt x="1117" y="215"/>
                  </a:lnTo>
                  <a:lnTo>
                    <a:pt x="1124" y="205"/>
                  </a:lnTo>
                  <a:lnTo>
                    <a:pt x="1129" y="192"/>
                  </a:lnTo>
                  <a:lnTo>
                    <a:pt x="1137" y="172"/>
                  </a:lnTo>
                  <a:lnTo>
                    <a:pt x="1144" y="157"/>
                  </a:lnTo>
                  <a:lnTo>
                    <a:pt x="1151" y="144"/>
                  </a:lnTo>
                  <a:lnTo>
                    <a:pt x="1156" y="135"/>
                  </a:lnTo>
                  <a:lnTo>
                    <a:pt x="1163" y="129"/>
                  </a:lnTo>
                  <a:lnTo>
                    <a:pt x="1168" y="125"/>
                  </a:lnTo>
                  <a:lnTo>
                    <a:pt x="1171" y="125"/>
                  </a:lnTo>
                  <a:lnTo>
                    <a:pt x="1173" y="125"/>
                  </a:lnTo>
                  <a:lnTo>
                    <a:pt x="1176" y="125"/>
                  </a:lnTo>
                  <a:lnTo>
                    <a:pt x="1178" y="126"/>
                  </a:lnTo>
                  <a:lnTo>
                    <a:pt x="1184" y="129"/>
                  </a:lnTo>
                  <a:lnTo>
                    <a:pt x="1190" y="135"/>
                  </a:lnTo>
                  <a:lnTo>
                    <a:pt x="1196" y="142"/>
                  </a:lnTo>
                  <a:lnTo>
                    <a:pt x="1202" y="150"/>
                  </a:lnTo>
                  <a:lnTo>
                    <a:pt x="1218" y="170"/>
                  </a:lnTo>
                  <a:lnTo>
                    <a:pt x="1237" y="192"/>
                  </a:lnTo>
                  <a:lnTo>
                    <a:pt x="1241" y="196"/>
                  </a:lnTo>
                  <a:lnTo>
                    <a:pt x="1246" y="198"/>
                  </a:lnTo>
                  <a:lnTo>
                    <a:pt x="1250" y="198"/>
                  </a:lnTo>
                  <a:lnTo>
                    <a:pt x="1254" y="198"/>
                  </a:lnTo>
                  <a:lnTo>
                    <a:pt x="1258" y="196"/>
                  </a:lnTo>
                  <a:lnTo>
                    <a:pt x="1264" y="193"/>
                  </a:lnTo>
                  <a:lnTo>
                    <a:pt x="1268" y="190"/>
                  </a:lnTo>
                  <a:lnTo>
                    <a:pt x="1272" y="186"/>
                  </a:lnTo>
                  <a:lnTo>
                    <a:pt x="1287" y="166"/>
                  </a:lnTo>
                  <a:lnTo>
                    <a:pt x="1297" y="148"/>
                  </a:lnTo>
                  <a:lnTo>
                    <a:pt x="1302" y="143"/>
                  </a:lnTo>
                  <a:lnTo>
                    <a:pt x="1307" y="139"/>
                  </a:lnTo>
                  <a:lnTo>
                    <a:pt x="1312" y="137"/>
                  </a:lnTo>
                  <a:lnTo>
                    <a:pt x="1317" y="136"/>
                  </a:lnTo>
                  <a:lnTo>
                    <a:pt x="1321" y="137"/>
                  </a:lnTo>
                  <a:lnTo>
                    <a:pt x="1325" y="140"/>
                  </a:lnTo>
                  <a:lnTo>
                    <a:pt x="1329" y="143"/>
                  </a:lnTo>
                  <a:lnTo>
                    <a:pt x="1334" y="148"/>
                  </a:lnTo>
                  <a:lnTo>
                    <a:pt x="1340" y="160"/>
                  </a:lnTo>
                  <a:lnTo>
                    <a:pt x="1344" y="172"/>
                  </a:lnTo>
                  <a:lnTo>
                    <a:pt x="1347" y="184"/>
                  </a:lnTo>
                  <a:lnTo>
                    <a:pt x="1348" y="195"/>
                  </a:lnTo>
                  <a:lnTo>
                    <a:pt x="1347" y="230"/>
                  </a:lnTo>
                  <a:lnTo>
                    <a:pt x="1345" y="261"/>
                  </a:lnTo>
                  <a:lnTo>
                    <a:pt x="1344" y="276"/>
                  </a:lnTo>
                  <a:lnTo>
                    <a:pt x="1343" y="289"/>
                  </a:lnTo>
                  <a:lnTo>
                    <a:pt x="1344" y="302"/>
                  </a:lnTo>
                  <a:lnTo>
                    <a:pt x="1346" y="312"/>
                  </a:lnTo>
                  <a:lnTo>
                    <a:pt x="1347" y="317"/>
                  </a:lnTo>
                  <a:lnTo>
                    <a:pt x="1349" y="321"/>
                  </a:lnTo>
                  <a:lnTo>
                    <a:pt x="1351" y="326"/>
                  </a:lnTo>
                  <a:lnTo>
                    <a:pt x="1354" y="330"/>
                  </a:lnTo>
                  <a:lnTo>
                    <a:pt x="1357" y="333"/>
                  </a:lnTo>
                  <a:lnTo>
                    <a:pt x="1362" y="336"/>
                  </a:lnTo>
                  <a:lnTo>
                    <a:pt x="1366" y="338"/>
                  </a:lnTo>
                  <a:lnTo>
                    <a:pt x="1372" y="340"/>
                  </a:lnTo>
                  <a:lnTo>
                    <a:pt x="1377" y="341"/>
                  </a:lnTo>
                  <a:lnTo>
                    <a:pt x="1385" y="342"/>
                  </a:lnTo>
                  <a:lnTo>
                    <a:pt x="1392" y="343"/>
                  </a:lnTo>
                  <a:lnTo>
                    <a:pt x="1400" y="343"/>
                  </a:lnTo>
                  <a:lnTo>
                    <a:pt x="1419" y="341"/>
                  </a:lnTo>
                  <a:lnTo>
                    <a:pt x="1442" y="337"/>
                  </a:lnTo>
                  <a:lnTo>
                    <a:pt x="1457" y="333"/>
                  </a:lnTo>
                  <a:lnTo>
                    <a:pt x="1470" y="329"/>
                  </a:lnTo>
                  <a:lnTo>
                    <a:pt x="1483" y="324"/>
                  </a:lnTo>
                  <a:lnTo>
                    <a:pt x="1496" y="318"/>
                  </a:lnTo>
                  <a:lnTo>
                    <a:pt x="1521" y="306"/>
                  </a:lnTo>
                  <a:lnTo>
                    <a:pt x="1545" y="293"/>
                  </a:lnTo>
                  <a:lnTo>
                    <a:pt x="1558" y="287"/>
                  </a:lnTo>
                  <a:lnTo>
                    <a:pt x="1570" y="282"/>
                  </a:lnTo>
                  <a:lnTo>
                    <a:pt x="1583" y="277"/>
                  </a:lnTo>
                  <a:lnTo>
                    <a:pt x="1596" y="272"/>
                  </a:lnTo>
                  <a:lnTo>
                    <a:pt x="1611" y="269"/>
                  </a:lnTo>
                  <a:lnTo>
                    <a:pt x="1625" y="267"/>
                  </a:lnTo>
                  <a:lnTo>
                    <a:pt x="1640" y="266"/>
                  </a:lnTo>
                  <a:lnTo>
                    <a:pt x="1657" y="266"/>
                  </a:lnTo>
                  <a:lnTo>
                    <a:pt x="1663" y="267"/>
                  </a:lnTo>
                  <a:lnTo>
                    <a:pt x="1669" y="268"/>
                  </a:lnTo>
                  <a:lnTo>
                    <a:pt x="1674" y="270"/>
                  </a:lnTo>
                  <a:lnTo>
                    <a:pt x="1679" y="272"/>
                  </a:lnTo>
                  <a:lnTo>
                    <a:pt x="1683" y="274"/>
                  </a:lnTo>
                  <a:lnTo>
                    <a:pt x="1686" y="278"/>
                  </a:lnTo>
                  <a:lnTo>
                    <a:pt x="1689" y="281"/>
                  </a:lnTo>
                  <a:lnTo>
                    <a:pt x="1691" y="285"/>
                  </a:lnTo>
                  <a:lnTo>
                    <a:pt x="1695" y="293"/>
                  </a:lnTo>
                  <a:lnTo>
                    <a:pt x="1699" y="303"/>
                  </a:lnTo>
                  <a:lnTo>
                    <a:pt x="1702" y="313"/>
                  </a:lnTo>
                  <a:lnTo>
                    <a:pt x="1704" y="324"/>
                  </a:lnTo>
                  <a:lnTo>
                    <a:pt x="1704" y="324"/>
                  </a:lnTo>
                  <a:lnTo>
                    <a:pt x="1703" y="369"/>
                  </a:lnTo>
                  <a:lnTo>
                    <a:pt x="1723" y="383"/>
                  </a:lnTo>
                  <a:lnTo>
                    <a:pt x="1739" y="394"/>
                  </a:lnTo>
                  <a:lnTo>
                    <a:pt x="1752" y="408"/>
                  </a:lnTo>
                  <a:lnTo>
                    <a:pt x="1765" y="426"/>
                  </a:lnTo>
                  <a:lnTo>
                    <a:pt x="1761" y="434"/>
                  </a:lnTo>
                  <a:lnTo>
                    <a:pt x="1757" y="442"/>
                  </a:lnTo>
                  <a:lnTo>
                    <a:pt x="1754" y="452"/>
                  </a:lnTo>
                  <a:lnTo>
                    <a:pt x="1752" y="459"/>
                  </a:lnTo>
                  <a:lnTo>
                    <a:pt x="1751" y="467"/>
                  </a:lnTo>
                  <a:lnTo>
                    <a:pt x="1751" y="475"/>
                  </a:lnTo>
                  <a:lnTo>
                    <a:pt x="1752" y="481"/>
                  </a:lnTo>
                  <a:lnTo>
                    <a:pt x="1754" y="487"/>
                  </a:lnTo>
                  <a:lnTo>
                    <a:pt x="1757" y="493"/>
                  </a:lnTo>
                  <a:lnTo>
                    <a:pt x="1761" y="497"/>
                  </a:lnTo>
                  <a:lnTo>
                    <a:pt x="1766" y="501"/>
                  </a:lnTo>
                  <a:lnTo>
                    <a:pt x="1772" y="504"/>
                  </a:lnTo>
                  <a:lnTo>
                    <a:pt x="1780" y="505"/>
                  </a:lnTo>
                  <a:lnTo>
                    <a:pt x="1789" y="506"/>
                  </a:lnTo>
                  <a:lnTo>
                    <a:pt x="1799" y="506"/>
                  </a:lnTo>
                  <a:lnTo>
                    <a:pt x="1809" y="504"/>
                  </a:lnTo>
                  <a:lnTo>
                    <a:pt x="1815" y="504"/>
                  </a:lnTo>
                  <a:lnTo>
                    <a:pt x="1821" y="505"/>
                  </a:lnTo>
                  <a:lnTo>
                    <a:pt x="1827" y="507"/>
                  </a:lnTo>
                  <a:lnTo>
                    <a:pt x="1832" y="510"/>
                  </a:lnTo>
                  <a:lnTo>
                    <a:pt x="1837" y="514"/>
                  </a:lnTo>
                  <a:lnTo>
                    <a:pt x="1842" y="520"/>
                  </a:lnTo>
                  <a:lnTo>
                    <a:pt x="1846" y="526"/>
                  </a:lnTo>
                  <a:lnTo>
                    <a:pt x="1851" y="532"/>
                  </a:lnTo>
                  <a:lnTo>
                    <a:pt x="1865" y="559"/>
                  </a:lnTo>
                  <a:lnTo>
                    <a:pt x="1877" y="582"/>
                  </a:lnTo>
                  <a:lnTo>
                    <a:pt x="1884" y="595"/>
                  </a:lnTo>
                  <a:lnTo>
                    <a:pt x="1891" y="607"/>
                  </a:lnTo>
                  <a:lnTo>
                    <a:pt x="1900" y="620"/>
                  </a:lnTo>
                  <a:lnTo>
                    <a:pt x="1908" y="630"/>
                  </a:lnTo>
                  <a:lnTo>
                    <a:pt x="1918" y="641"/>
                  </a:lnTo>
                  <a:lnTo>
                    <a:pt x="1929" y="649"/>
                  </a:lnTo>
                  <a:lnTo>
                    <a:pt x="1935" y="652"/>
                  </a:lnTo>
                  <a:lnTo>
                    <a:pt x="1941" y="655"/>
                  </a:lnTo>
                  <a:lnTo>
                    <a:pt x="1949" y="657"/>
                  </a:lnTo>
                  <a:lnTo>
                    <a:pt x="1956" y="659"/>
                  </a:lnTo>
                  <a:lnTo>
                    <a:pt x="1967" y="663"/>
                  </a:lnTo>
                  <a:lnTo>
                    <a:pt x="1978" y="668"/>
                  </a:lnTo>
                  <a:lnTo>
                    <a:pt x="1989" y="675"/>
                  </a:lnTo>
                  <a:lnTo>
                    <a:pt x="2000" y="683"/>
                  </a:lnTo>
                  <a:lnTo>
                    <a:pt x="2023" y="703"/>
                  </a:lnTo>
                  <a:lnTo>
                    <a:pt x="2045" y="724"/>
                  </a:lnTo>
                  <a:lnTo>
                    <a:pt x="2055" y="734"/>
                  </a:lnTo>
                  <a:lnTo>
                    <a:pt x="2066" y="743"/>
                  </a:lnTo>
                  <a:lnTo>
                    <a:pt x="2077" y="751"/>
                  </a:lnTo>
                  <a:lnTo>
                    <a:pt x="2087" y="758"/>
                  </a:lnTo>
                  <a:lnTo>
                    <a:pt x="2093" y="761"/>
                  </a:lnTo>
                  <a:lnTo>
                    <a:pt x="2099" y="763"/>
                  </a:lnTo>
                  <a:lnTo>
                    <a:pt x="2104" y="764"/>
                  </a:lnTo>
                  <a:lnTo>
                    <a:pt x="2109" y="765"/>
                  </a:lnTo>
                  <a:lnTo>
                    <a:pt x="2113" y="765"/>
                  </a:lnTo>
                  <a:lnTo>
                    <a:pt x="2119" y="765"/>
                  </a:lnTo>
                  <a:lnTo>
                    <a:pt x="2124" y="764"/>
                  </a:lnTo>
                  <a:lnTo>
                    <a:pt x="2129" y="762"/>
                  </a:lnTo>
                  <a:lnTo>
                    <a:pt x="2146" y="750"/>
                  </a:lnTo>
                  <a:lnTo>
                    <a:pt x="2160" y="738"/>
                  </a:lnTo>
                  <a:lnTo>
                    <a:pt x="2164" y="736"/>
                  </a:lnTo>
                  <a:lnTo>
                    <a:pt x="2169" y="734"/>
                  </a:lnTo>
                  <a:lnTo>
                    <a:pt x="2173" y="731"/>
                  </a:lnTo>
                  <a:lnTo>
                    <a:pt x="2177" y="730"/>
                  </a:lnTo>
                  <a:lnTo>
                    <a:pt x="2182" y="730"/>
                  </a:lnTo>
                  <a:lnTo>
                    <a:pt x="2187" y="730"/>
                  </a:lnTo>
                  <a:lnTo>
                    <a:pt x="2193" y="731"/>
                  </a:lnTo>
                  <a:lnTo>
                    <a:pt x="2199" y="735"/>
                  </a:lnTo>
                  <a:lnTo>
                    <a:pt x="2209" y="738"/>
                  </a:lnTo>
                  <a:lnTo>
                    <a:pt x="2219" y="740"/>
                  </a:lnTo>
                  <a:lnTo>
                    <a:pt x="2227" y="741"/>
                  </a:lnTo>
                  <a:lnTo>
                    <a:pt x="2235" y="741"/>
                  </a:lnTo>
                  <a:lnTo>
                    <a:pt x="2244" y="740"/>
                  </a:lnTo>
                  <a:lnTo>
                    <a:pt x="2251" y="738"/>
                  </a:lnTo>
                  <a:lnTo>
                    <a:pt x="2257" y="735"/>
                  </a:lnTo>
                  <a:lnTo>
                    <a:pt x="2265" y="730"/>
                  </a:lnTo>
                  <a:lnTo>
                    <a:pt x="2290" y="711"/>
                  </a:lnTo>
                  <a:lnTo>
                    <a:pt x="2316" y="687"/>
                  </a:lnTo>
                  <a:lnTo>
                    <a:pt x="2327" y="679"/>
                  </a:lnTo>
                  <a:lnTo>
                    <a:pt x="2337" y="674"/>
                  </a:lnTo>
                  <a:lnTo>
                    <a:pt x="2342" y="673"/>
                  </a:lnTo>
                  <a:lnTo>
                    <a:pt x="2347" y="672"/>
                  </a:lnTo>
                  <a:lnTo>
                    <a:pt x="2351" y="673"/>
                  </a:lnTo>
                  <a:lnTo>
                    <a:pt x="2355" y="673"/>
                  </a:lnTo>
                  <a:lnTo>
                    <a:pt x="2358" y="675"/>
                  </a:lnTo>
                  <a:lnTo>
                    <a:pt x="2362" y="677"/>
                  </a:lnTo>
                  <a:lnTo>
                    <a:pt x="2365" y="680"/>
                  </a:lnTo>
                  <a:lnTo>
                    <a:pt x="2368" y="684"/>
                  </a:lnTo>
                  <a:lnTo>
                    <a:pt x="2369" y="690"/>
                  </a:lnTo>
                  <a:lnTo>
                    <a:pt x="2371" y="696"/>
                  </a:lnTo>
                  <a:lnTo>
                    <a:pt x="2372" y="702"/>
                  </a:lnTo>
                  <a:lnTo>
                    <a:pt x="2372" y="710"/>
                  </a:lnTo>
                  <a:lnTo>
                    <a:pt x="2372" y="715"/>
                  </a:lnTo>
                  <a:lnTo>
                    <a:pt x="2373" y="719"/>
                  </a:lnTo>
                  <a:lnTo>
                    <a:pt x="2375" y="723"/>
                  </a:lnTo>
                  <a:lnTo>
                    <a:pt x="2376" y="727"/>
                  </a:lnTo>
                  <a:lnTo>
                    <a:pt x="2381" y="735"/>
                  </a:lnTo>
                  <a:lnTo>
                    <a:pt x="2388" y="742"/>
                  </a:lnTo>
                  <a:lnTo>
                    <a:pt x="2403" y="753"/>
                  </a:lnTo>
                  <a:lnTo>
                    <a:pt x="2419" y="764"/>
                  </a:lnTo>
                  <a:lnTo>
                    <a:pt x="2426" y="769"/>
                  </a:lnTo>
                  <a:lnTo>
                    <a:pt x="2432" y="773"/>
                  </a:lnTo>
                  <a:lnTo>
                    <a:pt x="2438" y="778"/>
                  </a:lnTo>
                  <a:lnTo>
                    <a:pt x="2441" y="784"/>
                  </a:lnTo>
                  <a:lnTo>
                    <a:pt x="2442" y="786"/>
                  </a:lnTo>
                  <a:lnTo>
                    <a:pt x="2442" y="789"/>
                  </a:lnTo>
                  <a:lnTo>
                    <a:pt x="2442" y="791"/>
                  </a:lnTo>
                  <a:lnTo>
                    <a:pt x="2441" y="794"/>
                  </a:lnTo>
                  <a:lnTo>
                    <a:pt x="2437" y="800"/>
                  </a:lnTo>
                  <a:lnTo>
                    <a:pt x="2429" y="808"/>
                  </a:lnTo>
                  <a:lnTo>
                    <a:pt x="2420" y="816"/>
                  </a:lnTo>
                  <a:lnTo>
                    <a:pt x="2413" y="822"/>
                  </a:lnTo>
                  <a:lnTo>
                    <a:pt x="2407" y="828"/>
                  </a:lnTo>
                  <a:lnTo>
                    <a:pt x="2405" y="834"/>
                  </a:lnTo>
                  <a:lnTo>
                    <a:pt x="2404" y="838"/>
                  </a:lnTo>
                  <a:lnTo>
                    <a:pt x="2404" y="843"/>
                  </a:lnTo>
                  <a:lnTo>
                    <a:pt x="2406" y="846"/>
                  </a:lnTo>
                  <a:lnTo>
                    <a:pt x="2411" y="850"/>
                  </a:lnTo>
                  <a:lnTo>
                    <a:pt x="2419" y="860"/>
                  </a:lnTo>
                  <a:lnTo>
                    <a:pt x="2429" y="870"/>
                  </a:lnTo>
                  <a:lnTo>
                    <a:pt x="2435" y="877"/>
                  </a:lnTo>
                  <a:lnTo>
                    <a:pt x="2439" y="886"/>
                  </a:lnTo>
                  <a:lnTo>
                    <a:pt x="2443" y="896"/>
                  </a:lnTo>
                  <a:lnTo>
                    <a:pt x="2447" y="908"/>
                  </a:lnTo>
                  <a:lnTo>
                    <a:pt x="2445" y="920"/>
                  </a:lnTo>
                  <a:lnTo>
                    <a:pt x="2444" y="933"/>
                  </a:lnTo>
                  <a:lnTo>
                    <a:pt x="2444" y="939"/>
                  </a:lnTo>
                  <a:lnTo>
                    <a:pt x="2445" y="944"/>
                  </a:lnTo>
                  <a:lnTo>
                    <a:pt x="2448" y="948"/>
                  </a:lnTo>
                  <a:lnTo>
                    <a:pt x="2452" y="953"/>
                  </a:lnTo>
                  <a:lnTo>
                    <a:pt x="2457" y="951"/>
                  </a:lnTo>
                  <a:lnTo>
                    <a:pt x="2463" y="946"/>
                  </a:lnTo>
                  <a:lnTo>
                    <a:pt x="2468" y="942"/>
                  </a:lnTo>
                  <a:lnTo>
                    <a:pt x="2474" y="937"/>
                  </a:lnTo>
                  <a:lnTo>
                    <a:pt x="2488" y="924"/>
                  </a:lnTo>
                  <a:lnTo>
                    <a:pt x="2500" y="914"/>
                  </a:lnTo>
                  <a:lnTo>
                    <a:pt x="2508" y="909"/>
                  </a:lnTo>
                  <a:lnTo>
                    <a:pt x="2514" y="905"/>
                  </a:lnTo>
                  <a:lnTo>
                    <a:pt x="2519" y="903"/>
                  </a:lnTo>
                  <a:lnTo>
                    <a:pt x="2525" y="901"/>
                  </a:lnTo>
                  <a:lnTo>
                    <a:pt x="2527" y="901"/>
                  </a:lnTo>
                  <a:lnTo>
                    <a:pt x="2530" y="901"/>
                  </a:lnTo>
                  <a:lnTo>
                    <a:pt x="2533" y="903"/>
                  </a:lnTo>
                  <a:lnTo>
                    <a:pt x="2535" y="905"/>
                  </a:lnTo>
                  <a:lnTo>
                    <a:pt x="2538" y="909"/>
                  </a:lnTo>
                  <a:lnTo>
                    <a:pt x="2541" y="916"/>
                  </a:lnTo>
                  <a:lnTo>
                    <a:pt x="2547" y="940"/>
                  </a:lnTo>
                  <a:lnTo>
                    <a:pt x="2553" y="965"/>
                  </a:lnTo>
                  <a:lnTo>
                    <a:pt x="2558" y="989"/>
                  </a:lnTo>
                  <a:lnTo>
                    <a:pt x="2562" y="1014"/>
                  </a:lnTo>
                  <a:lnTo>
                    <a:pt x="2565" y="1039"/>
                  </a:lnTo>
                  <a:lnTo>
                    <a:pt x="2567" y="1064"/>
                  </a:lnTo>
                  <a:lnTo>
                    <a:pt x="2569" y="1089"/>
                  </a:lnTo>
                  <a:lnTo>
                    <a:pt x="2569" y="1114"/>
                  </a:lnTo>
                  <a:lnTo>
                    <a:pt x="2569" y="1122"/>
                  </a:lnTo>
                  <a:lnTo>
                    <a:pt x="2568" y="1129"/>
                  </a:lnTo>
                  <a:lnTo>
                    <a:pt x="2566" y="1135"/>
                  </a:lnTo>
                  <a:lnTo>
                    <a:pt x="2564" y="1140"/>
                  </a:lnTo>
                  <a:lnTo>
                    <a:pt x="2559" y="1152"/>
                  </a:lnTo>
                  <a:lnTo>
                    <a:pt x="2551" y="1161"/>
                  </a:lnTo>
                  <a:lnTo>
                    <a:pt x="2542" y="1171"/>
                  </a:lnTo>
                  <a:lnTo>
                    <a:pt x="2533" y="1179"/>
                  </a:lnTo>
                  <a:lnTo>
                    <a:pt x="2522" y="1187"/>
                  </a:lnTo>
                  <a:lnTo>
                    <a:pt x="2512" y="1195"/>
                  </a:lnTo>
                  <a:lnTo>
                    <a:pt x="2500" y="1203"/>
                  </a:lnTo>
                  <a:lnTo>
                    <a:pt x="2490" y="1211"/>
                  </a:lnTo>
                  <a:lnTo>
                    <a:pt x="2480" y="1220"/>
                  </a:lnTo>
                  <a:lnTo>
                    <a:pt x="2472" y="1229"/>
                  </a:lnTo>
                  <a:lnTo>
                    <a:pt x="2465" y="1239"/>
                  </a:lnTo>
                  <a:lnTo>
                    <a:pt x="2459" y="1250"/>
                  </a:lnTo>
                  <a:lnTo>
                    <a:pt x="2456" y="1256"/>
                  </a:lnTo>
                  <a:lnTo>
                    <a:pt x="2455" y="1262"/>
                  </a:lnTo>
                  <a:lnTo>
                    <a:pt x="2454" y="1270"/>
                  </a:lnTo>
                  <a:lnTo>
                    <a:pt x="2453" y="1277"/>
                  </a:lnTo>
                  <a:lnTo>
                    <a:pt x="2461" y="1282"/>
                  </a:lnTo>
                  <a:lnTo>
                    <a:pt x="2468" y="1285"/>
                  </a:lnTo>
                  <a:lnTo>
                    <a:pt x="2476" y="1287"/>
                  </a:lnTo>
                  <a:lnTo>
                    <a:pt x="2485" y="1290"/>
                  </a:lnTo>
                  <a:lnTo>
                    <a:pt x="2501" y="1290"/>
                  </a:lnTo>
                  <a:lnTo>
                    <a:pt x="2519" y="1289"/>
                  </a:lnTo>
                  <a:lnTo>
                    <a:pt x="2537" y="1286"/>
                  </a:lnTo>
                  <a:lnTo>
                    <a:pt x="2554" y="1285"/>
                  </a:lnTo>
                  <a:lnTo>
                    <a:pt x="2564" y="1285"/>
                  </a:lnTo>
                  <a:lnTo>
                    <a:pt x="2571" y="1286"/>
                  </a:lnTo>
                  <a:lnTo>
                    <a:pt x="2579" y="1289"/>
                  </a:lnTo>
                  <a:lnTo>
                    <a:pt x="2587" y="1293"/>
                  </a:lnTo>
                  <a:lnTo>
                    <a:pt x="2594" y="1297"/>
                  </a:lnTo>
                  <a:lnTo>
                    <a:pt x="2603" y="1305"/>
                  </a:lnTo>
                  <a:lnTo>
                    <a:pt x="2614" y="1316"/>
                  </a:lnTo>
                  <a:lnTo>
                    <a:pt x="2625" y="1328"/>
                  </a:lnTo>
                  <a:lnTo>
                    <a:pt x="2635" y="1341"/>
                  </a:lnTo>
                  <a:lnTo>
                    <a:pt x="2644" y="1353"/>
                  </a:lnTo>
                  <a:lnTo>
                    <a:pt x="2647" y="1358"/>
                  </a:lnTo>
                  <a:lnTo>
                    <a:pt x="2649" y="1364"/>
                  </a:lnTo>
                  <a:lnTo>
                    <a:pt x="2651" y="1368"/>
                  </a:lnTo>
                  <a:lnTo>
                    <a:pt x="2651" y="1372"/>
                  </a:lnTo>
                  <a:lnTo>
                    <a:pt x="2644" y="1376"/>
                  </a:lnTo>
                  <a:lnTo>
                    <a:pt x="2636" y="1379"/>
                  </a:lnTo>
                  <a:lnTo>
                    <a:pt x="2628" y="1382"/>
                  </a:lnTo>
                  <a:lnTo>
                    <a:pt x="2620" y="1383"/>
                  </a:lnTo>
                  <a:lnTo>
                    <a:pt x="2613" y="1386"/>
                  </a:lnTo>
                  <a:lnTo>
                    <a:pt x="2604" y="1388"/>
                  </a:lnTo>
                  <a:lnTo>
                    <a:pt x="2596" y="1391"/>
                  </a:lnTo>
                  <a:lnTo>
                    <a:pt x="2588" y="1394"/>
                  </a:lnTo>
                  <a:lnTo>
                    <a:pt x="2578" y="1399"/>
                  </a:lnTo>
                  <a:lnTo>
                    <a:pt x="2572" y="1404"/>
                  </a:lnTo>
                  <a:lnTo>
                    <a:pt x="2567" y="1410"/>
                  </a:lnTo>
                  <a:lnTo>
                    <a:pt x="2564" y="1416"/>
                  </a:lnTo>
                  <a:lnTo>
                    <a:pt x="2560" y="1428"/>
                  </a:lnTo>
                  <a:lnTo>
                    <a:pt x="2553" y="1445"/>
                  </a:lnTo>
                  <a:lnTo>
                    <a:pt x="2551" y="1452"/>
                  </a:lnTo>
                  <a:lnTo>
                    <a:pt x="2551" y="1460"/>
                  </a:lnTo>
                  <a:lnTo>
                    <a:pt x="2552" y="1466"/>
                  </a:lnTo>
                  <a:lnTo>
                    <a:pt x="2555" y="1471"/>
                  </a:lnTo>
                  <a:lnTo>
                    <a:pt x="2561" y="1475"/>
                  </a:lnTo>
                  <a:lnTo>
                    <a:pt x="2566" y="1479"/>
                  </a:lnTo>
                  <a:lnTo>
                    <a:pt x="2572" y="1483"/>
                  </a:lnTo>
                  <a:lnTo>
                    <a:pt x="2579" y="1486"/>
                  </a:lnTo>
                  <a:lnTo>
                    <a:pt x="2594" y="1492"/>
                  </a:lnTo>
                  <a:lnTo>
                    <a:pt x="2608" y="1498"/>
                  </a:lnTo>
                  <a:lnTo>
                    <a:pt x="2614" y="1502"/>
                  </a:lnTo>
                  <a:lnTo>
                    <a:pt x="2619" y="1507"/>
                  </a:lnTo>
                  <a:lnTo>
                    <a:pt x="2622" y="1512"/>
                  </a:lnTo>
                  <a:lnTo>
                    <a:pt x="2625" y="1518"/>
                  </a:lnTo>
                  <a:lnTo>
                    <a:pt x="2626" y="1525"/>
                  </a:lnTo>
                  <a:lnTo>
                    <a:pt x="2626" y="1532"/>
                  </a:lnTo>
                  <a:lnTo>
                    <a:pt x="2625" y="1537"/>
                  </a:lnTo>
                  <a:lnTo>
                    <a:pt x="2623" y="1541"/>
                  </a:lnTo>
                  <a:lnTo>
                    <a:pt x="2620" y="1544"/>
                  </a:lnTo>
                  <a:lnTo>
                    <a:pt x="2616" y="1546"/>
                  </a:lnTo>
                  <a:lnTo>
                    <a:pt x="2611" y="1548"/>
                  </a:lnTo>
                  <a:lnTo>
                    <a:pt x="2606" y="1549"/>
                  </a:lnTo>
                  <a:lnTo>
                    <a:pt x="2599" y="1549"/>
                  </a:lnTo>
                  <a:lnTo>
                    <a:pt x="2592" y="1549"/>
                  </a:lnTo>
                  <a:lnTo>
                    <a:pt x="2585" y="1548"/>
                  </a:lnTo>
                  <a:lnTo>
                    <a:pt x="2576" y="1547"/>
                  </a:lnTo>
                  <a:lnTo>
                    <a:pt x="2560" y="1543"/>
                  </a:lnTo>
                  <a:lnTo>
                    <a:pt x="2542" y="1538"/>
                  </a:lnTo>
                  <a:lnTo>
                    <a:pt x="2504" y="1525"/>
                  </a:lnTo>
                  <a:lnTo>
                    <a:pt x="2470" y="1512"/>
                  </a:lnTo>
                  <a:lnTo>
                    <a:pt x="2443" y="1500"/>
                  </a:lnTo>
                  <a:lnTo>
                    <a:pt x="2427" y="1496"/>
                  </a:lnTo>
                  <a:lnTo>
                    <a:pt x="2417" y="1496"/>
                  </a:lnTo>
                  <a:lnTo>
                    <a:pt x="2406" y="1498"/>
                  </a:lnTo>
                  <a:lnTo>
                    <a:pt x="2397" y="1501"/>
                  </a:lnTo>
                  <a:lnTo>
                    <a:pt x="2387" y="1506"/>
                  </a:lnTo>
                  <a:lnTo>
                    <a:pt x="2378" y="1511"/>
                  </a:lnTo>
                  <a:lnTo>
                    <a:pt x="2370" y="1516"/>
                  </a:lnTo>
                  <a:lnTo>
                    <a:pt x="2363" y="1522"/>
                  </a:lnTo>
                  <a:lnTo>
                    <a:pt x="2357" y="1530"/>
                  </a:lnTo>
                  <a:lnTo>
                    <a:pt x="2353" y="1536"/>
                  </a:lnTo>
                  <a:lnTo>
                    <a:pt x="2350" y="1542"/>
                  </a:lnTo>
                  <a:lnTo>
                    <a:pt x="2350" y="1546"/>
                  </a:lnTo>
                  <a:lnTo>
                    <a:pt x="2350" y="1549"/>
                  </a:lnTo>
                  <a:lnTo>
                    <a:pt x="2351" y="1552"/>
                  </a:lnTo>
                  <a:lnTo>
                    <a:pt x="2353" y="1556"/>
                  </a:lnTo>
                  <a:lnTo>
                    <a:pt x="2354" y="1558"/>
                  </a:lnTo>
                  <a:lnTo>
                    <a:pt x="2357" y="1561"/>
                  </a:lnTo>
                  <a:lnTo>
                    <a:pt x="2361" y="1563"/>
                  </a:lnTo>
                  <a:lnTo>
                    <a:pt x="2365" y="1566"/>
                  </a:lnTo>
                  <a:lnTo>
                    <a:pt x="2376" y="1569"/>
                  </a:lnTo>
                  <a:lnTo>
                    <a:pt x="2390" y="1572"/>
                  </a:lnTo>
                  <a:lnTo>
                    <a:pt x="2420" y="1574"/>
                  </a:lnTo>
                  <a:lnTo>
                    <a:pt x="2457" y="1579"/>
                  </a:lnTo>
                  <a:lnTo>
                    <a:pt x="2467" y="1581"/>
                  </a:lnTo>
                  <a:lnTo>
                    <a:pt x="2475" y="1583"/>
                  </a:lnTo>
                  <a:lnTo>
                    <a:pt x="2483" y="1587"/>
                  </a:lnTo>
                  <a:lnTo>
                    <a:pt x="2489" y="1591"/>
                  </a:lnTo>
                  <a:lnTo>
                    <a:pt x="2495" y="1596"/>
                  </a:lnTo>
                  <a:lnTo>
                    <a:pt x="2499" y="1603"/>
                  </a:lnTo>
                  <a:lnTo>
                    <a:pt x="2501" y="1610"/>
                  </a:lnTo>
                  <a:lnTo>
                    <a:pt x="2502" y="1618"/>
                  </a:lnTo>
                  <a:lnTo>
                    <a:pt x="2502" y="1621"/>
                  </a:lnTo>
                  <a:lnTo>
                    <a:pt x="2500" y="1624"/>
                  </a:lnTo>
                  <a:lnTo>
                    <a:pt x="2498" y="1627"/>
                  </a:lnTo>
                  <a:lnTo>
                    <a:pt x="2496" y="1629"/>
                  </a:lnTo>
                  <a:lnTo>
                    <a:pt x="2488" y="1632"/>
                  </a:lnTo>
                  <a:lnTo>
                    <a:pt x="2478" y="1633"/>
                  </a:lnTo>
                  <a:lnTo>
                    <a:pt x="2453" y="1634"/>
                  </a:lnTo>
                  <a:lnTo>
                    <a:pt x="2425" y="1633"/>
                  </a:lnTo>
                  <a:lnTo>
                    <a:pt x="2411" y="1634"/>
                  </a:lnTo>
                  <a:lnTo>
                    <a:pt x="2396" y="1634"/>
                  </a:lnTo>
                  <a:lnTo>
                    <a:pt x="2383" y="1636"/>
                  </a:lnTo>
                  <a:lnTo>
                    <a:pt x="2372" y="1639"/>
                  </a:lnTo>
                  <a:lnTo>
                    <a:pt x="2367" y="1642"/>
                  </a:lnTo>
                  <a:lnTo>
                    <a:pt x="2363" y="1644"/>
                  </a:lnTo>
                  <a:lnTo>
                    <a:pt x="2358" y="1647"/>
                  </a:lnTo>
                  <a:lnTo>
                    <a:pt x="2355" y="1652"/>
                  </a:lnTo>
                  <a:lnTo>
                    <a:pt x="2352" y="1656"/>
                  </a:lnTo>
                  <a:lnTo>
                    <a:pt x="2351" y="1661"/>
                  </a:lnTo>
                  <a:lnTo>
                    <a:pt x="2350" y="1666"/>
                  </a:lnTo>
                  <a:lnTo>
                    <a:pt x="2350" y="1672"/>
                  </a:lnTo>
                  <a:lnTo>
                    <a:pt x="2351" y="1679"/>
                  </a:lnTo>
                  <a:lnTo>
                    <a:pt x="2353" y="1684"/>
                  </a:lnTo>
                  <a:lnTo>
                    <a:pt x="2357" y="1689"/>
                  </a:lnTo>
                  <a:lnTo>
                    <a:pt x="2364" y="1693"/>
                  </a:lnTo>
                  <a:lnTo>
                    <a:pt x="2370" y="1697"/>
                  </a:lnTo>
                  <a:lnTo>
                    <a:pt x="2377" y="1701"/>
                  </a:lnTo>
                  <a:lnTo>
                    <a:pt x="2387" y="1704"/>
                  </a:lnTo>
                  <a:lnTo>
                    <a:pt x="2396" y="1706"/>
                  </a:lnTo>
                  <a:lnTo>
                    <a:pt x="2417" y="1710"/>
                  </a:lnTo>
                  <a:lnTo>
                    <a:pt x="2440" y="1713"/>
                  </a:lnTo>
                  <a:lnTo>
                    <a:pt x="2463" y="1716"/>
                  </a:lnTo>
                  <a:lnTo>
                    <a:pt x="2487" y="1718"/>
                  </a:lnTo>
                  <a:lnTo>
                    <a:pt x="2487" y="1718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40" name="Freeform 177">
              <a:extLst>
                <a:ext uri="{FF2B5EF4-FFF2-40B4-BE49-F238E27FC236}">
                  <a16:creationId xmlns:a16="http://schemas.microsoft.com/office/drawing/2014/main" id="{68035499-C223-4997-8B0D-A8AB630BD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9557" y="2492860"/>
              <a:ext cx="547149" cy="495425"/>
            </a:xfrm>
            <a:custGeom>
              <a:avLst/>
              <a:gdLst>
                <a:gd name="T0" fmla="*/ 84 w 2182"/>
                <a:gd name="T1" fmla="*/ 1805 h 2036"/>
                <a:gd name="T2" fmla="*/ 171 w 2182"/>
                <a:gd name="T3" fmla="*/ 1818 h 2036"/>
                <a:gd name="T4" fmla="*/ 230 w 2182"/>
                <a:gd name="T5" fmla="*/ 1849 h 2036"/>
                <a:gd name="T6" fmla="*/ 388 w 2182"/>
                <a:gd name="T7" fmla="*/ 1878 h 2036"/>
                <a:gd name="T8" fmla="*/ 535 w 2182"/>
                <a:gd name="T9" fmla="*/ 1948 h 2036"/>
                <a:gd name="T10" fmla="*/ 658 w 2182"/>
                <a:gd name="T11" fmla="*/ 1843 h 2036"/>
                <a:gd name="T12" fmla="*/ 703 w 2182"/>
                <a:gd name="T13" fmla="*/ 1767 h 2036"/>
                <a:gd name="T14" fmla="*/ 854 w 2182"/>
                <a:gd name="T15" fmla="*/ 1824 h 2036"/>
                <a:gd name="T16" fmla="*/ 1012 w 2182"/>
                <a:gd name="T17" fmla="*/ 1818 h 2036"/>
                <a:gd name="T18" fmla="*/ 1265 w 2182"/>
                <a:gd name="T19" fmla="*/ 1914 h 2036"/>
                <a:gd name="T20" fmla="*/ 1445 w 2182"/>
                <a:gd name="T21" fmla="*/ 2002 h 2036"/>
                <a:gd name="T22" fmla="*/ 1596 w 2182"/>
                <a:gd name="T23" fmla="*/ 2011 h 2036"/>
                <a:gd name="T24" fmla="*/ 1707 w 2182"/>
                <a:gd name="T25" fmla="*/ 2007 h 2036"/>
                <a:gd name="T26" fmla="*/ 1717 w 2182"/>
                <a:gd name="T27" fmla="*/ 1777 h 2036"/>
                <a:gd name="T28" fmla="*/ 1921 w 2182"/>
                <a:gd name="T29" fmla="*/ 1698 h 2036"/>
                <a:gd name="T30" fmla="*/ 1868 w 2182"/>
                <a:gd name="T31" fmla="*/ 1610 h 2036"/>
                <a:gd name="T32" fmla="*/ 1830 w 2182"/>
                <a:gd name="T33" fmla="*/ 1455 h 2036"/>
                <a:gd name="T34" fmla="*/ 1976 w 2182"/>
                <a:gd name="T35" fmla="*/ 1393 h 2036"/>
                <a:gd name="T36" fmla="*/ 2069 w 2182"/>
                <a:gd name="T37" fmla="*/ 1336 h 2036"/>
                <a:gd name="T38" fmla="*/ 2168 w 2182"/>
                <a:gd name="T39" fmla="*/ 1165 h 2036"/>
                <a:gd name="T40" fmla="*/ 2147 w 2182"/>
                <a:gd name="T41" fmla="*/ 1070 h 2036"/>
                <a:gd name="T42" fmla="*/ 1981 w 2182"/>
                <a:gd name="T43" fmla="*/ 980 h 2036"/>
                <a:gd name="T44" fmla="*/ 1886 w 2182"/>
                <a:gd name="T45" fmla="*/ 950 h 2036"/>
                <a:gd name="T46" fmla="*/ 1941 w 2182"/>
                <a:gd name="T47" fmla="*/ 892 h 2036"/>
                <a:gd name="T48" fmla="*/ 2060 w 2182"/>
                <a:gd name="T49" fmla="*/ 779 h 2036"/>
                <a:gd name="T50" fmla="*/ 2048 w 2182"/>
                <a:gd name="T51" fmla="*/ 661 h 2036"/>
                <a:gd name="T52" fmla="*/ 1968 w 2182"/>
                <a:gd name="T53" fmla="*/ 599 h 2036"/>
                <a:gd name="T54" fmla="*/ 1992 w 2182"/>
                <a:gd name="T55" fmla="*/ 459 h 2036"/>
                <a:gd name="T56" fmla="*/ 2031 w 2182"/>
                <a:gd name="T57" fmla="*/ 382 h 2036"/>
                <a:gd name="T58" fmla="*/ 1878 w 2182"/>
                <a:gd name="T59" fmla="*/ 344 h 2036"/>
                <a:gd name="T60" fmla="*/ 1772 w 2182"/>
                <a:gd name="T61" fmla="*/ 431 h 2036"/>
                <a:gd name="T62" fmla="*/ 1673 w 2182"/>
                <a:gd name="T63" fmla="*/ 327 h 2036"/>
                <a:gd name="T64" fmla="*/ 1505 w 2182"/>
                <a:gd name="T65" fmla="*/ 317 h 2036"/>
                <a:gd name="T66" fmla="*/ 1550 w 2182"/>
                <a:gd name="T67" fmla="*/ 262 h 2036"/>
                <a:gd name="T68" fmla="*/ 1592 w 2182"/>
                <a:gd name="T69" fmla="*/ 202 h 2036"/>
                <a:gd name="T70" fmla="*/ 1570 w 2182"/>
                <a:gd name="T71" fmla="*/ 138 h 2036"/>
                <a:gd name="T72" fmla="*/ 1535 w 2182"/>
                <a:gd name="T73" fmla="*/ 3 h 2036"/>
                <a:gd name="T74" fmla="*/ 1454 w 2182"/>
                <a:gd name="T75" fmla="*/ 67 h 2036"/>
                <a:gd name="T76" fmla="*/ 1359 w 2182"/>
                <a:gd name="T77" fmla="*/ 43 h 2036"/>
                <a:gd name="T78" fmla="*/ 1209 w 2182"/>
                <a:gd name="T79" fmla="*/ 140 h 2036"/>
                <a:gd name="T80" fmla="*/ 1202 w 2182"/>
                <a:gd name="T81" fmla="*/ 221 h 2036"/>
                <a:gd name="T82" fmla="*/ 1141 w 2182"/>
                <a:gd name="T83" fmla="*/ 306 h 2036"/>
                <a:gd name="T84" fmla="*/ 1117 w 2182"/>
                <a:gd name="T85" fmla="*/ 392 h 2036"/>
                <a:gd name="T86" fmla="*/ 1014 w 2182"/>
                <a:gd name="T87" fmla="*/ 494 h 2036"/>
                <a:gd name="T88" fmla="*/ 975 w 2182"/>
                <a:gd name="T89" fmla="*/ 676 h 2036"/>
                <a:gd name="T90" fmla="*/ 894 w 2182"/>
                <a:gd name="T91" fmla="*/ 740 h 2036"/>
                <a:gd name="T92" fmla="*/ 813 w 2182"/>
                <a:gd name="T93" fmla="*/ 661 h 2036"/>
                <a:gd name="T94" fmla="*/ 748 w 2182"/>
                <a:gd name="T95" fmla="*/ 664 h 2036"/>
                <a:gd name="T96" fmla="*/ 663 w 2182"/>
                <a:gd name="T97" fmla="*/ 605 h 2036"/>
                <a:gd name="T98" fmla="*/ 500 w 2182"/>
                <a:gd name="T99" fmla="*/ 644 h 2036"/>
                <a:gd name="T100" fmla="*/ 510 w 2182"/>
                <a:gd name="T101" fmla="*/ 688 h 2036"/>
                <a:gd name="T102" fmla="*/ 546 w 2182"/>
                <a:gd name="T103" fmla="*/ 733 h 2036"/>
                <a:gd name="T104" fmla="*/ 506 w 2182"/>
                <a:gd name="T105" fmla="*/ 894 h 2036"/>
                <a:gd name="T106" fmla="*/ 478 w 2182"/>
                <a:gd name="T107" fmla="*/ 969 h 2036"/>
                <a:gd name="T108" fmla="*/ 503 w 2182"/>
                <a:gd name="T109" fmla="*/ 1166 h 2036"/>
                <a:gd name="T110" fmla="*/ 420 w 2182"/>
                <a:gd name="T111" fmla="*/ 1269 h 2036"/>
                <a:gd name="T112" fmla="*/ 287 w 2182"/>
                <a:gd name="T113" fmla="*/ 1308 h 2036"/>
                <a:gd name="T114" fmla="*/ 144 w 2182"/>
                <a:gd name="T115" fmla="*/ 1282 h 2036"/>
                <a:gd name="T116" fmla="*/ 84 w 2182"/>
                <a:gd name="T117" fmla="*/ 1345 h 2036"/>
                <a:gd name="T118" fmla="*/ 210 w 2182"/>
                <a:gd name="T119" fmla="*/ 1460 h 2036"/>
                <a:gd name="T120" fmla="*/ 52 w 2182"/>
                <a:gd name="T121" fmla="*/ 1536 h 2036"/>
                <a:gd name="T122" fmla="*/ 29 w 2182"/>
                <a:gd name="T123" fmla="*/ 1649 h 2036"/>
                <a:gd name="T124" fmla="*/ 1 w 2182"/>
                <a:gd name="T125" fmla="*/ 1780 h 2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82" h="2036">
                  <a:moveTo>
                    <a:pt x="1" y="1780"/>
                  </a:moveTo>
                  <a:lnTo>
                    <a:pt x="8" y="1849"/>
                  </a:lnTo>
                  <a:lnTo>
                    <a:pt x="13" y="1860"/>
                  </a:lnTo>
                  <a:lnTo>
                    <a:pt x="19" y="1867"/>
                  </a:lnTo>
                  <a:lnTo>
                    <a:pt x="21" y="1869"/>
                  </a:lnTo>
                  <a:lnTo>
                    <a:pt x="25" y="1870"/>
                  </a:lnTo>
                  <a:lnTo>
                    <a:pt x="28" y="1871"/>
                  </a:lnTo>
                  <a:lnTo>
                    <a:pt x="30" y="1871"/>
                  </a:lnTo>
                  <a:lnTo>
                    <a:pt x="35" y="1869"/>
                  </a:lnTo>
                  <a:lnTo>
                    <a:pt x="41" y="1866"/>
                  </a:lnTo>
                  <a:lnTo>
                    <a:pt x="46" y="1860"/>
                  </a:lnTo>
                  <a:lnTo>
                    <a:pt x="52" y="1853"/>
                  </a:lnTo>
                  <a:lnTo>
                    <a:pt x="62" y="1837"/>
                  </a:lnTo>
                  <a:lnTo>
                    <a:pt x="73" y="1820"/>
                  </a:lnTo>
                  <a:lnTo>
                    <a:pt x="78" y="1812"/>
                  </a:lnTo>
                  <a:lnTo>
                    <a:pt x="84" y="1805"/>
                  </a:lnTo>
                  <a:lnTo>
                    <a:pt x="89" y="1799"/>
                  </a:lnTo>
                  <a:lnTo>
                    <a:pt x="94" y="1796"/>
                  </a:lnTo>
                  <a:lnTo>
                    <a:pt x="104" y="1792"/>
                  </a:lnTo>
                  <a:lnTo>
                    <a:pt x="112" y="1789"/>
                  </a:lnTo>
                  <a:lnTo>
                    <a:pt x="119" y="1787"/>
                  </a:lnTo>
                  <a:lnTo>
                    <a:pt x="127" y="1786"/>
                  </a:lnTo>
                  <a:lnTo>
                    <a:pt x="133" y="1785"/>
                  </a:lnTo>
                  <a:lnTo>
                    <a:pt x="139" y="1786"/>
                  </a:lnTo>
                  <a:lnTo>
                    <a:pt x="144" y="1787"/>
                  </a:lnTo>
                  <a:lnTo>
                    <a:pt x="150" y="1789"/>
                  </a:lnTo>
                  <a:lnTo>
                    <a:pt x="154" y="1792"/>
                  </a:lnTo>
                  <a:lnTo>
                    <a:pt x="158" y="1795"/>
                  </a:lnTo>
                  <a:lnTo>
                    <a:pt x="161" y="1799"/>
                  </a:lnTo>
                  <a:lnTo>
                    <a:pt x="165" y="1805"/>
                  </a:lnTo>
                  <a:lnTo>
                    <a:pt x="167" y="1812"/>
                  </a:lnTo>
                  <a:lnTo>
                    <a:pt x="171" y="1818"/>
                  </a:lnTo>
                  <a:lnTo>
                    <a:pt x="173" y="1826"/>
                  </a:lnTo>
                  <a:lnTo>
                    <a:pt x="175" y="1835"/>
                  </a:lnTo>
                  <a:lnTo>
                    <a:pt x="179" y="1853"/>
                  </a:lnTo>
                  <a:lnTo>
                    <a:pt x="183" y="1867"/>
                  </a:lnTo>
                  <a:lnTo>
                    <a:pt x="186" y="1872"/>
                  </a:lnTo>
                  <a:lnTo>
                    <a:pt x="188" y="1875"/>
                  </a:lnTo>
                  <a:lnTo>
                    <a:pt x="190" y="1878"/>
                  </a:lnTo>
                  <a:lnTo>
                    <a:pt x="192" y="1879"/>
                  </a:lnTo>
                  <a:lnTo>
                    <a:pt x="196" y="1881"/>
                  </a:lnTo>
                  <a:lnTo>
                    <a:pt x="198" y="1879"/>
                  </a:lnTo>
                  <a:lnTo>
                    <a:pt x="201" y="1878"/>
                  </a:lnTo>
                  <a:lnTo>
                    <a:pt x="203" y="1877"/>
                  </a:lnTo>
                  <a:lnTo>
                    <a:pt x="209" y="1872"/>
                  </a:lnTo>
                  <a:lnTo>
                    <a:pt x="215" y="1865"/>
                  </a:lnTo>
                  <a:lnTo>
                    <a:pt x="223" y="1858"/>
                  </a:lnTo>
                  <a:lnTo>
                    <a:pt x="230" y="1849"/>
                  </a:lnTo>
                  <a:lnTo>
                    <a:pt x="238" y="1842"/>
                  </a:lnTo>
                  <a:lnTo>
                    <a:pt x="248" y="1835"/>
                  </a:lnTo>
                  <a:lnTo>
                    <a:pt x="253" y="1833"/>
                  </a:lnTo>
                  <a:lnTo>
                    <a:pt x="258" y="1830"/>
                  </a:lnTo>
                  <a:lnTo>
                    <a:pt x="263" y="1828"/>
                  </a:lnTo>
                  <a:lnTo>
                    <a:pt x="270" y="1827"/>
                  </a:lnTo>
                  <a:lnTo>
                    <a:pt x="276" y="1827"/>
                  </a:lnTo>
                  <a:lnTo>
                    <a:pt x="282" y="1827"/>
                  </a:lnTo>
                  <a:lnTo>
                    <a:pt x="289" y="1829"/>
                  </a:lnTo>
                  <a:lnTo>
                    <a:pt x="297" y="1831"/>
                  </a:lnTo>
                  <a:lnTo>
                    <a:pt x="319" y="1843"/>
                  </a:lnTo>
                  <a:lnTo>
                    <a:pt x="344" y="1858"/>
                  </a:lnTo>
                  <a:lnTo>
                    <a:pt x="356" y="1865"/>
                  </a:lnTo>
                  <a:lnTo>
                    <a:pt x="368" y="1871"/>
                  </a:lnTo>
                  <a:lnTo>
                    <a:pt x="379" y="1876"/>
                  </a:lnTo>
                  <a:lnTo>
                    <a:pt x="388" y="1878"/>
                  </a:lnTo>
                  <a:lnTo>
                    <a:pt x="404" y="1881"/>
                  </a:lnTo>
                  <a:lnTo>
                    <a:pt x="419" y="1882"/>
                  </a:lnTo>
                  <a:lnTo>
                    <a:pt x="433" y="1882"/>
                  </a:lnTo>
                  <a:lnTo>
                    <a:pt x="448" y="1882"/>
                  </a:lnTo>
                  <a:lnTo>
                    <a:pt x="478" y="1881"/>
                  </a:lnTo>
                  <a:lnTo>
                    <a:pt x="507" y="1879"/>
                  </a:lnTo>
                  <a:lnTo>
                    <a:pt x="508" y="1881"/>
                  </a:lnTo>
                  <a:lnTo>
                    <a:pt x="509" y="1882"/>
                  </a:lnTo>
                  <a:lnTo>
                    <a:pt x="509" y="1896"/>
                  </a:lnTo>
                  <a:lnTo>
                    <a:pt x="511" y="1910"/>
                  </a:lnTo>
                  <a:lnTo>
                    <a:pt x="514" y="1920"/>
                  </a:lnTo>
                  <a:lnTo>
                    <a:pt x="516" y="1930"/>
                  </a:lnTo>
                  <a:lnTo>
                    <a:pt x="520" y="1937"/>
                  </a:lnTo>
                  <a:lnTo>
                    <a:pt x="524" y="1942"/>
                  </a:lnTo>
                  <a:lnTo>
                    <a:pt x="529" y="1946"/>
                  </a:lnTo>
                  <a:lnTo>
                    <a:pt x="535" y="1948"/>
                  </a:lnTo>
                  <a:lnTo>
                    <a:pt x="542" y="1948"/>
                  </a:lnTo>
                  <a:lnTo>
                    <a:pt x="548" y="1947"/>
                  </a:lnTo>
                  <a:lnTo>
                    <a:pt x="555" y="1944"/>
                  </a:lnTo>
                  <a:lnTo>
                    <a:pt x="564" y="1939"/>
                  </a:lnTo>
                  <a:lnTo>
                    <a:pt x="572" y="1933"/>
                  </a:lnTo>
                  <a:lnTo>
                    <a:pt x="580" y="1925"/>
                  </a:lnTo>
                  <a:lnTo>
                    <a:pt x="590" y="1916"/>
                  </a:lnTo>
                  <a:lnTo>
                    <a:pt x="599" y="1906"/>
                  </a:lnTo>
                  <a:lnTo>
                    <a:pt x="615" y="1891"/>
                  </a:lnTo>
                  <a:lnTo>
                    <a:pt x="632" y="1876"/>
                  </a:lnTo>
                  <a:lnTo>
                    <a:pt x="641" y="1869"/>
                  </a:lnTo>
                  <a:lnTo>
                    <a:pt x="648" y="1862"/>
                  </a:lnTo>
                  <a:lnTo>
                    <a:pt x="651" y="1858"/>
                  </a:lnTo>
                  <a:lnTo>
                    <a:pt x="654" y="1852"/>
                  </a:lnTo>
                  <a:lnTo>
                    <a:pt x="656" y="1848"/>
                  </a:lnTo>
                  <a:lnTo>
                    <a:pt x="658" y="1843"/>
                  </a:lnTo>
                  <a:lnTo>
                    <a:pt x="658" y="1839"/>
                  </a:lnTo>
                  <a:lnTo>
                    <a:pt x="658" y="1836"/>
                  </a:lnTo>
                  <a:lnTo>
                    <a:pt x="658" y="1831"/>
                  </a:lnTo>
                  <a:lnTo>
                    <a:pt x="657" y="1827"/>
                  </a:lnTo>
                  <a:lnTo>
                    <a:pt x="654" y="1821"/>
                  </a:lnTo>
                  <a:lnTo>
                    <a:pt x="650" y="1814"/>
                  </a:lnTo>
                  <a:lnTo>
                    <a:pt x="646" y="1805"/>
                  </a:lnTo>
                  <a:lnTo>
                    <a:pt x="644" y="1797"/>
                  </a:lnTo>
                  <a:lnTo>
                    <a:pt x="643" y="1792"/>
                  </a:lnTo>
                  <a:lnTo>
                    <a:pt x="643" y="1787"/>
                  </a:lnTo>
                  <a:lnTo>
                    <a:pt x="643" y="1781"/>
                  </a:lnTo>
                  <a:lnTo>
                    <a:pt x="645" y="1775"/>
                  </a:lnTo>
                  <a:lnTo>
                    <a:pt x="660" y="1771"/>
                  </a:lnTo>
                  <a:lnTo>
                    <a:pt x="675" y="1768"/>
                  </a:lnTo>
                  <a:lnTo>
                    <a:pt x="690" y="1767"/>
                  </a:lnTo>
                  <a:lnTo>
                    <a:pt x="703" y="1767"/>
                  </a:lnTo>
                  <a:lnTo>
                    <a:pt x="733" y="1769"/>
                  </a:lnTo>
                  <a:lnTo>
                    <a:pt x="763" y="1770"/>
                  </a:lnTo>
                  <a:lnTo>
                    <a:pt x="770" y="1771"/>
                  </a:lnTo>
                  <a:lnTo>
                    <a:pt x="775" y="1773"/>
                  </a:lnTo>
                  <a:lnTo>
                    <a:pt x="780" y="1776"/>
                  </a:lnTo>
                  <a:lnTo>
                    <a:pt x="785" y="1780"/>
                  </a:lnTo>
                  <a:lnTo>
                    <a:pt x="793" y="1790"/>
                  </a:lnTo>
                  <a:lnTo>
                    <a:pt x="800" y="1801"/>
                  </a:lnTo>
                  <a:lnTo>
                    <a:pt x="803" y="1806"/>
                  </a:lnTo>
                  <a:lnTo>
                    <a:pt x="809" y="1812"/>
                  </a:lnTo>
                  <a:lnTo>
                    <a:pt x="813" y="1816"/>
                  </a:lnTo>
                  <a:lnTo>
                    <a:pt x="819" y="1820"/>
                  </a:lnTo>
                  <a:lnTo>
                    <a:pt x="826" y="1823"/>
                  </a:lnTo>
                  <a:lnTo>
                    <a:pt x="834" y="1824"/>
                  </a:lnTo>
                  <a:lnTo>
                    <a:pt x="843" y="1825"/>
                  </a:lnTo>
                  <a:lnTo>
                    <a:pt x="854" y="1824"/>
                  </a:lnTo>
                  <a:lnTo>
                    <a:pt x="863" y="1822"/>
                  </a:lnTo>
                  <a:lnTo>
                    <a:pt x="871" y="1819"/>
                  </a:lnTo>
                  <a:lnTo>
                    <a:pt x="880" y="1816"/>
                  </a:lnTo>
                  <a:lnTo>
                    <a:pt x="889" y="1812"/>
                  </a:lnTo>
                  <a:lnTo>
                    <a:pt x="907" y="1802"/>
                  </a:lnTo>
                  <a:lnTo>
                    <a:pt x="924" y="1792"/>
                  </a:lnTo>
                  <a:lnTo>
                    <a:pt x="941" y="1781"/>
                  </a:lnTo>
                  <a:lnTo>
                    <a:pt x="958" y="1773"/>
                  </a:lnTo>
                  <a:lnTo>
                    <a:pt x="965" y="1770"/>
                  </a:lnTo>
                  <a:lnTo>
                    <a:pt x="972" y="1767"/>
                  </a:lnTo>
                  <a:lnTo>
                    <a:pt x="979" y="1766"/>
                  </a:lnTo>
                  <a:lnTo>
                    <a:pt x="985" y="1765"/>
                  </a:lnTo>
                  <a:lnTo>
                    <a:pt x="988" y="1775"/>
                  </a:lnTo>
                  <a:lnTo>
                    <a:pt x="994" y="1788"/>
                  </a:lnTo>
                  <a:lnTo>
                    <a:pt x="1003" y="1802"/>
                  </a:lnTo>
                  <a:lnTo>
                    <a:pt x="1012" y="1818"/>
                  </a:lnTo>
                  <a:lnTo>
                    <a:pt x="1031" y="1847"/>
                  </a:lnTo>
                  <a:lnTo>
                    <a:pt x="1045" y="1868"/>
                  </a:lnTo>
                  <a:lnTo>
                    <a:pt x="1051" y="1875"/>
                  </a:lnTo>
                  <a:lnTo>
                    <a:pt x="1057" y="1881"/>
                  </a:lnTo>
                  <a:lnTo>
                    <a:pt x="1064" y="1886"/>
                  </a:lnTo>
                  <a:lnTo>
                    <a:pt x="1071" y="1890"/>
                  </a:lnTo>
                  <a:lnTo>
                    <a:pt x="1079" y="1894"/>
                  </a:lnTo>
                  <a:lnTo>
                    <a:pt x="1086" y="1897"/>
                  </a:lnTo>
                  <a:lnTo>
                    <a:pt x="1094" y="1899"/>
                  </a:lnTo>
                  <a:lnTo>
                    <a:pt x="1104" y="1902"/>
                  </a:lnTo>
                  <a:lnTo>
                    <a:pt x="1121" y="1906"/>
                  </a:lnTo>
                  <a:lnTo>
                    <a:pt x="1141" y="1909"/>
                  </a:lnTo>
                  <a:lnTo>
                    <a:pt x="1161" y="1910"/>
                  </a:lnTo>
                  <a:lnTo>
                    <a:pt x="1182" y="1911"/>
                  </a:lnTo>
                  <a:lnTo>
                    <a:pt x="1224" y="1912"/>
                  </a:lnTo>
                  <a:lnTo>
                    <a:pt x="1265" y="1914"/>
                  </a:lnTo>
                  <a:lnTo>
                    <a:pt x="1285" y="1917"/>
                  </a:lnTo>
                  <a:lnTo>
                    <a:pt x="1305" y="1921"/>
                  </a:lnTo>
                  <a:lnTo>
                    <a:pt x="1313" y="1923"/>
                  </a:lnTo>
                  <a:lnTo>
                    <a:pt x="1323" y="1926"/>
                  </a:lnTo>
                  <a:lnTo>
                    <a:pt x="1331" y="1930"/>
                  </a:lnTo>
                  <a:lnTo>
                    <a:pt x="1339" y="1934"/>
                  </a:lnTo>
                  <a:lnTo>
                    <a:pt x="1353" y="1942"/>
                  </a:lnTo>
                  <a:lnTo>
                    <a:pt x="1365" y="1951"/>
                  </a:lnTo>
                  <a:lnTo>
                    <a:pt x="1378" y="1961"/>
                  </a:lnTo>
                  <a:lnTo>
                    <a:pt x="1390" y="1971"/>
                  </a:lnTo>
                  <a:lnTo>
                    <a:pt x="1404" y="1981"/>
                  </a:lnTo>
                  <a:lnTo>
                    <a:pt x="1416" y="1989"/>
                  </a:lnTo>
                  <a:lnTo>
                    <a:pt x="1424" y="1993"/>
                  </a:lnTo>
                  <a:lnTo>
                    <a:pt x="1430" y="1996"/>
                  </a:lnTo>
                  <a:lnTo>
                    <a:pt x="1437" y="1999"/>
                  </a:lnTo>
                  <a:lnTo>
                    <a:pt x="1445" y="2002"/>
                  </a:lnTo>
                  <a:lnTo>
                    <a:pt x="1453" y="2003"/>
                  </a:lnTo>
                  <a:lnTo>
                    <a:pt x="1461" y="2002"/>
                  </a:lnTo>
                  <a:lnTo>
                    <a:pt x="1471" y="2000"/>
                  </a:lnTo>
                  <a:lnTo>
                    <a:pt x="1479" y="1997"/>
                  </a:lnTo>
                  <a:lnTo>
                    <a:pt x="1487" y="1994"/>
                  </a:lnTo>
                  <a:lnTo>
                    <a:pt x="1496" y="1992"/>
                  </a:lnTo>
                  <a:lnTo>
                    <a:pt x="1505" y="1989"/>
                  </a:lnTo>
                  <a:lnTo>
                    <a:pt x="1513" y="1988"/>
                  </a:lnTo>
                  <a:lnTo>
                    <a:pt x="1523" y="1988"/>
                  </a:lnTo>
                  <a:lnTo>
                    <a:pt x="1532" y="1989"/>
                  </a:lnTo>
                  <a:lnTo>
                    <a:pt x="1541" y="1990"/>
                  </a:lnTo>
                  <a:lnTo>
                    <a:pt x="1550" y="1992"/>
                  </a:lnTo>
                  <a:lnTo>
                    <a:pt x="1567" y="1996"/>
                  </a:lnTo>
                  <a:lnTo>
                    <a:pt x="1585" y="2003"/>
                  </a:lnTo>
                  <a:lnTo>
                    <a:pt x="1591" y="2006"/>
                  </a:lnTo>
                  <a:lnTo>
                    <a:pt x="1596" y="2011"/>
                  </a:lnTo>
                  <a:lnTo>
                    <a:pt x="1601" y="2016"/>
                  </a:lnTo>
                  <a:lnTo>
                    <a:pt x="1605" y="2021"/>
                  </a:lnTo>
                  <a:lnTo>
                    <a:pt x="1608" y="2023"/>
                  </a:lnTo>
                  <a:lnTo>
                    <a:pt x="1610" y="2026"/>
                  </a:lnTo>
                  <a:lnTo>
                    <a:pt x="1615" y="2029"/>
                  </a:lnTo>
                  <a:lnTo>
                    <a:pt x="1619" y="2032"/>
                  </a:lnTo>
                  <a:lnTo>
                    <a:pt x="1624" y="2034"/>
                  </a:lnTo>
                  <a:lnTo>
                    <a:pt x="1629" y="2035"/>
                  </a:lnTo>
                  <a:lnTo>
                    <a:pt x="1642" y="2036"/>
                  </a:lnTo>
                  <a:lnTo>
                    <a:pt x="1655" y="2035"/>
                  </a:lnTo>
                  <a:lnTo>
                    <a:pt x="1681" y="2030"/>
                  </a:lnTo>
                  <a:lnTo>
                    <a:pt x="1702" y="2022"/>
                  </a:lnTo>
                  <a:lnTo>
                    <a:pt x="1702" y="2022"/>
                  </a:lnTo>
                  <a:lnTo>
                    <a:pt x="1702" y="2018"/>
                  </a:lnTo>
                  <a:lnTo>
                    <a:pt x="1704" y="2013"/>
                  </a:lnTo>
                  <a:lnTo>
                    <a:pt x="1707" y="2007"/>
                  </a:lnTo>
                  <a:lnTo>
                    <a:pt x="1711" y="2000"/>
                  </a:lnTo>
                  <a:lnTo>
                    <a:pt x="1717" y="1987"/>
                  </a:lnTo>
                  <a:lnTo>
                    <a:pt x="1722" y="1974"/>
                  </a:lnTo>
                  <a:lnTo>
                    <a:pt x="1727" y="1957"/>
                  </a:lnTo>
                  <a:lnTo>
                    <a:pt x="1733" y="1940"/>
                  </a:lnTo>
                  <a:lnTo>
                    <a:pt x="1740" y="1923"/>
                  </a:lnTo>
                  <a:lnTo>
                    <a:pt x="1744" y="1907"/>
                  </a:lnTo>
                  <a:lnTo>
                    <a:pt x="1745" y="1896"/>
                  </a:lnTo>
                  <a:lnTo>
                    <a:pt x="1745" y="1886"/>
                  </a:lnTo>
                  <a:lnTo>
                    <a:pt x="1745" y="1876"/>
                  </a:lnTo>
                  <a:lnTo>
                    <a:pt x="1744" y="1867"/>
                  </a:lnTo>
                  <a:lnTo>
                    <a:pt x="1740" y="1848"/>
                  </a:lnTo>
                  <a:lnTo>
                    <a:pt x="1734" y="1830"/>
                  </a:lnTo>
                  <a:lnTo>
                    <a:pt x="1729" y="1814"/>
                  </a:lnTo>
                  <a:lnTo>
                    <a:pt x="1722" y="1796"/>
                  </a:lnTo>
                  <a:lnTo>
                    <a:pt x="1717" y="1777"/>
                  </a:lnTo>
                  <a:lnTo>
                    <a:pt x="1712" y="1758"/>
                  </a:lnTo>
                  <a:lnTo>
                    <a:pt x="1737" y="1757"/>
                  </a:lnTo>
                  <a:lnTo>
                    <a:pt x="1763" y="1756"/>
                  </a:lnTo>
                  <a:lnTo>
                    <a:pt x="1789" y="1755"/>
                  </a:lnTo>
                  <a:lnTo>
                    <a:pt x="1815" y="1751"/>
                  </a:lnTo>
                  <a:lnTo>
                    <a:pt x="1827" y="1749"/>
                  </a:lnTo>
                  <a:lnTo>
                    <a:pt x="1840" y="1746"/>
                  </a:lnTo>
                  <a:lnTo>
                    <a:pt x="1852" y="1743"/>
                  </a:lnTo>
                  <a:lnTo>
                    <a:pt x="1865" y="1739"/>
                  </a:lnTo>
                  <a:lnTo>
                    <a:pt x="1876" y="1733"/>
                  </a:lnTo>
                  <a:lnTo>
                    <a:pt x="1887" y="1728"/>
                  </a:lnTo>
                  <a:lnTo>
                    <a:pt x="1897" y="1721"/>
                  </a:lnTo>
                  <a:lnTo>
                    <a:pt x="1908" y="1714"/>
                  </a:lnTo>
                  <a:lnTo>
                    <a:pt x="1913" y="1708"/>
                  </a:lnTo>
                  <a:lnTo>
                    <a:pt x="1918" y="1703"/>
                  </a:lnTo>
                  <a:lnTo>
                    <a:pt x="1921" y="1698"/>
                  </a:lnTo>
                  <a:lnTo>
                    <a:pt x="1925" y="1692"/>
                  </a:lnTo>
                  <a:lnTo>
                    <a:pt x="1927" y="1686"/>
                  </a:lnTo>
                  <a:lnTo>
                    <a:pt x="1929" y="1680"/>
                  </a:lnTo>
                  <a:lnTo>
                    <a:pt x="1931" y="1675"/>
                  </a:lnTo>
                  <a:lnTo>
                    <a:pt x="1931" y="1669"/>
                  </a:lnTo>
                  <a:lnTo>
                    <a:pt x="1931" y="1664"/>
                  </a:lnTo>
                  <a:lnTo>
                    <a:pt x="1929" y="1658"/>
                  </a:lnTo>
                  <a:lnTo>
                    <a:pt x="1927" y="1652"/>
                  </a:lnTo>
                  <a:lnTo>
                    <a:pt x="1925" y="1647"/>
                  </a:lnTo>
                  <a:lnTo>
                    <a:pt x="1921" y="1642"/>
                  </a:lnTo>
                  <a:lnTo>
                    <a:pt x="1917" y="1637"/>
                  </a:lnTo>
                  <a:lnTo>
                    <a:pt x="1912" y="1633"/>
                  </a:lnTo>
                  <a:lnTo>
                    <a:pt x="1907" y="1628"/>
                  </a:lnTo>
                  <a:lnTo>
                    <a:pt x="1894" y="1622"/>
                  </a:lnTo>
                  <a:lnTo>
                    <a:pt x="1882" y="1616"/>
                  </a:lnTo>
                  <a:lnTo>
                    <a:pt x="1868" y="1610"/>
                  </a:lnTo>
                  <a:lnTo>
                    <a:pt x="1855" y="1603"/>
                  </a:lnTo>
                  <a:lnTo>
                    <a:pt x="1847" y="1596"/>
                  </a:lnTo>
                  <a:lnTo>
                    <a:pt x="1839" y="1587"/>
                  </a:lnTo>
                  <a:lnTo>
                    <a:pt x="1831" y="1579"/>
                  </a:lnTo>
                  <a:lnTo>
                    <a:pt x="1825" y="1570"/>
                  </a:lnTo>
                  <a:lnTo>
                    <a:pt x="1825" y="1549"/>
                  </a:lnTo>
                  <a:lnTo>
                    <a:pt x="1827" y="1524"/>
                  </a:lnTo>
                  <a:lnTo>
                    <a:pt x="1827" y="1511"/>
                  </a:lnTo>
                  <a:lnTo>
                    <a:pt x="1826" y="1500"/>
                  </a:lnTo>
                  <a:lnTo>
                    <a:pt x="1825" y="1488"/>
                  </a:lnTo>
                  <a:lnTo>
                    <a:pt x="1822" y="1477"/>
                  </a:lnTo>
                  <a:lnTo>
                    <a:pt x="1822" y="1473"/>
                  </a:lnTo>
                  <a:lnTo>
                    <a:pt x="1823" y="1468"/>
                  </a:lnTo>
                  <a:lnTo>
                    <a:pt x="1824" y="1464"/>
                  </a:lnTo>
                  <a:lnTo>
                    <a:pt x="1826" y="1460"/>
                  </a:lnTo>
                  <a:lnTo>
                    <a:pt x="1830" y="1455"/>
                  </a:lnTo>
                  <a:lnTo>
                    <a:pt x="1836" y="1450"/>
                  </a:lnTo>
                  <a:lnTo>
                    <a:pt x="1843" y="1447"/>
                  </a:lnTo>
                  <a:lnTo>
                    <a:pt x="1850" y="1443"/>
                  </a:lnTo>
                  <a:lnTo>
                    <a:pt x="1860" y="1441"/>
                  </a:lnTo>
                  <a:lnTo>
                    <a:pt x="1869" y="1440"/>
                  </a:lnTo>
                  <a:lnTo>
                    <a:pt x="1888" y="1439"/>
                  </a:lnTo>
                  <a:lnTo>
                    <a:pt x="1908" y="1439"/>
                  </a:lnTo>
                  <a:lnTo>
                    <a:pt x="1926" y="1438"/>
                  </a:lnTo>
                  <a:lnTo>
                    <a:pt x="1941" y="1436"/>
                  </a:lnTo>
                  <a:lnTo>
                    <a:pt x="1950" y="1433"/>
                  </a:lnTo>
                  <a:lnTo>
                    <a:pt x="1958" y="1428"/>
                  </a:lnTo>
                  <a:lnTo>
                    <a:pt x="1963" y="1423"/>
                  </a:lnTo>
                  <a:lnTo>
                    <a:pt x="1968" y="1415"/>
                  </a:lnTo>
                  <a:lnTo>
                    <a:pt x="1971" y="1408"/>
                  </a:lnTo>
                  <a:lnTo>
                    <a:pt x="1974" y="1401"/>
                  </a:lnTo>
                  <a:lnTo>
                    <a:pt x="1976" y="1393"/>
                  </a:lnTo>
                  <a:lnTo>
                    <a:pt x="1977" y="1385"/>
                  </a:lnTo>
                  <a:lnTo>
                    <a:pt x="1980" y="1370"/>
                  </a:lnTo>
                  <a:lnTo>
                    <a:pt x="1982" y="1358"/>
                  </a:lnTo>
                  <a:lnTo>
                    <a:pt x="1983" y="1353"/>
                  </a:lnTo>
                  <a:lnTo>
                    <a:pt x="1985" y="1348"/>
                  </a:lnTo>
                  <a:lnTo>
                    <a:pt x="1988" y="1346"/>
                  </a:lnTo>
                  <a:lnTo>
                    <a:pt x="1991" y="1345"/>
                  </a:lnTo>
                  <a:lnTo>
                    <a:pt x="2013" y="1347"/>
                  </a:lnTo>
                  <a:lnTo>
                    <a:pt x="2036" y="1349"/>
                  </a:lnTo>
                  <a:lnTo>
                    <a:pt x="2042" y="1349"/>
                  </a:lnTo>
                  <a:lnTo>
                    <a:pt x="2047" y="1349"/>
                  </a:lnTo>
                  <a:lnTo>
                    <a:pt x="2053" y="1347"/>
                  </a:lnTo>
                  <a:lnTo>
                    <a:pt x="2057" y="1346"/>
                  </a:lnTo>
                  <a:lnTo>
                    <a:pt x="2062" y="1343"/>
                  </a:lnTo>
                  <a:lnTo>
                    <a:pt x="2066" y="1340"/>
                  </a:lnTo>
                  <a:lnTo>
                    <a:pt x="2069" y="1336"/>
                  </a:lnTo>
                  <a:lnTo>
                    <a:pt x="2072" y="1331"/>
                  </a:lnTo>
                  <a:lnTo>
                    <a:pt x="2079" y="1315"/>
                  </a:lnTo>
                  <a:lnTo>
                    <a:pt x="2083" y="1302"/>
                  </a:lnTo>
                  <a:lnTo>
                    <a:pt x="2085" y="1288"/>
                  </a:lnTo>
                  <a:lnTo>
                    <a:pt x="2088" y="1276"/>
                  </a:lnTo>
                  <a:lnTo>
                    <a:pt x="2091" y="1265"/>
                  </a:lnTo>
                  <a:lnTo>
                    <a:pt x="2096" y="1252"/>
                  </a:lnTo>
                  <a:lnTo>
                    <a:pt x="2099" y="1247"/>
                  </a:lnTo>
                  <a:lnTo>
                    <a:pt x="2105" y="1240"/>
                  </a:lnTo>
                  <a:lnTo>
                    <a:pt x="2110" y="1234"/>
                  </a:lnTo>
                  <a:lnTo>
                    <a:pt x="2117" y="1227"/>
                  </a:lnTo>
                  <a:lnTo>
                    <a:pt x="2130" y="1216"/>
                  </a:lnTo>
                  <a:lnTo>
                    <a:pt x="2147" y="1201"/>
                  </a:lnTo>
                  <a:lnTo>
                    <a:pt x="2166" y="1186"/>
                  </a:lnTo>
                  <a:lnTo>
                    <a:pt x="2182" y="1170"/>
                  </a:lnTo>
                  <a:lnTo>
                    <a:pt x="2168" y="1165"/>
                  </a:lnTo>
                  <a:lnTo>
                    <a:pt x="2158" y="1160"/>
                  </a:lnTo>
                  <a:lnTo>
                    <a:pt x="2155" y="1156"/>
                  </a:lnTo>
                  <a:lnTo>
                    <a:pt x="2152" y="1153"/>
                  </a:lnTo>
                  <a:lnTo>
                    <a:pt x="2149" y="1150"/>
                  </a:lnTo>
                  <a:lnTo>
                    <a:pt x="2147" y="1147"/>
                  </a:lnTo>
                  <a:lnTo>
                    <a:pt x="2145" y="1141"/>
                  </a:lnTo>
                  <a:lnTo>
                    <a:pt x="2145" y="1135"/>
                  </a:lnTo>
                  <a:lnTo>
                    <a:pt x="2145" y="1127"/>
                  </a:lnTo>
                  <a:lnTo>
                    <a:pt x="2147" y="1121"/>
                  </a:lnTo>
                  <a:lnTo>
                    <a:pt x="2149" y="1114"/>
                  </a:lnTo>
                  <a:lnTo>
                    <a:pt x="2152" y="1105"/>
                  </a:lnTo>
                  <a:lnTo>
                    <a:pt x="2153" y="1098"/>
                  </a:lnTo>
                  <a:lnTo>
                    <a:pt x="2154" y="1090"/>
                  </a:lnTo>
                  <a:lnTo>
                    <a:pt x="2153" y="1082"/>
                  </a:lnTo>
                  <a:lnTo>
                    <a:pt x="2149" y="1074"/>
                  </a:lnTo>
                  <a:lnTo>
                    <a:pt x="2147" y="1070"/>
                  </a:lnTo>
                  <a:lnTo>
                    <a:pt x="2144" y="1066"/>
                  </a:lnTo>
                  <a:lnTo>
                    <a:pt x="2141" y="1062"/>
                  </a:lnTo>
                  <a:lnTo>
                    <a:pt x="2137" y="1056"/>
                  </a:lnTo>
                  <a:lnTo>
                    <a:pt x="2131" y="1051"/>
                  </a:lnTo>
                  <a:lnTo>
                    <a:pt x="2123" y="1047"/>
                  </a:lnTo>
                  <a:lnTo>
                    <a:pt x="2116" y="1042"/>
                  </a:lnTo>
                  <a:lnTo>
                    <a:pt x="2108" y="1038"/>
                  </a:lnTo>
                  <a:lnTo>
                    <a:pt x="2089" y="1029"/>
                  </a:lnTo>
                  <a:lnTo>
                    <a:pt x="2070" y="1021"/>
                  </a:lnTo>
                  <a:lnTo>
                    <a:pt x="2031" y="1008"/>
                  </a:lnTo>
                  <a:lnTo>
                    <a:pt x="1996" y="997"/>
                  </a:lnTo>
                  <a:lnTo>
                    <a:pt x="1992" y="995"/>
                  </a:lnTo>
                  <a:lnTo>
                    <a:pt x="1989" y="993"/>
                  </a:lnTo>
                  <a:lnTo>
                    <a:pt x="1986" y="990"/>
                  </a:lnTo>
                  <a:lnTo>
                    <a:pt x="1984" y="986"/>
                  </a:lnTo>
                  <a:lnTo>
                    <a:pt x="1981" y="980"/>
                  </a:lnTo>
                  <a:lnTo>
                    <a:pt x="1978" y="973"/>
                  </a:lnTo>
                  <a:lnTo>
                    <a:pt x="1976" y="966"/>
                  </a:lnTo>
                  <a:lnTo>
                    <a:pt x="1973" y="959"/>
                  </a:lnTo>
                  <a:lnTo>
                    <a:pt x="1972" y="957"/>
                  </a:lnTo>
                  <a:lnTo>
                    <a:pt x="1970" y="954"/>
                  </a:lnTo>
                  <a:lnTo>
                    <a:pt x="1967" y="952"/>
                  </a:lnTo>
                  <a:lnTo>
                    <a:pt x="1964" y="951"/>
                  </a:lnTo>
                  <a:lnTo>
                    <a:pt x="1959" y="949"/>
                  </a:lnTo>
                  <a:lnTo>
                    <a:pt x="1953" y="949"/>
                  </a:lnTo>
                  <a:lnTo>
                    <a:pt x="1947" y="948"/>
                  </a:lnTo>
                  <a:lnTo>
                    <a:pt x="1941" y="949"/>
                  </a:lnTo>
                  <a:lnTo>
                    <a:pt x="1928" y="950"/>
                  </a:lnTo>
                  <a:lnTo>
                    <a:pt x="1915" y="951"/>
                  </a:lnTo>
                  <a:lnTo>
                    <a:pt x="1902" y="952"/>
                  </a:lnTo>
                  <a:lnTo>
                    <a:pt x="1891" y="951"/>
                  </a:lnTo>
                  <a:lnTo>
                    <a:pt x="1886" y="950"/>
                  </a:lnTo>
                  <a:lnTo>
                    <a:pt x="1882" y="948"/>
                  </a:lnTo>
                  <a:lnTo>
                    <a:pt x="1877" y="946"/>
                  </a:lnTo>
                  <a:lnTo>
                    <a:pt x="1874" y="942"/>
                  </a:lnTo>
                  <a:lnTo>
                    <a:pt x="1870" y="934"/>
                  </a:lnTo>
                  <a:lnTo>
                    <a:pt x="1869" y="927"/>
                  </a:lnTo>
                  <a:lnTo>
                    <a:pt x="1869" y="924"/>
                  </a:lnTo>
                  <a:lnTo>
                    <a:pt x="1870" y="921"/>
                  </a:lnTo>
                  <a:lnTo>
                    <a:pt x="1871" y="919"/>
                  </a:lnTo>
                  <a:lnTo>
                    <a:pt x="1873" y="915"/>
                  </a:lnTo>
                  <a:lnTo>
                    <a:pt x="1877" y="911"/>
                  </a:lnTo>
                  <a:lnTo>
                    <a:pt x="1884" y="907"/>
                  </a:lnTo>
                  <a:lnTo>
                    <a:pt x="1890" y="904"/>
                  </a:lnTo>
                  <a:lnTo>
                    <a:pt x="1898" y="902"/>
                  </a:lnTo>
                  <a:lnTo>
                    <a:pt x="1916" y="898"/>
                  </a:lnTo>
                  <a:lnTo>
                    <a:pt x="1933" y="894"/>
                  </a:lnTo>
                  <a:lnTo>
                    <a:pt x="1941" y="892"/>
                  </a:lnTo>
                  <a:lnTo>
                    <a:pt x="1948" y="889"/>
                  </a:lnTo>
                  <a:lnTo>
                    <a:pt x="1954" y="887"/>
                  </a:lnTo>
                  <a:lnTo>
                    <a:pt x="1959" y="885"/>
                  </a:lnTo>
                  <a:lnTo>
                    <a:pt x="1981" y="871"/>
                  </a:lnTo>
                  <a:lnTo>
                    <a:pt x="2002" y="857"/>
                  </a:lnTo>
                  <a:lnTo>
                    <a:pt x="2014" y="850"/>
                  </a:lnTo>
                  <a:lnTo>
                    <a:pt x="2025" y="845"/>
                  </a:lnTo>
                  <a:lnTo>
                    <a:pt x="2037" y="839"/>
                  </a:lnTo>
                  <a:lnTo>
                    <a:pt x="2049" y="835"/>
                  </a:lnTo>
                  <a:lnTo>
                    <a:pt x="2053" y="829"/>
                  </a:lnTo>
                  <a:lnTo>
                    <a:pt x="2056" y="822"/>
                  </a:lnTo>
                  <a:lnTo>
                    <a:pt x="2058" y="811"/>
                  </a:lnTo>
                  <a:lnTo>
                    <a:pt x="2060" y="802"/>
                  </a:lnTo>
                  <a:lnTo>
                    <a:pt x="2061" y="794"/>
                  </a:lnTo>
                  <a:lnTo>
                    <a:pt x="2061" y="786"/>
                  </a:lnTo>
                  <a:lnTo>
                    <a:pt x="2060" y="779"/>
                  </a:lnTo>
                  <a:lnTo>
                    <a:pt x="2057" y="772"/>
                  </a:lnTo>
                  <a:lnTo>
                    <a:pt x="2054" y="764"/>
                  </a:lnTo>
                  <a:lnTo>
                    <a:pt x="2048" y="755"/>
                  </a:lnTo>
                  <a:lnTo>
                    <a:pt x="2045" y="746"/>
                  </a:lnTo>
                  <a:lnTo>
                    <a:pt x="2042" y="739"/>
                  </a:lnTo>
                  <a:lnTo>
                    <a:pt x="2042" y="731"/>
                  </a:lnTo>
                  <a:lnTo>
                    <a:pt x="2042" y="724"/>
                  </a:lnTo>
                  <a:lnTo>
                    <a:pt x="2046" y="708"/>
                  </a:lnTo>
                  <a:lnTo>
                    <a:pt x="2051" y="690"/>
                  </a:lnTo>
                  <a:lnTo>
                    <a:pt x="2054" y="685"/>
                  </a:lnTo>
                  <a:lnTo>
                    <a:pt x="2054" y="680"/>
                  </a:lnTo>
                  <a:lnTo>
                    <a:pt x="2055" y="675"/>
                  </a:lnTo>
                  <a:lnTo>
                    <a:pt x="2054" y="670"/>
                  </a:lnTo>
                  <a:lnTo>
                    <a:pt x="2053" y="667"/>
                  </a:lnTo>
                  <a:lnTo>
                    <a:pt x="2050" y="664"/>
                  </a:lnTo>
                  <a:lnTo>
                    <a:pt x="2048" y="661"/>
                  </a:lnTo>
                  <a:lnTo>
                    <a:pt x="2045" y="658"/>
                  </a:lnTo>
                  <a:lnTo>
                    <a:pt x="2038" y="654"/>
                  </a:lnTo>
                  <a:lnTo>
                    <a:pt x="2030" y="651"/>
                  </a:lnTo>
                  <a:lnTo>
                    <a:pt x="2020" y="647"/>
                  </a:lnTo>
                  <a:lnTo>
                    <a:pt x="2011" y="645"/>
                  </a:lnTo>
                  <a:lnTo>
                    <a:pt x="2001" y="642"/>
                  </a:lnTo>
                  <a:lnTo>
                    <a:pt x="1992" y="639"/>
                  </a:lnTo>
                  <a:lnTo>
                    <a:pt x="1984" y="635"/>
                  </a:lnTo>
                  <a:lnTo>
                    <a:pt x="1976" y="630"/>
                  </a:lnTo>
                  <a:lnTo>
                    <a:pt x="1973" y="627"/>
                  </a:lnTo>
                  <a:lnTo>
                    <a:pt x="1971" y="623"/>
                  </a:lnTo>
                  <a:lnTo>
                    <a:pt x="1969" y="620"/>
                  </a:lnTo>
                  <a:lnTo>
                    <a:pt x="1968" y="615"/>
                  </a:lnTo>
                  <a:lnTo>
                    <a:pt x="1967" y="611"/>
                  </a:lnTo>
                  <a:lnTo>
                    <a:pt x="1967" y="606"/>
                  </a:lnTo>
                  <a:lnTo>
                    <a:pt x="1968" y="599"/>
                  </a:lnTo>
                  <a:lnTo>
                    <a:pt x="1970" y="593"/>
                  </a:lnTo>
                  <a:lnTo>
                    <a:pt x="1978" y="573"/>
                  </a:lnTo>
                  <a:lnTo>
                    <a:pt x="1991" y="549"/>
                  </a:lnTo>
                  <a:lnTo>
                    <a:pt x="1996" y="538"/>
                  </a:lnTo>
                  <a:lnTo>
                    <a:pt x="2000" y="525"/>
                  </a:lnTo>
                  <a:lnTo>
                    <a:pt x="2000" y="520"/>
                  </a:lnTo>
                  <a:lnTo>
                    <a:pt x="2001" y="515"/>
                  </a:lnTo>
                  <a:lnTo>
                    <a:pt x="2000" y="510"/>
                  </a:lnTo>
                  <a:lnTo>
                    <a:pt x="1998" y="506"/>
                  </a:lnTo>
                  <a:lnTo>
                    <a:pt x="1993" y="494"/>
                  </a:lnTo>
                  <a:lnTo>
                    <a:pt x="1990" y="486"/>
                  </a:lnTo>
                  <a:lnTo>
                    <a:pt x="1988" y="477"/>
                  </a:lnTo>
                  <a:lnTo>
                    <a:pt x="1987" y="471"/>
                  </a:lnTo>
                  <a:lnTo>
                    <a:pt x="1988" y="466"/>
                  </a:lnTo>
                  <a:lnTo>
                    <a:pt x="1989" y="462"/>
                  </a:lnTo>
                  <a:lnTo>
                    <a:pt x="1992" y="459"/>
                  </a:lnTo>
                  <a:lnTo>
                    <a:pt x="1995" y="455"/>
                  </a:lnTo>
                  <a:lnTo>
                    <a:pt x="2005" y="449"/>
                  </a:lnTo>
                  <a:lnTo>
                    <a:pt x="2016" y="443"/>
                  </a:lnTo>
                  <a:lnTo>
                    <a:pt x="2022" y="440"/>
                  </a:lnTo>
                  <a:lnTo>
                    <a:pt x="2029" y="435"/>
                  </a:lnTo>
                  <a:lnTo>
                    <a:pt x="2035" y="429"/>
                  </a:lnTo>
                  <a:lnTo>
                    <a:pt x="2041" y="423"/>
                  </a:lnTo>
                  <a:lnTo>
                    <a:pt x="2045" y="419"/>
                  </a:lnTo>
                  <a:lnTo>
                    <a:pt x="2047" y="415"/>
                  </a:lnTo>
                  <a:lnTo>
                    <a:pt x="2048" y="412"/>
                  </a:lnTo>
                  <a:lnTo>
                    <a:pt x="2048" y="407"/>
                  </a:lnTo>
                  <a:lnTo>
                    <a:pt x="2048" y="403"/>
                  </a:lnTo>
                  <a:lnTo>
                    <a:pt x="2047" y="400"/>
                  </a:lnTo>
                  <a:lnTo>
                    <a:pt x="2045" y="397"/>
                  </a:lnTo>
                  <a:lnTo>
                    <a:pt x="2043" y="394"/>
                  </a:lnTo>
                  <a:lnTo>
                    <a:pt x="2031" y="382"/>
                  </a:lnTo>
                  <a:lnTo>
                    <a:pt x="2019" y="374"/>
                  </a:lnTo>
                  <a:lnTo>
                    <a:pt x="2003" y="375"/>
                  </a:lnTo>
                  <a:lnTo>
                    <a:pt x="1989" y="376"/>
                  </a:lnTo>
                  <a:lnTo>
                    <a:pt x="1973" y="378"/>
                  </a:lnTo>
                  <a:lnTo>
                    <a:pt x="1958" y="378"/>
                  </a:lnTo>
                  <a:lnTo>
                    <a:pt x="1958" y="378"/>
                  </a:lnTo>
                  <a:lnTo>
                    <a:pt x="1946" y="372"/>
                  </a:lnTo>
                  <a:lnTo>
                    <a:pt x="1937" y="366"/>
                  </a:lnTo>
                  <a:lnTo>
                    <a:pt x="1928" y="359"/>
                  </a:lnTo>
                  <a:lnTo>
                    <a:pt x="1920" y="354"/>
                  </a:lnTo>
                  <a:lnTo>
                    <a:pt x="1912" y="349"/>
                  </a:lnTo>
                  <a:lnTo>
                    <a:pt x="1903" y="346"/>
                  </a:lnTo>
                  <a:lnTo>
                    <a:pt x="1898" y="345"/>
                  </a:lnTo>
                  <a:lnTo>
                    <a:pt x="1892" y="344"/>
                  </a:lnTo>
                  <a:lnTo>
                    <a:pt x="1886" y="344"/>
                  </a:lnTo>
                  <a:lnTo>
                    <a:pt x="1878" y="344"/>
                  </a:lnTo>
                  <a:lnTo>
                    <a:pt x="1874" y="353"/>
                  </a:lnTo>
                  <a:lnTo>
                    <a:pt x="1870" y="364"/>
                  </a:lnTo>
                  <a:lnTo>
                    <a:pt x="1866" y="374"/>
                  </a:lnTo>
                  <a:lnTo>
                    <a:pt x="1863" y="384"/>
                  </a:lnTo>
                  <a:lnTo>
                    <a:pt x="1859" y="396"/>
                  </a:lnTo>
                  <a:lnTo>
                    <a:pt x="1854" y="405"/>
                  </a:lnTo>
                  <a:lnTo>
                    <a:pt x="1849" y="415"/>
                  </a:lnTo>
                  <a:lnTo>
                    <a:pt x="1844" y="422"/>
                  </a:lnTo>
                  <a:lnTo>
                    <a:pt x="1838" y="426"/>
                  </a:lnTo>
                  <a:lnTo>
                    <a:pt x="1830" y="430"/>
                  </a:lnTo>
                  <a:lnTo>
                    <a:pt x="1822" y="432"/>
                  </a:lnTo>
                  <a:lnTo>
                    <a:pt x="1814" y="434"/>
                  </a:lnTo>
                  <a:lnTo>
                    <a:pt x="1803" y="435"/>
                  </a:lnTo>
                  <a:lnTo>
                    <a:pt x="1794" y="434"/>
                  </a:lnTo>
                  <a:lnTo>
                    <a:pt x="1782" y="432"/>
                  </a:lnTo>
                  <a:lnTo>
                    <a:pt x="1772" y="431"/>
                  </a:lnTo>
                  <a:lnTo>
                    <a:pt x="1750" y="426"/>
                  </a:lnTo>
                  <a:lnTo>
                    <a:pt x="1730" y="420"/>
                  </a:lnTo>
                  <a:lnTo>
                    <a:pt x="1714" y="413"/>
                  </a:lnTo>
                  <a:lnTo>
                    <a:pt x="1700" y="405"/>
                  </a:lnTo>
                  <a:lnTo>
                    <a:pt x="1693" y="400"/>
                  </a:lnTo>
                  <a:lnTo>
                    <a:pt x="1688" y="396"/>
                  </a:lnTo>
                  <a:lnTo>
                    <a:pt x="1683" y="392"/>
                  </a:lnTo>
                  <a:lnTo>
                    <a:pt x="1680" y="388"/>
                  </a:lnTo>
                  <a:lnTo>
                    <a:pt x="1678" y="383"/>
                  </a:lnTo>
                  <a:lnTo>
                    <a:pt x="1677" y="377"/>
                  </a:lnTo>
                  <a:lnTo>
                    <a:pt x="1676" y="371"/>
                  </a:lnTo>
                  <a:lnTo>
                    <a:pt x="1677" y="363"/>
                  </a:lnTo>
                  <a:lnTo>
                    <a:pt x="1677" y="350"/>
                  </a:lnTo>
                  <a:lnTo>
                    <a:pt x="1676" y="340"/>
                  </a:lnTo>
                  <a:lnTo>
                    <a:pt x="1675" y="332"/>
                  </a:lnTo>
                  <a:lnTo>
                    <a:pt x="1673" y="327"/>
                  </a:lnTo>
                  <a:lnTo>
                    <a:pt x="1670" y="323"/>
                  </a:lnTo>
                  <a:lnTo>
                    <a:pt x="1667" y="321"/>
                  </a:lnTo>
                  <a:lnTo>
                    <a:pt x="1663" y="320"/>
                  </a:lnTo>
                  <a:lnTo>
                    <a:pt x="1658" y="320"/>
                  </a:lnTo>
                  <a:lnTo>
                    <a:pt x="1633" y="329"/>
                  </a:lnTo>
                  <a:lnTo>
                    <a:pt x="1601" y="340"/>
                  </a:lnTo>
                  <a:lnTo>
                    <a:pt x="1591" y="341"/>
                  </a:lnTo>
                  <a:lnTo>
                    <a:pt x="1580" y="342"/>
                  </a:lnTo>
                  <a:lnTo>
                    <a:pt x="1570" y="341"/>
                  </a:lnTo>
                  <a:lnTo>
                    <a:pt x="1559" y="340"/>
                  </a:lnTo>
                  <a:lnTo>
                    <a:pt x="1550" y="339"/>
                  </a:lnTo>
                  <a:lnTo>
                    <a:pt x="1541" y="335"/>
                  </a:lnTo>
                  <a:lnTo>
                    <a:pt x="1530" y="331"/>
                  </a:lnTo>
                  <a:lnTo>
                    <a:pt x="1521" y="327"/>
                  </a:lnTo>
                  <a:lnTo>
                    <a:pt x="1512" y="322"/>
                  </a:lnTo>
                  <a:lnTo>
                    <a:pt x="1505" y="317"/>
                  </a:lnTo>
                  <a:lnTo>
                    <a:pt x="1499" y="310"/>
                  </a:lnTo>
                  <a:lnTo>
                    <a:pt x="1494" y="304"/>
                  </a:lnTo>
                  <a:lnTo>
                    <a:pt x="1491" y="298"/>
                  </a:lnTo>
                  <a:lnTo>
                    <a:pt x="1487" y="292"/>
                  </a:lnTo>
                  <a:lnTo>
                    <a:pt x="1486" y="285"/>
                  </a:lnTo>
                  <a:lnTo>
                    <a:pt x="1487" y="280"/>
                  </a:lnTo>
                  <a:lnTo>
                    <a:pt x="1488" y="274"/>
                  </a:lnTo>
                  <a:lnTo>
                    <a:pt x="1491" y="270"/>
                  </a:lnTo>
                  <a:lnTo>
                    <a:pt x="1495" y="266"/>
                  </a:lnTo>
                  <a:lnTo>
                    <a:pt x="1500" y="262"/>
                  </a:lnTo>
                  <a:lnTo>
                    <a:pt x="1507" y="260"/>
                  </a:lnTo>
                  <a:lnTo>
                    <a:pt x="1514" y="259"/>
                  </a:lnTo>
                  <a:lnTo>
                    <a:pt x="1524" y="259"/>
                  </a:lnTo>
                  <a:lnTo>
                    <a:pt x="1534" y="261"/>
                  </a:lnTo>
                  <a:lnTo>
                    <a:pt x="1542" y="262"/>
                  </a:lnTo>
                  <a:lnTo>
                    <a:pt x="1550" y="262"/>
                  </a:lnTo>
                  <a:lnTo>
                    <a:pt x="1558" y="261"/>
                  </a:lnTo>
                  <a:lnTo>
                    <a:pt x="1568" y="259"/>
                  </a:lnTo>
                  <a:lnTo>
                    <a:pt x="1575" y="256"/>
                  </a:lnTo>
                  <a:lnTo>
                    <a:pt x="1581" y="251"/>
                  </a:lnTo>
                  <a:lnTo>
                    <a:pt x="1583" y="249"/>
                  </a:lnTo>
                  <a:lnTo>
                    <a:pt x="1584" y="246"/>
                  </a:lnTo>
                  <a:lnTo>
                    <a:pt x="1585" y="242"/>
                  </a:lnTo>
                  <a:lnTo>
                    <a:pt x="1585" y="238"/>
                  </a:lnTo>
                  <a:lnTo>
                    <a:pt x="1583" y="231"/>
                  </a:lnTo>
                  <a:lnTo>
                    <a:pt x="1583" y="225"/>
                  </a:lnTo>
                  <a:lnTo>
                    <a:pt x="1583" y="220"/>
                  </a:lnTo>
                  <a:lnTo>
                    <a:pt x="1584" y="215"/>
                  </a:lnTo>
                  <a:lnTo>
                    <a:pt x="1585" y="211"/>
                  </a:lnTo>
                  <a:lnTo>
                    <a:pt x="1586" y="208"/>
                  </a:lnTo>
                  <a:lnTo>
                    <a:pt x="1589" y="205"/>
                  </a:lnTo>
                  <a:lnTo>
                    <a:pt x="1592" y="202"/>
                  </a:lnTo>
                  <a:lnTo>
                    <a:pt x="1604" y="189"/>
                  </a:lnTo>
                  <a:lnTo>
                    <a:pt x="1620" y="173"/>
                  </a:lnTo>
                  <a:lnTo>
                    <a:pt x="1624" y="169"/>
                  </a:lnTo>
                  <a:lnTo>
                    <a:pt x="1627" y="162"/>
                  </a:lnTo>
                  <a:lnTo>
                    <a:pt x="1630" y="156"/>
                  </a:lnTo>
                  <a:lnTo>
                    <a:pt x="1632" y="150"/>
                  </a:lnTo>
                  <a:lnTo>
                    <a:pt x="1632" y="142"/>
                  </a:lnTo>
                  <a:lnTo>
                    <a:pt x="1632" y="135"/>
                  </a:lnTo>
                  <a:lnTo>
                    <a:pt x="1630" y="129"/>
                  </a:lnTo>
                  <a:lnTo>
                    <a:pt x="1627" y="123"/>
                  </a:lnTo>
                  <a:lnTo>
                    <a:pt x="1621" y="124"/>
                  </a:lnTo>
                  <a:lnTo>
                    <a:pt x="1614" y="125"/>
                  </a:lnTo>
                  <a:lnTo>
                    <a:pt x="1606" y="127"/>
                  </a:lnTo>
                  <a:lnTo>
                    <a:pt x="1599" y="130"/>
                  </a:lnTo>
                  <a:lnTo>
                    <a:pt x="1584" y="135"/>
                  </a:lnTo>
                  <a:lnTo>
                    <a:pt x="1570" y="138"/>
                  </a:lnTo>
                  <a:lnTo>
                    <a:pt x="1563" y="139"/>
                  </a:lnTo>
                  <a:lnTo>
                    <a:pt x="1558" y="139"/>
                  </a:lnTo>
                  <a:lnTo>
                    <a:pt x="1553" y="137"/>
                  </a:lnTo>
                  <a:lnTo>
                    <a:pt x="1548" y="135"/>
                  </a:lnTo>
                  <a:lnTo>
                    <a:pt x="1545" y="130"/>
                  </a:lnTo>
                  <a:lnTo>
                    <a:pt x="1543" y="123"/>
                  </a:lnTo>
                  <a:lnTo>
                    <a:pt x="1542" y="114"/>
                  </a:lnTo>
                  <a:lnTo>
                    <a:pt x="1542" y="102"/>
                  </a:lnTo>
                  <a:lnTo>
                    <a:pt x="1545" y="74"/>
                  </a:lnTo>
                  <a:lnTo>
                    <a:pt x="1547" y="37"/>
                  </a:lnTo>
                  <a:lnTo>
                    <a:pt x="1547" y="28"/>
                  </a:lnTo>
                  <a:lnTo>
                    <a:pt x="1545" y="20"/>
                  </a:lnTo>
                  <a:lnTo>
                    <a:pt x="1543" y="13"/>
                  </a:lnTo>
                  <a:lnTo>
                    <a:pt x="1540" y="7"/>
                  </a:lnTo>
                  <a:lnTo>
                    <a:pt x="1537" y="5"/>
                  </a:lnTo>
                  <a:lnTo>
                    <a:pt x="1535" y="3"/>
                  </a:lnTo>
                  <a:lnTo>
                    <a:pt x="1533" y="2"/>
                  </a:lnTo>
                  <a:lnTo>
                    <a:pt x="1530" y="1"/>
                  </a:lnTo>
                  <a:lnTo>
                    <a:pt x="1527" y="0"/>
                  </a:lnTo>
                  <a:lnTo>
                    <a:pt x="1523" y="0"/>
                  </a:lnTo>
                  <a:lnTo>
                    <a:pt x="1519" y="0"/>
                  </a:lnTo>
                  <a:lnTo>
                    <a:pt x="1514" y="1"/>
                  </a:lnTo>
                  <a:lnTo>
                    <a:pt x="1507" y="4"/>
                  </a:lnTo>
                  <a:lnTo>
                    <a:pt x="1500" y="8"/>
                  </a:lnTo>
                  <a:lnTo>
                    <a:pt x="1495" y="13"/>
                  </a:lnTo>
                  <a:lnTo>
                    <a:pt x="1489" y="18"/>
                  </a:lnTo>
                  <a:lnTo>
                    <a:pt x="1481" y="31"/>
                  </a:lnTo>
                  <a:lnTo>
                    <a:pt x="1474" y="44"/>
                  </a:lnTo>
                  <a:lnTo>
                    <a:pt x="1470" y="51"/>
                  </a:lnTo>
                  <a:lnTo>
                    <a:pt x="1464" y="57"/>
                  </a:lnTo>
                  <a:lnTo>
                    <a:pt x="1460" y="62"/>
                  </a:lnTo>
                  <a:lnTo>
                    <a:pt x="1454" y="67"/>
                  </a:lnTo>
                  <a:lnTo>
                    <a:pt x="1448" y="70"/>
                  </a:lnTo>
                  <a:lnTo>
                    <a:pt x="1440" y="74"/>
                  </a:lnTo>
                  <a:lnTo>
                    <a:pt x="1431" y="76"/>
                  </a:lnTo>
                  <a:lnTo>
                    <a:pt x="1421" y="76"/>
                  </a:lnTo>
                  <a:lnTo>
                    <a:pt x="1413" y="75"/>
                  </a:lnTo>
                  <a:lnTo>
                    <a:pt x="1407" y="73"/>
                  </a:lnTo>
                  <a:lnTo>
                    <a:pt x="1402" y="69"/>
                  </a:lnTo>
                  <a:lnTo>
                    <a:pt x="1398" y="65"/>
                  </a:lnTo>
                  <a:lnTo>
                    <a:pt x="1391" y="56"/>
                  </a:lnTo>
                  <a:lnTo>
                    <a:pt x="1385" y="48"/>
                  </a:lnTo>
                  <a:lnTo>
                    <a:pt x="1382" y="43"/>
                  </a:lnTo>
                  <a:lnTo>
                    <a:pt x="1379" y="41"/>
                  </a:lnTo>
                  <a:lnTo>
                    <a:pt x="1376" y="39"/>
                  </a:lnTo>
                  <a:lnTo>
                    <a:pt x="1371" y="39"/>
                  </a:lnTo>
                  <a:lnTo>
                    <a:pt x="1365" y="40"/>
                  </a:lnTo>
                  <a:lnTo>
                    <a:pt x="1359" y="43"/>
                  </a:lnTo>
                  <a:lnTo>
                    <a:pt x="1351" y="50"/>
                  </a:lnTo>
                  <a:lnTo>
                    <a:pt x="1342" y="57"/>
                  </a:lnTo>
                  <a:lnTo>
                    <a:pt x="1335" y="62"/>
                  </a:lnTo>
                  <a:lnTo>
                    <a:pt x="1326" y="67"/>
                  </a:lnTo>
                  <a:lnTo>
                    <a:pt x="1314" y="73"/>
                  </a:lnTo>
                  <a:lnTo>
                    <a:pt x="1302" y="78"/>
                  </a:lnTo>
                  <a:lnTo>
                    <a:pt x="1275" y="89"/>
                  </a:lnTo>
                  <a:lnTo>
                    <a:pt x="1248" y="101"/>
                  </a:lnTo>
                  <a:lnTo>
                    <a:pt x="1235" y="107"/>
                  </a:lnTo>
                  <a:lnTo>
                    <a:pt x="1225" y="113"/>
                  </a:lnTo>
                  <a:lnTo>
                    <a:pt x="1216" y="119"/>
                  </a:lnTo>
                  <a:lnTo>
                    <a:pt x="1211" y="127"/>
                  </a:lnTo>
                  <a:lnTo>
                    <a:pt x="1209" y="130"/>
                  </a:lnTo>
                  <a:lnTo>
                    <a:pt x="1208" y="133"/>
                  </a:lnTo>
                  <a:lnTo>
                    <a:pt x="1208" y="136"/>
                  </a:lnTo>
                  <a:lnTo>
                    <a:pt x="1209" y="140"/>
                  </a:lnTo>
                  <a:lnTo>
                    <a:pt x="1211" y="143"/>
                  </a:lnTo>
                  <a:lnTo>
                    <a:pt x="1214" y="148"/>
                  </a:lnTo>
                  <a:lnTo>
                    <a:pt x="1218" y="151"/>
                  </a:lnTo>
                  <a:lnTo>
                    <a:pt x="1225" y="155"/>
                  </a:lnTo>
                  <a:lnTo>
                    <a:pt x="1231" y="159"/>
                  </a:lnTo>
                  <a:lnTo>
                    <a:pt x="1235" y="164"/>
                  </a:lnTo>
                  <a:lnTo>
                    <a:pt x="1237" y="169"/>
                  </a:lnTo>
                  <a:lnTo>
                    <a:pt x="1237" y="173"/>
                  </a:lnTo>
                  <a:lnTo>
                    <a:pt x="1236" y="177"/>
                  </a:lnTo>
                  <a:lnTo>
                    <a:pt x="1233" y="181"/>
                  </a:lnTo>
                  <a:lnTo>
                    <a:pt x="1229" y="186"/>
                  </a:lnTo>
                  <a:lnTo>
                    <a:pt x="1225" y="190"/>
                  </a:lnTo>
                  <a:lnTo>
                    <a:pt x="1215" y="200"/>
                  </a:lnTo>
                  <a:lnTo>
                    <a:pt x="1207" y="209"/>
                  </a:lnTo>
                  <a:lnTo>
                    <a:pt x="1203" y="214"/>
                  </a:lnTo>
                  <a:lnTo>
                    <a:pt x="1202" y="221"/>
                  </a:lnTo>
                  <a:lnTo>
                    <a:pt x="1201" y="226"/>
                  </a:lnTo>
                  <a:lnTo>
                    <a:pt x="1203" y="232"/>
                  </a:lnTo>
                  <a:lnTo>
                    <a:pt x="1204" y="238"/>
                  </a:lnTo>
                  <a:lnTo>
                    <a:pt x="1206" y="245"/>
                  </a:lnTo>
                  <a:lnTo>
                    <a:pt x="1206" y="250"/>
                  </a:lnTo>
                  <a:lnTo>
                    <a:pt x="1205" y="254"/>
                  </a:lnTo>
                  <a:lnTo>
                    <a:pt x="1204" y="258"/>
                  </a:lnTo>
                  <a:lnTo>
                    <a:pt x="1202" y="261"/>
                  </a:lnTo>
                  <a:lnTo>
                    <a:pt x="1200" y="265"/>
                  </a:lnTo>
                  <a:lnTo>
                    <a:pt x="1196" y="268"/>
                  </a:lnTo>
                  <a:lnTo>
                    <a:pt x="1179" y="279"/>
                  </a:lnTo>
                  <a:lnTo>
                    <a:pt x="1157" y="292"/>
                  </a:lnTo>
                  <a:lnTo>
                    <a:pt x="1151" y="296"/>
                  </a:lnTo>
                  <a:lnTo>
                    <a:pt x="1146" y="299"/>
                  </a:lnTo>
                  <a:lnTo>
                    <a:pt x="1143" y="303"/>
                  </a:lnTo>
                  <a:lnTo>
                    <a:pt x="1141" y="306"/>
                  </a:lnTo>
                  <a:lnTo>
                    <a:pt x="1140" y="309"/>
                  </a:lnTo>
                  <a:lnTo>
                    <a:pt x="1140" y="311"/>
                  </a:lnTo>
                  <a:lnTo>
                    <a:pt x="1141" y="315"/>
                  </a:lnTo>
                  <a:lnTo>
                    <a:pt x="1143" y="317"/>
                  </a:lnTo>
                  <a:lnTo>
                    <a:pt x="1156" y="328"/>
                  </a:lnTo>
                  <a:lnTo>
                    <a:pt x="1170" y="342"/>
                  </a:lnTo>
                  <a:lnTo>
                    <a:pt x="1177" y="351"/>
                  </a:lnTo>
                  <a:lnTo>
                    <a:pt x="1182" y="360"/>
                  </a:lnTo>
                  <a:lnTo>
                    <a:pt x="1184" y="368"/>
                  </a:lnTo>
                  <a:lnTo>
                    <a:pt x="1185" y="373"/>
                  </a:lnTo>
                  <a:lnTo>
                    <a:pt x="1184" y="378"/>
                  </a:lnTo>
                  <a:lnTo>
                    <a:pt x="1182" y="381"/>
                  </a:lnTo>
                  <a:lnTo>
                    <a:pt x="1178" y="384"/>
                  </a:lnTo>
                  <a:lnTo>
                    <a:pt x="1173" y="387"/>
                  </a:lnTo>
                  <a:lnTo>
                    <a:pt x="1145" y="390"/>
                  </a:lnTo>
                  <a:lnTo>
                    <a:pt x="1117" y="392"/>
                  </a:lnTo>
                  <a:lnTo>
                    <a:pt x="1113" y="393"/>
                  </a:lnTo>
                  <a:lnTo>
                    <a:pt x="1108" y="395"/>
                  </a:lnTo>
                  <a:lnTo>
                    <a:pt x="1102" y="399"/>
                  </a:lnTo>
                  <a:lnTo>
                    <a:pt x="1095" y="403"/>
                  </a:lnTo>
                  <a:lnTo>
                    <a:pt x="1083" y="413"/>
                  </a:lnTo>
                  <a:lnTo>
                    <a:pt x="1069" y="425"/>
                  </a:lnTo>
                  <a:lnTo>
                    <a:pt x="1057" y="438"/>
                  </a:lnTo>
                  <a:lnTo>
                    <a:pt x="1046" y="451"/>
                  </a:lnTo>
                  <a:lnTo>
                    <a:pt x="1042" y="458"/>
                  </a:lnTo>
                  <a:lnTo>
                    <a:pt x="1039" y="463"/>
                  </a:lnTo>
                  <a:lnTo>
                    <a:pt x="1036" y="468"/>
                  </a:lnTo>
                  <a:lnTo>
                    <a:pt x="1035" y="473"/>
                  </a:lnTo>
                  <a:lnTo>
                    <a:pt x="1029" y="477"/>
                  </a:lnTo>
                  <a:lnTo>
                    <a:pt x="1023" y="483"/>
                  </a:lnTo>
                  <a:lnTo>
                    <a:pt x="1019" y="488"/>
                  </a:lnTo>
                  <a:lnTo>
                    <a:pt x="1014" y="494"/>
                  </a:lnTo>
                  <a:lnTo>
                    <a:pt x="1008" y="506"/>
                  </a:lnTo>
                  <a:lnTo>
                    <a:pt x="1002" y="518"/>
                  </a:lnTo>
                  <a:lnTo>
                    <a:pt x="994" y="545"/>
                  </a:lnTo>
                  <a:lnTo>
                    <a:pt x="989" y="571"/>
                  </a:lnTo>
                  <a:lnTo>
                    <a:pt x="987" y="579"/>
                  </a:lnTo>
                  <a:lnTo>
                    <a:pt x="983" y="585"/>
                  </a:lnTo>
                  <a:lnTo>
                    <a:pt x="976" y="591"/>
                  </a:lnTo>
                  <a:lnTo>
                    <a:pt x="971" y="597"/>
                  </a:lnTo>
                  <a:lnTo>
                    <a:pt x="965" y="603"/>
                  </a:lnTo>
                  <a:lnTo>
                    <a:pt x="961" y="609"/>
                  </a:lnTo>
                  <a:lnTo>
                    <a:pt x="959" y="611"/>
                  </a:lnTo>
                  <a:lnTo>
                    <a:pt x="957" y="614"/>
                  </a:lnTo>
                  <a:lnTo>
                    <a:pt x="956" y="617"/>
                  </a:lnTo>
                  <a:lnTo>
                    <a:pt x="956" y="621"/>
                  </a:lnTo>
                  <a:lnTo>
                    <a:pt x="973" y="669"/>
                  </a:lnTo>
                  <a:lnTo>
                    <a:pt x="975" y="676"/>
                  </a:lnTo>
                  <a:lnTo>
                    <a:pt x="975" y="682"/>
                  </a:lnTo>
                  <a:lnTo>
                    <a:pt x="975" y="688"/>
                  </a:lnTo>
                  <a:lnTo>
                    <a:pt x="973" y="694"/>
                  </a:lnTo>
                  <a:lnTo>
                    <a:pt x="971" y="700"/>
                  </a:lnTo>
                  <a:lnTo>
                    <a:pt x="968" y="705"/>
                  </a:lnTo>
                  <a:lnTo>
                    <a:pt x="964" y="710"/>
                  </a:lnTo>
                  <a:lnTo>
                    <a:pt x="959" y="715"/>
                  </a:lnTo>
                  <a:lnTo>
                    <a:pt x="954" y="719"/>
                  </a:lnTo>
                  <a:lnTo>
                    <a:pt x="947" y="724"/>
                  </a:lnTo>
                  <a:lnTo>
                    <a:pt x="941" y="728"/>
                  </a:lnTo>
                  <a:lnTo>
                    <a:pt x="934" y="731"/>
                  </a:lnTo>
                  <a:lnTo>
                    <a:pt x="926" y="734"/>
                  </a:lnTo>
                  <a:lnTo>
                    <a:pt x="918" y="736"/>
                  </a:lnTo>
                  <a:lnTo>
                    <a:pt x="911" y="738"/>
                  </a:lnTo>
                  <a:lnTo>
                    <a:pt x="902" y="739"/>
                  </a:lnTo>
                  <a:lnTo>
                    <a:pt x="894" y="740"/>
                  </a:lnTo>
                  <a:lnTo>
                    <a:pt x="886" y="740"/>
                  </a:lnTo>
                  <a:lnTo>
                    <a:pt x="877" y="740"/>
                  </a:lnTo>
                  <a:lnTo>
                    <a:pt x="870" y="739"/>
                  </a:lnTo>
                  <a:lnTo>
                    <a:pt x="862" y="738"/>
                  </a:lnTo>
                  <a:lnTo>
                    <a:pt x="854" y="736"/>
                  </a:lnTo>
                  <a:lnTo>
                    <a:pt x="847" y="733"/>
                  </a:lnTo>
                  <a:lnTo>
                    <a:pt x="841" y="729"/>
                  </a:lnTo>
                  <a:lnTo>
                    <a:pt x="835" y="725"/>
                  </a:lnTo>
                  <a:lnTo>
                    <a:pt x="829" y="719"/>
                  </a:lnTo>
                  <a:lnTo>
                    <a:pt x="824" y="713"/>
                  </a:lnTo>
                  <a:lnTo>
                    <a:pt x="820" y="706"/>
                  </a:lnTo>
                  <a:lnTo>
                    <a:pt x="817" y="699"/>
                  </a:lnTo>
                  <a:lnTo>
                    <a:pt x="815" y="689"/>
                  </a:lnTo>
                  <a:lnTo>
                    <a:pt x="813" y="680"/>
                  </a:lnTo>
                  <a:lnTo>
                    <a:pt x="813" y="669"/>
                  </a:lnTo>
                  <a:lnTo>
                    <a:pt x="813" y="661"/>
                  </a:lnTo>
                  <a:lnTo>
                    <a:pt x="813" y="649"/>
                  </a:lnTo>
                  <a:lnTo>
                    <a:pt x="813" y="638"/>
                  </a:lnTo>
                  <a:lnTo>
                    <a:pt x="811" y="625"/>
                  </a:lnTo>
                  <a:lnTo>
                    <a:pt x="810" y="620"/>
                  </a:lnTo>
                  <a:lnTo>
                    <a:pt x="808" y="616"/>
                  </a:lnTo>
                  <a:lnTo>
                    <a:pt x="805" y="613"/>
                  </a:lnTo>
                  <a:lnTo>
                    <a:pt x="802" y="611"/>
                  </a:lnTo>
                  <a:lnTo>
                    <a:pt x="798" y="610"/>
                  </a:lnTo>
                  <a:lnTo>
                    <a:pt x="794" y="610"/>
                  </a:lnTo>
                  <a:lnTo>
                    <a:pt x="788" y="612"/>
                  </a:lnTo>
                  <a:lnTo>
                    <a:pt x="782" y="616"/>
                  </a:lnTo>
                  <a:lnTo>
                    <a:pt x="773" y="624"/>
                  </a:lnTo>
                  <a:lnTo>
                    <a:pt x="766" y="634"/>
                  </a:lnTo>
                  <a:lnTo>
                    <a:pt x="760" y="644"/>
                  </a:lnTo>
                  <a:lnTo>
                    <a:pt x="754" y="655"/>
                  </a:lnTo>
                  <a:lnTo>
                    <a:pt x="748" y="664"/>
                  </a:lnTo>
                  <a:lnTo>
                    <a:pt x="740" y="672"/>
                  </a:lnTo>
                  <a:lnTo>
                    <a:pt x="736" y="676"/>
                  </a:lnTo>
                  <a:lnTo>
                    <a:pt x="731" y="679"/>
                  </a:lnTo>
                  <a:lnTo>
                    <a:pt x="725" y="681"/>
                  </a:lnTo>
                  <a:lnTo>
                    <a:pt x="719" y="682"/>
                  </a:lnTo>
                  <a:lnTo>
                    <a:pt x="715" y="682"/>
                  </a:lnTo>
                  <a:lnTo>
                    <a:pt x="711" y="682"/>
                  </a:lnTo>
                  <a:lnTo>
                    <a:pt x="706" y="681"/>
                  </a:lnTo>
                  <a:lnTo>
                    <a:pt x="703" y="679"/>
                  </a:lnTo>
                  <a:lnTo>
                    <a:pt x="697" y="675"/>
                  </a:lnTo>
                  <a:lnTo>
                    <a:pt x="692" y="667"/>
                  </a:lnTo>
                  <a:lnTo>
                    <a:pt x="684" y="649"/>
                  </a:lnTo>
                  <a:lnTo>
                    <a:pt x="676" y="631"/>
                  </a:lnTo>
                  <a:lnTo>
                    <a:pt x="672" y="621"/>
                  </a:lnTo>
                  <a:lnTo>
                    <a:pt x="668" y="612"/>
                  </a:lnTo>
                  <a:lnTo>
                    <a:pt x="663" y="605"/>
                  </a:lnTo>
                  <a:lnTo>
                    <a:pt x="657" y="599"/>
                  </a:lnTo>
                  <a:lnTo>
                    <a:pt x="654" y="597"/>
                  </a:lnTo>
                  <a:lnTo>
                    <a:pt x="651" y="596"/>
                  </a:lnTo>
                  <a:lnTo>
                    <a:pt x="647" y="595"/>
                  </a:lnTo>
                  <a:lnTo>
                    <a:pt x="643" y="595"/>
                  </a:lnTo>
                  <a:lnTo>
                    <a:pt x="639" y="595"/>
                  </a:lnTo>
                  <a:lnTo>
                    <a:pt x="633" y="596"/>
                  </a:lnTo>
                  <a:lnTo>
                    <a:pt x="628" y="599"/>
                  </a:lnTo>
                  <a:lnTo>
                    <a:pt x="623" y="603"/>
                  </a:lnTo>
                  <a:lnTo>
                    <a:pt x="595" y="620"/>
                  </a:lnTo>
                  <a:lnTo>
                    <a:pt x="571" y="634"/>
                  </a:lnTo>
                  <a:lnTo>
                    <a:pt x="559" y="638"/>
                  </a:lnTo>
                  <a:lnTo>
                    <a:pt x="546" y="641"/>
                  </a:lnTo>
                  <a:lnTo>
                    <a:pt x="529" y="643"/>
                  </a:lnTo>
                  <a:lnTo>
                    <a:pt x="509" y="644"/>
                  </a:lnTo>
                  <a:lnTo>
                    <a:pt x="500" y="644"/>
                  </a:lnTo>
                  <a:lnTo>
                    <a:pt x="491" y="646"/>
                  </a:lnTo>
                  <a:lnTo>
                    <a:pt x="483" y="651"/>
                  </a:lnTo>
                  <a:lnTo>
                    <a:pt x="478" y="655"/>
                  </a:lnTo>
                  <a:lnTo>
                    <a:pt x="476" y="657"/>
                  </a:lnTo>
                  <a:lnTo>
                    <a:pt x="476" y="659"/>
                  </a:lnTo>
                  <a:lnTo>
                    <a:pt x="476" y="661"/>
                  </a:lnTo>
                  <a:lnTo>
                    <a:pt x="477" y="663"/>
                  </a:lnTo>
                  <a:lnTo>
                    <a:pt x="480" y="665"/>
                  </a:lnTo>
                  <a:lnTo>
                    <a:pt x="484" y="667"/>
                  </a:lnTo>
                  <a:lnTo>
                    <a:pt x="490" y="669"/>
                  </a:lnTo>
                  <a:lnTo>
                    <a:pt x="496" y="670"/>
                  </a:lnTo>
                  <a:lnTo>
                    <a:pt x="504" y="672"/>
                  </a:lnTo>
                  <a:lnTo>
                    <a:pt x="508" y="676"/>
                  </a:lnTo>
                  <a:lnTo>
                    <a:pt x="511" y="679"/>
                  </a:lnTo>
                  <a:lnTo>
                    <a:pt x="511" y="683"/>
                  </a:lnTo>
                  <a:lnTo>
                    <a:pt x="510" y="688"/>
                  </a:lnTo>
                  <a:lnTo>
                    <a:pt x="509" y="693"/>
                  </a:lnTo>
                  <a:lnTo>
                    <a:pt x="506" y="699"/>
                  </a:lnTo>
                  <a:lnTo>
                    <a:pt x="503" y="704"/>
                  </a:lnTo>
                  <a:lnTo>
                    <a:pt x="496" y="714"/>
                  </a:lnTo>
                  <a:lnTo>
                    <a:pt x="493" y="724"/>
                  </a:lnTo>
                  <a:lnTo>
                    <a:pt x="492" y="728"/>
                  </a:lnTo>
                  <a:lnTo>
                    <a:pt x="494" y="732"/>
                  </a:lnTo>
                  <a:lnTo>
                    <a:pt x="497" y="734"/>
                  </a:lnTo>
                  <a:lnTo>
                    <a:pt x="503" y="736"/>
                  </a:lnTo>
                  <a:lnTo>
                    <a:pt x="508" y="737"/>
                  </a:lnTo>
                  <a:lnTo>
                    <a:pt x="515" y="737"/>
                  </a:lnTo>
                  <a:lnTo>
                    <a:pt x="521" y="736"/>
                  </a:lnTo>
                  <a:lnTo>
                    <a:pt x="527" y="734"/>
                  </a:lnTo>
                  <a:lnTo>
                    <a:pt x="533" y="733"/>
                  </a:lnTo>
                  <a:lnTo>
                    <a:pt x="540" y="732"/>
                  </a:lnTo>
                  <a:lnTo>
                    <a:pt x="546" y="733"/>
                  </a:lnTo>
                  <a:lnTo>
                    <a:pt x="551" y="734"/>
                  </a:lnTo>
                  <a:lnTo>
                    <a:pt x="552" y="736"/>
                  </a:lnTo>
                  <a:lnTo>
                    <a:pt x="551" y="739"/>
                  </a:lnTo>
                  <a:lnTo>
                    <a:pt x="550" y="744"/>
                  </a:lnTo>
                  <a:lnTo>
                    <a:pt x="547" y="751"/>
                  </a:lnTo>
                  <a:lnTo>
                    <a:pt x="540" y="767"/>
                  </a:lnTo>
                  <a:lnTo>
                    <a:pt x="531" y="786"/>
                  </a:lnTo>
                  <a:lnTo>
                    <a:pt x="514" y="823"/>
                  </a:lnTo>
                  <a:lnTo>
                    <a:pt x="503" y="847"/>
                  </a:lnTo>
                  <a:lnTo>
                    <a:pt x="501" y="857"/>
                  </a:lnTo>
                  <a:lnTo>
                    <a:pt x="500" y="866"/>
                  </a:lnTo>
                  <a:lnTo>
                    <a:pt x="499" y="876"/>
                  </a:lnTo>
                  <a:lnTo>
                    <a:pt x="500" y="885"/>
                  </a:lnTo>
                  <a:lnTo>
                    <a:pt x="501" y="888"/>
                  </a:lnTo>
                  <a:lnTo>
                    <a:pt x="503" y="892"/>
                  </a:lnTo>
                  <a:lnTo>
                    <a:pt x="506" y="894"/>
                  </a:lnTo>
                  <a:lnTo>
                    <a:pt x="509" y="896"/>
                  </a:lnTo>
                  <a:lnTo>
                    <a:pt x="514" y="897"/>
                  </a:lnTo>
                  <a:lnTo>
                    <a:pt x="519" y="897"/>
                  </a:lnTo>
                  <a:lnTo>
                    <a:pt x="525" y="896"/>
                  </a:lnTo>
                  <a:lnTo>
                    <a:pt x="532" y="894"/>
                  </a:lnTo>
                  <a:lnTo>
                    <a:pt x="539" y="893"/>
                  </a:lnTo>
                  <a:lnTo>
                    <a:pt x="543" y="893"/>
                  </a:lnTo>
                  <a:lnTo>
                    <a:pt x="543" y="894"/>
                  </a:lnTo>
                  <a:lnTo>
                    <a:pt x="544" y="895"/>
                  </a:lnTo>
                  <a:lnTo>
                    <a:pt x="544" y="896"/>
                  </a:lnTo>
                  <a:lnTo>
                    <a:pt x="543" y="898"/>
                  </a:lnTo>
                  <a:lnTo>
                    <a:pt x="536" y="907"/>
                  </a:lnTo>
                  <a:lnTo>
                    <a:pt x="525" y="920"/>
                  </a:lnTo>
                  <a:lnTo>
                    <a:pt x="498" y="945"/>
                  </a:lnTo>
                  <a:lnTo>
                    <a:pt x="484" y="957"/>
                  </a:lnTo>
                  <a:lnTo>
                    <a:pt x="478" y="969"/>
                  </a:lnTo>
                  <a:lnTo>
                    <a:pt x="475" y="979"/>
                  </a:lnTo>
                  <a:lnTo>
                    <a:pt x="472" y="989"/>
                  </a:lnTo>
                  <a:lnTo>
                    <a:pt x="471" y="998"/>
                  </a:lnTo>
                  <a:lnTo>
                    <a:pt x="470" y="1006"/>
                  </a:lnTo>
                  <a:lnTo>
                    <a:pt x="471" y="1015"/>
                  </a:lnTo>
                  <a:lnTo>
                    <a:pt x="472" y="1023"/>
                  </a:lnTo>
                  <a:lnTo>
                    <a:pt x="474" y="1030"/>
                  </a:lnTo>
                  <a:lnTo>
                    <a:pt x="479" y="1046"/>
                  </a:lnTo>
                  <a:lnTo>
                    <a:pt x="484" y="1063"/>
                  </a:lnTo>
                  <a:lnTo>
                    <a:pt x="486" y="1072"/>
                  </a:lnTo>
                  <a:lnTo>
                    <a:pt x="490" y="1081"/>
                  </a:lnTo>
                  <a:lnTo>
                    <a:pt x="491" y="1091"/>
                  </a:lnTo>
                  <a:lnTo>
                    <a:pt x="492" y="1102"/>
                  </a:lnTo>
                  <a:lnTo>
                    <a:pt x="497" y="1127"/>
                  </a:lnTo>
                  <a:lnTo>
                    <a:pt x="501" y="1153"/>
                  </a:lnTo>
                  <a:lnTo>
                    <a:pt x="503" y="1166"/>
                  </a:lnTo>
                  <a:lnTo>
                    <a:pt x="504" y="1178"/>
                  </a:lnTo>
                  <a:lnTo>
                    <a:pt x="503" y="1191"/>
                  </a:lnTo>
                  <a:lnTo>
                    <a:pt x="501" y="1204"/>
                  </a:lnTo>
                  <a:lnTo>
                    <a:pt x="492" y="1209"/>
                  </a:lnTo>
                  <a:lnTo>
                    <a:pt x="481" y="1213"/>
                  </a:lnTo>
                  <a:lnTo>
                    <a:pt x="472" y="1216"/>
                  </a:lnTo>
                  <a:lnTo>
                    <a:pt x="462" y="1220"/>
                  </a:lnTo>
                  <a:lnTo>
                    <a:pt x="457" y="1223"/>
                  </a:lnTo>
                  <a:lnTo>
                    <a:pt x="453" y="1227"/>
                  </a:lnTo>
                  <a:lnTo>
                    <a:pt x="449" y="1232"/>
                  </a:lnTo>
                  <a:lnTo>
                    <a:pt x="445" y="1236"/>
                  </a:lnTo>
                  <a:lnTo>
                    <a:pt x="438" y="1246"/>
                  </a:lnTo>
                  <a:lnTo>
                    <a:pt x="431" y="1256"/>
                  </a:lnTo>
                  <a:lnTo>
                    <a:pt x="428" y="1261"/>
                  </a:lnTo>
                  <a:lnTo>
                    <a:pt x="424" y="1265"/>
                  </a:lnTo>
                  <a:lnTo>
                    <a:pt x="420" y="1269"/>
                  </a:lnTo>
                  <a:lnTo>
                    <a:pt x="416" y="1272"/>
                  </a:lnTo>
                  <a:lnTo>
                    <a:pt x="410" y="1275"/>
                  </a:lnTo>
                  <a:lnTo>
                    <a:pt x="404" y="1278"/>
                  </a:lnTo>
                  <a:lnTo>
                    <a:pt x="398" y="1279"/>
                  </a:lnTo>
                  <a:lnTo>
                    <a:pt x="391" y="1280"/>
                  </a:lnTo>
                  <a:lnTo>
                    <a:pt x="364" y="1279"/>
                  </a:lnTo>
                  <a:lnTo>
                    <a:pt x="337" y="1278"/>
                  </a:lnTo>
                  <a:lnTo>
                    <a:pt x="331" y="1279"/>
                  </a:lnTo>
                  <a:lnTo>
                    <a:pt x="325" y="1280"/>
                  </a:lnTo>
                  <a:lnTo>
                    <a:pt x="319" y="1281"/>
                  </a:lnTo>
                  <a:lnTo>
                    <a:pt x="312" y="1284"/>
                  </a:lnTo>
                  <a:lnTo>
                    <a:pt x="307" y="1286"/>
                  </a:lnTo>
                  <a:lnTo>
                    <a:pt x="302" y="1290"/>
                  </a:lnTo>
                  <a:lnTo>
                    <a:pt x="298" y="1294"/>
                  </a:lnTo>
                  <a:lnTo>
                    <a:pt x="294" y="1299"/>
                  </a:lnTo>
                  <a:lnTo>
                    <a:pt x="287" y="1308"/>
                  </a:lnTo>
                  <a:lnTo>
                    <a:pt x="280" y="1316"/>
                  </a:lnTo>
                  <a:lnTo>
                    <a:pt x="273" y="1323"/>
                  </a:lnTo>
                  <a:lnTo>
                    <a:pt x="264" y="1330"/>
                  </a:lnTo>
                  <a:lnTo>
                    <a:pt x="255" y="1335"/>
                  </a:lnTo>
                  <a:lnTo>
                    <a:pt x="246" y="1338"/>
                  </a:lnTo>
                  <a:lnTo>
                    <a:pt x="235" y="1340"/>
                  </a:lnTo>
                  <a:lnTo>
                    <a:pt x="224" y="1340"/>
                  </a:lnTo>
                  <a:lnTo>
                    <a:pt x="215" y="1339"/>
                  </a:lnTo>
                  <a:lnTo>
                    <a:pt x="207" y="1336"/>
                  </a:lnTo>
                  <a:lnTo>
                    <a:pt x="200" y="1332"/>
                  </a:lnTo>
                  <a:lnTo>
                    <a:pt x="192" y="1327"/>
                  </a:lnTo>
                  <a:lnTo>
                    <a:pt x="179" y="1313"/>
                  </a:lnTo>
                  <a:lnTo>
                    <a:pt x="165" y="1299"/>
                  </a:lnTo>
                  <a:lnTo>
                    <a:pt x="158" y="1292"/>
                  </a:lnTo>
                  <a:lnTo>
                    <a:pt x="152" y="1287"/>
                  </a:lnTo>
                  <a:lnTo>
                    <a:pt x="144" y="1282"/>
                  </a:lnTo>
                  <a:lnTo>
                    <a:pt x="136" y="1278"/>
                  </a:lnTo>
                  <a:lnTo>
                    <a:pt x="128" y="1275"/>
                  </a:lnTo>
                  <a:lnTo>
                    <a:pt x="118" y="1274"/>
                  </a:lnTo>
                  <a:lnTo>
                    <a:pt x="108" y="1276"/>
                  </a:lnTo>
                  <a:lnTo>
                    <a:pt x="98" y="1281"/>
                  </a:lnTo>
                  <a:lnTo>
                    <a:pt x="88" y="1285"/>
                  </a:lnTo>
                  <a:lnTo>
                    <a:pt x="81" y="1290"/>
                  </a:lnTo>
                  <a:lnTo>
                    <a:pt x="76" y="1296"/>
                  </a:lnTo>
                  <a:lnTo>
                    <a:pt x="73" y="1302"/>
                  </a:lnTo>
                  <a:lnTo>
                    <a:pt x="70" y="1308"/>
                  </a:lnTo>
                  <a:lnTo>
                    <a:pt x="69" y="1314"/>
                  </a:lnTo>
                  <a:lnTo>
                    <a:pt x="70" y="1320"/>
                  </a:lnTo>
                  <a:lnTo>
                    <a:pt x="73" y="1327"/>
                  </a:lnTo>
                  <a:lnTo>
                    <a:pt x="76" y="1334"/>
                  </a:lnTo>
                  <a:lnTo>
                    <a:pt x="80" y="1340"/>
                  </a:lnTo>
                  <a:lnTo>
                    <a:pt x="84" y="1345"/>
                  </a:lnTo>
                  <a:lnTo>
                    <a:pt x="89" y="1352"/>
                  </a:lnTo>
                  <a:lnTo>
                    <a:pt x="101" y="1362"/>
                  </a:lnTo>
                  <a:lnTo>
                    <a:pt x="113" y="1370"/>
                  </a:lnTo>
                  <a:lnTo>
                    <a:pt x="132" y="1382"/>
                  </a:lnTo>
                  <a:lnTo>
                    <a:pt x="153" y="1392"/>
                  </a:lnTo>
                  <a:lnTo>
                    <a:pt x="162" y="1397"/>
                  </a:lnTo>
                  <a:lnTo>
                    <a:pt x="173" y="1403"/>
                  </a:lnTo>
                  <a:lnTo>
                    <a:pt x="181" y="1409"/>
                  </a:lnTo>
                  <a:lnTo>
                    <a:pt x="189" y="1415"/>
                  </a:lnTo>
                  <a:lnTo>
                    <a:pt x="197" y="1421"/>
                  </a:lnTo>
                  <a:lnTo>
                    <a:pt x="203" y="1429"/>
                  </a:lnTo>
                  <a:lnTo>
                    <a:pt x="207" y="1437"/>
                  </a:lnTo>
                  <a:lnTo>
                    <a:pt x="210" y="1445"/>
                  </a:lnTo>
                  <a:lnTo>
                    <a:pt x="210" y="1451"/>
                  </a:lnTo>
                  <a:lnTo>
                    <a:pt x="210" y="1455"/>
                  </a:lnTo>
                  <a:lnTo>
                    <a:pt x="210" y="1460"/>
                  </a:lnTo>
                  <a:lnTo>
                    <a:pt x="208" y="1466"/>
                  </a:lnTo>
                  <a:lnTo>
                    <a:pt x="204" y="1478"/>
                  </a:lnTo>
                  <a:lnTo>
                    <a:pt x="198" y="1490"/>
                  </a:lnTo>
                  <a:lnTo>
                    <a:pt x="187" y="1505"/>
                  </a:lnTo>
                  <a:lnTo>
                    <a:pt x="178" y="1516"/>
                  </a:lnTo>
                  <a:lnTo>
                    <a:pt x="167" y="1525"/>
                  </a:lnTo>
                  <a:lnTo>
                    <a:pt x="158" y="1530"/>
                  </a:lnTo>
                  <a:lnTo>
                    <a:pt x="149" y="1534"/>
                  </a:lnTo>
                  <a:lnTo>
                    <a:pt x="139" y="1535"/>
                  </a:lnTo>
                  <a:lnTo>
                    <a:pt x="130" y="1535"/>
                  </a:lnTo>
                  <a:lnTo>
                    <a:pt x="119" y="1535"/>
                  </a:lnTo>
                  <a:lnTo>
                    <a:pt x="101" y="1532"/>
                  </a:lnTo>
                  <a:lnTo>
                    <a:pt x="82" y="1530"/>
                  </a:lnTo>
                  <a:lnTo>
                    <a:pt x="73" y="1530"/>
                  </a:lnTo>
                  <a:lnTo>
                    <a:pt x="62" y="1532"/>
                  </a:lnTo>
                  <a:lnTo>
                    <a:pt x="52" y="1536"/>
                  </a:lnTo>
                  <a:lnTo>
                    <a:pt x="42" y="1542"/>
                  </a:lnTo>
                  <a:lnTo>
                    <a:pt x="41" y="1549"/>
                  </a:lnTo>
                  <a:lnTo>
                    <a:pt x="42" y="1555"/>
                  </a:lnTo>
                  <a:lnTo>
                    <a:pt x="43" y="1560"/>
                  </a:lnTo>
                  <a:lnTo>
                    <a:pt x="45" y="1565"/>
                  </a:lnTo>
                  <a:lnTo>
                    <a:pt x="50" y="1575"/>
                  </a:lnTo>
                  <a:lnTo>
                    <a:pt x="54" y="1583"/>
                  </a:lnTo>
                  <a:lnTo>
                    <a:pt x="56" y="1587"/>
                  </a:lnTo>
                  <a:lnTo>
                    <a:pt x="58" y="1593"/>
                  </a:lnTo>
                  <a:lnTo>
                    <a:pt x="59" y="1597"/>
                  </a:lnTo>
                  <a:lnTo>
                    <a:pt x="59" y="1602"/>
                  </a:lnTo>
                  <a:lnTo>
                    <a:pt x="59" y="1608"/>
                  </a:lnTo>
                  <a:lnTo>
                    <a:pt x="57" y="1616"/>
                  </a:lnTo>
                  <a:lnTo>
                    <a:pt x="54" y="1623"/>
                  </a:lnTo>
                  <a:lnTo>
                    <a:pt x="50" y="1631"/>
                  </a:lnTo>
                  <a:lnTo>
                    <a:pt x="29" y="1649"/>
                  </a:lnTo>
                  <a:lnTo>
                    <a:pt x="13" y="1664"/>
                  </a:lnTo>
                  <a:lnTo>
                    <a:pt x="9" y="1669"/>
                  </a:lnTo>
                  <a:lnTo>
                    <a:pt x="5" y="1674"/>
                  </a:lnTo>
                  <a:lnTo>
                    <a:pt x="2" y="1679"/>
                  </a:lnTo>
                  <a:lnTo>
                    <a:pt x="1" y="1684"/>
                  </a:lnTo>
                  <a:lnTo>
                    <a:pt x="0" y="1690"/>
                  </a:lnTo>
                  <a:lnTo>
                    <a:pt x="0" y="1696"/>
                  </a:lnTo>
                  <a:lnTo>
                    <a:pt x="0" y="1703"/>
                  </a:lnTo>
                  <a:lnTo>
                    <a:pt x="1" y="1710"/>
                  </a:lnTo>
                  <a:lnTo>
                    <a:pt x="3" y="1730"/>
                  </a:lnTo>
                  <a:lnTo>
                    <a:pt x="6" y="1757"/>
                  </a:lnTo>
                  <a:lnTo>
                    <a:pt x="6" y="1766"/>
                  </a:lnTo>
                  <a:lnTo>
                    <a:pt x="5" y="1772"/>
                  </a:lnTo>
                  <a:lnTo>
                    <a:pt x="3" y="1777"/>
                  </a:lnTo>
                  <a:lnTo>
                    <a:pt x="1" y="1780"/>
                  </a:lnTo>
                  <a:lnTo>
                    <a:pt x="1" y="1780"/>
                  </a:lnTo>
                  <a:close/>
                </a:path>
              </a:pathLst>
            </a:custGeom>
            <a:solidFill>
              <a:srgbClr val="FEFEFE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41" name="Freeform 178">
              <a:extLst>
                <a:ext uri="{FF2B5EF4-FFF2-40B4-BE49-F238E27FC236}">
                  <a16:creationId xmlns:a16="http://schemas.microsoft.com/office/drawing/2014/main" id="{B90BC85A-C83D-444E-971A-51DDEA2CE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9557" y="2492860"/>
              <a:ext cx="547149" cy="495425"/>
            </a:xfrm>
            <a:custGeom>
              <a:avLst/>
              <a:gdLst>
                <a:gd name="T0" fmla="*/ 84 w 2182"/>
                <a:gd name="T1" fmla="*/ 1805 h 2036"/>
                <a:gd name="T2" fmla="*/ 171 w 2182"/>
                <a:gd name="T3" fmla="*/ 1818 h 2036"/>
                <a:gd name="T4" fmla="*/ 230 w 2182"/>
                <a:gd name="T5" fmla="*/ 1849 h 2036"/>
                <a:gd name="T6" fmla="*/ 388 w 2182"/>
                <a:gd name="T7" fmla="*/ 1878 h 2036"/>
                <a:gd name="T8" fmla="*/ 535 w 2182"/>
                <a:gd name="T9" fmla="*/ 1948 h 2036"/>
                <a:gd name="T10" fmla="*/ 658 w 2182"/>
                <a:gd name="T11" fmla="*/ 1843 h 2036"/>
                <a:gd name="T12" fmla="*/ 703 w 2182"/>
                <a:gd name="T13" fmla="*/ 1767 h 2036"/>
                <a:gd name="T14" fmla="*/ 854 w 2182"/>
                <a:gd name="T15" fmla="*/ 1824 h 2036"/>
                <a:gd name="T16" fmla="*/ 1012 w 2182"/>
                <a:gd name="T17" fmla="*/ 1818 h 2036"/>
                <a:gd name="T18" fmla="*/ 1265 w 2182"/>
                <a:gd name="T19" fmla="*/ 1914 h 2036"/>
                <a:gd name="T20" fmla="*/ 1445 w 2182"/>
                <a:gd name="T21" fmla="*/ 2002 h 2036"/>
                <a:gd name="T22" fmla="*/ 1596 w 2182"/>
                <a:gd name="T23" fmla="*/ 2011 h 2036"/>
                <a:gd name="T24" fmla="*/ 1707 w 2182"/>
                <a:gd name="T25" fmla="*/ 2007 h 2036"/>
                <a:gd name="T26" fmla="*/ 1717 w 2182"/>
                <a:gd name="T27" fmla="*/ 1777 h 2036"/>
                <a:gd name="T28" fmla="*/ 1921 w 2182"/>
                <a:gd name="T29" fmla="*/ 1698 h 2036"/>
                <a:gd name="T30" fmla="*/ 1868 w 2182"/>
                <a:gd name="T31" fmla="*/ 1610 h 2036"/>
                <a:gd name="T32" fmla="*/ 1830 w 2182"/>
                <a:gd name="T33" fmla="*/ 1455 h 2036"/>
                <a:gd name="T34" fmla="*/ 1976 w 2182"/>
                <a:gd name="T35" fmla="*/ 1393 h 2036"/>
                <a:gd name="T36" fmla="*/ 2069 w 2182"/>
                <a:gd name="T37" fmla="*/ 1336 h 2036"/>
                <a:gd name="T38" fmla="*/ 2168 w 2182"/>
                <a:gd name="T39" fmla="*/ 1165 h 2036"/>
                <a:gd name="T40" fmla="*/ 2147 w 2182"/>
                <a:gd name="T41" fmla="*/ 1070 h 2036"/>
                <a:gd name="T42" fmla="*/ 1981 w 2182"/>
                <a:gd name="T43" fmla="*/ 980 h 2036"/>
                <a:gd name="T44" fmla="*/ 1886 w 2182"/>
                <a:gd name="T45" fmla="*/ 950 h 2036"/>
                <a:gd name="T46" fmla="*/ 1941 w 2182"/>
                <a:gd name="T47" fmla="*/ 892 h 2036"/>
                <a:gd name="T48" fmla="*/ 2060 w 2182"/>
                <a:gd name="T49" fmla="*/ 779 h 2036"/>
                <a:gd name="T50" fmla="*/ 2048 w 2182"/>
                <a:gd name="T51" fmla="*/ 661 h 2036"/>
                <a:gd name="T52" fmla="*/ 1968 w 2182"/>
                <a:gd name="T53" fmla="*/ 599 h 2036"/>
                <a:gd name="T54" fmla="*/ 1992 w 2182"/>
                <a:gd name="T55" fmla="*/ 459 h 2036"/>
                <a:gd name="T56" fmla="*/ 2031 w 2182"/>
                <a:gd name="T57" fmla="*/ 382 h 2036"/>
                <a:gd name="T58" fmla="*/ 1878 w 2182"/>
                <a:gd name="T59" fmla="*/ 344 h 2036"/>
                <a:gd name="T60" fmla="*/ 1772 w 2182"/>
                <a:gd name="T61" fmla="*/ 431 h 2036"/>
                <a:gd name="T62" fmla="*/ 1673 w 2182"/>
                <a:gd name="T63" fmla="*/ 327 h 2036"/>
                <a:gd name="T64" fmla="*/ 1505 w 2182"/>
                <a:gd name="T65" fmla="*/ 317 h 2036"/>
                <a:gd name="T66" fmla="*/ 1550 w 2182"/>
                <a:gd name="T67" fmla="*/ 262 h 2036"/>
                <a:gd name="T68" fmla="*/ 1592 w 2182"/>
                <a:gd name="T69" fmla="*/ 202 h 2036"/>
                <a:gd name="T70" fmla="*/ 1570 w 2182"/>
                <a:gd name="T71" fmla="*/ 138 h 2036"/>
                <a:gd name="T72" fmla="*/ 1535 w 2182"/>
                <a:gd name="T73" fmla="*/ 3 h 2036"/>
                <a:gd name="T74" fmla="*/ 1454 w 2182"/>
                <a:gd name="T75" fmla="*/ 67 h 2036"/>
                <a:gd name="T76" fmla="*/ 1359 w 2182"/>
                <a:gd name="T77" fmla="*/ 43 h 2036"/>
                <a:gd name="T78" fmla="*/ 1209 w 2182"/>
                <a:gd name="T79" fmla="*/ 140 h 2036"/>
                <a:gd name="T80" fmla="*/ 1202 w 2182"/>
                <a:gd name="T81" fmla="*/ 221 h 2036"/>
                <a:gd name="T82" fmla="*/ 1141 w 2182"/>
                <a:gd name="T83" fmla="*/ 306 h 2036"/>
                <a:gd name="T84" fmla="*/ 1117 w 2182"/>
                <a:gd name="T85" fmla="*/ 392 h 2036"/>
                <a:gd name="T86" fmla="*/ 1014 w 2182"/>
                <a:gd name="T87" fmla="*/ 494 h 2036"/>
                <a:gd name="T88" fmla="*/ 975 w 2182"/>
                <a:gd name="T89" fmla="*/ 676 h 2036"/>
                <a:gd name="T90" fmla="*/ 894 w 2182"/>
                <a:gd name="T91" fmla="*/ 740 h 2036"/>
                <a:gd name="T92" fmla="*/ 813 w 2182"/>
                <a:gd name="T93" fmla="*/ 661 h 2036"/>
                <a:gd name="T94" fmla="*/ 748 w 2182"/>
                <a:gd name="T95" fmla="*/ 664 h 2036"/>
                <a:gd name="T96" fmla="*/ 663 w 2182"/>
                <a:gd name="T97" fmla="*/ 605 h 2036"/>
                <a:gd name="T98" fmla="*/ 500 w 2182"/>
                <a:gd name="T99" fmla="*/ 644 h 2036"/>
                <a:gd name="T100" fmla="*/ 510 w 2182"/>
                <a:gd name="T101" fmla="*/ 688 h 2036"/>
                <a:gd name="T102" fmla="*/ 546 w 2182"/>
                <a:gd name="T103" fmla="*/ 733 h 2036"/>
                <a:gd name="T104" fmla="*/ 506 w 2182"/>
                <a:gd name="T105" fmla="*/ 894 h 2036"/>
                <a:gd name="T106" fmla="*/ 478 w 2182"/>
                <a:gd name="T107" fmla="*/ 969 h 2036"/>
                <a:gd name="T108" fmla="*/ 503 w 2182"/>
                <a:gd name="T109" fmla="*/ 1166 h 2036"/>
                <a:gd name="T110" fmla="*/ 420 w 2182"/>
                <a:gd name="T111" fmla="*/ 1269 h 2036"/>
                <a:gd name="T112" fmla="*/ 287 w 2182"/>
                <a:gd name="T113" fmla="*/ 1308 h 2036"/>
                <a:gd name="T114" fmla="*/ 144 w 2182"/>
                <a:gd name="T115" fmla="*/ 1282 h 2036"/>
                <a:gd name="T116" fmla="*/ 84 w 2182"/>
                <a:gd name="T117" fmla="*/ 1345 h 2036"/>
                <a:gd name="T118" fmla="*/ 210 w 2182"/>
                <a:gd name="T119" fmla="*/ 1460 h 2036"/>
                <a:gd name="T120" fmla="*/ 52 w 2182"/>
                <a:gd name="T121" fmla="*/ 1536 h 2036"/>
                <a:gd name="T122" fmla="*/ 29 w 2182"/>
                <a:gd name="T123" fmla="*/ 1649 h 2036"/>
                <a:gd name="T124" fmla="*/ 1 w 2182"/>
                <a:gd name="T125" fmla="*/ 1780 h 2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82" h="2036">
                  <a:moveTo>
                    <a:pt x="1" y="1780"/>
                  </a:moveTo>
                  <a:lnTo>
                    <a:pt x="8" y="1849"/>
                  </a:lnTo>
                  <a:lnTo>
                    <a:pt x="13" y="1860"/>
                  </a:lnTo>
                  <a:lnTo>
                    <a:pt x="19" y="1867"/>
                  </a:lnTo>
                  <a:lnTo>
                    <a:pt x="21" y="1869"/>
                  </a:lnTo>
                  <a:lnTo>
                    <a:pt x="25" y="1870"/>
                  </a:lnTo>
                  <a:lnTo>
                    <a:pt x="28" y="1871"/>
                  </a:lnTo>
                  <a:lnTo>
                    <a:pt x="30" y="1871"/>
                  </a:lnTo>
                  <a:lnTo>
                    <a:pt x="35" y="1869"/>
                  </a:lnTo>
                  <a:lnTo>
                    <a:pt x="41" y="1866"/>
                  </a:lnTo>
                  <a:lnTo>
                    <a:pt x="46" y="1860"/>
                  </a:lnTo>
                  <a:lnTo>
                    <a:pt x="52" y="1853"/>
                  </a:lnTo>
                  <a:lnTo>
                    <a:pt x="62" y="1837"/>
                  </a:lnTo>
                  <a:lnTo>
                    <a:pt x="73" y="1820"/>
                  </a:lnTo>
                  <a:lnTo>
                    <a:pt x="78" y="1812"/>
                  </a:lnTo>
                  <a:lnTo>
                    <a:pt x="84" y="1805"/>
                  </a:lnTo>
                  <a:lnTo>
                    <a:pt x="89" y="1799"/>
                  </a:lnTo>
                  <a:lnTo>
                    <a:pt x="94" y="1796"/>
                  </a:lnTo>
                  <a:lnTo>
                    <a:pt x="104" y="1792"/>
                  </a:lnTo>
                  <a:lnTo>
                    <a:pt x="112" y="1789"/>
                  </a:lnTo>
                  <a:lnTo>
                    <a:pt x="119" y="1787"/>
                  </a:lnTo>
                  <a:lnTo>
                    <a:pt x="127" y="1786"/>
                  </a:lnTo>
                  <a:lnTo>
                    <a:pt x="133" y="1785"/>
                  </a:lnTo>
                  <a:lnTo>
                    <a:pt x="139" y="1786"/>
                  </a:lnTo>
                  <a:lnTo>
                    <a:pt x="144" y="1787"/>
                  </a:lnTo>
                  <a:lnTo>
                    <a:pt x="150" y="1789"/>
                  </a:lnTo>
                  <a:lnTo>
                    <a:pt x="154" y="1792"/>
                  </a:lnTo>
                  <a:lnTo>
                    <a:pt x="158" y="1795"/>
                  </a:lnTo>
                  <a:lnTo>
                    <a:pt x="161" y="1799"/>
                  </a:lnTo>
                  <a:lnTo>
                    <a:pt x="165" y="1805"/>
                  </a:lnTo>
                  <a:lnTo>
                    <a:pt x="167" y="1812"/>
                  </a:lnTo>
                  <a:lnTo>
                    <a:pt x="171" y="1818"/>
                  </a:lnTo>
                  <a:lnTo>
                    <a:pt x="173" y="1826"/>
                  </a:lnTo>
                  <a:lnTo>
                    <a:pt x="175" y="1835"/>
                  </a:lnTo>
                  <a:lnTo>
                    <a:pt x="179" y="1853"/>
                  </a:lnTo>
                  <a:lnTo>
                    <a:pt x="183" y="1867"/>
                  </a:lnTo>
                  <a:lnTo>
                    <a:pt x="186" y="1872"/>
                  </a:lnTo>
                  <a:lnTo>
                    <a:pt x="188" y="1875"/>
                  </a:lnTo>
                  <a:lnTo>
                    <a:pt x="190" y="1878"/>
                  </a:lnTo>
                  <a:lnTo>
                    <a:pt x="192" y="1879"/>
                  </a:lnTo>
                  <a:lnTo>
                    <a:pt x="196" y="1881"/>
                  </a:lnTo>
                  <a:lnTo>
                    <a:pt x="198" y="1879"/>
                  </a:lnTo>
                  <a:lnTo>
                    <a:pt x="201" y="1878"/>
                  </a:lnTo>
                  <a:lnTo>
                    <a:pt x="203" y="1877"/>
                  </a:lnTo>
                  <a:lnTo>
                    <a:pt x="209" y="1872"/>
                  </a:lnTo>
                  <a:lnTo>
                    <a:pt x="215" y="1865"/>
                  </a:lnTo>
                  <a:lnTo>
                    <a:pt x="223" y="1858"/>
                  </a:lnTo>
                  <a:lnTo>
                    <a:pt x="230" y="1849"/>
                  </a:lnTo>
                  <a:lnTo>
                    <a:pt x="238" y="1842"/>
                  </a:lnTo>
                  <a:lnTo>
                    <a:pt x="248" y="1835"/>
                  </a:lnTo>
                  <a:lnTo>
                    <a:pt x="253" y="1833"/>
                  </a:lnTo>
                  <a:lnTo>
                    <a:pt x="258" y="1830"/>
                  </a:lnTo>
                  <a:lnTo>
                    <a:pt x="263" y="1828"/>
                  </a:lnTo>
                  <a:lnTo>
                    <a:pt x="270" y="1827"/>
                  </a:lnTo>
                  <a:lnTo>
                    <a:pt x="276" y="1827"/>
                  </a:lnTo>
                  <a:lnTo>
                    <a:pt x="282" y="1827"/>
                  </a:lnTo>
                  <a:lnTo>
                    <a:pt x="289" y="1829"/>
                  </a:lnTo>
                  <a:lnTo>
                    <a:pt x="297" y="1831"/>
                  </a:lnTo>
                  <a:lnTo>
                    <a:pt x="319" y="1843"/>
                  </a:lnTo>
                  <a:lnTo>
                    <a:pt x="344" y="1858"/>
                  </a:lnTo>
                  <a:lnTo>
                    <a:pt x="356" y="1865"/>
                  </a:lnTo>
                  <a:lnTo>
                    <a:pt x="368" y="1871"/>
                  </a:lnTo>
                  <a:lnTo>
                    <a:pt x="379" y="1876"/>
                  </a:lnTo>
                  <a:lnTo>
                    <a:pt x="388" y="1878"/>
                  </a:lnTo>
                  <a:lnTo>
                    <a:pt x="404" y="1881"/>
                  </a:lnTo>
                  <a:lnTo>
                    <a:pt x="419" y="1882"/>
                  </a:lnTo>
                  <a:lnTo>
                    <a:pt x="433" y="1882"/>
                  </a:lnTo>
                  <a:lnTo>
                    <a:pt x="448" y="1882"/>
                  </a:lnTo>
                  <a:lnTo>
                    <a:pt x="478" y="1881"/>
                  </a:lnTo>
                  <a:lnTo>
                    <a:pt x="507" y="1879"/>
                  </a:lnTo>
                  <a:lnTo>
                    <a:pt x="508" y="1881"/>
                  </a:lnTo>
                  <a:lnTo>
                    <a:pt x="509" y="1882"/>
                  </a:lnTo>
                  <a:lnTo>
                    <a:pt x="509" y="1896"/>
                  </a:lnTo>
                  <a:lnTo>
                    <a:pt x="511" y="1910"/>
                  </a:lnTo>
                  <a:lnTo>
                    <a:pt x="514" y="1920"/>
                  </a:lnTo>
                  <a:lnTo>
                    <a:pt x="516" y="1930"/>
                  </a:lnTo>
                  <a:lnTo>
                    <a:pt x="520" y="1937"/>
                  </a:lnTo>
                  <a:lnTo>
                    <a:pt x="524" y="1942"/>
                  </a:lnTo>
                  <a:lnTo>
                    <a:pt x="529" y="1946"/>
                  </a:lnTo>
                  <a:lnTo>
                    <a:pt x="535" y="1948"/>
                  </a:lnTo>
                  <a:lnTo>
                    <a:pt x="542" y="1948"/>
                  </a:lnTo>
                  <a:lnTo>
                    <a:pt x="548" y="1947"/>
                  </a:lnTo>
                  <a:lnTo>
                    <a:pt x="555" y="1944"/>
                  </a:lnTo>
                  <a:lnTo>
                    <a:pt x="564" y="1939"/>
                  </a:lnTo>
                  <a:lnTo>
                    <a:pt x="572" y="1933"/>
                  </a:lnTo>
                  <a:lnTo>
                    <a:pt x="580" y="1925"/>
                  </a:lnTo>
                  <a:lnTo>
                    <a:pt x="590" y="1916"/>
                  </a:lnTo>
                  <a:lnTo>
                    <a:pt x="599" y="1906"/>
                  </a:lnTo>
                  <a:lnTo>
                    <a:pt x="615" y="1891"/>
                  </a:lnTo>
                  <a:lnTo>
                    <a:pt x="632" y="1876"/>
                  </a:lnTo>
                  <a:lnTo>
                    <a:pt x="641" y="1869"/>
                  </a:lnTo>
                  <a:lnTo>
                    <a:pt x="648" y="1862"/>
                  </a:lnTo>
                  <a:lnTo>
                    <a:pt x="651" y="1858"/>
                  </a:lnTo>
                  <a:lnTo>
                    <a:pt x="654" y="1852"/>
                  </a:lnTo>
                  <a:lnTo>
                    <a:pt x="656" y="1848"/>
                  </a:lnTo>
                  <a:lnTo>
                    <a:pt x="658" y="1843"/>
                  </a:lnTo>
                  <a:lnTo>
                    <a:pt x="658" y="1839"/>
                  </a:lnTo>
                  <a:lnTo>
                    <a:pt x="658" y="1836"/>
                  </a:lnTo>
                  <a:lnTo>
                    <a:pt x="658" y="1831"/>
                  </a:lnTo>
                  <a:lnTo>
                    <a:pt x="657" y="1827"/>
                  </a:lnTo>
                  <a:lnTo>
                    <a:pt x="654" y="1821"/>
                  </a:lnTo>
                  <a:lnTo>
                    <a:pt x="650" y="1814"/>
                  </a:lnTo>
                  <a:lnTo>
                    <a:pt x="646" y="1805"/>
                  </a:lnTo>
                  <a:lnTo>
                    <a:pt x="644" y="1797"/>
                  </a:lnTo>
                  <a:lnTo>
                    <a:pt x="643" y="1792"/>
                  </a:lnTo>
                  <a:lnTo>
                    <a:pt x="643" y="1787"/>
                  </a:lnTo>
                  <a:lnTo>
                    <a:pt x="643" y="1781"/>
                  </a:lnTo>
                  <a:lnTo>
                    <a:pt x="645" y="1775"/>
                  </a:lnTo>
                  <a:lnTo>
                    <a:pt x="660" y="1771"/>
                  </a:lnTo>
                  <a:lnTo>
                    <a:pt x="675" y="1768"/>
                  </a:lnTo>
                  <a:lnTo>
                    <a:pt x="690" y="1767"/>
                  </a:lnTo>
                  <a:lnTo>
                    <a:pt x="703" y="1767"/>
                  </a:lnTo>
                  <a:lnTo>
                    <a:pt x="733" y="1769"/>
                  </a:lnTo>
                  <a:lnTo>
                    <a:pt x="763" y="1770"/>
                  </a:lnTo>
                  <a:lnTo>
                    <a:pt x="770" y="1771"/>
                  </a:lnTo>
                  <a:lnTo>
                    <a:pt x="775" y="1773"/>
                  </a:lnTo>
                  <a:lnTo>
                    <a:pt x="780" y="1776"/>
                  </a:lnTo>
                  <a:lnTo>
                    <a:pt x="785" y="1780"/>
                  </a:lnTo>
                  <a:lnTo>
                    <a:pt x="793" y="1790"/>
                  </a:lnTo>
                  <a:lnTo>
                    <a:pt x="800" y="1801"/>
                  </a:lnTo>
                  <a:lnTo>
                    <a:pt x="803" y="1806"/>
                  </a:lnTo>
                  <a:lnTo>
                    <a:pt x="809" y="1812"/>
                  </a:lnTo>
                  <a:lnTo>
                    <a:pt x="813" y="1816"/>
                  </a:lnTo>
                  <a:lnTo>
                    <a:pt x="819" y="1820"/>
                  </a:lnTo>
                  <a:lnTo>
                    <a:pt x="826" y="1823"/>
                  </a:lnTo>
                  <a:lnTo>
                    <a:pt x="834" y="1824"/>
                  </a:lnTo>
                  <a:lnTo>
                    <a:pt x="843" y="1825"/>
                  </a:lnTo>
                  <a:lnTo>
                    <a:pt x="854" y="1824"/>
                  </a:lnTo>
                  <a:lnTo>
                    <a:pt x="863" y="1822"/>
                  </a:lnTo>
                  <a:lnTo>
                    <a:pt x="871" y="1819"/>
                  </a:lnTo>
                  <a:lnTo>
                    <a:pt x="880" y="1816"/>
                  </a:lnTo>
                  <a:lnTo>
                    <a:pt x="889" y="1812"/>
                  </a:lnTo>
                  <a:lnTo>
                    <a:pt x="907" y="1802"/>
                  </a:lnTo>
                  <a:lnTo>
                    <a:pt x="924" y="1792"/>
                  </a:lnTo>
                  <a:lnTo>
                    <a:pt x="941" y="1781"/>
                  </a:lnTo>
                  <a:lnTo>
                    <a:pt x="958" y="1773"/>
                  </a:lnTo>
                  <a:lnTo>
                    <a:pt x="965" y="1770"/>
                  </a:lnTo>
                  <a:lnTo>
                    <a:pt x="972" y="1767"/>
                  </a:lnTo>
                  <a:lnTo>
                    <a:pt x="979" y="1766"/>
                  </a:lnTo>
                  <a:lnTo>
                    <a:pt x="985" y="1765"/>
                  </a:lnTo>
                  <a:lnTo>
                    <a:pt x="988" y="1775"/>
                  </a:lnTo>
                  <a:lnTo>
                    <a:pt x="994" y="1788"/>
                  </a:lnTo>
                  <a:lnTo>
                    <a:pt x="1003" y="1802"/>
                  </a:lnTo>
                  <a:lnTo>
                    <a:pt x="1012" y="1818"/>
                  </a:lnTo>
                  <a:lnTo>
                    <a:pt x="1031" y="1847"/>
                  </a:lnTo>
                  <a:lnTo>
                    <a:pt x="1045" y="1868"/>
                  </a:lnTo>
                  <a:lnTo>
                    <a:pt x="1051" y="1875"/>
                  </a:lnTo>
                  <a:lnTo>
                    <a:pt x="1057" y="1881"/>
                  </a:lnTo>
                  <a:lnTo>
                    <a:pt x="1064" y="1886"/>
                  </a:lnTo>
                  <a:lnTo>
                    <a:pt x="1071" y="1890"/>
                  </a:lnTo>
                  <a:lnTo>
                    <a:pt x="1079" y="1894"/>
                  </a:lnTo>
                  <a:lnTo>
                    <a:pt x="1086" y="1897"/>
                  </a:lnTo>
                  <a:lnTo>
                    <a:pt x="1094" y="1899"/>
                  </a:lnTo>
                  <a:lnTo>
                    <a:pt x="1104" y="1902"/>
                  </a:lnTo>
                  <a:lnTo>
                    <a:pt x="1121" y="1906"/>
                  </a:lnTo>
                  <a:lnTo>
                    <a:pt x="1141" y="1909"/>
                  </a:lnTo>
                  <a:lnTo>
                    <a:pt x="1161" y="1910"/>
                  </a:lnTo>
                  <a:lnTo>
                    <a:pt x="1182" y="1911"/>
                  </a:lnTo>
                  <a:lnTo>
                    <a:pt x="1224" y="1912"/>
                  </a:lnTo>
                  <a:lnTo>
                    <a:pt x="1265" y="1914"/>
                  </a:lnTo>
                  <a:lnTo>
                    <a:pt x="1285" y="1917"/>
                  </a:lnTo>
                  <a:lnTo>
                    <a:pt x="1305" y="1921"/>
                  </a:lnTo>
                  <a:lnTo>
                    <a:pt x="1313" y="1923"/>
                  </a:lnTo>
                  <a:lnTo>
                    <a:pt x="1323" y="1926"/>
                  </a:lnTo>
                  <a:lnTo>
                    <a:pt x="1331" y="1930"/>
                  </a:lnTo>
                  <a:lnTo>
                    <a:pt x="1339" y="1934"/>
                  </a:lnTo>
                  <a:lnTo>
                    <a:pt x="1353" y="1942"/>
                  </a:lnTo>
                  <a:lnTo>
                    <a:pt x="1365" y="1951"/>
                  </a:lnTo>
                  <a:lnTo>
                    <a:pt x="1378" y="1961"/>
                  </a:lnTo>
                  <a:lnTo>
                    <a:pt x="1390" y="1971"/>
                  </a:lnTo>
                  <a:lnTo>
                    <a:pt x="1404" y="1981"/>
                  </a:lnTo>
                  <a:lnTo>
                    <a:pt x="1416" y="1989"/>
                  </a:lnTo>
                  <a:lnTo>
                    <a:pt x="1424" y="1993"/>
                  </a:lnTo>
                  <a:lnTo>
                    <a:pt x="1430" y="1996"/>
                  </a:lnTo>
                  <a:lnTo>
                    <a:pt x="1437" y="1999"/>
                  </a:lnTo>
                  <a:lnTo>
                    <a:pt x="1445" y="2002"/>
                  </a:lnTo>
                  <a:lnTo>
                    <a:pt x="1453" y="2003"/>
                  </a:lnTo>
                  <a:lnTo>
                    <a:pt x="1461" y="2002"/>
                  </a:lnTo>
                  <a:lnTo>
                    <a:pt x="1471" y="2000"/>
                  </a:lnTo>
                  <a:lnTo>
                    <a:pt x="1479" y="1997"/>
                  </a:lnTo>
                  <a:lnTo>
                    <a:pt x="1487" y="1994"/>
                  </a:lnTo>
                  <a:lnTo>
                    <a:pt x="1496" y="1992"/>
                  </a:lnTo>
                  <a:lnTo>
                    <a:pt x="1505" y="1989"/>
                  </a:lnTo>
                  <a:lnTo>
                    <a:pt x="1513" y="1988"/>
                  </a:lnTo>
                  <a:lnTo>
                    <a:pt x="1523" y="1988"/>
                  </a:lnTo>
                  <a:lnTo>
                    <a:pt x="1532" y="1989"/>
                  </a:lnTo>
                  <a:lnTo>
                    <a:pt x="1541" y="1990"/>
                  </a:lnTo>
                  <a:lnTo>
                    <a:pt x="1550" y="1992"/>
                  </a:lnTo>
                  <a:lnTo>
                    <a:pt x="1567" y="1996"/>
                  </a:lnTo>
                  <a:lnTo>
                    <a:pt x="1585" y="2003"/>
                  </a:lnTo>
                  <a:lnTo>
                    <a:pt x="1591" y="2006"/>
                  </a:lnTo>
                  <a:lnTo>
                    <a:pt x="1596" y="2011"/>
                  </a:lnTo>
                  <a:lnTo>
                    <a:pt x="1601" y="2016"/>
                  </a:lnTo>
                  <a:lnTo>
                    <a:pt x="1605" y="2021"/>
                  </a:lnTo>
                  <a:lnTo>
                    <a:pt x="1608" y="2023"/>
                  </a:lnTo>
                  <a:lnTo>
                    <a:pt x="1610" y="2026"/>
                  </a:lnTo>
                  <a:lnTo>
                    <a:pt x="1615" y="2029"/>
                  </a:lnTo>
                  <a:lnTo>
                    <a:pt x="1619" y="2032"/>
                  </a:lnTo>
                  <a:lnTo>
                    <a:pt x="1624" y="2034"/>
                  </a:lnTo>
                  <a:lnTo>
                    <a:pt x="1629" y="2035"/>
                  </a:lnTo>
                  <a:lnTo>
                    <a:pt x="1642" y="2036"/>
                  </a:lnTo>
                  <a:lnTo>
                    <a:pt x="1655" y="2035"/>
                  </a:lnTo>
                  <a:lnTo>
                    <a:pt x="1681" y="2030"/>
                  </a:lnTo>
                  <a:lnTo>
                    <a:pt x="1702" y="2022"/>
                  </a:lnTo>
                  <a:lnTo>
                    <a:pt x="1702" y="2022"/>
                  </a:lnTo>
                  <a:lnTo>
                    <a:pt x="1702" y="2018"/>
                  </a:lnTo>
                  <a:lnTo>
                    <a:pt x="1704" y="2013"/>
                  </a:lnTo>
                  <a:lnTo>
                    <a:pt x="1707" y="2007"/>
                  </a:lnTo>
                  <a:lnTo>
                    <a:pt x="1711" y="2000"/>
                  </a:lnTo>
                  <a:lnTo>
                    <a:pt x="1717" y="1987"/>
                  </a:lnTo>
                  <a:lnTo>
                    <a:pt x="1722" y="1974"/>
                  </a:lnTo>
                  <a:lnTo>
                    <a:pt x="1727" y="1957"/>
                  </a:lnTo>
                  <a:lnTo>
                    <a:pt x="1733" y="1940"/>
                  </a:lnTo>
                  <a:lnTo>
                    <a:pt x="1740" y="1923"/>
                  </a:lnTo>
                  <a:lnTo>
                    <a:pt x="1744" y="1907"/>
                  </a:lnTo>
                  <a:lnTo>
                    <a:pt x="1745" y="1896"/>
                  </a:lnTo>
                  <a:lnTo>
                    <a:pt x="1745" y="1886"/>
                  </a:lnTo>
                  <a:lnTo>
                    <a:pt x="1745" y="1876"/>
                  </a:lnTo>
                  <a:lnTo>
                    <a:pt x="1744" y="1867"/>
                  </a:lnTo>
                  <a:lnTo>
                    <a:pt x="1740" y="1848"/>
                  </a:lnTo>
                  <a:lnTo>
                    <a:pt x="1734" y="1830"/>
                  </a:lnTo>
                  <a:lnTo>
                    <a:pt x="1729" y="1814"/>
                  </a:lnTo>
                  <a:lnTo>
                    <a:pt x="1722" y="1796"/>
                  </a:lnTo>
                  <a:lnTo>
                    <a:pt x="1717" y="1777"/>
                  </a:lnTo>
                  <a:lnTo>
                    <a:pt x="1712" y="1758"/>
                  </a:lnTo>
                  <a:lnTo>
                    <a:pt x="1737" y="1757"/>
                  </a:lnTo>
                  <a:lnTo>
                    <a:pt x="1763" y="1756"/>
                  </a:lnTo>
                  <a:lnTo>
                    <a:pt x="1789" y="1755"/>
                  </a:lnTo>
                  <a:lnTo>
                    <a:pt x="1815" y="1751"/>
                  </a:lnTo>
                  <a:lnTo>
                    <a:pt x="1827" y="1749"/>
                  </a:lnTo>
                  <a:lnTo>
                    <a:pt x="1840" y="1746"/>
                  </a:lnTo>
                  <a:lnTo>
                    <a:pt x="1852" y="1743"/>
                  </a:lnTo>
                  <a:lnTo>
                    <a:pt x="1865" y="1739"/>
                  </a:lnTo>
                  <a:lnTo>
                    <a:pt x="1876" y="1733"/>
                  </a:lnTo>
                  <a:lnTo>
                    <a:pt x="1887" y="1728"/>
                  </a:lnTo>
                  <a:lnTo>
                    <a:pt x="1897" y="1721"/>
                  </a:lnTo>
                  <a:lnTo>
                    <a:pt x="1908" y="1714"/>
                  </a:lnTo>
                  <a:lnTo>
                    <a:pt x="1913" y="1708"/>
                  </a:lnTo>
                  <a:lnTo>
                    <a:pt x="1918" y="1703"/>
                  </a:lnTo>
                  <a:lnTo>
                    <a:pt x="1921" y="1698"/>
                  </a:lnTo>
                  <a:lnTo>
                    <a:pt x="1925" y="1692"/>
                  </a:lnTo>
                  <a:lnTo>
                    <a:pt x="1927" y="1686"/>
                  </a:lnTo>
                  <a:lnTo>
                    <a:pt x="1929" y="1680"/>
                  </a:lnTo>
                  <a:lnTo>
                    <a:pt x="1931" y="1675"/>
                  </a:lnTo>
                  <a:lnTo>
                    <a:pt x="1931" y="1669"/>
                  </a:lnTo>
                  <a:lnTo>
                    <a:pt x="1931" y="1664"/>
                  </a:lnTo>
                  <a:lnTo>
                    <a:pt x="1929" y="1658"/>
                  </a:lnTo>
                  <a:lnTo>
                    <a:pt x="1927" y="1652"/>
                  </a:lnTo>
                  <a:lnTo>
                    <a:pt x="1925" y="1647"/>
                  </a:lnTo>
                  <a:lnTo>
                    <a:pt x="1921" y="1642"/>
                  </a:lnTo>
                  <a:lnTo>
                    <a:pt x="1917" y="1637"/>
                  </a:lnTo>
                  <a:lnTo>
                    <a:pt x="1912" y="1633"/>
                  </a:lnTo>
                  <a:lnTo>
                    <a:pt x="1907" y="1628"/>
                  </a:lnTo>
                  <a:lnTo>
                    <a:pt x="1894" y="1622"/>
                  </a:lnTo>
                  <a:lnTo>
                    <a:pt x="1882" y="1616"/>
                  </a:lnTo>
                  <a:lnTo>
                    <a:pt x="1868" y="1610"/>
                  </a:lnTo>
                  <a:lnTo>
                    <a:pt x="1855" y="1603"/>
                  </a:lnTo>
                  <a:lnTo>
                    <a:pt x="1847" y="1596"/>
                  </a:lnTo>
                  <a:lnTo>
                    <a:pt x="1839" y="1587"/>
                  </a:lnTo>
                  <a:lnTo>
                    <a:pt x="1831" y="1579"/>
                  </a:lnTo>
                  <a:lnTo>
                    <a:pt x="1825" y="1570"/>
                  </a:lnTo>
                  <a:lnTo>
                    <a:pt x="1825" y="1549"/>
                  </a:lnTo>
                  <a:lnTo>
                    <a:pt x="1827" y="1524"/>
                  </a:lnTo>
                  <a:lnTo>
                    <a:pt x="1827" y="1511"/>
                  </a:lnTo>
                  <a:lnTo>
                    <a:pt x="1826" y="1500"/>
                  </a:lnTo>
                  <a:lnTo>
                    <a:pt x="1825" y="1488"/>
                  </a:lnTo>
                  <a:lnTo>
                    <a:pt x="1822" y="1477"/>
                  </a:lnTo>
                  <a:lnTo>
                    <a:pt x="1822" y="1473"/>
                  </a:lnTo>
                  <a:lnTo>
                    <a:pt x="1823" y="1468"/>
                  </a:lnTo>
                  <a:lnTo>
                    <a:pt x="1824" y="1464"/>
                  </a:lnTo>
                  <a:lnTo>
                    <a:pt x="1826" y="1460"/>
                  </a:lnTo>
                  <a:lnTo>
                    <a:pt x="1830" y="1455"/>
                  </a:lnTo>
                  <a:lnTo>
                    <a:pt x="1836" y="1450"/>
                  </a:lnTo>
                  <a:lnTo>
                    <a:pt x="1843" y="1447"/>
                  </a:lnTo>
                  <a:lnTo>
                    <a:pt x="1850" y="1443"/>
                  </a:lnTo>
                  <a:lnTo>
                    <a:pt x="1860" y="1441"/>
                  </a:lnTo>
                  <a:lnTo>
                    <a:pt x="1869" y="1440"/>
                  </a:lnTo>
                  <a:lnTo>
                    <a:pt x="1888" y="1439"/>
                  </a:lnTo>
                  <a:lnTo>
                    <a:pt x="1908" y="1439"/>
                  </a:lnTo>
                  <a:lnTo>
                    <a:pt x="1926" y="1438"/>
                  </a:lnTo>
                  <a:lnTo>
                    <a:pt x="1941" y="1436"/>
                  </a:lnTo>
                  <a:lnTo>
                    <a:pt x="1950" y="1433"/>
                  </a:lnTo>
                  <a:lnTo>
                    <a:pt x="1958" y="1428"/>
                  </a:lnTo>
                  <a:lnTo>
                    <a:pt x="1963" y="1423"/>
                  </a:lnTo>
                  <a:lnTo>
                    <a:pt x="1968" y="1415"/>
                  </a:lnTo>
                  <a:lnTo>
                    <a:pt x="1971" y="1408"/>
                  </a:lnTo>
                  <a:lnTo>
                    <a:pt x="1974" y="1401"/>
                  </a:lnTo>
                  <a:lnTo>
                    <a:pt x="1976" y="1393"/>
                  </a:lnTo>
                  <a:lnTo>
                    <a:pt x="1977" y="1385"/>
                  </a:lnTo>
                  <a:lnTo>
                    <a:pt x="1980" y="1370"/>
                  </a:lnTo>
                  <a:lnTo>
                    <a:pt x="1982" y="1358"/>
                  </a:lnTo>
                  <a:lnTo>
                    <a:pt x="1983" y="1353"/>
                  </a:lnTo>
                  <a:lnTo>
                    <a:pt x="1985" y="1348"/>
                  </a:lnTo>
                  <a:lnTo>
                    <a:pt x="1988" y="1346"/>
                  </a:lnTo>
                  <a:lnTo>
                    <a:pt x="1991" y="1345"/>
                  </a:lnTo>
                  <a:lnTo>
                    <a:pt x="2013" y="1347"/>
                  </a:lnTo>
                  <a:lnTo>
                    <a:pt x="2036" y="1349"/>
                  </a:lnTo>
                  <a:lnTo>
                    <a:pt x="2042" y="1349"/>
                  </a:lnTo>
                  <a:lnTo>
                    <a:pt x="2047" y="1349"/>
                  </a:lnTo>
                  <a:lnTo>
                    <a:pt x="2053" y="1347"/>
                  </a:lnTo>
                  <a:lnTo>
                    <a:pt x="2057" y="1346"/>
                  </a:lnTo>
                  <a:lnTo>
                    <a:pt x="2062" y="1343"/>
                  </a:lnTo>
                  <a:lnTo>
                    <a:pt x="2066" y="1340"/>
                  </a:lnTo>
                  <a:lnTo>
                    <a:pt x="2069" y="1336"/>
                  </a:lnTo>
                  <a:lnTo>
                    <a:pt x="2072" y="1331"/>
                  </a:lnTo>
                  <a:lnTo>
                    <a:pt x="2079" y="1315"/>
                  </a:lnTo>
                  <a:lnTo>
                    <a:pt x="2083" y="1302"/>
                  </a:lnTo>
                  <a:lnTo>
                    <a:pt x="2085" y="1288"/>
                  </a:lnTo>
                  <a:lnTo>
                    <a:pt x="2088" y="1276"/>
                  </a:lnTo>
                  <a:lnTo>
                    <a:pt x="2091" y="1265"/>
                  </a:lnTo>
                  <a:lnTo>
                    <a:pt x="2096" y="1252"/>
                  </a:lnTo>
                  <a:lnTo>
                    <a:pt x="2099" y="1247"/>
                  </a:lnTo>
                  <a:lnTo>
                    <a:pt x="2105" y="1240"/>
                  </a:lnTo>
                  <a:lnTo>
                    <a:pt x="2110" y="1234"/>
                  </a:lnTo>
                  <a:lnTo>
                    <a:pt x="2117" y="1227"/>
                  </a:lnTo>
                  <a:lnTo>
                    <a:pt x="2130" y="1216"/>
                  </a:lnTo>
                  <a:lnTo>
                    <a:pt x="2147" y="1201"/>
                  </a:lnTo>
                  <a:lnTo>
                    <a:pt x="2166" y="1186"/>
                  </a:lnTo>
                  <a:lnTo>
                    <a:pt x="2182" y="1170"/>
                  </a:lnTo>
                  <a:lnTo>
                    <a:pt x="2168" y="1165"/>
                  </a:lnTo>
                  <a:lnTo>
                    <a:pt x="2158" y="1160"/>
                  </a:lnTo>
                  <a:lnTo>
                    <a:pt x="2155" y="1156"/>
                  </a:lnTo>
                  <a:lnTo>
                    <a:pt x="2152" y="1153"/>
                  </a:lnTo>
                  <a:lnTo>
                    <a:pt x="2149" y="1150"/>
                  </a:lnTo>
                  <a:lnTo>
                    <a:pt x="2147" y="1147"/>
                  </a:lnTo>
                  <a:lnTo>
                    <a:pt x="2145" y="1141"/>
                  </a:lnTo>
                  <a:lnTo>
                    <a:pt x="2145" y="1135"/>
                  </a:lnTo>
                  <a:lnTo>
                    <a:pt x="2145" y="1127"/>
                  </a:lnTo>
                  <a:lnTo>
                    <a:pt x="2147" y="1121"/>
                  </a:lnTo>
                  <a:lnTo>
                    <a:pt x="2149" y="1114"/>
                  </a:lnTo>
                  <a:lnTo>
                    <a:pt x="2152" y="1105"/>
                  </a:lnTo>
                  <a:lnTo>
                    <a:pt x="2153" y="1098"/>
                  </a:lnTo>
                  <a:lnTo>
                    <a:pt x="2154" y="1090"/>
                  </a:lnTo>
                  <a:lnTo>
                    <a:pt x="2153" y="1082"/>
                  </a:lnTo>
                  <a:lnTo>
                    <a:pt x="2149" y="1074"/>
                  </a:lnTo>
                  <a:lnTo>
                    <a:pt x="2147" y="1070"/>
                  </a:lnTo>
                  <a:lnTo>
                    <a:pt x="2144" y="1066"/>
                  </a:lnTo>
                  <a:lnTo>
                    <a:pt x="2141" y="1062"/>
                  </a:lnTo>
                  <a:lnTo>
                    <a:pt x="2137" y="1056"/>
                  </a:lnTo>
                  <a:lnTo>
                    <a:pt x="2131" y="1051"/>
                  </a:lnTo>
                  <a:lnTo>
                    <a:pt x="2123" y="1047"/>
                  </a:lnTo>
                  <a:lnTo>
                    <a:pt x="2116" y="1042"/>
                  </a:lnTo>
                  <a:lnTo>
                    <a:pt x="2108" y="1038"/>
                  </a:lnTo>
                  <a:lnTo>
                    <a:pt x="2089" y="1029"/>
                  </a:lnTo>
                  <a:lnTo>
                    <a:pt x="2070" y="1021"/>
                  </a:lnTo>
                  <a:lnTo>
                    <a:pt x="2031" y="1008"/>
                  </a:lnTo>
                  <a:lnTo>
                    <a:pt x="1996" y="997"/>
                  </a:lnTo>
                  <a:lnTo>
                    <a:pt x="1992" y="995"/>
                  </a:lnTo>
                  <a:lnTo>
                    <a:pt x="1989" y="993"/>
                  </a:lnTo>
                  <a:lnTo>
                    <a:pt x="1986" y="990"/>
                  </a:lnTo>
                  <a:lnTo>
                    <a:pt x="1984" y="986"/>
                  </a:lnTo>
                  <a:lnTo>
                    <a:pt x="1981" y="980"/>
                  </a:lnTo>
                  <a:lnTo>
                    <a:pt x="1978" y="973"/>
                  </a:lnTo>
                  <a:lnTo>
                    <a:pt x="1976" y="966"/>
                  </a:lnTo>
                  <a:lnTo>
                    <a:pt x="1973" y="959"/>
                  </a:lnTo>
                  <a:lnTo>
                    <a:pt x="1972" y="957"/>
                  </a:lnTo>
                  <a:lnTo>
                    <a:pt x="1970" y="954"/>
                  </a:lnTo>
                  <a:lnTo>
                    <a:pt x="1967" y="952"/>
                  </a:lnTo>
                  <a:lnTo>
                    <a:pt x="1964" y="951"/>
                  </a:lnTo>
                  <a:lnTo>
                    <a:pt x="1959" y="949"/>
                  </a:lnTo>
                  <a:lnTo>
                    <a:pt x="1953" y="949"/>
                  </a:lnTo>
                  <a:lnTo>
                    <a:pt x="1947" y="948"/>
                  </a:lnTo>
                  <a:lnTo>
                    <a:pt x="1941" y="949"/>
                  </a:lnTo>
                  <a:lnTo>
                    <a:pt x="1928" y="950"/>
                  </a:lnTo>
                  <a:lnTo>
                    <a:pt x="1915" y="951"/>
                  </a:lnTo>
                  <a:lnTo>
                    <a:pt x="1902" y="952"/>
                  </a:lnTo>
                  <a:lnTo>
                    <a:pt x="1891" y="951"/>
                  </a:lnTo>
                  <a:lnTo>
                    <a:pt x="1886" y="950"/>
                  </a:lnTo>
                  <a:lnTo>
                    <a:pt x="1882" y="948"/>
                  </a:lnTo>
                  <a:lnTo>
                    <a:pt x="1877" y="946"/>
                  </a:lnTo>
                  <a:lnTo>
                    <a:pt x="1874" y="942"/>
                  </a:lnTo>
                  <a:lnTo>
                    <a:pt x="1870" y="934"/>
                  </a:lnTo>
                  <a:lnTo>
                    <a:pt x="1869" y="927"/>
                  </a:lnTo>
                  <a:lnTo>
                    <a:pt x="1869" y="924"/>
                  </a:lnTo>
                  <a:lnTo>
                    <a:pt x="1870" y="921"/>
                  </a:lnTo>
                  <a:lnTo>
                    <a:pt x="1871" y="919"/>
                  </a:lnTo>
                  <a:lnTo>
                    <a:pt x="1873" y="915"/>
                  </a:lnTo>
                  <a:lnTo>
                    <a:pt x="1877" y="911"/>
                  </a:lnTo>
                  <a:lnTo>
                    <a:pt x="1884" y="907"/>
                  </a:lnTo>
                  <a:lnTo>
                    <a:pt x="1890" y="904"/>
                  </a:lnTo>
                  <a:lnTo>
                    <a:pt x="1898" y="902"/>
                  </a:lnTo>
                  <a:lnTo>
                    <a:pt x="1916" y="898"/>
                  </a:lnTo>
                  <a:lnTo>
                    <a:pt x="1933" y="894"/>
                  </a:lnTo>
                  <a:lnTo>
                    <a:pt x="1941" y="892"/>
                  </a:lnTo>
                  <a:lnTo>
                    <a:pt x="1948" y="889"/>
                  </a:lnTo>
                  <a:lnTo>
                    <a:pt x="1954" y="887"/>
                  </a:lnTo>
                  <a:lnTo>
                    <a:pt x="1959" y="885"/>
                  </a:lnTo>
                  <a:lnTo>
                    <a:pt x="1981" y="871"/>
                  </a:lnTo>
                  <a:lnTo>
                    <a:pt x="2002" y="857"/>
                  </a:lnTo>
                  <a:lnTo>
                    <a:pt x="2014" y="850"/>
                  </a:lnTo>
                  <a:lnTo>
                    <a:pt x="2025" y="845"/>
                  </a:lnTo>
                  <a:lnTo>
                    <a:pt x="2037" y="839"/>
                  </a:lnTo>
                  <a:lnTo>
                    <a:pt x="2049" y="835"/>
                  </a:lnTo>
                  <a:lnTo>
                    <a:pt x="2053" y="829"/>
                  </a:lnTo>
                  <a:lnTo>
                    <a:pt x="2056" y="822"/>
                  </a:lnTo>
                  <a:lnTo>
                    <a:pt x="2058" y="811"/>
                  </a:lnTo>
                  <a:lnTo>
                    <a:pt x="2060" y="802"/>
                  </a:lnTo>
                  <a:lnTo>
                    <a:pt x="2061" y="794"/>
                  </a:lnTo>
                  <a:lnTo>
                    <a:pt x="2061" y="786"/>
                  </a:lnTo>
                  <a:lnTo>
                    <a:pt x="2060" y="779"/>
                  </a:lnTo>
                  <a:lnTo>
                    <a:pt x="2057" y="772"/>
                  </a:lnTo>
                  <a:lnTo>
                    <a:pt x="2054" y="764"/>
                  </a:lnTo>
                  <a:lnTo>
                    <a:pt x="2048" y="755"/>
                  </a:lnTo>
                  <a:lnTo>
                    <a:pt x="2045" y="746"/>
                  </a:lnTo>
                  <a:lnTo>
                    <a:pt x="2042" y="739"/>
                  </a:lnTo>
                  <a:lnTo>
                    <a:pt x="2042" y="731"/>
                  </a:lnTo>
                  <a:lnTo>
                    <a:pt x="2042" y="724"/>
                  </a:lnTo>
                  <a:lnTo>
                    <a:pt x="2046" y="708"/>
                  </a:lnTo>
                  <a:lnTo>
                    <a:pt x="2051" y="690"/>
                  </a:lnTo>
                  <a:lnTo>
                    <a:pt x="2054" y="685"/>
                  </a:lnTo>
                  <a:lnTo>
                    <a:pt x="2054" y="680"/>
                  </a:lnTo>
                  <a:lnTo>
                    <a:pt x="2055" y="675"/>
                  </a:lnTo>
                  <a:lnTo>
                    <a:pt x="2054" y="670"/>
                  </a:lnTo>
                  <a:lnTo>
                    <a:pt x="2053" y="667"/>
                  </a:lnTo>
                  <a:lnTo>
                    <a:pt x="2050" y="664"/>
                  </a:lnTo>
                  <a:lnTo>
                    <a:pt x="2048" y="661"/>
                  </a:lnTo>
                  <a:lnTo>
                    <a:pt x="2045" y="658"/>
                  </a:lnTo>
                  <a:lnTo>
                    <a:pt x="2038" y="654"/>
                  </a:lnTo>
                  <a:lnTo>
                    <a:pt x="2030" y="651"/>
                  </a:lnTo>
                  <a:lnTo>
                    <a:pt x="2020" y="647"/>
                  </a:lnTo>
                  <a:lnTo>
                    <a:pt x="2011" y="645"/>
                  </a:lnTo>
                  <a:lnTo>
                    <a:pt x="2001" y="642"/>
                  </a:lnTo>
                  <a:lnTo>
                    <a:pt x="1992" y="639"/>
                  </a:lnTo>
                  <a:lnTo>
                    <a:pt x="1984" y="635"/>
                  </a:lnTo>
                  <a:lnTo>
                    <a:pt x="1976" y="630"/>
                  </a:lnTo>
                  <a:lnTo>
                    <a:pt x="1973" y="627"/>
                  </a:lnTo>
                  <a:lnTo>
                    <a:pt x="1971" y="623"/>
                  </a:lnTo>
                  <a:lnTo>
                    <a:pt x="1969" y="620"/>
                  </a:lnTo>
                  <a:lnTo>
                    <a:pt x="1968" y="615"/>
                  </a:lnTo>
                  <a:lnTo>
                    <a:pt x="1967" y="611"/>
                  </a:lnTo>
                  <a:lnTo>
                    <a:pt x="1967" y="606"/>
                  </a:lnTo>
                  <a:lnTo>
                    <a:pt x="1968" y="599"/>
                  </a:lnTo>
                  <a:lnTo>
                    <a:pt x="1970" y="593"/>
                  </a:lnTo>
                  <a:lnTo>
                    <a:pt x="1978" y="573"/>
                  </a:lnTo>
                  <a:lnTo>
                    <a:pt x="1991" y="549"/>
                  </a:lnTo>
                  <a:lnTo>
                    <a:pt x="1996" y="538"/>
                  </a:lnTo>
                  <a:lnTo>
                    <a:pt x="2000" y="525"/>
                  </a:lnTo>
                  <a:lnTo>
                    <a:pt x="2000" y="520"/>
                  </a:lnTo>
                  <a:lnTo>
                    <a:pt x="2001" y="515"/>
                  </a:lnTo>
                  <a:lnTo>
                    <a:pt x="2000" y="510"/>
                  </a:lnTo>
                  <a:lnTo>
                    <a:pt x="1998" y="506"/>
                  </a:lnTo>
                  <a:lnTo>
                    <a:pt x="1993" y="494"/>
                  </a:lnTo>
                  <a:lnTo>
                    <a:pt x="1990" y="486"/>
                  </a:lnTo>
                  <a:lnTo>
                    <a:pt x="1988" y="477"/>
                  </a:lnTo>
                  <a:lnTo>
                    <a:pt x="1987" y="471"/>
                  </a:lnTo>
                  <a:lnTo>
                    <a:pt x="1988" y="466"/>
                  </a:lnTo>
                  <a:lnTo>
                    <a:pt x="1989" y="462"/>
                  </a:lnTo>
                  <a:lnTo>
                    <a:pt x="1992" y="459"/>
                  </a:lnTo>
                  <a:lnTo>
                    <a:pt x="1995" y="455"/>
                  </a:lnTo>
                  <a:lnTo>
                    <a:pt x="2005" y="449"/>
                  </a:lnTo>
                  <a:lnTo>
                    <a:pt x="2016" y="443"/>
                  </a:lnTo>
                  <a:lnTo>
                    <a:pt x="2022" y="440"/>
                  </a:lnTo>
                  <a:lnTo>
                    <a:pt x="2029" y="435"/>
                  </a:lnTo>
                  <a:lnTo>
                    <a:pt x="2035" y="429"/>
                  </a:lnTo>
                  <a:lnTo>
                    <a:pt x="2041" y="423"/>
                  </a:lnTo>
                  <a:lnTo>
                    <a:pt x="2045" y="419"/>
                  </a:lnTo>
                  <a:lnTo>
                    <a:pt x="2047" y="415"/>
                  </a:lnTo>
                  <a:lnTo>
                    <a:pt x="2048" y="412"/>
                  </a:lnTo>
                  <a:lnTo>
                    <a:pt x="2048" y="407"/>
                  </a:lnTo>
                  <a:lnTo>
                    <a:pt x="2048" y="403"/>
                  </a:lnTo>
                  <a:lnTo>
                    <a:pt x="2047" y="400"/>
                  </a:lnTo>
                  <a:lnTo>
                    <a:pt x="2045" y="397"/>
                  </a:lnTo>
                  <a:lnTo>
                    <a:pt x="2043" y="394"/>
                  </a:lnTo>
                  <a:lnTo>
                    <a:pt x="2031" y="382"/>
                  </a:lnTo>
                  <a:lnTo>
                    <a:pt x="2019" y="374"/>
                  </a:lnTo>
                  <a:lnTo>
                    <a:pt x="2003" y="375"/>
                  </a:lnTo>
                  <a:lnTo>
                    <a:pt x="1989" y="376"/>
                  </a:lnTo>
                  <a:lnTo>
                    <a:pt x="1973" y="378"/>
                  </a:lnTo>
                  <a:lnTo>
                    <a:pt x="1958" y="378"/>
                  </a:lnTo>
                  <a:lnTo>
                    <a:pt x="1958" y="378"/>
                  </a:lnTo>
                  <a:lnTo>
                    <a:pt x="1946" y="372"/>
                  </a:lnTo>
                  <a:lnTo>
                    <a:pt x="1937" y="366"/>
                  </a:lnTo>
                  <a:lnTo>
                    <a:pt x="1928" y="359"/>
                  </a:lnTo>
                  <a:lnTo>
                    <a:pt x="1920" y="354"/>
                  </a:lnTo>
                  <a:lnTo>
                    <a:pt x="1912" y="349"/>
                  </a:lnTo>
                  <a:lnTo>
                    <a:pt x="1903" y="346"/>
                  </a:lnTo>
                  <a:lnTo>
                    <a:pt x="1898" y="345"/>
                  </a:lnTo>
                  <a:lnTo>
                    <a:pt x="1892" y="344"/>
                  </a:lnTo>
                  <a:lnTo>
                    <a:pt x="1886" y="344"/>
                  </a:lnTo>
                  <a:lnTo>
                    <a:pt x="1878" y="344"/>
                  </a:lnTo>
                  <a:lnTo>
                    <a:pt x="1874" y="353"/>
                  </a:lnTo>
                  <a:lnTo>
                    <a:pt x="1870" y="364"/>
                  </a:lnTo>
                  <a:lnTo>
                    <a:pt x="1866" y="374"/>
                  </a:lnTo>
                  <a:lnTo>
                    <a:pt x="1863" y="384"/>
                  </a:lnTo>
                  <a:lnTo>
                    <a:pt x="1859" y="396"/>
                  </a:lnTo>
                  <a:lnTo>
                    <a:pt x="1854" y="405"/>
                  </a:lnTo>
                  <a:lnTo>
                    <a:pt x="1849" y="415"/>
                  </a:lnTo>
                  <a:lnTo>
                    <a:pt x="1844" y="422"/>
                  </a:lnTo>
                  <a:lnTo>
                    <a:pt x="1838" y="426"/>
                  </a:lnTo>
                  <a:lnTo>
                    <a:pt x="1830" y="430"/>
                  </a:lnTo>
                  <a:lnTo>
                    <a:pt x="1822" y="432"/>
                  </a:lnTo>
                  <a:lnTo>
                    <a:pt x="1814" y="434"/>
                  </a:lnTo>
                  <a:lnTo>
                    <a:pt x="1803" y="435"/>
                  </a:lnTo>
                  <a:lnTo>
                    <a:pt x="1794" y="434"/>
                  </a:lnTo>
                  <a:lnTo>
                    <a:pt x="1782" y="432"/>
                  </a:lnTo>
                  <a:lnTo>
                    <a:pt x="1772" y="431"/>
                  </a:lnTo>
                  <a:lnTo>
                    <a:pt x="1750" y="426"/>
                  </a:lnTo>
                  <a:lnTo>
                    <a:pt x="1730" y="420"/>
                  </a:lnTo>
                  <a:lnTo>
                    <a:pt x="1714" y="413"/>
                  </a:lnTo>
                  <a:lnTo>
                    <a:pt x="1700" y="405"/>
                  </a:lnTo>
                  <a:lnTo>
                    <a:pt x="1693" y="400"/>
                  </a:lnTo>
                  <a:lnTo>
                    <a:pt x="1688" y="396"/>
                  </a:lnTo>
                  <a:lnTo>
                    <a:pt x="1683" y="392"/>
                  </a:lnTo>
                  <a:lnTo>
                    <a:pt x="1680" y="388"/>
                  </a:lnTo>
                  <a:lnTo>
                    <a:pt x="1678" y="383"/>
                  </a:lnTo>
                  <a:lnTo>
                    <a:pt x="1677" y="377"/>
                  </a:lnTo>
                  <a:lnTo>
                    <a:pt x="1676" y="371"/>
                  </a:lnTo>
                  <a:lnTo>
                    <a:pt x="1677" y="363"/>
                  </a:lnTo>
                  <a:lnTo>
                    <a:pt x="1677" y="350"/>
                  </a:lnTo>
                  <a:lnTo>
                    <a:pt x="1676" y="340"/>
                  </a:lnTo>
                  <a:lnTo>
                    <a:pt x="1675" y="332"/>
                  </a:lnTo>
                  <a:lnTo>
                    <a:pt x="1673" y="327"/>
                  </a:lnTo>
                  <a:lnTo>
                    <a:pt x="1670" y="323"/>
                  </a:lnTo>
                  <a:lnTo>
                    <a:pt x="1667" y="321"/>
                  </a:lnTo>
                  <a:lnTo>
                    <a:pt x="1663" y="320"/>
                  </a:lnTo>
                  <a:lnTo>
                    <a:pt x="1658" y="320"/>
                  </a:lnTo>
                  <a:lnTo>
                    <a:pt x="1633" y="329"/>
                  </a:lnTo>
                  <a:lnTo>
                    <a:pt x="1601" y="340"/>
                  </a:lnTo>
                  <a:lnTo>
                    <a:pt x="1591" y="341"/>
                  </a:lnTo>
                  <a:lnTo>
                    <a:pt x="1580" y="342"/>
                  </a:lnTo>
                  <a:lnTo>
                    <a:pt x="1570" y="341"/>
                  </a:lnTo>
                  <a:lnTo>
                    <a:pt x="1559" y="340"/>
                  </a:lnTo>
                  <a:lnTo>
                    <a:pt x="1550" y="339"/>
                  </a:lnTo>
                  <a:lnTo>
                    <a:pt x="1541" y="335"/>
                  </a:lnTo>
                  <a:lnTo>
                    <a:pt x="1530" y="331"/>
                  </a:lnTo>
                  <a:lnTo>
                    <a:pt x="1521" y="327"/>
                  </a:lnTo>
                  <a:lnTo>
                    <a:pt x="1512" y="322"/>
                  </a:lnTo>
                  <a:lnTo>
                    <a:pt x="1505" y="317"/>
                  </a:lnTo>
                  <a:lnTo>
                    <a:pt x="1499" y="310"/>
                  </a:lnTo>
                  <a:lnTo>
                    <a:pt x="1494" y="304"/>
                  </a:lnTo>
                  <a:lnTo>
                    <a:pt x="1491" y="298"/>
                  </a:lnTo>
                  <a:lnTo>
                    <a:pt x="1487" y="292"/>
                  </a:lnTo>
                  <a:lnTo>
                    <a:pt x="1486" y="285"/>
                  </a:lnTo>
                  <a:lnTo>
                    <a:pt x="1487" y="280"/>
                  </a:lnTo>
                  <a:lnTo>
                    <a:pt x="1488" y="274"/>
                  </a:lnTo>
                  <a:lnTo>
                    <a:pt x="1491" y="270"/>
                  </a:lnTo>
                  <a:lnTo>
                    <a:pt x="1495" y="266"/>
                  </a:lnTo>
                  <a:lnTo>
                    <a:pt x="1500" y="262"/>
                  </a:lnTo>
                  <a:lnTo>
                    <a:pt x="1507" y="260"/>
                  </a:lnTo>
                  <a:lnTo>
                    <a:pt x="1514" y="259"/>
                  </a:lnTo>
                  <a:lnTo>
                    <a:pt x="1524" y="259"/>
                  </a:lnTo>
                  <a:lnTo>
                    <a:pt x="1534" y="261"/>
                  </a:lnTo>
                  <a:lnTo>
                    <a:pt x="1542" y="262"/>
                  </a:lnTo>
                  <a:lnTo>
                    <a:pt x="1550" y="262"/>
                  </a:lnTo>
                  <a:lnTo>
                    <a:pt x="1558" y="261"/>
                  </a:lnTo>
                  <a:lnTo>
                    <a:pt x="1568" y="259"/>
                  </a:lnTo>
                  <a:lnTo>
                    <a:pt x="1575" y="256"/>
                  </a:lnTo>
                  <a:lnTo>
                    <a:pt x="1581" y="251"/>
                  </a:lnTo>
                  <a:lnTo>
                    <a:pt x="1583" y="249"/>
                  </a:lnTo>
                  <a:lnTo>
                    <a:pt x="1584" y="246"/>
                  </a:lnTo>
                  <a:lnTo>
                    <a:pt x="1585" y="242"/>
                  </a:lnTo>
                  <a:lnTo>
                    <a:pt x="1585" y="238"/>
                  </a:lnTo>
                  <a:lnTo>
                    <a:pt x="1583" y="231"/>
                  </a:lnTo>
                  <a:lnTo>
                    <a:pt x="1583" y="225"/>
                  </a:lnTo>
                  <a:lnTo>
                    <a:pt x="1583" y="220"/>
                  </a:lnTo>
                  <a:lnTo>
                    <a:pt x="1584" y="215"/>
                  </a:lnTo>
                  <a:lnTo>
                    <a:pt x="1585" y="211"/>
                  </a:lnTo>
                  <a:lnTo>
                    <a:pt x="1586" y="208"/>
                  </a:lnTo>
                  <a:lnTo>
                    <a:pt x="1589" y="205"/>
                  </a:lnTo>
                  <a:lnTo>
                    <a:pt x="1592" y="202"/>
                  </a:lnTo>
                  <a:lnTo>
                    <a:pt x="1604" y="189"/>
                  </a:lnTo>
                  <a:lnTo>
                    <a:pt x="1620" y="173"/>
                  </a:lnTo>
                  <a:lnTo>
                    <a:pt x="1624" y="169"/>
                  </a:lnTo>
                  <a:lnTo>
                    <a:pt x="1627" y="162"/>
                  </a:lnTo>
                  <a:lnTo>
                    <a:pt x="1630" y="156"/>
                  </a:lnTo>
                  <a:lnTo>
                    <a:pt x="1632" y="150"/>
                  </a:lnTo>
                  <a:lnTo>
                    <a:pt x="1632" y="142"/>
                  </a:lnTo>
                  <a:lnTo>
                    <a:pt x="1632" y="135"/>
                  </a:lnTo>
                  <a:lnTo>
                    <a:pt x="1630" y="129"/>
                  </a:lnTo>
                  <a:lnTo>
                    <a:pt x="1627" y="123"/>
                  </a:lnTo>
                  <a:lnTo>
                    <a:pt x="1621" y="124"/>
                  </a:lnTo>
                  <a:lnTo>
                    <a:pt x="1614" y="125"/>
                  </a:lnTo>
                  <a:lnTo>
                    <a:pt x="1606" y="127"/>
                  </a:lnTo>
                  <a:lnTo>
                    <a:pt x="1599" y="130"/>
                  </a:lnTo>
                  <a:lnTo>
                    <a:pt x="1584" y="135"/>
                  </a:lnTo>
                  <a:lnTo>
                    <a:pt x="1570" y="138"/>
                  </a:lnTo>
                  <a:lnTo>
                    <a:pt x="1563" y="139"/>
                  </a:lnTo>
                  <a:lnTo>
                    <a:pt x="1558" y="139"/>
                  </a:lnTo>
                  <a:lnTo>
                    <a:pt x="1553" y="137"/>
                  </a:lnTo>
                  <a:lnTo>
                    <a:pt x="1548" y="135"/>
                  </a:lnTo>
                  <a:lnTo>
                    <a:pt x="1545" y="130"/>
                  </a:lnTo>
                  <a:lnTo>
                    <a:pt x="1543" y="123"/>
                  </a:lnTo>
                  <a:lnTo>
                    <a:pt x="1542" y="114"/>
                  </a:lnTo>
                  <a:lnTo>
                    <a:pt x="1542" y="102"/>
                  </a:lnTo>
                  <a:lnTo>
                    <a:pt x="1545" y="74"/>
                  </a:lnTo>
                  <a:lnTo>
                    <a:pt x="1547" y="37"/>
                  </a:lnTo>
                  <a:lnTo>
                    <a:pt x="1547" y="28"/>
                  </a:lnTo>
                  <a:lnTo>
                    <a:pt x="1545" y="20"/>
                  </a:lnTo>
                  <a:lnTo>
                    <a:pt x="1543" y="13"/>
                  </a:lnTo>
                  <a:lnTo>
                    <a:pt x="1540" y="7"/>
                  </a:lnTo>
                  <a:lnTo>
                    <a:pt x="1537" y="5"/>
                  </a:lnTo>
                  <a:lnTo>
                    <a:pt x="1535" y="3"/>
                  </a:lnTo>
                  <a:lnTo>
                    <a:pt x="1533" y="2"/>
                  </a:lnTo>
                  <a:lnTo>
                    <a:pt x="1530" y="1"/>
                  </a:lnTo>
                  <a:lnTo>
                    <a:pt x="1527" y="0"/>
                  </a:lnTo>
                  <a:lnTo>
                    <a:pt x="1523" y="0"/>
                  </a:lnTo>
                  <a:lnTo>
                    <a:pt x="1519" y="0"/>
                  </a:lnTo>
                  <a:lnTo>
                    <a:pt x="1514" y="1"/>
                  </a:lnTo>
                  <a:lnTo>
                    <a:pt x="1507" y="4"/>
                  </a:lnTo>
                  <a:lnTo>
                    <a:pt x="1500" y="8"/>
                  </a:lnTo>
                  <a:lnTo>
                    <a:pt x="1495" y="13"/>
                  </a:lnTo>
                  <a:lnTo>
                    <a:pt x="1489" y="18"/>
                  </a:lnTo>
                  <a:lnTo>
                    <a:pt x="1481" y="31"/>
                  </a:lnTo>
                  <a:lnTo>
                    <a:pt x="1474" y="44"/>
                  </a:lnTo>
                  <a:lnTo>
                    <a:pt x="1470" y="51"/>
                  </a:lnTo>
                  <a:lnTo>
                    <a:pt x="1464" y="57"/>
                  </a:lnTo>
                  <a:lnTo>
                    <a:pt x="1460" y="62"/>
                  </a:lnTo>
                  <a:lnTo>
                    <a:pt x="1454" y="67"/>
                  </a:lnTo>
                  <a:lnTo>
                    <a:pt x="1448" y="70"/>
                  </a:lnTo>
                  <a:lnTo>
                    <a:pt x="1440" y="74"/>
                  </a:lnTo>
                  <a:lnTo>
                    <a:pt x="1431" y="76"/>
                  </a:lnTo>
                  <a:lnTo>
                    <a:pt x="1421" y="76"/>
                  </a:lnTo>
                  <a:lnTo>
                    <a:pt x="1413" y="75"/>
                  </a:lnTo>
                  <a:lnTo>
                    <a:pt x="1407" y="73"/>
                  </a:lnTo>
                  <a:lnTo>
                    <a:pt x="1402" y="69"/>
                  </a:lnTo>
                  <a:lnTo>
                    <a:pt x="1398" y="65"/>
                  </a:lnTo>
                  <a:lnTo>
                    <a:pt x="1391" y="56"/>
                  </a:lnTo>
                  <a:lnTo>
                    <a:pt x="1385" y="48"/>
                  </a:lnTo>
                  <a:lnTo>
                    <a:pt x="1382" y="43"/>
                  </a:lnTo>
                  <a:lnTo>
                    <a:pt x="1379" y="41"/>
                  </a:lnTo>
                  <a:lnTo>
                    <a:pt x="1376" y="39"/>
                  </a:lnTo>
                  <a:lnTo>
                    <a:pt x="1371" y="39"/>
                  </a:lnTo>
                  <a:lnTo>
                    <a:pt x="1365" y="40"/>
                  </a:lnTo>
                  <a:lnTo>
                    <a:pt x="1359" y="43"/>
                  </a:lnTo>
                  <a:lnTo>
                    <a:pt x="1351" y="50"/>
                  </a:lnTo>
                  <a:lnTo>
                    <a:pt x="1342" y="57"/>
                  </a:lnTo>
                  <a:lnTo>
                    <a:pt x="1335" y="62"/>
                  </a:lnTo>
                  <a:lnTo>
                    <a:pt x="1326" y="67"/>
                  </a:lnTo>
                  <a:lnTo>
                    <a:pt x="1314" y="73"/>
                  </a:lnTo>
                  <a:lnTo>
                    <a:pt x="1302" y="78"/>
                  </a:lnTo>
                  <a:lnTo>
                    <a:pt x="1275" y="89"/>
                  </a:lnTo>
                  <a:lnTo>
                    <a:pt x="1248" y="101"/>
                  </a:lnTo>
                  <a:lnTo>
                    <a:pt x="1235" y="107"/>
                  </a:lnTo>
                  <a:lnTo>
                    <a:pt x="1225" y="113"/>
                  </a:lnTo>
                  <a:lnTo>
                    <a:pt x="1216" y="119"/>
                  </a:lnTo>
                  <a:lnTo>
                    <a:pt x="1211" y="127"/>
                  </a:lnTo>
                  <a:lnTo>
                    <a:pt x="1209" y="130"/>
                  </a:lnTo>
                  <a:lnTo>
                    <a:pt x="1208" y="133"/>
                  </a:lnTo>
                  <a:lnTo>
                    <a:pt x="1208" y="136"/>
                  </a:lnTo>
                  <a:lnTo>
                    <a:pt x="1209" y="140"/>
                  </a:lnTo>
                  <a:lnTo>
                    <a:pt x="1211" y="143"/>
                  </a:lnTo>
                  <a:lnTo>
                    <a:pt x="1214" y="148"/>
                  </a:lnTo>
                  <a:lnTo>
                    <a:pt x="1218" y="151"/>
                  </a:lnTo>
                  <a:lnTo>
                    <a:pt x="1225" y="155"/>
                  </a:lnTo>
                  <a:lnTo>
                    <a:pt x="1231" y="159"/>
                  </a:lnTo>
                  <a:lnTo>
                    <a:pt x="1235" y="164"/>
                  </a:lnTo>
                  <a:lnTo>
                    <a:pt x="1237" y="169"/>
                  </a:lnTo>
                  <a:lnTo>
                    <a:pt x="1237" y="173"/>
                  </a:lnTo>
                  <a:lnTo>
                    <a:pt x="1236" y="177"/>
                  </a:lnTo>
                  <a:lnTo>
                    <a:pt x="1233" y="181"/>
                  </a:lnTo>
                  <a:lnTo>
                    <a:pt x="1229" y="186"/>
                  </a:lnTo>
                  <a:lnTo>
                    <a:pt x="1225" y="190"/>
                  </a:lnTo>
                  <a:lnTo>
                    <a:pt x="1215" y="200"/>
                  </a:lnTo>
                  <a:lnTo>
                    <a:pt x="1207" y="209"/>
                  </a:lnTo>
                  <a:lnTo>
                    <a:pt x="1203" y="214"/>
                  </a:lnTo>
                  <a:lnTo>
                    <a:pt x="1202" y="221"/>
                  </a:lnTo>
                  <a:lnTo>
                    <a:pt x="1201" y="226"/>
                  </a:lnTo>
                  <a:lnTo>
                    <a:pt x="1203" y="232"/>
                  </a:lnTo>
                  <a:lnTo>
                    <a:pt x="1204" y="238"/>
                  </a:lnTo>
                  <a:lnTo>
                    <a:pt x="1206" y="245"/>
                  </a:lnTo>
                  <a:lnTo>
                    <a:pt x="1206" y="250"/>
                  </a:lnTo>
                  <a:lnTo>
                    <a:pt x="1205" y="254"/>
                  </a:lnTo>
                  <a:lnTo>
                    <a:pt x="1204" y="258"/>
                  </a:lnTo>
                  <a:lnTo>
                    <a:pt x="1202" y="261"/>
                  </a:lnTo>
                  <a:lnTo>
                    <a:pt x="1200" y="265"/>
                  </a:lnTo>
                  <a:lnTo>
                    <a:pt x="1196" y="268"/>
                  </a:lnTo>
                  <a:lnTo>
                    <a:pt x="1179" y="279"/>
                  </a:lnTo>
                  <a:lnTo>
                    <a:pt x="1157" y="292"/>
                  </a:lnTo>
                  <a:lnTo>
                    <a:pt x="1151" y="296"/>
                  </a:lnTo>
                  <a:lnTo>
                    <a:pt x="1146" y="299"/>
                  </a:lnTo>
                  <a:lnTo>
                    <a:pt x="1143" y="303"/>
                  </a:lnTo>
                  <a:lnTo>
                    <a:pt x="1141" y="306"/>
                  </a:lnTo>
                  <a:lnTo>
                    <a:pt x="1140" y="309"/>
                  </a:lnTo>
                  <a:lnTo>
                    <a:pt x="1140" y="311"/>
                  </a:lnTo>
                  <a:lnTo>
                    <a:pt x="1141" y="315"/>
                  </a:lnTo>
                  <a:lnTo>
                    <a:pt x="1143" y="317"/>
                  </a:lnTo>
                  <a:lnTo>
                    <a:pt x="1156" y="328"/>
                  </a:lnTo>
                  <a:lnTo>
                    <a:pt x="1170" y="342"/>
                  </a:lnTo>
                  <a:lnTo>
                    <a:pt x="1177" y="351"/>
                  </a:lnTo>
                  <a:lnTo>
                    <a:pt x="1182" y="360"/>
                  </a:lnTo>
                  <a:lnTo>
                    <a:pt x="1184" y="368"/>
                  </a:lnTo>
                  <a:lnTo>
                    <a:pt x="1185" y="373"/>
                  </a:lnTo>
                  <a:lnTo>
                    <a:pt x="1184" y="378"/>
                  </a:lnTo>
                  <a:lnTo>
                    <a:pt x="1182" y="381"/>
                  </a:lnTo>
                  <a:lnTo>
                    <a:pt x="1178" y="384"/>
                  </a:lnTo>
                  <a:lnTo>
                    <a:pt x="1173" y="387"/>
                  </a:lnTo>
                  <a:lnTo>
                    <a:pt x="1145" y="390"/>
                  </a:lnTo>
                  <a:lnTo>
                    <a:pt x="1117" y="392"/>
                  </a:lnTo>
                  <a:lnTo>
                    <a:pt x="1113" y="393"/>
                  </a:lnTo>
                  <a:lnTo>
                    <a:pt x="1108" y="395"/>
                  </a:lnTo>
                  <a:lnTo>
                    <a:pt x="1102" y="399"/>
                  </a:lnTo>
                  <a:lnTo>
                    <a:pt x="1095" y="403"/>
                  </a:lnTo>
                  <a:lnTo>
                    <a:pt x="1083" y="413"/>
                  </a:lnTo>
                  <a:lnTo>
                    <a:pt x="1069" y="425"/>
                  </a:lnTo>
                  <a:lnTo>
                    <a:pt x="1057" y="438"/>
                  </a:lnTo>
                  <a:lnTo>
                    <a:pt x="1046" y="451"/>
                  </a:lnTo>
                  <a:lnTo>
                    <a:pt x="1042" y="458"/>
                  </a:lnTo>
                  <a:lnTo>
                    <a:pt x="1039" y="463"/>
                  </a:lnTo>
                  <a:lnTo>
                    <a:pt x="1036" y="468"/>
                  </a:lnTo>
                  <a:lnTo>
                    <a:pt x="1035" y="473"/>
                  </a:lnTo>
                  <a:lnTo>
                    <a:pt x="1029" y="477"/>
                  </a:lnTo>
                  <a:lnTo>
                    <a:pt x="1023" y="483"/>
                  </a:lnTo>
                  <a:lnTo>
                    <a:pt x="1019" y="488"/>
                  </a:lnTo>
                  <a:lnTo>
                    <a:pt x="1014" y="494"/>
                  </a:lnTo>
                  <a:lnTo>
                    <a:pt x="1008" y="506"/>
                  </a:lnTo>
                  <a:lnTo>
                    <a:pt x="1002" y="518"/>
                  </a:lnTo>
                  <a:lnTo>
                    <a:pt x="994" y="545"/>
                  </a:lnTo>
                  <a:lnTo>
                    <a:pt x="989" y="571"/>
                  </a:lnTo>
                  <a:lnTo>
                    <a:pt x="987" y="579"/>
                  </a:lnTo>
                  <a:lnTo>
                    <a:pt x="983" y="585"/>
                  </a:lnTo>
                  <a:lnTo>
                    <a:pt x="976" y="591"/>
                  </a:lnTo>
                  <a:lnTo>
                    <a:pt x="971" y="597"/>
                  </a:lnTo>
                  <a:lnTo>
                    <a:pt x="965" y="603"/>
                  </a:lnTo>
                  <a:lnTo>
                    <a:pt x="961" y="609"/>
                  </a:lnTo>
                  <a:lnTo>
                    <a:pt x="959" y="611"/>
                  </a:lnTo>
                  <a:lnTo>
                    <a:pt x="957" y="614"/>
                  </a:lnTo>
                  <a:lnTo>
                    <a:pt x="956" y="617"/>
                  </a:lnTo>
                  <a:lnTo>
                    <a:pt x="956" y="621"/>
                  </a:lnTo>
                  <a:lnTo>
                    <a:pt x="973" y="669"/>
                  </a:lnTo>
                  <a:lnTo>
                    <a:pt x="975" y="676"/>
                  </a:lnTo>
                  <a:lnTo>
                    <a:pt x="975" y="682"/>
                  </a:lnTo>
                  <a:lnTo>
                    <a:pt x="975" y="688"/>
                  </a:lnTo>
                  <a:lnTo>
                    <a:pt x="973" y="694"/>
                  </a:lnTo>
                  <a:lnTo>
                    <a:pt x="971" y="700"/>
                  </a:lnTo>
                  <a:lnTo>
                    <a:pt x="968" y="705"/>
                  </a:lnTo>
                  <a:lnTo>
                    <a:pt x="964" y="710"/>
                  </a:lnTo>
                  <a:lnTo>
                    <a:pt x="959" y="715"/>
                  </a:lnTo>
                  <a:lnTo>
                    <a:pt x="954" y="719"/>
                  </a:lnTo>
                  <a:lnTo>
                    <a:pt x="947" y="724"/>
                  </a:lnTo>
                  <a:lnTo>
                    <a:pt x="941" y="728"/>
                  </a:lnTo>
                  <a:lnTo>
                    <a:pt x="934" y="731"/>
                  </a:lnTo>
                  <a:lnTo>
                    <a:pt x="926" y="734"/>
                  </a:lnTo>
                  <a:lnTo>
                    <a:pt x="918" y="736"/>
                  </a:lnTo>
                  <a:lnTo>
                    <a:pt x="911" y="738"/>
                  </a:lnTo>
                  <a:lnTo>
                    <a:pt x="902" y="739"/>
                  </a:lnTo>
                  <a:lnTo>
                    <a:pt x="894" y="740"/>
                  </a:lnTo>
                  <a:lnTo>
                    <a:pt x="886" y="740"/>
                  </a:lnTo>
                  <a:lnTo>
                    <a:pt x="877" y="740"/>
                  </a:lnTo>
                  <a:lnTo>
                    <a:pt x="870" y="739"/>
                  </a:lnTo>
                  <a:lnTo>
                    <a:pt x="862" y="738"/>
                  </a:lnTo>
                  <a:lnTo>
                    <a:pt x="854" y="736"/>
                  </a:lnTo>
                  <a:lnTo>
                    <a:pt x="847" y="733"/>
                  </a:lnTo>
                  <a:lnTo>
                    <a:pt x="841" y="729"/>
                  </a:lnTo>
                  <a:lnTo>
                    <a:pt x="835" y="725"/>
                  </a:lnTo>
                  <a:lnTo>
                    <a:pt x="829" y="719"/>
                  </a:lnTo>
                  <a:lnTo>
                    <a:pt x="824" y="713"/>
                  </a:lnTo>
                  <a:lnTo>
                    <a:pt x="820" y="706"/>
                  </a:lnTo>
                  <a:lnTo>
                    <a:pt x="817" y="699"/>
                  </a:lnTo>
                  <a:lnTo>
                    <a:pt x="815" y="689"/>
                  </a:lnTo>
                  <a:lnTo>
                    <a:pt x="813" y="680"/>
                  </a:lnTo>
                  <a:lnTo>
                    <a:pt x="813" y="669"/>
                  </a:lnTo>
                  <a:lnTo>
                    <a:pt x="813" y="661"/>
                  </a:lnTo>
                  <a:lnTo>
                    <a:pt x="813" y="649"/>
                  </a:lnTo>
                  <a:lnTo>
                    <a:pt x="813" y="638"/>
                  </a:lnTo>
                  <a:lnTo>
                    <a:pt x="811" y="625"/>
                  </a:lnTo>
                  <a:lnTo>
                    <a:pt x="810" y="620"/>
                  </a:lnTo>
                  <a:lnTo>
                    <a:pt x="808" y="616"/>
                  </a:lnTo>
                  <a:lnTo>
                    <a:pt x="805" y="613"/>
                  </a:lnTo>
                  <a:lnTo>
                    <a:pt x="802" y="611"/>
                  </a:lnTo>
                  <a:lnTo>
                    <a:pt x="798" y="610"/>
                  </a:lnTo>
                  <a:lnTo>
                    <a:pt x="794" y="610"/>
                  </a:lnTo>
                  <a:lnTo>
                    <a:pt x="788" y="612"/>
                  </a:lnTo>
                  <a:lnTo>
                    <a:pt x="782" y="616"/>
                  </a:lnTo>
                  <a:lnTo>
                    <a:pt x="773" y="624"/>
                  </a:lnTo>
                  <a:lnTo>
                    <a:pt x="766" y="634"/>
                  </a:lnTo>
                  <a:lnTo>
                    <a:pt x="760" y="644"/>
                  </a:lnTo>
                  <a:lnTo>
                    <a:pt x="754" y="655"/>
                  </a:lnTo>
                  <a:lnTo>
                    <a:pt x="748" y="664"/>
                  </a:lnTo>
                  <a:lnTo>
                    <a:pt x="740" y="672"/>
                  </a:lnTo>
                  <a:lnTo>
                    <a:pt x="736" y="676"/>
                  </a:lnTo>
                  <a:lnTo>
                    <a:pt x="731" y="679"/>
                  </a:lnTo>
                  <a:lnTo>
                    <a:pt x="725" y="681"/>
                  </a:lnTo>
                  <a:lnTo>
                    <a:pt x="719" y="682"/>
                  </a:lnTo>
                  <a:lnTo>
                    <a:pt x="715" y="682"/>
                  </a:lnTo>
                  <a:lnTo>
                    <a:pt x="711" y="682"/>
                  </a:lnTo>
                  <a:lnTo>
                    <a:pt x="706" y="681"/>
                  </a:lnTo>
                  <a:lnTo>
                    <a:pt x="703" y="679"/>
                  </a:lnTo>
                  <a:lnTo>
                    <a:pt x="697" y="675"/>
                  </a:lnTo>
                  <a:lnTo>
                    <a:pt x="692" y="667"/>
                  </a:lnTo>
                  <a:lnTo>
                    <a:pt x="684" y="649"/>
                  </a:lnTo>
                  <a:lnTo>
                    <a:pt x="676" y="631"/>
                  </a:lnTo>
                  <a:lnTo>
                    <a:pt x="672" y="621"/>
                  </a:lnTo>
                  <a:lnTo>
                    <a:pt x="668" y="612"/>
                  </a:lnTo>
                  <a:lnTo>
                    <a:pt x="663" y="605"/>
                  </a:lnTo>
                  <a:lnTo>
                    <a:pt x="657" y="599"/>
                  </a:lnTo>
                  <a:lnTo>
                    <a:pt x="654" y="597"/>
                  </a:lnTo>
                  <a:lnTo>
                    <a:pt x="651" y="596"/>
                  </a:lnTo>
                  <a:lnTo>
                    <a:pt x="647" y="595"/>
                  </a:lnTo>
                  <a:lnTo>
                    <a:pt x="643" y="595"/>
                  </a:lnTo>
                  <a:lnTo>
                    <a:pt x="639" y="595"/>
                  </a:lnTo>
                  <a:lnTo>
                    <a:pt x="633" y="596"/>
                  </a:lnTo>
                  <a:lnTo>
                    <a:pt x="628" y="599"/>
                  </a:lnTo>
                  <a:lnTo>
                    <a:pt x="623" y="603"/>
                  </a:lnTo>
                  <a:lnTo>
                    <a:pt x="595" y="620"/>
                  </a:lnTo>
                  <a:lnTo>
                    <a:pt x="571" y="634"/>
                  </a:lnTo>
                  <a:lnTo>
                    <a:pt x="559" y="638"/>
                  </a:lnTo>
                  <a:lnTo>
                    <a:pt x="546" y="641"/>
                  </a:lnTo>
                  <a:lnTo>
                    <a:pt x="529" y="643"/>
                  </a:lnTo>
                  <a:lnTo>
                    <a:pt x="509" y="644"/>
                  </a:lnTo>
                  <a:lnTo>
                    <a:pt x="500" y="644"/>
                  </a:lnTo>
                  <a:lnTo>
                    <a:pt x="491" y="646"/>
                  </a:lnTo>
                  <a:lnTo>
                    <a:pt x="483" y="651"/>
                  </a:lnTo>
                  <a:lnTo>
                    <a:pt x="478" y="655"/>
                  </a:lnTo>
                  <a:lnTo>
                    <a:pt x="476" y="657"/>
                  </a:lnTo>
                  <a:lnTo>
                    <a:pt x="476" y="659"/>
                  </a:lnTo>
                  <a:lnTo>
                    <a:pt x="476" y="661"/>
                  </a:lnTo>
                  <a:lnTo>
                    <a:pt x="477" y="663"/>
                  </a:lnTo>
                  <a:lnTo>
                    <a:pt x="480" y="665"/>
                  </a:lnTo>
                  <a:lnTo>
                    <a:pt x="484" y="667"/>
                  </a:lnTo>
                  <a:lnTo>
                    <a:pt x="490" y="669"/>
                  </a:lnTo>
                  <a:lnTo>
                    <a:pt x="496" y="670"/>
                  </a:lnTo>
                  <a:lnTo>
                    <a:pt x="504" y="672"/>
                  </a:lnTo>
                  <a:lnTo>
                    <a:pt x="508" y="676"/>
                  </a:lnTo>
                  <a:lnTo>
                    <a:pt x="511" y="679"/>
                  </a:lnTo>
                  <a:lnTo>
                    <a:pt x="511" y="683"/>
                  </a:lnTo>
                  <a:lnTo>
                    <a:pt x="510" y="688"/>
                  </a:lnTo>
                  <a:lnTo>
                    <a:pt x="509" y="693"/>
                  </a:lnTo>
                  <a:lnTo>
                    <a:pt x="506" y="699"/>
                  </a:lnTo>
                  <a:lnTo>
                    <a:pt x="503" y="704"/>
                  </a:lnTo>
                  <a:lnTo>
                    <a:pt x="496" y="714"/>
                  </a:lnTo>
                  <a:lnTo>
                    <a:pt x="493" y="724"/>
                  </a:lnTo>
                  <a:lnTo>
                    <a:pt x="492" y="728"/>
                  </a:lnTo>
                  <a:lnTo>
                    <a:pt x="494" y="732"/>
                  </a:lnTo>
                  <a:lnTo>
                    <a:pt x="497" y="734"/>
                  </a:lnTo>
                  <a:lnTo>
                    <a:pt x="503" y="736"/>
                  </a:lnTo>
                  <a:lnTo>
                    <a:pt x="508" y="737"/>
                  </a:lnTo>
                  <a:lnTo>
                    <a:pt x="515" y="737"/>
                  </a:lnTo>
                  <a:lnTo>
                    <a:pt x="521" y="736"/>
                  </a:lnTo>
                  <a:lnTo>
                    <a:pt x="527" y="734"/>
                  </a:lnTo>
                  <a:lnTo>
                    <a:pt x="533" y="733"/>
                  </a:lnTo>
                  <a:lnTo>
                    <a:pt x="540" y="732"/>
                  </a:lnTo>
                  <a:lnTo>
                    <a:pt x="546" y="733"/>
                  </a:lnTo>
                  <a:lnTo>
                    <a:pt x="551" y="734"/>
                  </a:lnTo>
                  <a:lnTo>
                    <a:pt x="552" y="736"/>
                  </a:lnTo>
                  <a:lnTo>
                    <a:pt x="551" y="739"/>
                  </a:lnTo>
                  <a:lnTo>
                    <a:pt x="550" y="744"/>
                  </a:lnTo>
                  <a:lnTo>
                    <a:pt x="547" y="751"/>
                  </a:lnTo>
                  <a:lnTo>
                    <a:pt x="540" y="767"/>
                  </a:lnTo>
                  <a:lnTo>
                    <a:pt x="531" y="786"/>
                  </a:lnTo>
                  <a:lnTo>
                    <a:pt x="514" y="823"/>
                  </a:lnTo>
                  <a:lnTo>
                    <a:pt x="503" y="847"/>
                  </a:lnTo>
                  <a:lnTo>
                    <a:pt x="501" y="857"/>
                  </a:lnTo>
                  <a:lnTo>
                    <a:pt x="500" y="866"/>
                  </a:lnTo>
                  <a:lnTo>
                    <a:pt x="499" y="876"/>
                  </a:lnTo>
                  <a:lnTo>
                    <a:pt x="500" y="885"/>
                  </a:lnTo>
                  <a:lnTo>
                    <a:pt x="501" y="888"/>
                  </a:lnTo>
                  <a:lnTo>
                    <a:pt x="503" y="892"/>
                  </a:lnTo>
                  <a:lnTo>
                    <a:pt x="506" y="894"/>
                  </a:lnTo>
                  <a:lnTo>
                    <a:pt x="509" y="896"/>
                  </a:lnTo>
                  <a:lnTo>
                    <a:pt x="514" y="897"/>
                  </a:lnTo>
                  <a:lnTo>
                    <a:pt x="519" y="897"/>
                  </a:lnTo>
                  <a:lnTo>
                    <a:pt x="525" y="896"/>
                  </a:lnTo>
                  <a:lnTo>
                    <a:pt x="532" y="894"/>
                  </a:lnTo>
                  <a:lnTo>
                    <a:pt x="539" y="893"/>
                  </a:lnTo>
                  <a:lnTo>
                    <a:pt x="543" y="893"/>
                  </a:lnTo>
                  <a:lnTo>
                    <a:pt x="543" y="894"/>
                  </a:lnTo>
                  <a:lnTo>
                    <a:pt x="544" y="895"/>
                  </a:lnTo>
                  <a:lnTo>
                    <a:pt x="544" y="896"/>
                  </a:lnTo>
                  <a:lnTo>
                    <a:pt x="543" y="898"/>
                  </a:lnTo>
                  <a:lnTo>
                    <a:pt x="536" y="907"/>
                  </a:lnTo>
                  <a:lnTo>
                    <a:pt x="525" y="920"/>
                  </a:lnTo>
                  <a:lnTo>
                    <a:pt x="498" y="945"/>
                  </a:lnTo>
                  <a:lnTo>
                    <a:pt x="484" y="957"/>
                  </a:lnTo>
                  <a:lnTo>
                    <a:pt x="478" y="969"/>
                  </a:lnTo>
                  <a:lnTo>
                    <a:pt x="475" y="979"/>
                  </a:lnTo>
                  <a:lnTo>
                    <a:pt x="472" y="989"/>
                  </a:lnTo>
                  <a:lnTo>
                    <a:pt x="471" y="998"/>
                  </a:lnTo>
                  <a:lnTo>
                    <a:pt x="470" y="1006"/>
                  </a:lnTo>
                  <a:lnTo>
                    <a:pt x="471" y="1015"/>
                  </a:lnTo>
                  <a:lnTo>
                    <a:pt x="472" y="1023"/>
                  </a:lnTo>
                  <a:lnTo>
                    <a:pt x="474" y="1030"/>
                  </a:lnTo>
                  <a:lnTo>
                    <a:pt x="479" y="1046"/>
                  </a:lnTo>
                  <a:lnTo>
                    <a:pt x="484" y="1063"/>
                  </a:lnTo>
                  <a:lnTo>
                    <a:pt x="486" y="1072"/>
                  </a:lnTo>
                  <a:lnTo>
                    <a:pt x="490" y="1081"/>
                  </a:lnTo>
                  <a:lnTo>
                    <a:pt x="491" y="1091"/>
                  </a:lnTo>
                  <a:lnTo>
                    <a:pt x="492" y="1102"/>
                  </a:lnTo>
                  <a:lnTo>
                    <a:pt x="497" y="1127"/>
                  </a:lnTo>
                  <a:lnTo>
                    <a:pt x="501" y="1153"/>
                  </a:lnTo>
                  <a:lnTo>
                    <a:pt x="503" y="1166"/>
                  </a:lnTo>
                  <a:lnTo>
                    <a:pt x="504" y="1178"/>
                  </a:lnTo>
                  <a:lnTo>
                    <a:pt x="503" y="1191"/>
                  </a:lnTo>
                  <a:lnTo>
                    <a:pt x="501" y="1204"/>
                  </a:lnTo>
                  <a:lnTo>
                    <a:pt x="492" y="1209"/>
                  </a:lnTo>
                  <a:lnTo>
                    <a:pt x="481" y="1213"/>
                  </a:lnTo>
                  <a:lnTo>
                    <a:pt x="472" y="1216"/>
                  </a:lnTo>
                  <a:lnTo>
                    <a:pt x="462" y="1220"/>
                  </a:lnTo>
                  <a:lnTo>
                    <a:pt x="457" y="1223"/>
                  </a:lnTo>
                  <a:lnTo>
                    <a:pt x="453" y="1227"/>
                  </a:lnTo>
                  <a:lnTo>
                    <a:pt x="449" y="1232"/>
                  </a:lnTo>
                  <a:lnTo>
                    <a:pt x="445" y="1236"/>
                  </a:lnTo>
                  <a:lnTo>
                    <a:pt x="438" y="1246"/>
                  </a:lnTo>
                  <a:lnTo>
                    <a:pt x="431" y="1256"/>
                  </a:lnTo>
                  <a:lnTo>
                    <a:pt x="428" y="1261"/>
                  </a:lnTo>
                  <a:lnTo>
                    <a:pt x="424" y="1265"/>
                  </a:lnTo>
                  <a:lnTo>
                    <a:pt x="420" y="1269"/>
                  </a:lnTo>
                  <a:lnTo>
                    <a:pt x="416" y="1272"/>
                  </a:lnTo>
                  <a:lnTo>
                    <a:pt x="410" y="1275"/>
                  </a:lnTo>
                  <a:lnTo>
                    <a:pt x="404" y="1278"/>
                  </a:lnTo>
                  <a:lnTo>
                    <a:pt x="398" y="1279"/>
                  </a:lnTo>
                  <a:lnTo>
                    <a:pt x="391" y="1280"/>
                  </a:lnTo>
                  <a:lnTo>
                    <a:pt x="364" y="1279"/>
                  </a:lnTo>
                  <a:lnTo>
                    <a:pt x="337" y="1278"/>
                  </a:lnTo>
                  <a:lnTo>
                    <a:pt x="331" y="1279"/>
                  </a:lnTo>
                  <a:lnTo>
                    <a:pt x="325" y="1280"/>
                  </a:lnTo>
                  <a:lnTo>
                    <a:pt x="319" y="1281"/>
                  </a:lnTo>
                  <a:lnTo>
                    <a:pt x="312" y="1284"/>
                  </a:lnTo>
                  <a:lnTo>
                    <a:pt x="307" y="1286"/>
                  </a:lnTo>
                  <a:lnTo>
                    <a:pt x="302" y="1290"/>
                  </a:lnTo>
                  <a:lnTo>
                    <a:pt x="298" y="1294"/>
                  </a:lnTo>
                  <a:lnTo>
                    <a:pt x="294" y="1299"/>
                  </a:lnTo>
                  <a:lnTo>
                    <a:pt x="287" y="1308"/>
                  </a:lnTo>
                  <a:lnTo>
                    <a:pt x="280" y="1316"/>
                  </a:lnTo>
                  <a:lnTo>
                    <a:pt x="273" y="1323"/>
                  </a:lnTo>
                  <a:lnTo>
                    <a:pt x="264" y="1330"/>
                  </a:lnTo>
                  <a:lnTo>
                    <a:pt x="255" y="1335"/>
                  </a:lnTo>
                  <a:lnTo>
                    <a:pt x="246" y="1338"/>
                  </a:lnTo>
                  <a:lnTo>
                    <a:pt x="235" y="1340"/>
                  </a:lnTo>
                  <a:lnTo>
                    <a:pt x="224" y="1340"/>
                  </a:lnTo>
                  <a:lnTo>
                    <a:pt x="215" y="1339"/>
                  </a:lnTo>
                  <a:lnTo>
                    <a:pt x="207" y="1336"/>
                  </a:lnTo>
                  <a:lnTo>
                    <a:pt x="200" y="1332"/>
                  </a:lnTo>
                  <a:lnTo>
                    <a:pt x="192" y="1327"/>
                  </a:lnTo>
                  <a:lnTo>
                    <a:pt x="179" y="1313"/>
                  </a:lnTo>
                  <a:lnTo>
                    <a:pt x="165" y="1299"/>
                  </a:lnTo>
                  <a:lnTo>
                    <a:pt x="158" y="1292"/>
                  </a:lnTo>
                  <a:lnTo>
                    <a:pt x="152" y="1287"/>
                  </a:lnTo>
                  <a:lnTo>
                    <a:pt x="144" y="1282"/>
                  </a:lnTo>
                  <a:lnTo>
                    <a:pt x="136" y="1278"/>
                  </a:lnTo>
                  <a:lnTo>
                    <a:pt x="128" y="1275"/>
                  </a:lnTo>
                  <a:lnTo>
                    <a:pt x="118" y="1274"/>
                  </a:lnTo>
                  <a:lnTo>
                    <a:pt x="108" y="1276"/>
                  </a:lnTo>
                  <a:lnTo>
                    <a:pt x="98" y="1281"/>
                  </a:lnTo>
                  <a:lnTo>
                    <a:pt x="88" y="1285"/>
                  </a:lnTo>
                  <a:lnTo>
                    <a:pt x="81" y="1290"/>
                  </a:lnTo>
                  <a:lnTo>
                    <a:pt x="76" y="1296"/>
                  </a:lnTo>
                  <a:lnTo>
                    <a:pt x="73" y="1302"/>
                  </a:lnTo>
                  <a:lnTo>
                    <a:pt x="70" y="1308"/>
                  </a:lnTo>
                  <a:lnTo>
                    <a:pt x="69" y="1314"/>
                  </a:lnTo>
                  <a:lnTo>
                    <a:pt x="70" y="1320"/>
                  </a:lnTo>
                  <a:lnTo>
                    <a:pt x="73" y="1327"/>
                  </a:lnTo>
                  <a:lnTo>
                    <a:pt x="76" y="1334"/>
                  </a:lnTo>
                  <a:lnTo>
                    <a:pt x="80" y="1340"/>
                  </a:lnTo>
                  <a:lnTo>
                    <a:pt x="84" y="1345"/>
                  </a:lnTo>
                  <a:lnTo>
                    <a:pt x="89" y="1352"/>
                  </a:lnTo>
                  <a:lnTo>
                    <a:pt x="101" y="1362"/>
                  </a:lnTo>
                  <a:lnTo>
                    <a:pt x="113" y="1370"/>
                  </a:lnTo>
                  <a:lnTo>
                    <a:pt x="132" y="1382"/>
                  </a:lnTo>
                  <a:lnTo>
                    <a:pt x="153" y="1392"/>
                  </a:lnTo>
                  <a:lnTo>
                    <a:pt x="162" y="1397"/>
                  </a:lnTo>
                  <a:lnTo>
                    <a:pt x="173" y="1403"/>
                  </a:lnTo>
                  <a:lnTo>
                    <a:pt x="181" y="1409"/>
                  </a:lnTo>
                  <a:lnTo>
                    <a:pt x="189" y="1415"/>
                  </a:lnTo>
                  <a:lnTo>
                    <a:pt x="197" y="1421"/>
                  </a:lnTo>
                  <a:lnTo>
                    <a:pt x="203" y="1429"/>
                  </a:lnTo>
                  <a:lnTo>
                    <a:pt x="207" y="1437"/>
                  </a:lnTo>
                  <a:lnTo>
                    <a:pt x="210" y="1445"/>
                  </a:lnTo>
                  <a:lnTo>
                    <a:pt x="210" y="1451"/>
                  </a:lnTo>
                  <a:lnTo>
                    <a:pt x="210" y="1455"/>
                  </a:lnTo>
                  <a:lnTo>
                    <a:pt x="210" y="1460"/>
                  </a:lnTo>
                  <a:lnTo>
                    <a:pt x="208" y="1466"/>
                  </a:lnTo>
                  <a:lnTo>
                    <a:pt x="204" y="1478"/>
                  </a:lnTo>
                  <a:lnTo>
                    <a:pt x="198" y="1490"/>
                  </a:lnTo>
                  <a:lnTo>
                    <a:pt x="187" y="1505"/>
                  </a:lnTo>
                  <a:lnTo>
                    <a:pt x="178" y="1516"/>
                  </a:lnTo>
                  <a:lnTo>
                    <a:pt x="167" y="1525"/>
                  </a:lnTo>
                  <a:lnTo>
                    <a:pt x="158" y="1530"/>
                  </a:lnTo>
                  <a:lnTo>
                    <a:pt x="149" y="1534"/>
                  </a:lnTo>
                  <a:lnTo>
                    <a:pt x="139" y="1535"/>
                  </a:lnTo>
                  <a:lnTo>
                    <a:pt x="130" y="1535"/>
                  </a:lnTo>
                  <a:lnTo>
                    <a:pt x="119" y="1535"/>
                  </a:lnTo>
                  <a:lnTo>
                    <a:pt x="101" y="1532"/>
                  </a:lnTo>
                  <a:lnTo>
                    <a:pt x="82" y="1530"/>
                  </a:lnTo>
                  <a:lnTo>
                    <a:pt x="73" y="1530"/>
                  </a:lnTo>
                  <a:lnTo>
                    <a:pt x="62" y="1532"/>
                  </a:lnTo>
                  <a:lnTo>
                    <a:pt x="52" y="1536"/>
                  </a:lnTo>
                  <a:lnTo>
                    <a:pt x="42" y="1542"/>
                  </a:lnTo>
                  <a:lnTo>
                    <a:pt x="41" y="1549"/>
                  </a:lnTo>
                  <a:lnTo>
                    <a:pt x="42" y="1555"/>
                  </a:lnTo>
                  <a:lnTo>
                    <a:pt x="43" y="1560"/>
                  </a:lnTo>
                  <a:lnTo>
                    <a:pt x="45" y="1565"/>
                  </a:lnTo>
                  <a:lnTo>
                    <a:pt x="50" y="1575"/>
                  </a:lnTo>
                  <a:lnTo>
                    <a:pt x="54" y="1583"/>
                  </a:lnTo>
                  <a:lnTo>
                    <a:pt x="56" y="1587"/>
                  </a:lnTo>
                  <a:lnTo>
                    <a:pt x="58" y="1593"/>
                  </a:lnTo>
                  <a:lnTo>
                    <a:pt x="59" y="1597"/>
                  </a:lnTo>
                  <a:lnTo>
                    <a:pt x="59" y="1602"/>
                  </a:lnTo>
                  <a:lnTo>
                    <a:pt x="59" y="1608"/>
                  </a:lnTo>
                  <a:lnTo>
                    <a:pt x="57" y="1616"/>
                  </a:lnTo>
                  <a:lnTo>
                    <a:pt x="54" y="1623"/>
                  </a:lnTo>
                  <a:lnTo>
                    <a:pt x="50" y="1631"/>
                  </a:lnTo>
                  <a:lnTo>
                    <a:pt x="29" y="1649"/>
                  </a:lnTo>
                  <a:lnTo>
                    <a:pt x="13" y="1664"/>
                  </a:lnTo>
                  <a:lnTo>
                    <a:pt x="9" y="1669"/>
                  </a:lnTo>
                  <a:lnTo>
                    <a:pt x="5" y="1674"/>
                  </a:lnTo>
                  <a:lnTo>
                    <a:pt x="2" y="1679"/>
                  </a:lnTo>
                  <a:lnTo>
                    <a:pt x="1" y="1684"/>
                  </a:lnTo>
                  <a:lnTo>
                    <a:pt x="0" y="1690"/>
                  </a:lnTo>
                  <a:lnTo>
                    <a:pt x="0" y="1696"/>
                  </a:lnTo>
                  <a:lnTo>
                    <a:pt x="0" y="1703"/>
                  </a:lnTo>
                  <a:lnTo>
                    <a:pt x="1" y="1710"/>
                  </a:lnTo>
                  <a:lnTo>
                    <a:pt x="3" y="1730"/>
                  </a:lnTo>
                  <a:lnTo>
                    <a:pt x="6" y="1757"/>
                  </a:lnTo>
                  <a:lnTo>
                    <a:pt x="6" y="1766"/>
                  </a:lnTo>
                  <a:lnTo>
                    <a:pt x="5" y="1772"/>
                  </a:lnTo>
                  <a:lnTo>
                    <a:pt x="3" y="1777"/>
                  </a:lnTo>
                  <a:lnTo>
                    <a:pt x="1" y="1780"/>
                  </a:lnTo>
                  <a:lnTo>
                    <a:pt x="1" y="1780"/>
                  </a:lnTo>
                  <a:close/>
                </a:path>
              </a:pathLst>
            </a:custGeom>
            <a:noFill/>
            <a:ln w="127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42" name="Freeform 180">
              <a:extLst>
                <a:ext uri="{FF2B5EF4-FFF2-40B4-BE49-F238E27FC236}">
                  <a16:creationId xmlns:a16="http://schemas.microsoft.com/office/drawing/2014/main" id="{72F9D67F-35C3-4BE2-9A37-13C55AB1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776" y="2871715"/>
              <a:ext cx="930004" cy="587225"/>
            </a:xfrm>
            <a:custGeom>
              <a:avLst/>
              <a:gdLst>
                <a:gd name="T0" fmla="*/ 96 w 3701"/>
                <a:gd name="T1" fmla="*/ 1207 h 2419"/>
                <a:gd name="T2" fmla="*/ 253 w 3701"/>
                <a:gd name="T3" fmla="*/ 1360 h 2419"/>
                <a:gd name="T4" fmla="*/ 461 w 3701"/>
                <a:gd name="T5" fmla="*/ 1437 h 2419"/>
                <a:gd name="T6" fmla="*/ 644 w 3701"/>
                <a:gd name="T7" fmla="*/ 1373 h 2419"/>
                <a:gd name="T8" fmla="*/ 735 w 3701"/>
                <a:gd name="T9" fmla="*/ 1479 h 2419"/>
                <a:gd name="T10" fmla="*/ 744 w 3701"/>
                <a:gd name="T11" fmla="*/ 1609 h 2419"/>
                <a:gd name="T12" fmla="*/ 835 w 3701"/>
                <a:gd name="T13" fmla="*/ 1610 h 2419"/>
                <a:gd name="T14" fmla="*/ 787 w 3701"/>
                <a:gd name="T15" fmla="*/ 1912 h 2419"/>
                <a:gd name="T16" fmla="*/ 891 w 3701"/>
                <a:gd name="T17" fmla="*/ 1998 h 2419"/>
                <a:gd name="T18" fmla="*/ 861 w 3701"/>
                <a:gd name="T19" fmla="*/ 2117 h 2419"/>
                <a:gd name="T20" fmla="*/ 917 w 3701"/>
                <a:gd name="T21" fmla="*/ 2245 h 2419"/>
                <a:gd name="T22" fmla="*/ 654 w 3701"/>
                <a:gd name="T23" fmla="*/ 2231 h 2419"/>
                <a:gd name="T24" fmla="*/ 798 w 3701"/>
                <a:gd name="T25" fmla="*/ 2311 h 2419"/>
                <a:gd name="T26" fmla="*/ 647 w 3701"/>
                <a:gd name="T27" fmla="*/ 2373 h 2419"/>
                <a:gd name="T28" fmla="*/ 991 w 3701"/>
                <a:gd name="T29" fmla="*/ 2348 h 2419"/>
                <a:gd name="T30" fmla="*/ 1485 w 3701"/>
                <a:gd name="T31" fmla="*/ 2287 h 2419"/>
                <a:gd name="T32" fmla="*/ 1737 w 3701"/>
                <a:gd name="T33" fmla="*/ 2214 h 2419"/>
                <a:gd name="T34" fmla="*/ 1995 w 3701"/>
                <a:gd name="T35" fmla="*/ 2129 h 2419"/>
                <a:gd name="T36" fmla="*/ 2238 w 3701"/>
                <a:gd name="T37" fmla="*/ 2088 h 2419"/>
                <a:gd name="T38" fmla="*/ 2535 w 3701"/>
                <a:gd name="T39" fmla="*/ 2027 h 2419"/>
                <a:gd name="T40" fmla="*/ 2776 w 3701"/>
                <a:gd name="T41" fmla="*/ 1939 h 2419"/>
                <a:gd name="T42" fmla="*/ 3076 w 3701"/>
                <a:gd name="T43" fmla="*/ 1984 h 2419"/>
                <a:gd name="T44" fmla="*/ 3266 w 3701"/>
                <a:gd name="T45" fmla="*/ 1804 h 2419"/>
                <a:gd name="T46" fmla="*/ 3205 w 3701"/>
                <a:gd name="T47" fmla="*/ 1614 h 2419"/>
                <a:gd name="T48" fmla="*/ 2989 w 3701"/>
                <a:gd name="T49" fmla="*/ 1460 h 2419"/>
                <a:gd name="T50" fmla="*/ 3022 w 3701"/>
                <a:gd name="T51" fmla="*/ 1358 h 2419"/>
                <a:gd name="T52" fmla="*/ 3141 w 3701"/>
                <a:gd name="T53" fmla="*/ 1210 h 2419"/>
                <a:gd name="T54" fmla="*/ 3212 w 3701"/>
                <a:gd name="T55" fmla="*/ 1002 h 2419"/>
                <a:gd name="T56" fmla="*/ 3330 w 3701"/>
                <a:gd name="T57" fmla="*/ 930 h 2419"/>
                <a:gd name="T58" fmla="*/ 3423 w 3701"/>
                <a:gd name="T59" fmla="*/ 819 h 2419"/>
                <a:gd name="T60" fmla="*/ 3540 w 3701"/>
                <a:gd name="T61" fmla="*/ 718 h 2419"/>
                <a:gd name="T62" fmla="*/ 3634 w 3701"/>
                <a:gd name="T63" fmla="*/ 706 h 2419"/>
                <a:gd name="T64" fmla="*/ 3667 w 3701"/>
                <a:gd name="T65" fmla="*/ 645 h 2419"/>
                <a:gd name="T66" fmla="*/ 3417 w 3701"/>
                <a:gd name="T67" fmla="*/ 546 h 2419"/>
                <a:gd name="T68" fmla="*/ 3317 w 3701"/>
                <a:gd name="T69" fmla="*/ 516 h 2419"/>
                <a:gd name="T70" fmla="*/ 3146 w 3701"/>
                <a:gd name="T71" fmla="*/ 474 h 2419"/>
                <a:gd name="T72" fmla="*/ 2961 w 3701"/>
                <a:gd name="T73" fmla="*/ 436 h 2419"/>
                <a:gd name="T74" fmla="*/ 2750 w 3701"/>
                <a:gd name="T75" fmla="*/ 361 h 2419"/>
                <a:gd name="T76" fmla="*/ 2450 w 3701"/>
                <a:gd name="T77" fmla="*/ 209 h 2419"/>
                <a:gd name="T78" fmla="*/ 2258 w 3701"/>
                <a:gd name="T79" fmla="*/ 234 h 2419"/>
                <a:gd name="T80" fmla="*/ 2123 w 3701"/>
                <a:gd name="T81" fmla="*/ 280 h 2419"/>
                <a:gd name="T82" fmla="*/ 1985 w 3701"/>
                <a:gd name="T83" fmla="*/ 381 h 2419"/>
                <a:gd name="T84" fmla="*/ 1747 w 3701"/>
                <a:gd name="T85" fmla="*/ 271 h 2419"/>
                <a:gd name="T86" fmla="*/ 1644 w 3701"/>
                <a:gd name="T87" fmla="*/ 297 h 2419"/>
                <a:gd name="T88" fmla="*/ 1538 w 3701"/>
                <a:gd name="T89" fmla="*/ 264 h 2419"/>
                <a:gd name="T90" fmla="*/ 1424 w 3701"/>
                <a:gd name="T91" fmla="*/ 195 h 2419"/>
                <a:gd name="T92" fmla="*/ 1248 w 3701"/>
                <a:gd name="T93" fmla="*/ 16 h 2419"/>
                <a:gd name="T94" fmla="*/ 1172 w 3701"/>
                <a:gd name="T95" fmla="*/ 78 h 2419"/>
                <a:gd name="T96" fmla="*/ 1086 w 3701"/>
                <a:gd name="T97" fmla="*/ 64 h 2419"/>
                <a:gd name="T98" fmla="*/ 987 w 3701"/>
                <a:gd name="T99" fmla="*/ 181 h 2419"/>
                <a:gd name="T100" fmla="*/ 848 w 3701"/>
                <a:gd name="T101" fmla="*/ 289 h 2419"/>
                <a:gd name="T102" fmla="*/ 644 w 3701"/>
                <a:gd name="T103" fmla="*/ 398 h 2419"/>
                <a:gd name="T104" fmla="*/ 719 w 3701"/>
                <a:gd name="T105" fmla="*/ 559 h 2419"/>
                <a:gd name="T106" fmla="*/ 641 w 3701"/>
                <a:gd name="T107" fmla="*/ 632 h 2419"/>
                <a:gd name="T108" fmla="*/ 662 w 3701"/>
                <a:gd name="T109" fmla="*/ 697 h 2419"/>
                <a:gd name="T110" fmla="*/ 698 w 3701"/>
                <a:gd name="T111" fmla="*/ 774 h 2419"/>
                <a:gd name="T112" fmla="*/ 773 w 3701"/>
                <a:gd name="T113" fmla="*/ 926 h 2419"/>
                <a:gd name="T114" fmla="*/ 694 w 3701"/>
                <a:gd name="T115" fmla="*/ 1098 h 2419"/>
                <a:gd name="T116" fmla="*/ 573 w 3701"/>
                <a:gd name="T117" fmla="*/ 1032 h 2419"/>
                <a:gd name="T118" fmla="*/ 393 w 3701"/>
                <a:gd name="T119" fmla="*/ 926 h 2419"/>
                <a:gd name="T120" fmla="*/ 263 w 3701"/>
                <a:gd name="T121" fmla="*/ 983 h 2419"/>
                <a:gd name="T122" fmla="*/ 224 w 3701"/>
                <a:gd name="T123" fmla="*/ 1059 h 2419"/>
                <a:gd name="T124" fmla="*/ 88 w 3701"/>
                <a:gd name="T125" fmla="*/ 948 h 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01" h="2419">
                  <a:moveTo>
                    <a:pt x="1" y="1025"/>
                  </a:moveTo>
                  <a:lnTo>
                    <a:pt x="0" y="1070"/>
                  </a:lnTo>
                  <a:lnTo>
                    <a:pt x="20" y="1084"/>
                  </a:lnTo>
                  <a:lnTo>
                    <a:pt x="36" y="1095"/>
                  </a:lnTo>
                  <a:lnTo>
                    <a:pt x="49" y="1109"/>
                  </a:lnTo>
                  <a:lnTo>
                    <a:pt x="62" y="1127"/>
                  </a:lnTo>
                  <a:lnTo>
                    <a:pt x="58" y="1135"/>
                  </a:lnTo>
                  <a:lnTo>
                    <a:pt x="54" y="1143"/>
                  </a:lnTo>
                  <a:lnTo>
                    <a:pt x="51" y="1153"/>
                  </a:lnTo>
                  <a:lnTo>
                    <a:pt x="49" y="1160"/>
                  </a:lnTo>
                  <a:lnTo>
                    <a:pt x="48" y="1168"/>
                  </a:lnTo>
                  <a:lnTo>
                    <a:pt x="48" y="1176"/>
                  </a:lnTo>
                  <a:lnTo>
                    <a:pt x="49" y="1182"/>
                  </a:lnTo>
                  <a:lnTo>
                    <a:pt x="51" y="1188"/>
                  </a:lnTo>
                  <a:lnTo>
                    <a:pt x="54" y="1194"/>
                  </a:lnTo>
                  <a:lnTo>
                    <a:pt x="58" y="1198"/>
                  </a:lnTo>
                  <a:lnTo>
                    <a:pt x="63" y="1202"/>
                  </a:lnTo>
                  <a:lnTo>
                    <a:pt x="69" y="1205"/>
                  </a:lnTo>
                  <a:lnTo>
                    <a:pt x="77" y="1206"/>
                  </a:lnTo>
                  <a:lnTo>
                    <a:pt x="86" y="1207"/>
                  </a:lnTo>
                  <a:lnTo>
                    <a:pt x="96" y="1207"/>
                  </a:lnTo>
                  <a:lnTo>
                    <a:pt x="106" y="1205"/>
                  </a:lnTo>
                  <a:lnTo>
                    <a:pt x="112" y="1205"/>
                  </a:lnTo>
                  <a:lnTo>
                    <a:pt x="118" y="1206"/>
                  </a:lnTo>
                  <a:lnTo>
                    <a:pt x="124" y="1208"/>
                  </a:lnTo>
                  <a:lnTo>
                    <a:pt x="129" y="1211"/>
                  </a:lnTo>
                  <a:lnTo>
                    <a:pt x="134" y="1215"/>
                  </a:lnTo>
                  <a:lnTo>
                    <a:pt x="139" y="1221"/>
                  </a:lnTo>
                  <a:lnTo>
                    <a:pt x="143" y="1227"/>
                  </a:lnTo>
                  <a:lnTo>
                    <a:pt x="148" y="1233"/>
                  </a:lnTo>
                  <a:lnTo>
                    <a:pt x="162" y="1260"/>
                  </a:lnTo>
                  <a:lnTo>
                    <a:pt x="174" y="1283"/>
                  </a:lnTo>
                  <a:lnTo>
                    <a:pt x="181" y="1296"/>
                  </a:lnTo>
                  <a:lnTo>
                    <a:pt x="188" y="1308"/>
                  </a:lnTo>
                  <a:lnTo>
                    <a:pt x="197" y="1321"/>
                  </a:lnTo>
                  <a:lnTo>
                    <a:pt x="205" y="1331"/>
                  </a:lnTo>
                  <a:lnTo>
                    <a:pt x="215" y="1342"/>
                  </a:lnTo>
                  <a:lnTo>
                    <a:pt x="226" y="1350"/>
                  </a:lnTo>
                  <a:lnTo>
                    <a:pt x="232" y="1353"/>
                  </a:lnTo>
                  <a:lnTo>
                    <a:pt x="238" y="1356"/>
                  </a:lnTo>
                  <a:lnTo>
                    <a:pt x="246" y="1358"/>
                  </a:lnTo>
                  <a:lnTo>
                    <a:pt x="253" y="1360"/>
                  </a:lnTo>
                  <a:lnTo>
                    <a:pt x="264" y="1364"/>
                  </a:lnTo>
                  <a:lnTo>
                    <a:pt x="275" y="1369"/>
                  </a:lnTo>
                  <a:lnTo>
                    <a:pt x="286" y="1376"/>
                  </a:lnTo>
                  <a:lnTo>
                    <a:pt x="297" y="1384"/>
                  </a:lnTo>
                  <a:lnTo>
                    <a:pt x="320" y="1404"/>
                  </a:lnTo>
                  <a:lnTo>
                    <a:pt x="342" y="1425"/>
                  </a:lnTo>
                  <a:lnTo>
                    <a:pt x="352" y="1435"/>
                  </a:lnTo>
                  <a:lnTo>
                    <a:pt x="363" y="1444"/>
                  </a:lnTo>
                  <a:lnTo>
                    <a:pt x="374" y="1452"/>
                  </a:lnTo>
                  <a:lnTo>
                    <a:pt x="384" y="1459"/>
                  </a:lnTo>
                  <a:lnTo>
                    <a:pt x="390" y="1462"/>
                  </a:lnTo>
                  <a:lnTo>
                    <a:pt x="396" y="1464"/>
                  </a:lnTo>
                  <a:lnTo>
                    <a:pt x="401" y="1465"/>
                  </a:lnTo>
                  <a:lnTo>
                    <a:pt x="406" y="1466"/>
                  </a:lnTo>
                  <a:lnTo>
                    <a:pt x="410" y="1466"/>
                  </a:lnTo>
                  <a:lnTo>
                    <a:pt x="416" y="1466"/>
                  </a:lnTo>
                  <a:lnTo>
                    <a:pt x="421" y="1465"/>
                  </a:lnTo>
                  <a:lnTo>
                    <a:pt x="426" y="1463"/>
                  </a:lnTo>
                  <a:lnTo>
                    <a:pt x="443" y="1451"/>
                  </a:lnTo>
                  <a:lnTo>
                    <a:pt x="457" y="1439"/>
                  </a:lnTo>
                  <a:lnTo>
                    <a:pt x="461" y="1437"/>
                  </a:lnTo>
                  <a:lnTo>
                    <a:pt x="466" y="1435"/>
                  </a:lnTo>
                  <a:lnTo>
                    <a:pt x="470" y="1432"/>
                  </a:lnTo>
                  <a:lnTo>
                    <a:pt x="474" y="1431"/>
                  </a:lnTo>
                  <a:lnTo>
                    <a:pt x="479" y="1431"/>
                  </a:lnTo>
                  <a:lnTo>
                    <a:pt x="484" y="1431"/>
                  </a:lnTo>
                  <a:lnTo>
                    <a:pt x="490" y="1432"/>
                  </a:lnTo>
                  <a:lnTo>
                    <a:pt x="496" y="1436"/>
                  </a:lnTo>
                  <a:lnTo>
                    <a:pt x="506" y="1439"/>
                  </a:lnTo>
                  <a:lnTo>
                    <a:pt x="516" y="1441"/>
                  </a:lnTo>
                  <a:lnTo>
                    <a:pt x="524" y="1442"/>
                  </a:lnTo>
                  <a:lnTo>
                    <a:pt x="532" y="1442"/>
                  </a:lnTo>
                  <a:lnTo>
                    <a:pt x="541" y="1441"/>
                  </a:lnTo>
                  <a:lnTo>
                    <a:pt x="548" y="1439"/>
                  </a:lnTo>
                  <a:lnTo>
                    <a:pt x="554" y="1436"/>
                  </a:lnTo>
                  <a:lnTo>
                    <a:pt x="562" y="1431"/>
                  </a:lnTo>
                  <a:lnTo>
                    <a:pt x="587" y="1412"/>
                  </a:lnTo>
                  <a:lnTo>
                    <a:pt x="613" y="1388"/>
                  </a:lnTo>
                  <a:lnTo>
                    <a:pt x="624" y="1380"/>
                  </a:lnTo>
                  <a:lnTo>
                    <a:pt x="634" y="1375"/>
                  </a:lnTo>
                  <a:lnTo>
                    <a:pt x="639" y="1374"/>
                  </a:lnTo>
                  <a:lnTo>
                    <a:pt x="644" y="1373"/>
                  </a:lnTo>
                  <a:lnTo>
                    <a:pt x="648" y="1374"/>
                  </a:lnTo>
                  <a:lnTo>
                    <a:pt x="652" y="1374"/>
                  </a:lnTo>
                  <a:lnTo>
                    <a:pt x="655" y="1376"/>
                  </a:lnTo>
                  <a:lnTo>
                    <a:pt x="659" y="1378"/>
                  </a:lnTo>
                  <a:lnTo>
                    <a:pt x="662" y="1381"/>
                  </a:lnTo>
                  <a:lnTo>
                    <a:pt x="665" y="1385"/>
                  </a:lnTo>
                  <a:lnTo>
                    <a:pt x="666" y="1391"/>
                  </a:lnTo>
                  <a:lnTo>
                    <a:pt x="668" y="1397"/>
                  </a:lnTo>
                  <a:lnTo>
                    <a:pt x="669" y="1403"/>
                  </a:lnTo>
                  <a:lnTo>
                    <a:pt x="669" y="1411"/>
                  </a:lnTo>
                  <a:lnTo>
                    <a:pt x="669" y="1416"/>
                  </a:lnTo>
                  <a:lnTo>
                    <a:pt x="670" y="1420"/>
                  </a:lnTo>
                  <a:lnTo>
                    <a:pt x="672" y="1424"/>
                  </a:lnTo>
                  <a:lnTo>
                    <a:pt x="673" y="1428"/>
                  </a:lnTo>
                  <a:lnTo>
                    <a:pt x="678" y="1436"/>
                  </a:lnTo>
                  <a:lnTo>
                    <a:pt x="685" y="1443"/>
                  </a:lnTo>
                  <a:lnTo>
                    <a:pt x="700" y="1454"/>
                  </a:lnTo>
                  <a:lnTo>
                    <a:pt x="716" y="1465"/>
                  </a:lnTo>
                  <a:lnTo>
                    <a:pt x="723" y="1470"/>
                  </a:lnTo>
                  <a:lnTo>
                    <a:pt x="729" y="1474"/>
                  </a:lnTo>
                  <a:lnTo>
                    <a:pt x="735" y="1479"/>
                  </a:lnTo>
                  <a:lnTo>
                    <a:pt x="738" y="1485"/>
                  </a:lnTo>
                  <a:lnTo>
                    <a:pt x="739" y="1487"/>
                  </a:lnTo>
                  <a:lnTo>
                    <a:pt x="739" y="1490"/>
                  </a:lnTo>
                  <a:lnTo>
                    <a:pt x="739" y="1492"/>
                  </a:lnTo>
                  <a:lnTo>
                    <a:pt x="738" y="1495"/>
                  </a:lnTo>
                  <a:lnTo>
                    <a:pt x="734" y="1501"/>
                  </a:lnTo>
                  <a:lnTo>
                    <a:pt x="726" y="1509"/>
                  </a:lnTo>
                  <a:lnTo>
                    <a:pt x="717" y="1517"/>
                  </a:lnTo>
                  <a:lnTo>
                    <a:pt x="710" y="1523"/>
                  </a:lnTo>
                  <a:lnTo>
                    <a:pt x="704" y="1529"/>
                  </a:lnTo>
                  <a:lnTo>
                    <a:pt x="702" y="1535"/>
                  </a:lnTo>
                  <a:lnTo>
                    <a:pt x="701" y="1539"/>
                  </a:lnTo>
                  <a:lnTo>
                    <a:pt x="701" y="1544"/>
                  </a:lnTo>
                  <a:lnTo>
                    <a:pt x="703" y="1547"/>
                  </a:lnTo>
                  <a:lnTo>
                    <a:pt x="708" y="1551"/>
                  </a:lnTo>
                  <a:lnTo>
                    <a:pt x="716" y="1561"/>
                  </a:lnTo>
                  <a:lnTo>
                    <a:pt x="726" y="1571"/>
                  </a:lnTo>
                  <a:lnTo>
                    <a:pt x="732" y="1578"/>
                  </a:lnTo>
                  <a:lnTo>
                    <a:pt x="736" y="1587"/>
                  </a:lnTo>
                  <a:lnTo>
                    <a:pt x="740" y="1597"/>
                  </a:lnTo>
                  <a:lnTo>
                    <a:pt x="744" y="1609"/>
                  </a:lnTo>
                  <a:lnTo>
                    <a:pt x="742" y="1621"/>
                  </a:lnTo>
                  <a:lnTo>
                    <a:pt x="741" y="1634"/>
                  </a:lnTo>
                  <a:lnTo>
                    <a:pt x="741" y="1640"/>
                  </a:lnTo>
                  <a:lnTo>
                    <a:pt x="742" y="1645"/>
                  </a:lnTo>
                  <a:lnTo>
                    <a:pt x="745" y="1649"/>
                  </a:lnTo>
                  <a:lnTo>
                    <a:pt x="749" y="1654"/>
                  </a:lnTo>
                  <a:lnTo>
                    <a:pt x="754" y="1652"/>
                  </a:lnTo>
                  <a:lnTo>
                    <a:pt x="760" y="1647"/>
                  </a:lnTo>
                  <a:lnTo>
                    <a:pt x="765" y="1643"/>
                  </a:lnTo>
                  <a:lnTo>
                    <a:pt x="771" y="1638"/>
                  </a:lnTo>
                  <a:lnTo>
                    <a:pt x="785" y="1625"/>
                  </a:lnTo>
                  <a:lnTo>
                    <a:pt x="797" y="1615"/>
                  </a:lnTo>
                  <a:lnTo>
                    <a:pt x="805" y="1610"/>
                  </a:lnTo>
                  <a:lnTo>
                    <a:pt x="811" y="1606"/>
                  </a:lnTo>
                  <a:lnTo>
                    <a:pt x="816" y="1604"/>
                  </a:lnTo>
                  <a:lnTo>
                    <a:pt x="822" y="1602"/>
                  </a:lnTo>
                  <a:lnTo>
                    <a:pt x="824" y="1602"/>
                  </a:lnTo>
                  <a:lnTo>
                    <a:pt x="827" y="1602"/>
                  </a:lnTo>
                  <a:lnTo>
                    <a:pt x="830" y="1604"/>
                  </a:lnTo>
                  <a:lnTo>
                    <a:pt x="832" y="1606"/>
                  </a:lnTo>
                  <a:lnTo>
                    <a:pt x="835" y="1610"/>
                  </a:lnTo>
                  <a:lnTo>
                    <a:pt x="838" y="1617"/>
                  </a:lnTo>
                  <a:lnTo>
                    <a:pt x="844" y="1641"/>
                  </a:lnTo>
                  <a:lnTo>
                    <a:pt x="850" y="1666"/>
                  </a:lnTo>
                  <a:lnTo>
                    <a:pt x="855" y="1690"/>
                  </a:lnTo>
                  <a:lnTo>
                    <a:pt x="859" y="1715"/>
                  </a:lnTo>
                  <a:lnTo>
                    <a:pt x="862" y="1740"/>
                  </a:lnTo>
                  <a:lnTo>
                    <a:pt x="864" y="1765"/>
                  </a:lnTo>
                  <a:lnTo>
                    <a:pt x="866" y="1790"/>
                  </a:lnTo>
                  <a:lnTo>
                    <a:pt x="866" y="1815"/>
                  </a:lnTo>
                  <a:lnTo>
                    <a:pt x="866" y="1823"/>
                  </a:lnTo>
                  <a:lnTo>
                    <a:pt x="865" y="1830"/>
                  </a:lnTo>
                  <a:lnTo>
                    <a:pt x="863" y="1836"/>
                  </a:lnTo>
                  <a:lnTo>
                    <a:pt x="861" y="1841"/>
                  </a:lnTo>
                  <a:lnTo>
                    <a:pt x="856" y="1853"/>
                  </a:lnTo>
                  <a:lnTo>
                    <a:pt x="848" y="1862"/>
                  </a:lnTo>
                  <a:lnTo>
                    <a:pt x="839" y="1872"/>
                  </a:lnTo>
                  <a:lnTo>
                    <a:pt x="830" y="1880"/>
                  </a:lnTo>
                  <a:lnTo>
                    <a:pt x="819" y="1888"/>
                  </a:lnTo>
                  <a:lnTo>
                    <a:pt x="809" y="1896"/>
                  </a:lnTo>
                  <a:lnTo>
                    <a:pt x="797" y="1904"/>
                  </a:lnTo>
                  <a:lnTo>
                    <a:pt x="787" y="1912"/>
                  </a:lnTo>
                  <a:lnTo>
                    <a:pt x="777" y="1921"/>
                  </a:lnTo>
                  <a:lnTo>
                    <a:pt x="769" y="1930"/>
                  </a:lnTo>
                  <a:lnTo>
                    <a:pt x="762" y="1940"/>
                  </a:lnTo>
                  <a:lnTo>
                    <a:pt x="756" y="1951"/>
                  </a:lnTo>
                  <a:lnTo>
                    <a:pt x="753" y="1957"/>
                  </a:lnTo>
                  <a:lnTo>
                    <a:pt x="752" y="1963"/>
                  </a:lnTo>
                  <a:lnTo>
                    <a:pt x="751" y="1971"/>
                  </a:lnTo>
                  <a:lnTo>
                    <a:pt x="750" y="1978"/>
                  </a:lnTo>
                  <a:lnTo>
                    <a:pt x="758" y="1983"/>
                  </a:lnTo>
                  <a:lnTo>
                    <a:pt x="765" y="1986"/>
                  </a:lnTo>
                  <a:lnTo>
                    <a:pt x="773" y="1988"/>
                  </a:lnTo>
                  <a:lnTo>
                    <a:pt x="782" y="1991"/>
                  </a:lnTo>
                  <a:lnTo>
                    <a:pt x="798" y="1991"/>
                  </a:lnTo>
                  <a:lnTo>
                    <a:pt x="816" y="1990"/>
                  </a:lnTo>
                  <a:lnTo>
                    <a:pt x="834" y="1987"/>
                  </a:lnTo>
                  <a:lnTo>
                    <a:pt x="851" y="1986"/>
                  </a:lnTo>
                  <a:lnTo>
                    <a:pt x="861" y="1986"/>
                  </a:lnTo>
                  <a:lnTo>
                    <a:pt x="868" y="1987"/>
                  </a:lnTo>
                  <a:lnTo>
                    <a:pt x="876" y="1990"/>
                  </a:lnTo>
                  <a:lnTo>
                    <a:pt x="884" y="1994"/>
                  </a:lnTo>
                  <a:lnTo>
                    <a:pt x="891" y="1998"/>
                  </a:lnTo>
                  <a:lnTo>
                    <a:pt x="900" y="2006"/>
                  </a:lnTo>
                  <a:lnTo>
                    <a:pt x="911" y="2017"/>
                  </a:lnTo>
                  <a:lnTo>
                    <a:pt x="922" y="2029"/>
                  </a:lnTo>
                  <a:lnTo>
                    <a:pt x="932" y="2042"/>
                  </a:lnTo>
                  <a:lnTo>
                    <a:pt x="941" y="2054"/>
                  </a:lnTo>
                  <a:lnTo>
                    <a:pt x="944" y="2059"/>
                  </a:lnTo>
                  <a:lnTo>
                    <a:pt x="946" y="2065"/>
                  </a:lnTo>
                  <a:lnTo>
                    <a:pt x="948" y="2069"/>
                  </a:lnTo>
                  <a:lnTo>
                    <a:pt x="948" y="2073"/>
                  </a:lnTo>
                  <a:lnTo>
                    <a:pt x="941" y="2077"/>
                  </a:lnTo>
                  <a:lnTo>
                    <a:pt x="933" y="2080"/>
                  </a:lnTo>
                  <a:lnTo>
                    <a:pt x="925" y="2083"/>
                  </a:lnTo>
                  <a:lnTo>
                    <a:pt x="917" y="2084"/>
                  </a:lnTo>
                  <a:lnTo>
                    <a:pt x="910" y="2087"/>
                  </a:lnTo>
                  <a:lnTo>
                    <a:pt x="901" y="2089"/>
                  </a:lnTo>
                  <a:lnTo>
                    <a:pt x="893" y="2092"/>
                  </a:lnTo>
                  <a:lnTo>
                    <a:pt x="885" y="2095"/>
                  </a:lnTo>
                  <a:lnTo>
                    <a:pt x="875" y="2100"/>
                  </a:lnTo>
                  <a:lnTo>
                    <a:pt x="869" y="2105"/>
                  </a:lnTo>
                  <a:lnTo>
                    <a:pt x="864" y="2111"/>
                  </a:lnTo>
                  <a:lnTo>
                    <a:pt x="861" y="2117"/>
                  </a:lnTo>
                  <a:lnTo>
                    <a:pt x="857" y="2129"/>
                  </a:lnTo>
                  <a:lnTo>
                    <a:pt x="850" y="2146"/>
                  </a:lnTo>
                  <a:lnTo>
                    <a:pt x="848" y="2153"/>
                  </a:lnTo>
                  <a:lnTo>
                    <a:pt x="848" y="2161"/>
                  </a:lnTo>
                  <a:lnTo>
                    <a:pt x="849" y="2167"/>
                  </a:lnTo>
                  <a:lnTo>
                    <a:pt x="852" y="2172"/>
                  </a:lnTo>
                  <a:lnTo>
                    <a:pt x="858" y="2176"/>
                  </a:lnTo>
                  <a:lnTo>
                    <a:pt x="863" y="2180"/>
                  </a:lnTo>
                  <a:lnTo>
                    <a:pt x="869" y="2184"/>
                  </a:lnTo>
                  <a:lnTo>
                    <a:pt x="876" y="2187"/>
                  </a:lnTo>
                  <a:lnTo>
                    <a:pt x="891" y="2193"/>
                  </a:lnTo>
                  <a:lnTo>
                    <a:pt x="905" y="2199"/>
                  </a:lnTo>
                  <a:lnTo>
                    <a:pt x="911" y="2203"/>
                  </a:lnTo>
                  <a:lnTo>
                    <a:pt x="916" y="2208"/>
                  </a:lnTo>
                  <a:lnTo>
                    <a:pt x="919" y="2213"/>
                  </a:lnTo>
                  <a:lnTo>
                    <a:pt x="922" y="2219"/>
                  </a:lnTo>
                  <a:lnTo>
                    <a:pt x="923" y="2226"/>
                  </a:lnTo>
                  <a:lnTo>
                    <a:pt x="923" y="2233"/>
                  </a:lnTo>
                  <a:lnTo>
                    <a:pt x="922" y="2238"/>
                  </a:lnTo>
                  <a:lnTo>
                    <a:pt x="920" y="2242"/>
                  </a:lnTo>
                  <a:lnTo>
                    <a:pt x="917" y="2245"/>
                  </a:lnTo>
                  <a:lnTo>
                    <a:pt x="913" y="2247"/>
                  </a:lnTo>
                  <a:lnTo>
                    <a:pt x="908" y="2249"/>
                  </a:lnTo>
                  <a:lnTo>
                    <a:pt x="903" y="2250"/>
                  </a:lnTo>
                  <a:lnTo>
                    <a:pt x="896" y="2250"/>
                  </a:lnTo>
                  <a:lnTo>
                    <a:pt x="889" y="2250"/>
                  </a:lnTo>
                  <a:lnTo>
                    <a:pt x="882" y="2249"/>
                  </a:lnTo>
                  <a:lnTo>
                    <a:pt x="873" y="2248"/>
                  </a:lnTo>
                  <a:lnTo>
                    <a:pt x="857" y="2244"/>
                  </a:lnTo>
                  <a:lnTo>
                    <a:pt x="839" y="2239"/>
                  </a:lnTo>
                  <a:lnTo>
                    <a:pt x="801" y="2226"/>
                  </a:lnTo>
                  <a:lnTo>
                    <a:pt x="767" y="2213"/>
                  </a:lnTo>
                  <a:lnTo>
                    <a:pt x="740" y="2201"/>
                  </a:lnTo>
                  <a:lnTo>
                    <a:pt x="724" y="2197"/>
                  </a:lnTo>
                  <a:lnTo>
                    <a:pt x="714" y="2197"/>
                  </a:lnTo>
                  <a:lnTo>
                    <a:pt x="703" y="2199"/>
                  </a:lnTo>
                  <a:lnTo>
                    <a:pt x="694" y="2202"/>
                  </a:lnTo>
                  <a:lnTo>
                    <a:pt x="684" y="2207"/>
                  </a:lnTo>
                  <a:lnTo>
                    <a:pt x="675" y="2212"/>
                  </a:lnTo>
                  <a:lnTo>
                    <a:pt x="667" y="2217"/>
                  </a:lnTo>
                  <a:lnTo>
                    <a:pt x="660" y="2223"/>
                  </a:lnTo>
                  <a:lnTo>
                    <a:pt x="654" y="2231"/>
                  </a:lnTo>
                  <a:lnTo>
                    <a:pt x="650" y="2237"/>
                  </a:lnTo>
                  <a:lnTo>
                    <a:pt x="647" y="2243"/>
                  </a:lnTo>
                  <a:lnTo>
                    <a:pt x="647" y="2247"/>
                  </a:lnTo>
                  <a:lnTo>
                    <a:pt x="647" y="2250"/>
                  </a:lnTo>
                  <a:lnTo>
                    <a:pt x="648" y="2253"/>
                  </a:lnTo>
                  <a:lnTo>
                    <a:pt x="650" y="2257"/>
                  </a:lnTo>
                  <a:lnTo>
                    <a:pt x="651" y="2259"/>
                  </a:lnTo>
                  <a:lnTo>
                    <a:pt x="654" y="2262"/>
                  </a:lnTo>
                  <a:lnTo>
                    <a:pt x="658" y="2264"/>
                  </a:lnTo>
                  <a:lnTo>
                    <a:pt x="662" y="2267"/>
                  </a:lnTo>
                  <a:lnTo>
                    <a:pt x="673" y="2270"/>
                  </a:lnTo>
                  <a:lnTo>
                    <a:pt x="687" y="2273"/>
                  </a:lnTo>
                  <a:lnTo>
                    <a:pt x="717" y="2275"/>
                  </a:lnTo>
                  <a:lnTo>
                    <a:pt x="754" y="2280"/>
                  </a:lnTo>
                  <a:lnTo>
                    <a:pt x="764" y="2282"/>
                  </a:lnTo>
                  <a:lnTo>
                    <a:pt x="772" y="2284"/>
                  </a:lnTo>
                  <a:lnTo>
                    <a:pt x="780" y="2288"/>
                  </a:lnTo>
                  <a:lnTo>
                    <a:pt x="786" y="2292"/>
                  </a:lnTo>
                  <a:lnTo>
                    <a:pt x="792" y="2297"/>
                  </a:lnTo>
                  <a:lnTo>
                    <a:pt x="796" y="2304"/>
                  </a:lnTo>
                  <a:lnTo>
                    <a:pt x="798" y="2311"/>
                  </a:lnTo>
                  <a:lnTo>
                    <a:pt x="799" y="2319"/>
                  </a:lnTo>
                  <a:lnTo>
                    <a:pt x="799" y="2322"/>
                  </a:lnTo>
                  <a:lnTo>
                    <a:pt x="797" y="2325"/>
                  </a:lnTo>
                  <a:lnTo>
                    <a:pt x="795" y="2328"/>
                  </a:lnTo>
                  <a:lnTo>
                    <a:pt x="793" y="2330"/>
                  </a:lnTo>
                  <a:lnTo>
                    <a:pt x="785" y="2333"/>
                  </a:lnTo>
                  <a:lnTo>
                    <a:pt x="775" y="2334"/>
                  </a:lnTo>
                  <a:lnTo>
                    <a:pt x="750" y="2335"/>
                  </a:lnTo>
                  <a:lnTo>
                    <a:pt x="722" y="2334"/>
                  </a:lnTo>
                  <a:lnTo>
                    <a:pt x="708" y="2335"/>
                  </a:lnTo>
                  <a:lnTo>
                    <a:pt x="693" y="2335"/>
                  </a:lnTo>
                  <a:lnTo>
                    <a:pt x="680" y="2337"/>
                  </a:lnTo>
                  <a:lnTo>
                    <a:pt x="669" y="2340"/>
                  </a:lnTo>
                  <a:lnTo>
                    <a:pt x="664" y="2343"/>
                  </a:lnTo>
                  <a:lnTo>
                    <a:pt x="660" y="2345"/>
                  </a:lnTo>
                  <a:lnTo>
                    <a:pt x="655" y="2348"/>
                  </a:lnTo>
                  <a:lnTo>
                    <a:pt x="652" y="2353"/>
                  </a:lnTo>
                  <a:lnTo>
                    <a:pt x="649" y="2357"/>
                  </a:lnTo>
                  <a:lnTo>
                    <a:pt x="648" y="2362"/>
                  </a:lnTo>
                  <a:lnTo>
                    <a:pt x="647" y="2367"/>
                  </a:lnTo>
                  <a:lnTo>
                    <a:pt x="647" y="2373"/>
                  </a:lnTo>
                  <a:lnTo>
                    <a:pt x="648" y="2380"/>
                  </a:lnTo>
                  <a:lnTo>
                    <a:pt x="650" y="2385"/>
                  </a:lnTo>
                  <a:lnTo>
                    <a:pt x="654" y="2390"/>
                  </a:lnTo>
                  <a:lnTo>
                    <a:pt x="661" y="2394"/>
                  </a:lnTo>
                  <a:lnTo>
                    <a:pt x="667" y="2398"/>
                  </a:lnTo>
                  <a:lnTo>
                    <a:pt x="674" y="2402"/>
                  </a:lnTo>
                  <a:lnTo>
                    <a:pt x="684" y="2405"/>
                  </a:lnTo>
                  <a:lnTo>
                    <a:pt x="693" y="2407"/>
                  </a:lnTo>
                  <a:lnTo>
                    <a:pt x="714" y="2411"/>
                  </a:lnTo>
                  <a:lnTo>
                    <a:pt x="737" y="2414"/>
                  </a:lnTo>
                  <a:lnTo>
                    <a:pt x="760" y="2417"/>
                  </a:lnTo>
                  <a:lnTo>
                    <a:pt x="784" y="2419"/>
                  </a:lnTo>
                  <a:lnTo>
                    <a:pt x="784" y="2419"/>
                  </a:lnTo>
                  <a:lnTo>
                    <a:pt x="800" y="2417"/>
                  </a:lnTo>
                  <a:lnTo>
                    <a:pt x="818" y="2413"/>
                  </a:lnTo>
                  <a:lnTo>
                    <a:pt x="835" y="2409"/>
                  </a:lnTo>
                  <a:lnTo>
                    <a:pt x="852" y="2403"/>
                  </a:lnTo>
                  <a:lnTo>
                    <a:pt x="887" y="2390"/>
                  </a:lnTo>
                  <a:lnTo>
                    <a:pt x="921" y="2376"/>
                  </a:lnTo>
                  <a:lnTo>
                    <a:pt x="956" y="2361"/>
                  </a:lnTo>
                  <a:lnTo>
                    <a:pt x="991" y="2348"/>
                  </a:lnTo>
                  <a:lnTo>
                    <a:pt x="1009" y="2343"/>
                  </a:lnTo>
                  <a:lnTo>
                    <a:pt x="1028" y="2339"/>
                  </a:lnTo>
                  <a:lnTo>
                    <a:pt x="1045" y="2336"/>
                  </a:lnTo>
                  <a:lnTo>
                    <a:pt x="1063" y="2334"/>
                  </a:lnTo>
                  <a:lnTo>
                    <a:pt x="1094" y="2332"/>
                  </a:lnTo>
                  <a:lnTo>
                    <a:pt x="1124" y="2332"/>
                  </a:lnTo>
                  <a:lnTo>
                    <a:pt x="1152" y="2333"/>
                  </a:lnTo>
                  <a:lnTo>
                    <a:pt x="1180" y="2334"/>
                  </a:lnTo>
                  <a:lnTo>
                    <a:pt x="1207" y="2336"/>
                  </a:lnTo>
                  <a:lnTo>
                    <a:pt x="1236" y="2339"/>
                  </a:lnTo>
                  <a:lnTo>
                    <a:pt x="1264" y="2342"/>
                  </a:lnTo>
                  <a:lnTo>
                    <a:pt x="1296" y="2345"/>
                  </a:lnTo>
                  <a:lnTo>
                    <a:pt x="1314" y="2346"/>
                  </a:lnTo>
                  <a:lnTo>
                    <a:pt x="1330" y="2346"/>
                  </a:lnTo>
                  <a:lnTo>
                    <a:pt x="1346" y="2344"/>
                  </a:lnTo>
                  <a:lnTo>
                    <a:pt x="1359" y="2341"/>
                  </a:lnTo>
                  <a:lnTo>
                    <a:pt x="1386" y="2332"/>
                  </a:lnTo>
                  <a:lnTo>
                    <a:pt x="1418" y="2319"/>
                  </a:lnTo>
                  <a:lnTo>
                    <a:pt x="1445" y="2307"/>
                  </a:lnTo>
                  <a:lnTo>
                    <a:pt x="1468" y="2296"/>
                  </a:lnTo>
                  <a:lnTo>
                    <a:pt x="1485" y="2287"/>
                  </a:lnTo>
                  <a:lnTo>
                    <a:pt x="1502" y="2280"/>
                  </a:lnTo>
                  <a:lnTo>
                    <a:pt x="1510" y="2277"/>
                  </a:lnTo>
                  <a:lnTo>
                    <a:pt x="1519" y="2275"/>
                  </a:lnTo>
                  <a:lnTo>
                    <a:pt x="1528" y="2274"/>
                  </a:lnTo>
                  <a:lnTo>
                    <a:pt x="1538" y="2274"/>
                  </a:lnTo>
                  <a:lnTo>
                    <a:pt x="1549" y="2274"/>
                  </a:lnTo>
                  <a:lnTo>
                    <a:pt x="1561" y="2275"/>
                  </a:lnTo>
                  <a:lnTo>
                    <a:pt x="1575" y="2277"/>
                  </a:lnTo>
                  <a:lnTo>
                    <a:pt x="1591" y="2281"/>
                  </a:lnTo>
                  <a:lnTo>
                    <a:pt x="1602" y="2280"/>
                  </a:lnTo>
                  <a:lnTo>
                    <a:pt x="1619" y="2276"/>
                  </a:lnTo>
                  <a:lnTo>
                    <a:pt x="1638" y="2271"/>
                  </a:lnTo>
                  <a:lnTo>
                    <a:pt x="1658" y="2265"/>
                  </a:lnTo>
                  <a:lnTo>
                    <a:pt x="1678" y="2258"/>
                  </a:lnTo>
                  <a:lnTo>
                    <a:pt x="1696" y="2249"/>
                  </a:lnTo>
                  <a:lnTo>
                    <a:pt x="1704" y="2245"/>
                  </a:lnTo>
                  <a:lnTo>
                    <a:pt x="1711" y="2241"/>
                  </a:lnTo>
                  <a:lnTo>
                    <a:pt x="1717" y="2237"/>
                  </a:lnTo>
                  <a:lnTo>
                    <a:pt x="1721" y="2233"/>
                  </a:lnTo>
                  <a:lnTo>
                    <a:pt x="1729" y="2223"/>
                  </a:lnTo>
                  <a:lnTo>
                    <a:pt x="1737" y="2214"/>
                  </a:lnTo>
                  <a:lnTo>
                    <a:pt x="1743" y="2202"/>
                  </a:lnTo>
                  <a:lnTo>
                    <a:pt x="1749" y="2192"/>
                  </a:lnTo>
                  <a:lnTo>
                    <a:pt x="1761" y="2169"/>
                  </a:lnTo>
                  <a:lnTo>
                    <a:pt x="1773" y="2146"/>
                  </a:lnTo>
                  <a:lnTo>
                    <a:pt x="1780" y="2136"/>
                  </a:lnTo>
                  <a:lnTo>
                    <a:pt x="1788" y="2126"/>
                  </a:lnTo>
                  <a:lnTo>
                    <a:pt x="1796" y="2118"/>
                  </a:lnTo>
                  <a:lnTo>
                    <a:pt x="1805" y="2111"/>
                  </a:lnTo>
                  <a:lnTo>
                    <a:pt x="1816" y="2104"/>
                  </a:lnTo>
                  <a:lnTo>
                    <a:pt x="1828" y="2099"/>
                  </a:lnTo>
                  <a:lnTo>
                    <a:pt x="1835" y="2097"/>
                  </a:lnTo>
                  <a:lnTo>
                    <a:pt x="1842" y="2096"/>
                  </a:lnTo>
                  <a:lnTo>
                    <a:pt x="1849" y="2096"/>
                  </a:lnTo>
                  <a:lnTo>
                    <a:pt x="1858" y="2095"/>
                  </a:lnTo>
                  <a:lnTo>
                    <a:pt x="1874" y="2096"/>
                  </a:lnTo>
                  <a:lnTo>
                    <a:pt x="1890" y="2098"/>
                  </a:lnTo>
                  <a:lnTo>
                    <a:pt x="1906" y="2102"/>
                  </a:lnTo>
                  <a:lnTo>
                    <a:pt x="1921" y="2106"/>
                  </a:lnTo>
                  <a:lnTo>
                    <a:pt x="1951" y="2117"/>
                  </a:lnTo>
                  <a:lnTo>
                    <a:pt x="1982" y="2127"/>
                  </a:lnTo>
                  <a:lnTo>
                    <a:pt x="1995" y="2129"/>
                  </a:lnTo>
                  <a:lnTo>
                    <a:pt x="2012" y="2131"/>
                  </a:lnTo>
                  <a:lnTo>
                    <a:pt x="2020" y="2132"/>
                  </a:lnTo>
                  <a:lnTo>
                    <a:pt x="2028" y="2135"/>
                  </a:lnTo>
                  <a:lnTo>
                    <a:pt x="2034" y="2137"/>
                  </a:lnTo>
                  <a:lnTo>
                    <a:pt x="2039" y="2140"/>
                  </a:lnTo>
                  <a:lnTo>
                    <a:pt x="2050" y="2147"/>
                  </a:lnTo>
                  <a:lnTo>
                    <a:pt x="2064" y="2152"/>
                  </a:lnTo>
                  <a:lnTo>
                    <a:pt x="2078" y="2153"/>
                  </a:lnTo>
                  <a:lnTo>
                    <a:pt x="2091" y="2153"/>
                  </a:lnTo>
                  <a:lnTo>
                    <a:pt x="2105" y="2152"/>
                  </a:lnTo>
                  <a:lnTo>
                    <a:pt x="2116" y="2151"/>
                  </a:lnTo>
                  <a:lnTo>
                    <a:pt x="2128" y="2149"/>
                  </a:lnTo>
                  <a:lnTo>
                    <a:pt x="2139" y="2146"/>
                  </a:lnTo>
                  <a:lnTo>
                    <a:pt x="2150" y="2143"/>
                  </a:lnTo>
                  <a:lnTo>
                    <a:pt x="2160" y="2139"/>
                  </a:lnTo>
                  <a:lnTo>
                    <a:pt x="2170" y="2135"/>
                  </a:lnTo>
                  <a:lnTo>
                    <a:pt x="2180" y="2129"/>
                  </a:lnTo>
                  <a:lnTo>
                    <a:pt x="2190" y="2123"/>
                  </a:lnTo>
                  <a:lnTo>
                    <a:pt x="2200" y="2117"/>
                  </a:lnTo>
                  <a:lnTo>
                    <a:pt x="2218" y="2103"/>
                  </a:lnTo>
                  <a:lnTo>
                    <a:pt x="2238" y="2088"/>
                  </a:lnTo>
                  <a:lnTo>
                    <a:pt x="2262" y="2071"/>
                  </a:lnTo>
                  <a:lnTo>
                    <a:pt x="2286" y="2055"/>
                  </a:lnTo>
                  <a:lnTo>
                    <a:pt x="2310" y="2042"/>
                  </a:lnTo>
                  <a:lnTo>
                    <a:pt x="2335" y="2026"/>
                  </a:lnTo>
                  <a:lnTo>
                    <a:pt x="2339" y="2024"/>
                  </a:lnTo>
                  <a:lnTo>
                    <a:pt x="2345" y="2021"/>
                  </a:lnTo>
                  <a:lnTo>
                    <a:pt x="2351" y="2020"/>
                  </a:lnTo>
                  <a:lnTo>
                    <a:pt x="2356" y="2019"/>
                  </a:lnTo>
                  <a:lnTo>
                    <a:pt x="2369" y="2018"/>
                  </a:lnTo>
                  <a:lnTo>
                    <a:pt x="2381" y="2019"/>
                  </a:lnTo>
                  <a:lnTo>
                    <a:pt x="2408" y="2024"/>
                  </a:lnTo>
                  <a:lnTo>
                    <a:pt x="2437" y="2031"/>
                  </a:lnTo>
                  <a:lnTo>
                    <a:pt x="2453" y="2034"/>
                  </a:lnTo>
                  <a:lnTo>
                    <a:pt x="2468" y="2036"/>
                  </a:lnTo>
                  <a:lnTo>
                    <a:pt x="2483" y="2038"/>
                  </a:lnTo>
                  <a:lnTo>
                    <a:pt x="2499" y="2038"/>
                  </a:lnTo>
                  <a:lnTo>
                    <a:pt x="2506" y="2036"/>
                  </a:lnTo>
                  <a:lnTo>
                    <a:pt x="2513" y="2035"/>
                  </a:lnTo>
                  <a:lnTo>
                    <a:pt x="2521" y="2033"/>
                  </a:lnTo>
                  <a:lnTo>
                    <a:pt x="2528" y="2030"/>
                  </a:lnTo>
                  <a:lnTo>
                    <a:pt x="2535" y="2027"/>
                  </a:lnTo>
                  <a:lnTo>
                    <a:pt x="2543" y="2024"/>
                  </a:lnTo>
                  <a:lnTo>
                    <a:pt x="2550" y="2019"/>
                  </a:lnTo>
                  <a:lnTo>
                    <a:pt x="2557" y="2014"/>
                  </a:lnTo>
                  <a:lnTo>
                    <a:pt x="2569" y="2003"/>
                  </a:lnTo>
                  <a:lnTo>
                    <a:pt x="2587" y="1987"/>
                  </a:lnTo>
                  <a:lnTo>
                    <a:pt x="2612" y="1968"/>
                  </a:lnTo>
                  <a:lnTo>
                    <a:pt x="2639" y="1949"/>
                  </a:lnTo>
                  <a:lnTo>
                    <a:pt x="2652" y="1940"/>
                  </a:lnTo>
                  <a:lnTo>
                    <a:pt x="2665" y="1933"/>
                  </a:lnTo>
                  <a:lnTo>
                    <a:pt x="2677" y="1928"/>
                  </a:lnTo>
                  <a:lnTo>
                    <a:pt x="2689" y="1925"/>
                  </a:lnTo>
                  <a:lnTo>
                    <a:pt x="2694" y="1924"/>
                  </a:lnTo>
                  <a:lnTo>
                    <a:pt x="2699" y="1924"/>
                  </a:lnTo>
                  <a:lnTo>
                    <a:pt x="2703" y="1925"/>
                  </a:lnTo>
                  <a:lnTo>
                    <a:pt x="2707" y="1926"/>
                  </a:lnTo>
                  <a:lnTo>
                    <a:pt x="2710" y="1928"/>
                  </a:lnTo>
                  <a:lnTo>
                    <a:pt x="2714" y="1931"/>
                  </a:lnTo>
                  <a:lnTo>
                    <a:pt x="2716" y="1935"/>
                  </a:lnTo>
                  <a:lnTo>
                    <a:pt x="2718" y="1940"/>
                  </a:lnTo>
                  <a:lnTo>
                    <a:pt x="2747" y="1940"/>
                  </a:lnTo>
                  <a:lnTo>
                    <a:pt x="2776" y="1939"/>
                  </a:lnTo>
                  <a:lnTo>
                    <a:pt x="2805" y="1938"/>
                  </a:lnTo>
                  <a:lnTo>
                    <a:pt x="2835" y="1938"/>
                  </a:lnTo>
                  <a:lnTo>
                    <a:pt x="2840" y="1938"/>
                  </a:lnTo>
                  <a:lnTo>
                    <a:pt x="2845" y="1940"/>
                  </a:lnTo>
                  <a:lnTo>
                    <a:pt x="2850" y="1943"/>
                  </a:lnTo>
                  <a:lnTo>
                    <a:pt x="2856" y="1946"/>
                  </a:lnTo>
                  <a:lnTo>
                    <a:pt x="2869" y="1953"/>
                  </a:lnTo>
                  <a:lnTo>
                    <a:pt x="2879" y="1957"/>
                  </a:lnTo>
                  <a:lnTo>
                    <a:pt x="2901" y="1964"/>
                  </a:lnTo>
                  <a:lnTo>
                    <a:pt x="2924" y="1970"/>
                  </a:lnTo>
                  <a:lnTo>
                    <a:pt x="2947" y="1975"/>
                  </a:lnTo>
                  <a:lnTo>
                    <a:pt x="2971" y="1978"/>
                  </a:lnTo>
                  <a:lnTo>
                    <a:pt x="2995" y="1981"/>
                  </a:lnTo>
                  <a:lnTo>
                    <a:pt x="3018" y="1983"/>
                  </a:lnTo>
                  <a:lnTo>
                    <a:pt x="3042" y="1984"/>
                  </a:lnTo>
                  <a:lnTo>
                    <a:pt x="3065" y="1984"/>
                  </a:lnTo>
                  <a:lnTo>
                    <a:pt x="3067" y="1982"/>
                  </a:lnTo>
                  <a:lnTo>
                    <a:pt x="3070" y="1982"/>
                  </a:lnTo>
                  <a:lnTo>
                    <a:pt x="3072" y="1982"/>
                  </a:lnTo>
                  <a:lnTo>
                    <a:pt x="3075" y="1983"/>
                  </a:lnTo>
                  <a:lnTo>
                    <a:pt x="3076" y="1984"/>
                  </a:lnTo>
                  <a:lnTo>
                    <a:pt x="3163" y="1970"/>
                  </a:lnTo>
                  <a:lnTo>
                    <a:pt x="3163" y="1970"/>
                  </a:lnTo>
                  <a:lnTo>
                    <a:pt x="3164" y="1964"/>
                  </a:lnTo>
                  <a:lnTo>
                    <a:pt x="3165" y="1960"/>
                  </a:lnTo>
                  <a:lnTo>
                    <a:pt x="3168" y="1957"/>
                  </a:lnTo>
                  <a:lnTo>
                    <a:pt x="3171" y="1954"/>
                  </a:lnTo>
                  <a:lnTo>
                    <a:pt x="3181" y="1948"/>
                  </a:lnTo>
                  <a:lnTo>
                    <a:pt x="3192" y="1944"/>
                  </a:lnTo>
                  <a:lnTo>
                    <a:pt x="3204" y="1938"/>
                  </a:lnTo>
                  <a:lnTo>
                    <a:pt x="3214" y="1933"/>
                  </a:lnTo>
                  <a:lnTo>
                    <a:pt x="3219" y="1930"/>
                  </a:lnTo>
                  <a:lnTo>
                    <a:pt x="3225" y="1926"/>
                  </a:lnTo>
                  <a:lnTo>
                    <a:pt x="3229" y="1923"/>
                  </a:lnTo>
                  <a:lnTo>
                    <a:pt x="3232" y="1918"/>
                  </a:lnTo>
                  <a:lnTo>
                    <a:pt x="3239" y="1905"/>
                  </a:lnTo>
                  <a:lnTo>
                    <a:pt x="3245" y="1891"/>
                  </a:lnTo>
                  <a:lnTo>
                    <a:pt x="3250" y="1879"/>
                  </a:lnTo>
                  <a:lnTo>
                    <a:pt x="3254" y="1866"/>
                  </a:lnTo>
                  <a:lnTo>
                    <a:pt x="3260" y="1841"/>
                  </a:lnTo>
                  <a:lnTo>
                    <a:pt x="3266" y="1813"/>
                  </a:lnTo>
                  <a:lnTo>
                    <a:pt x="3266" y="1804"/>
                  </a:lnTo>
                  <a:lnTo>
                    <a:pt x="3265" y="1794"/>
                  </a:lnTo>
                  <a:lnTo>
                    <a:pt x="3263" y="1786"/>
                  </a:lnTo>
                  <a:lnTo>
                    <a:pt x="3261" y="1778"/>
                  </a:lnTo>
                  <a:lnTo>
                    <a:pt x="3257" y="1761"/>
                  </a:lnTo>
                  <a:lnTo>
                    <a:pt x="3251" y="1744"/>
                  </a:lnTo>
                  <a:lnTo>
                    <a:pt x="3244" y="1729"/>
                  </a:lnTo>
                  <a:lnTo>
                    <a:pt x="3239" y="1712"/>
                  </a:lnTo>
                  <a:lnTo>
                    <a:pt x="3237" y="1704"/>
                  </a:lnTo>
                  <a:lnTo>
                    <a:pt x="3235" y="1695"/>
                  </a:lnTo>
                  <a:lnTo>
                    <a:pt x="3234" y="1686"/>
                  </a:lnTo>
                  <a:lnTo>
                    <a:pt x="3233" y="1678"/>
                  </a:lnTo>
                  <a:lnTo>
                    <a:pt x="3232" y="1665"/>
                  </a:lnTo>
                  <a:lnTo>
                    <a:pt x="3231" y="1655"/>
                  </a:lnTo>
                  <a:lnTo>
                    <a:pt x="3230" y="1645"/>
                  </a:lnTo>
                  <a:lnTo>
                    <a:pt x="3228" y="1638"/>
                  </a:lnTo>
                  <a:lnTo>
                    <a:pt x="3226" y="1631"/>
                  </a:lnTo>
                  <a:lnTo>
                    <a:pt x="3222" y="1625"/>
                  </a:lnTo>
                  <a:lnTo>
                    <a:pt x="3219" y="1621"/>
                  </a:lnTo>
                  <a:lnTo>
                    <a:pt x="3215" y="1618"/>
                  </a:lnTo>
                  <a:lnTo>
                    <a:pt x="3211" y="1616"/>
                  </a:lnTo>
                  <a:lnTo>
                    <a:pt x="3205" y="1614"/>
                  </a:lnTo>
                  <a:lnTo>
                    <a:pt x="3198" y="1613"/>
                  </a:lnTo>
                  <a:lnTo>
                    <a:pt x="3191" y="1612"/>
                  </a:lnTo>
                  <a:lnTo>
                    <a:pt x="3174" y="1612"/>
                  </a:lnTo>
                  <a:lnTo>
                    <a:pt x="3154" y="1612"/>
                  </a:lnTo>
                  <a:lnTo>
                    <a:pt x="3136" y="1611"/>
                  </a:lnTo>
                  <a:lnTo>
                    <a:pt x="3119" y="1609"/>
                  </a:lnTo>
                  <a:lnTo>
                    <a:pt x="3105" y="1605"/>
                  </a:lnTo>
                  <a:lnTo>
                    <a:pt x="3091" y="1599"/>
                  </a:lnTo>
                  <a:lnTo>
                    <a:pt x="3078" y="1592"/>
                  </a:lnTo>
                  <a:lnTo>
                    <a:pt x="3065" y="1585"/>
                  </a:lnTo>
                  <a:lnTo>
                    <a:pt x="3051" y="1575"/>
                  </a:lnTo>
                  <a:lnTo>
                    <a:pt x="3038" y="1565"/>
                  </a:lnTo>
                  <a:lnTo>
                    <a:pt x="3033" y="1560"/>
                  </a:lnTo>
                  <a:lnTo>
                    <a:pt x="3027" y="1553"/>
                  </a:lnTo>
                  <a:lnTo>
                    <a:pt x="3023" y="1547"/>
                  </a:lnTo>
                  <a:lnTo>
                    <a:pt x="3019" y="1540"/>
                  </a:lnTo>
                  <a:lnTo>
                    <a:pt x="3012" y="1525"/>
                  </a:lnTo>
                  <a:lnTo>
                    <a:pt x="3006" y="1509"/>
                  </a:lnTo>
                  <a:lnTo>
                    <a:pt x="3000" y="1492"/>
                  </a:lnTo>
                  <a:lnTo>
                    <a:pt x="2994" y="1475"/>
                  </a:lnTo>
                  <a:lnTo>
                    <a:pt x="2989" y="1460"/>
                  </a:lnTo>
                  <a:lnTo>
                    <a:pt x="2983" y="1445"/>
                  </a:lnTo>
                  <a:lnTo>
                    <a:pt x="2977" y="1435"/>
                  </a:lnTo>
                  <a:lnTo>
                    <a:pt x="2973" y="1426"/>
                  </a:lnTo>
                  <a:lnTo>
                    <a:pt x="2972" y="1424"/>
                  </a:lnTo>
                  <a:lnTo>
                    <a:pt x="2972" y="1421"/>
                  </a:lnTo>
                  <a:lnTo>
                    <a:pt x="2972" y="1419"/>
                  </a:lnTo>
                  <a:lnTo>
                    <a:pt x="2973" y="1417"/>
                  </a:lnTo>
                  <a:lnTo>
                    <a:pt x="2976" y="1414"/>
                  </a:lnTo>
                  <a:lnTo>
                    <a:pt x="2982" y="1411"/>
                  </a:lnTo>
                  <a:lnTo>
                    <a:pt x="2990" y="1406"/>
                  </a:lnTo>
                  <a:lnTo>
                    <a:pt x="3000" y="1401"/>
                  </a:lnTo>
                  <a:lnTo>
                    <a:pt x="3012" y="1394"/>
                  </a:lnTo>
                  <a:lnTo>
                    <a:pt x="3020" y="1387"/>
                  </a:lnTo>
                  <a:lnTo>
                    <a:pt x="3023" y="1383"/>
                  </a:lnTo>
                  <a:lnTo>
                    <a:pt x="3025" y="1380"/>
                  </a:lnTo>
                  <a:lnTo>
                    <a:pt x="3026" y="1376"/>
                  </a:lnTo>
                  <a:lnTo>
                    <a:pt x="3027" y="1373"/>
                  </a:lnTo>
                  <a:lnTo>
                    <a:pt x="3027" y="1370"/>
                  </a:lnTo>
                  <a:lnTo>
                    <a:pt x="3026" y="1366"/>
                  </a:lnTo>
                  <a:lnTo>
                    <a:pt x="3025" y="1363"/>
                  </a:lnTo>
                  <a:lnTo>
                    <a:pt x="3022" y="1358"/>
                  </a:lnTo>
                  <a:lnTo>
                    <a:pt x="3017" y="1349"/>
                  </a:lnTo>
                  <a:lnTo>
                    <a:pt x="3009" y="1340"/>
                  </a:lnTo>
                  <a:lnTo>
                    <a:pt x="3003" y="1333"/>
                  </a:lnTo>
                  <a:lnTo>
                    <a:pt x="3000" y="1329"/>
                  </a:lnTo>
                  <a:lnTo>
                    <a:pt x="2998" y="1324"/>
                  </a:lnTo>
                  <a:lnTo>
                    <a:pt x="2998" y="1321"/>
                  </a:lnTo>
                  <a:lnTo>
                    <a:pt x="2999" y="1318"/>
                  </a:lnTo>
                  <a:lnTo>
                    <a:pt x="3001" y="1316"/>
                  </a:lnTo>
                  <a:lnTo>
                    <a:pt x="3005" y="1312"/>
                  </a:lnTo>
                  <a:lnTo>
                    <a:pt x="3008" y="1310"/>
                  </a:lnTo>
                  <a:lnTo>
                    <a:pt x="3030" y="1304"/>
                  </a:lnTo>
                  <a:lnTo>
                    <a:pt x="3057" y="1294"/>
                  </a:lnTo>
                  <a:lnTo>
                    <a:pt x="3066" y="1287"/>
                  </a:lnTo>
                  <a:lnTo>
                    <a:pt x="3080" y="1278"/>
                  </a:lnTo>
                  <a:lnTo>
                    <a:pt x="3093" y="1268"/>
                  </a:lnTo>
                  <a:lnTo>
                    <a:pt x="3108" y="1256"/>
                  </a:lnTo>
                  <a:lnTo>
                    <a:pt x="3120" y="1243"/>
                  </a:lnTo>
                  <a:lnTo>
                    <a:pt x="3132" y="1230"/>
                  </a:lnTo>
                  <a:lnTo>
                    <a:pt x="3136" y="1223"/>
                  </a:lnTo>
                  <a:lnTo>
                    <a:pt x="3139" y="1216"/>
                  </a:lnTo>
                  <a:lnTo>
                    <a:pt x="3141" y="1210"/>
                  </a:lnTo>
                  <a:lnTo>
                    <a:pt x="3142" y="1205"/>
                  </a:lnTo>
                  <a:lnTo>
                    <a:pt x="3143" y="1186"/>
                  </a:lnTo>
                  <a:lnTo>
                    <a:pt x="3145" y="1160"/>
                  </a:lnTo>
                  <a:lnTo>
                    <a:pt x="3146" y="1130"/>
                  </a:lnTo>
                  <a:lnTo>
                    <a:pt x="3148" y="1098"/>
                  </a:lnTo>
                  <a:lnTo>
                    <a:pt x="3152" y="1065"/>
                  </a:lnTo>
                  <a:lnTo>
                    <a:pt x="3155" y="1036"/>
                  </a:lnTo>
                  <a:lnTo>
                    <a:pt x="3157" y="1023"/>
                  </a:lnTo>
                  <a:lnTo>
                    <a:pt x="3160" y="1013"/>
                  </a:lnTo>
                  <a:lnTo>
                    <a:pt x="3162" y="1004"/>
                  </a:lnTo>
                  <a:lnTo>
                    <a:pt x="3165" y="997"/>
                  </a:lnTo>
                  <a:lnTo>
                    <a:pt x="3168" y="992"/>
                  </a:lnTo>
                  <a:lnTo>
                    <a:pt x="3172" y="988"/>
                  </a:lnTo>
                  <a:lnTo>
                    <a:pt x="3176" y="986"/>
                  </a:lnTo>
                  <a:lnTo>
                    <a:pt x="3180" y="985"/>
                  </a:lnTo>
                  <a:lnTo>
                    <a:pt x="3183" y="984"/>
                  </a:lnTo>
                  <a:lnTo>
                    <a:pt x="3187" y="985"/>
                  </a:lnTo>
                  <a:lnTo>
                    <a:pt x="3191" y="986"/>
                  </a:lnTo>
                  <a:lnTo>
                    <a:pt x="3195" y="988"/>
                  </a:lnTo>
                  <a:lnTo>
                    <a:pt x="3204" y="993"/>
                  </a:lnTo>
                  <a:lnTo>
                    <a:pt x="3212" y="1002"/>
                  </a:lnTo>
                  <a:lnTo>
                    <a:pt x="3220" y="1010"/>
                  </a:lnTo>
                  <a:lnTo>
                    <a:pt x="3230" y="1018"/>
                  </a:lnTo>
                  <a:lnTo>
                    <a:pt x="3238" y="1027"/>
                  </a:lnTo>
                  <a:lnTo>
                    <a:pt x="3247" y="1034"/>
                  </a:lnTo>
                  <a:lnTo>
                    <a:pt x="3253" y="1037"/>
                  </a:lnTo>
                  <a:lnTo>
                    <a:pt x="3257" y="1039"/>
                  </a:lnTo>
                  <a:lnTo>
                    <a:pt x="3262" y="1041"/>
                  </a:lnTo>
                  <a:lnTo>
                    <a:pt x="3266" y="1042"/>
                  </a:lnTo>
                  <a:lnTo>
                    <a:pt x="3270" y="1042"/>
                  </a:lnTo>
                  <a:lnTo>
                    <a:pt x="3276" y="1041"/>
                  </a:lnTo>
                  <a:lnTo>
                    <a:pt x="3280" y="1040"/>
                  </a:lnTo>
                  <a:lnTo>
                    <a:pt x="3285" y="1037"/>
                  </a:lnTo>
                  <a:lnTo>
                    <a:pt x="3289" y="1033"/>
                  </a:lnTo>
                  <a:lnTo>
                    <a:pt x="3293" y="1028"/>
                  </a:lnTo>
                  <a:lnTo>
                    <a:pt x="3298" y="1020"/>
                  </a:lnTo>
                  <a:lnTo>
                    <a:pt x="3303" y="1012"/>
                  </a:lnTo>
                  <a:lnTo>
                    <a:pt x="3310" y="995"/>
                  </a:lnTo>
                  <a:lnTo>
                    <a:pt x="3316" y="980"/>
                  </a:lnTo>
                  <a:lnTo>
                    <a:pt x="3323" y="963"/>
                  </a:lnTo>
                  <a:lnTo>
                    <a:pt x="3327" y="946"/>
                  </a:lnTo>
                  <a:lnTo>
                    <a:pt x="3330" y="930"/>
                  </a:lnTo>
                  <a:lnTo>
                    <a:pt x="3331" y="912"/>
                  </a:lnTo>
                  <a:lnTo>
                    <a:pt x="3331" y="894"/>
                  </a:lnTo>
                  <a:lnTo>
                    <a:pt x="3328" y="876"/>
                  </a:lnTo>
                  <a:lnTo>
                    <a:pt x="3321" y="861"/>
                  </a:lnTo>
                  <a:lnTo>
                    <a:pt x="3312" y="844"/>
                  </a:lnTo>
                  <a:lnTo>
                    <a:pt x="3310" y="840"/>
                  </a:lnTo>
                  <a:lnTo>
                    <a:pt x="3309" y="837"/>
                  </a:lnTo>
                  <a:lnTo>
                    <a:pt x="3309" y="833"/>
                  </a:lnTo>
                  <a:lnTo>
                    <a:pt x="3310" y="829"/>
                  </a:lnTo>
                  <a:lnTo>
                    <a:pt x="3311" y="827"/>
                  </a:lnTo>
                  <a:lnTo>
                    <a:pt x="3314" y="825"/>
                  </a:lnTo>
                  <a:lnTo>
                    <a:pt x="3318" y="824"/>
                  </a:lnTo>
                  <a:lnTo>
                    <a:pt x="3324" y="823"/>
                  </a:lnTo>
                  <a:lnTo>
                    <a:pt x="3342" y="824"/>
                  </a:lnTo>
                  <a:lnTo>
                    <a:pt x="3367" y="826"/>
                  </a:lnTo>
                  <a:lnTo>
                    <a:pt x="3381" y="827"/>
                  </a:lnTo>
                  <a:lnTo>
                    <a:pt x="3392" y="828"/>
                  </a:lnTo>
                  <a:lnTo>
                    <a:pt x="3402" y="827"/>
                  </a:lnTo>
                  <a:lnTo>
                    <a:pt x="3408" y="825"/>
                  </a:lnTo>
                  <a:lnTo>
                    <a:pt x="3415" y="822"/>
                  </a:lnTo>
                  <a:lnTo>
                    <a:pt x="3423" y="819"/>
                  </a:lnTo>
                  <a:lnTo>
                    <a:pt x="3429" y="817"/>
                  </a:lnTo>
                  <a:lnTo>
                    <a:pt x="3435" y="816"/>
                  </a:lnTo>
                  <a:lnTo>
                    <a:pt x="3447" y="815"/>
                  </a:lnTo>
                  <a:lnTo>
                    <a:pt x="3457" y="815"/>
                  </a:lnTo>
                  <a:lnTo>
                    <a:pt x="3466" y="816"/>
                  </a:lnTo>
                  <a:lnTo>
                    <a:pt x="3477" y="816"/>
                  </a:lnTo>
                  <a:lnTo>
                    <a:pt x="3487" y="815"/>
                  </a:lnTo>
                  <a:lnTo>
                    <a:pt x="3499" y="812"/>
                  </a:lnTo>
                  <a:lnTo>
                    <a:pt x="3504" y="809"/>
                  </a:lnTo>
                  <a:lnTo>
                    <a:pt x="3509" y="805"/>
                  </a:lnTo>
                  <a:lnTo>
                    <a:pt x="3513" y="800"/>
                  </a:lnTo>
                  <a:lnTo>
                    <a:pt x="3516" y="795"/>
                  </a:lnTo>
                  <a:lnTo>
                    <a:pt x="3520" y="789"/>
                  </a:lnTo>
                  <a:lnTo>
                    <a:pt x="3523" y="782"/>
                  </a:lnTo>
                  <a:lnTo>
                    <a:pt x="3525" y="776"/>
                  </a:lnTo>
                  <a:lnTo>
                    <a:pt x="3526" y="769"/>
                  </a:lnTo>
                  <a:lnTo>
                    <a:pt x="3529" y="754"/>
                  </a:lnTo>
                  <a:lnTo>
                    <a:pt x="3530" y="739"/>
                  </a:lnTo>
                  <a:lnTo>
                    <a:pt x="3530" y="725"/>
                  </a:lnTo>
                  <a:lnTo>
                    <a:pt x="3530" y="714"/>
                  </a:lnTo>
                  <a:lnTo>
                    <a:pt x="3540" y="718"/>
                  </a:lnTo>
                  <a:lnTo>
                    <a:pt x="3554" y="725"/>
                  </a:lnTo>
                  <a:lnTo>
                    <a:pt x="3557" y="726"/>
                  </a:lnTo>
                  <a:lnTo>
                    <a:pt x="3561" y="727"/>
                  </a:lnTo>
                  <a:lnTo>
                    <a:pt x="3564" y="727"/>
                  </a:lnTo>
                  <a:lnTo>
                    <a:pt x="3568" y="726"/>
                  </a:lnTo>
                  <a:lnTo>
                    <a:pt x="3571" y="725"/>
                  </a:lnTo>
                  <a:lnTo>
                    <a:pt x="3573" y="723"/>
                  </a:lnTo>
                  <a:lnTo>
                    <a:pt x="3576" y="720"/>
                  </a:lnTo>
                  <a:lnTo>
                    <a:pt x="3578" y="716"/>
                  </a:lnTo>
                  <a:lnTo>
                    <a:pt x="3581" y="700"/>
                  </a:lnTo>
                  <a:lnTo>
                    <a:pt x="3586" y="685"/>
                  </a:lnTo>
                  <a:lnTo>
                    <a:pt x="3588" y="683"/>
                  </a:lnTo>
                  <a:lnTo>
                    <a:pt x="3590" y="681"/>
                  </a:lnTo>
                  <a:lnTo>
                    <a:pt x="3593" y="679"/>
                  </a:lnTo>
                  <a:lnTo>
                    <a:pt x="3596" y="679"/>
                  </a:lnTo>
                  <a:lnTo>
                    <a:pt x="3599" y="679"/>
                  </a:lnTo>
                  <a:lnTo>
                    <a:pt x="3603" y="681"/>
                  </a:lnTo>
                  <a:lnTo>
                    <a:pt x="3607" y="684"/>
                  </a:lnTo>
                  <a:lnTo>
                    <a:pt x="3612" y="689"/>
                  </a:lnTo>
                  <a:lnTo>
                    <a:pt x="3622" y="697"/>
                  </a:lnTo>
                  <a:lnTo>
                    <a:pt x="3634" y="706"/>
                  </a:lnTo>
                  <a:lnTo>
                    <a:pt x="3641" y="712"/>
                  </a:lnTo>
                  <a:lnTo>
                    <a:pt x="3649" y="717"/>
                  </a:lnTo>
                  <a:lnTo>
                    <a:pt x="3656" y="721"/>
                  </a:lnTo>
                  <a:lnTo>
                    <a:pt x="3663" y="724"/>
                  </a:lnTo>
                  <a:lnTo>
                    <a:pt x="3671" y="726"/>
                  </a:lnTo>
                  <a:lnTo>
                    <a:pt x="3678" y="727"/>
                  </a:lnTo>
                  <a:lnTo>
                    <a:pt x="3684" y="727"/>
                  </a:lnTo>
                  <a:lnTo>
                    <a:pt x="3690" y="725"/>
                  </a:lnTo>
                  <a:lnTo>
                    <a:pt x="3692" y="723"/>
                  </a:lnTo>
                  <a:lnTo>
                    <a:pt x="3694" y="721"/>
                  </a:lnTo>
                  <a:lnTo>
                    <a:pt x="3696" y="718"/>
                  </a:lnTo>
                  <a:lnTo>
                    <a:pt x="3698" y="715"/>
                  </a:lnTo>
                  <a:lnTo>
                    <a:pt x="3700" y="706"/>
                  </a:lnTo>
                  <a:lnTo>
                    <a:pt x="3701" y="695"/>
                  </a:lnTo>
                  <a:lnTo>
                    <a:pt x="3700" y="690"/>
                  </a:lnTo>
                  <a:lnTo>
                    <a:pt x="3699" y="685"/>
                  </a:lnTo>
                  <a:lnTo>
                    <a:pt x="3697" y="680"/>
                  </a:lnTo>
                  <a:lnTo>
                    <a:pt x="3695" y="675"/>
                  </a:lnTo>
                  <a:lnTo>
                    <a:pt x="3687" y="666"/>
                  </a:lnTo>
                  <a:lnTo>
                    <a:pt x="3678" y="655"/>
                  </a:lnTo>
                  <a:lnTo>
                    <a:pt x="3667" y="645"/>
                  </a:lnTo>
                  <a:lnTo>
                    <a:pt x="3653" y="634"/>
                  </a:lnTo>
                  <a:lnTo>
                    <a:pt x="3638" y="625"/>
                  </a:lnTo>
                  <a:lnTo>
                    <a:pt x="3624" y="616"/>
                  </a:lnTo>
                  <a:lnTo>
                    <a:pt x="3608" y="607"/>
                  </a:lnTo>
                  <a:lnTo>
                    <a:pt x="3592" y="599"/>
                  </a:lnTo>
                  <a:lnTo>
                    <a:pt x="3576" y="593"/>
                  </a:lnTo>
                  <a:lnTo>
                    <a:pt x="3560" y="586"/>
                  </a:lnTo>
                  <a:lnTo>
                    <a:pt x="3546" y="582"/>
                  </a:lnTo>
                  <a:lnTo>
                    <a:pt x="3533" y="578"/>
                  </a:lnTo>
                  <a:lnTo>
                    <a:pt x="3522" y="576"/>
                  </a:lnTo>
                  <a:lnTo>
                    <a:pt x="3511" y="576"/>
                  </a:lnTo>
                  <a:lnTo>
                    <a:pt x="3487" y="552"/>
                  </a:lnTo>
                  <a:lnTo>
                    <a:pt x="3466" y="534"/>
                  </a:lnTo>
                  <a:lnTo>
                    <a:pt x="3461" y="532"/>
                  </a:lnTo>
                  <a:lnTo>
                    <a:pt x="3456" y="530"/>
                  </a:lnTo>
                  <a:lnTo>
                    <a:pt x="3451" y="529"/>
                  </a:lnTo>
                  <a:lnTo>
                    <a:pt x="3445" y="530"/>
                  </a:lnTo>
                  <a:lnTo>
                    <a:pt x="3438" y="532"/>
                  </a:lnTo>
                  <a:lnTo>
                    <a:pt x="3432" y="535"/>
                  </a:lnTo>
                  <a:lnTo>
                    <a:pt x="3425" y="539"/>
                  </a:lnTo>
                  <a:lnTo>
                    <a:pt x="3417" y="546"/>
                  </a:lnTo>
                  <a:lnTo>
                    <a:pt x="3412" y="550"/>
                  </a:lnTo>
                  <a:lnTo>
                    <a:pt x="3408" y="553"/>
                  </a:lnTo>
                  <a:lnTo>
                    <a:pt x="3404" y="555"/>
                  </a:lnTo>
                  <a:lnTo>
                    <a:pt x="3400" y="556"/>
                  </a:lnTo>
                  <a:lnTo>
                    <a:pt x="3396" y="557"/>
                  </a:lnTo>
                  <a:lnTo>
                    <a:pt x="3392" y="557"/>
                  </a:lnTo>
                  <a:lnTo>
                    <a:pt x="3389" y="557"/>
                  </a:lnTo>
                  <a:lnTo>
                    <a:pt x="3386" y="556"/>
                  </a:lnTo>
                  <a:lnTo>
                    <a:pt x="3380" y="552"/>
                  </a:lnTo>
                  <a:lnTo>
                    <a:pt x="3375" y="548"/>
                  </a:lnTo>
                  <a:lnTo>
                    <a:pt x="3369" y="542"/>
                  </a:lnTo>
                  <a:lnTo>
                    <a:pt x="3365" y="535"/>
                  </a:lnTo>
                  <a:lnTo>
                    <a:pt x="3356" y="522"/>
                  </a:lnTo>
                  <a:lnTo>
                    <a:pt x="3348" y="511"/>
                  </a:lnTo>
                  <a:lnTo>
                    <a:pt x="3342" y="508"/>
                  </a:lnTo>
                  <a:lnTo>
                    <a:pt x="3337" y="506"/>
                  </a:lnTo>
                  <a:lnTo>
                    <a:pt x="3335" y="506"/>
                  </a:lnTo>
                  <a:lnTo>
                    <a:pt x="3332" y="507"/>
                  </a:lnTo>
                  <a:lnTo>
                    <a:pt x="3329" y="508"/>
                  </a:lnTo>
                  <a:lnTo>
                    <a:pt x="3326" y="510"/>
                  </a:lnTo>
                  <a:lnTo>
                    <a:pt x="3317" y="516"/>
                  </a:lnTo>
                  <a:lnTo>
                    <a:pt x="3308" y="523"/>
                  </a:lnTo>
                  <a:lnTo>
                    <a:pt x="3300" y="527"/>
                  </a:lnTo>
                  <a:lnTo>
                    <a:pt x="3290" y="530"/>
                  </a:lnTo>
                  <a:lnTo>
                    <a:pt x="3286" y="530"/>
                  </a:lnTo>
                  <a:lnTo>
                    <a:pt x="3281" y="530"/>
                  </a:lnTo>
                  <a:lnTo>
                    <a:pt x="3277" y="529"/>
                  </a:lnTo>
                  <a:lnTo>
                    <a:pt x="3272" y="528"/>
                  </a:lnTo>
                  <a:lnTo>
                    <a:pt x="3267" y="525"/>
                  </a:lnTo>
                  <a:lnTo>
                    <a:pt x="3263" y="522"/>
                  </a:lnTo>
                  <a:lnTo>
                    <a:pt x="3259" y="518"/>
                  </a:lnTo>
                  <a:lnTo>
                    <a:pt x="3254" y="512"/>
                  </a:lnTo>
                  <a:lnTo>
                    <a:pt x="3245" y="501"/>
                  </a:lnTo>
                  <a:lnTo>
                    <a:pt x="3237" y="491"/>
                  </a:lnTo>
                  <a:lnTo>
                    <a:pt x="3228" y="484"/>
                  </a:lnTo>
                  <a:lnTo>
                    <a:pt x="3217" y="478"/>
                  </a:lnTo>
                  <a:lnTo>
                    <a:pt x="3207" y="473"/>
                  </a:lnTo>
                  <a:lnTo>
                    <a:pt x="3195" y="470"/>
                  </a:lnTo>
                  <a:lnTo>
                    <a:pt x="3182" y="467"/>
                  </a:lnTo>
                  <a:lnTo>
                    <a:pt x="3167" y="466"/>
                  </a:lnTo>
                  <a:lnTo>
                    <a:pt x="3167" y="466"/>
                  </a:lnTo>
                  <a:lnTo>
                    <a:pt x="3146" y="474"/>
                  </a:lnTo>
                  <a:lnTo>
                    <a:pt x="3120" y="479"/>
                  </a:lnTo>
                  <a:lnTo>
                    <a:pt x="3107" y="480"/>
                  </a:lnTo>
                  <a:lnTo>
                    <a:pt x="3094" y="479"/>
                  </a:lnTo>
                  <a:lnTo>
                    <a:pt x="3089" y="478"/>
                  </a:lnTo>
                  <a:lnTo>
                    <a:pt x="3084" y="476"/>
                  </a:lnTo>
                  <a:lnTo>
                    <a:pt x="3080" y="473"/>
                  </a:lnTo>
                  <a:lnTo>
                    <a:pt x="3075" y="470"/>
                  </a:lnTo>
                  <a:lnTo>
                    <a:pt x="3073" y="467"/>
                  </a:lnTo>
                  <a:lnTo>
                    <a:pt x="3070" y="465"/>
                  </a:lnTo>
                  <a:lnTo>
                    <a:pt x="3066" y="460"/>
                  </a:lnTo>
                  <a:lnTo>
                    <a:pt x="3061" y="455"/>
                  </a:lnTo>
                  <a:lnTo>
                    <a:pt x="3056" y="450"/>
                  </a:lnTo>
                  <a:lnTo>
                    <a:pt x="3050" y="447"/>
                  </a:lnTo>
                  <a:lnTo>
                    <a:pt x="3032" y="440"/>
                  </a:lnTo>
                  <a:lnTo>
                    <a:pt x="3015" y="436"/>
                  </a:lnTo>
                  <a:lnTo>
                    <a:pt x="3006" y="434"/>
                  </a:lnTo>
                  <a:lnTo>
                    <a:pt x="2997" y="433"/>
                  </a:lnTo>
                  <a:lnTo>
                    <a:pt x="2988" y="432"/>
                  </a:lnTo>
                  <a:lnTo>
                    <a:pt x="2978" y="432"/>
                  </a:lnTo>
                  <a:lnTo>
                    <a:pt x="2970" y="433"/>
                  </a:lnTo>
                  <a:lnTo>
                    <a:pt x="2961" y="436"/>
                  </a:lnTo>
                  <a:lnTo>
                    <a:pt x="2952" y="438"/>
                  </a:lnTo>
                  <a:lnTo>
                    <a:pt x="2944" y="441"/>
                  </a:lnTo>
                  <a:lnTo>
                    <a:pt x="2936" y="444"/>
                  </a:lnTo>
                  <a:lnTo>
                    <a:pt x="2926" y="446"/>
                  </a:lnTo>
                  <a:lnTo>
                    <a:pt x="2918" y="447"/>
                  </a:lnTo>
                  <a:lnTo>
                    <a:pt x="2910" y="446"/>
                  </a:lnTo>
                  <a:lnTo>
                    <a:pt x="2902" y="443"/>
                  </a:lnTo>
                  <a:lnTo>
                    <a:pt x="2895" y="440"/>
                  </a:lnTo>
                  <a:lnTo>
                    <a:pt x="2889" y="437"/>
                  </a:lnTo>
                  <a:lnTo>
                    <a:pt x="2881" y="433"/>
                  </a:lnTo>
                  <a:lnTo>
                    <a:pt x="2869" y="425"/>
                  </a:lnTo>
                  <a:lnTo>
                    <a:pt x="2855" y="415"/>
                  </a:lnTo>
                  <a:lnTo>
                    <a:pt x="2843" y="405"/>
                  </a:lnTo>
                  <a:lnTo>
                    <a:pt x="2830" y="395"/>
                  </a:lnTo>
                  <a:lnTo>
                    <a:pt x="2818" y="386"/>
                  </a:lnTo>
                  <a:lnTo>
                    <a:pt x="2804" y="378"/>
                  </a:lnTo>
                  <a:lnTo>
                    <a:pt x="2796" y="374"/>
                  </a:lnTo>
                  <a:lnTo>
                    <a:pt x="2788" y="370"/>
                  </a:lnTo>
                  <a:lnTo>
                    <a:pt x="2778" y="367"/>
                  </a:lnTo>
                  <a:lnTo>
                    <a:pt x="2770" y="365"/>
                  </a:lnTo>
                  <a:lnTo>
                    <a:pt x="2750" y="361"/>
                  </a:lnTo>
                  <a:lnTo>
                    <a:pt x="2730" y="358"/>
                  </a:lnTo>
                  <a:lnTo>
                    <a:pt x="2689" y="356"/>
                  </a:lnTo>
                  <a:lnTo>
                    <a:pt x="2647" y="355"/>
                  </a:lnTo>
                  <a:lnTo>
                    <a:pt x="2626" y="354"/>
                  </a:lnTo>
                  <a:lnTo>
                    <a:pt x="2606" y="353"/>
                  </a:lnTo>
                  <a:lnTo>
                    <a:pt x="2586" y="350"/>
                  </a:lnTo>
                  <a:lnTo>
                    <a:pt x="2569" y="346"/>
                  </a:lnTo>
                  <a:lnTo>
                    <a:pt x="2559" y="343"/>
                  </a:lnTo>
                  <a:lnTo>
                    <a:pt x="2551" y="341"/>
                  </a:lnTo>
                  <a:lnTo>
                    <a:pt x="2544" y="338"/>
                  </a:lnTo>
                  <a:lnTo>
                    <a:pt x="2536" y="334"/>
                  </a:lnTo>
                  <a:lnTo>
                    <a:pt x="2529" y="330"/>
                  </a:lnTo>
                  <a:lnTo>
                    <a:pt x="2522" y="325"/>
                  </a:lnTo>
                  <a:lnTo>
                    <a:pt x="2516" y="319"/>
                  </a:lnTo>
                  <a:lnTo>
                    <a:pt x="2510" y="312"/>
                  </a:lnTo>
                  <a:lnTo>
                    <a:pt x="2496" y="291"/>
                  </a:lnTo>
                  <a:lnTo>
                    <a:pt x="2477" y="262"/>
                  </a:lnTo>
                  <a:lnTo>
                    <a:pt x="2468" y="246"/>
                  </a:lnTo>
                  <a:lnTo>
                    <a:pt x="2459" y="232"/>
                  </a:lnTo>
                  <a:lnTo>
                    <a:pt x="2453" y="219"/>
                  </a:lnTo>
                  <a:lnTo>
                    <a:pt x="2450" y="209"/>
                  </a:lnTo>
                  <a:lnTo>
                    <a:pt x="2444" y="210"/>
                  </a:lnTo>
                  <a:lnTo>
                    <a:pt x="2437" y="211"/>
                  </a:lnTo>
                  <a:lnTo>
                    <a:pt x="2430" y="214"/>
                  </a:lnTo>
                  <a:lnTo>
                    <a:pt x="2423" y="217"/>
                  </a:lnTo>
                  <a:lnTo>
                    <a:pt x="2406" y="225"/>
                  </a:lnTo>
                  <a:lnTo>
                    <a:pt x="2389" y="236"/>
                  </a:lnTo>
                  <a:lnTo>
                    <a:pt x="2372" y="246"/>
                  </a:lnTo>
                  <a:lnTo>
                    <a:pt x="2354" y="256"/>
                  </a:lnTo>
                  <a:lnTo>
                    <a:pt x="2345" y="260"/>
                  </a:lnTo>
                  <a:lnTo>
                    <a:pt x="2336" y="263"/>
                  </a:lnTo>
                  <a:lnTo>
                    <a:pt x="2328" y="266"/>
                  </a:lnTo>
                  <a:lnTo>
                    <a:pt x="2319" y="268"/>
                  </a:lnTo>
                  <a:lnTo>
                    <a:pt x="2308" y="269"/>
                  </a:lnTo>
                  <a:lnTo>
                    <a:pt x="2299" y="268"/>
                  </a:lnTo>
                  <a:lnTo>
                    <a:pt x="2291" y="267"/>
                  </a:lnTo>
                  <a:lnTo>
                    <a:pt x="2284" y="264"/>
                  </a:lnTo>
                  <a:lnTo>
                    <a:pt x="2278" y="260"/>
                  </a:lnTo>
                  <a:lnTo>
                    <a:pt x="2274" y="256"/>
                  </a:lnTo>
                  <a:lnTo>
                    <a:pt x="2268" y="250"/>
                  </a:lnTo>
                  <a:lnTo>
                    <a:pt x="2265" y="245"/>
                  </a:lnTo>
                  <a:lnTo>
                    <a:pt x="2258" y="234"/>
                  </a:lnTo>
                  <a:lnTo>
                    <a:pt x="2250" y="224"/>
                  </a:lnTo>
                  <a:lnTo>
                    <a:pt x="2245" y="220"/>
                  </a:lnTo>
                  <a:lnTo>
                    <a:pt x="2240" y="217"/>
                  </a:lnTo>
                  <a:lnTo>
                    <a:pt x="2235" y="215"/>
                  </a:lnTo>
                  <a:lnTo>
                    <a:pt x="2228" y="214"/>
                  </a:lnTo>
                  <a:lnTo>
                    <a:pt x="2198" y="213"/>
                  </a:lnTo>
                  <a:lnTo>
                    <a:pt x="2168" y="211"/>
                  </a:lnTo>
                  <a:lnTo>
                    <a:pt x="2155" y="211"/>
                  </a:lnTo>
                  <a:lnTo>
                    <a:pt x="2140" y="212"/>
                  </a:lnTo>
                  <a:lnTo>
                    <a:pt x="2125" y="215"/>
                  </a:lnTo>
                  <a:lnTo>
                    <a:pt x="2110" y="219"/>
                  </a:lnTo>
                  <a:lnTo>
                    <a:pt x="2108" y="225"/>
                  </a:lnTo>
                  <a:lnTo>
                    <a:pt x="2108" y="231"/>
                  </a:lnTo>
                  <a:lnTo>
                    <a:pt x="2108" y="236"/>
                  </a:lnTo>
                  <a:lnTo>
                    <a:pt x="2109" y="241"/>
                  </a:lnTo>
                  <a:lnTo>
                    <a:pt x="2111" y="249"/>
                  </a:lnTo>
                  <a:lnTo>
                    <a:pt x="2115" y="258"/>
                  </a:lnTo>
                  <a:lnTo>
                    <a:pt x="2119" y="265"/>
                  </a:lnTo>
                  <a:lnTo>
                    <a:pt x="2122" y="271"/>
                  </a:lnTo>
                  <a:lnTo>
                    <a:pt x="2123" y="275"/>
                  </a:lnTo>
                  <a:lnTo>
                    <a:pt x="2123" y="280"/>
                  </a:lnTo>
                  <a:lnTo>
                    <a:pt x="2123" y="283"/>
                  </a:lnTo>
                  <a:lnTo>
                    <a:pt x="2123" y="287"/>
                  </a:lnTo>
                  <a:lnTo>
                    <a:pt x="2121" y="292"/>
                  </a:lnTo>
                  <a:lnTo>
                    <a:pt x="2119" y="296"/>
                  </a:lnTo>
                  <a:lnTo>
                    <a:pt x="2116" y="302"/>
                  </a:lnTo>
                  <a:lnTo>
                    <a:pt x="2113" y="306"/>
                  </a:lnTo>
                  <a:lnTo>
                    <a:pt x="2106" y="313"/>
                  </a:lnTo>
                  <a:lnTo>
                    <a:pt x="2097" y="320"/>
                  </a:lnTo>
                  <a:lnTo>
                    <a:pt x="2080" y="335"/>
                  </a:lnTo>
                  <a:lnTo>
                    <a:pt x="2064" y="350"/>
                  </a:lnTo>
                  <a:lnTo>
                    <a:pt x="2055" y="360"/>
                  </a:lnTo>
                  <a:lnTo>
                    <a:pt x="2045" y="369"/>
                  </a:lnTo>
                  <a:lnTo>
                    <a:pt x="2037" y="377"/>
                  </a:lnTo>
                  <a:lnTo>
                    <a:pt x="2029" y="383"/>
                  </a:lnTo>
                  <a:lnTo>
                    <a:pt x="2020" y="388"/>
                  </a:lnTo>
                  <a:lnTo>
                    <a:pt x="2013" y="391"/>
                  </a:lnTo>
                  <a:lnTo>
                    <a:pt x="2007" y="392"/>
                  </a:lnTo>
                  <a:lnTo>
                    <a:pt x="2000" y="392"/>
                  </a:lnTo>
                  <a:lnTo>
                    <a:pt x="1994" y="390"/>
                  </a:lnTo>
                  <a:lnTo>
                    <a:pt x="1989" y="386"/>
                  </a:lnTo>
                  <a:lnTo>
                    <a:pt x="1985" y="381"/>
                  </a:lnTo>
                  <a:lnTo>
                    <a:pt x="1981" y="374"/>
                  </a:lnTo>
                  <a:lnTo>
                    <a:pt x="1979" y="364"/>
                  </a:lnTo>
                  <a:lnTo>
                    <a:pt x="1976" y="354"/>
                  </a:lnTo>
                  <a:lnTo>
                    <a:pt x="1974" y="340"/>
                  </a:lnTo>
                  <a:lnTo>
                    <a:pt x="1974" y="326"/>
                  </a:lnTo>
                  <a:lnTo>
                    <a:pt x="1973" y="325"/>
                  </a:lnTo>
                  <a:lnTo>
                    <a:pt x="1972" y="323"/>
                  </a:lnTo>
                  <a:lnTo>
                    <a:pt x="1943" y="325"/>
                  </a:lnTo>
                  <a:lnTo>
                    <a:pt x="1913" y="326"/>
                  </a:lnTo>
                  <a:lnTo>
                    <a:pt x="1898" y="326"/>
                  </a:lnTo>
                  <a:lnTo>
                    <a:pt x="1884" y="326"/>
                  </a:lnTo>
                  <a:lnTo>
                    <a:pt x="1869" y="325"/>
                  </a:lnTo>
                  <a:lnTo>
                    <a:pt x="1853" y="322"/>
                  </a:lnTo>
                  <a:lnTo>
                    <a:pt x="1844" y="320"/>
                  </a:lnTo>
                  <a:lnTo>
                    <a:pt x="1833" y="315"/>
                  </a:lnTo>
                  <a:lnTo>
                    <a:pt x="1821" y="309"/>
                  </a:lnTo>
                  <a:lnTo>
                    <a:pt x="1809" y="302"/>
                  </a:lnTo>
                  <a:lnTo>
                    <a:pt x="1784" y="287"/>
                  </a:lnTo>
                  <a:lnTo>
                    <a:pt x="1762" y="275"/>
                  </a:lnTo>
                  <a:lnTo>
                    <a:pt x="1754" y="273"/>
                  </a:lnTo>
                  <a:lnTo>
                    <a:pt x="1747" y="271"/>
                  </a:lnTo>
                  <a:lnTo>
                    <a:pt x="1741" y="271"/>
                  </a:lnTo>
                  <a:lnTo>
                    <a:pt x="1735" y="271"/>
                  </a:lnTo>
                  <a:lnTo>
                    <a:pt x="1728" y="272"/>
                  </a:lnTo>
                  <a:lnTo>
                    <a:pt x="1723" y="274"/>
                  </a:lnTo>
                  <a:lnTo>
                    <a:pt x="1718" y="277"/>
                  </a:lnTo>
                  <a:lnTo>
                    <a:pt x="1713" y="279"/>
                  </a:lnTo>
                  <a:lnTo>
                    <a:pt x="1703" y="286"/>
                  </a:lnTo>
                  <a:lnTo>
                    <a:pt x="1695" y="293"/>
                  </a:lnTo>
                  <a:lnTo>
                    <a:pt x="1688" y="302"/>
                  </a:lnTo>
                  <a:lnTo>
                    <a:pt x="1680" y="309"/>
                  </a:lnTo>
                  <a:lnTo>
                    <a:pt x="1674" y="316"/>
                  </a:lnTo>
                  <a:lnTo>
                    <a:pt x="1668" y="321"/>
                  </a:lnTo>
                  <a:lnTo>
                    <a:pt x="1666" y="322"/>
                  </a:lnTo>
                  <a:lnTo>
                    <a:pt x="1663" y="323"/>
                  </a:lnTo>
                  <a:lnTo>
                    <a:pt x="1661" y="325"/>
                  </a:lnTo>
                  <a:lnTo>
                    <a:pt x="1657" y="323"/>
                  </a:lnTo>
                  <a:lnTo>
                    <a:pt x="1655" y="322"/>
                  </a:lnTo>
                  <a:lnTo>
                    <a:pt x="1653" y="319"/>
                  </a:lnTo>
                  <a:lnTo>
                    <a:pt x="1651" y="316"/>
                  </a:lnTo>
                  <a:lnTo>
                    <a:pt x="1648" y="311"/>
                  </a:lnTo>
                  <a:lnTo>
                    <a:pt x="1644" y="297"/>
                  </a:lnTo>
                  <a:lnTo>
                    <a:pt x="1640" y="279"/>
                  </a:lnTo>
                  <a:lnTo>
                    <a:pt x="1638" y="270"/>
                  </a:lnTo>
                  <a:lnTo>
                    <a:pt x="1636" y="262"/>
                  </a:lnTo>
                  <a:lnTo>
                    <a:pt x="1632" y="256"/>
                  </a:lnTo>
                  <a:lnTo>
                    <a:pt x="1630" y="249"/>
                  </a:lnTo>
                  <a:lnTo>
                    <a:pt x="1626" y="243"/>
                  </a:lnTo>
                  <a:lnTo>
                    <a:pt x="1623" y="239"/>
                  </a:lnTo>
                  <a:lnTo>
                    <a:pt x="1619" y="236"/>
                  </a:lnTo>
                  <a:lnTo>
                    <a:pt x="1615" y="233"/>
                  </a:lnTo>
                  <a:lnTo>
                    <a:pt x="1609" y="231"/>
                  </a:lnTo>
                  <a:lnTo>
                    <a:pt x="1604" y="230"/>
                  </a:lnTo>
                  <a:lnTo>
                    <a:pt x="1598" y="229"/>
                  </a:lnTo>
                  <a:lnTo>
                    <a:pt x="1592" y="230"/>
                  </a:lnTo>
                  <a:lnTo>
                    <a:pt x="1584" y="231"/>
                  </a:lnTo>
                  <a:lnTo>
                    <a:pt x="1577" y="233"/>
                  </a:lnTo>
                  <a:lnTo>
                    <a:pt x="1569" y="236"/>
                  </a:lnTo>
                  <a:lnTo>
                    <a:pt x="1559" y="240"/>
                  </a:lnTo>
                  <a:lnTo>
                    <a:pt x="1554" y="243"/>
                  </a:lnTo>
                  <a:lnTo>
                    <a:pt x="1549" y="249"/>
                  </a:lnTo>
                  <a:lnTo>
                    <a:pt x="1543" y="256"/>
                  </a:lnTo>
                  <a:lnTo>
                    <a:pt x="1538" y="264"/>
                  </a:lnTo>
                  <a:lnTo>
                    <a:pt x="1527" y="281"/>
                  </a:lnTo>
                  <a:lnTo>
                    <a:pt x="1517" y="297"/>
                  </a:lnTo>
                  <a:lnTo>
                    <a:pt x="1511" y="304"/>
                  </a:lnTo>
                  <a:lnTo>
                    <a:pt x="1506" y="310"/>
                  </a:lnTo>
                  <a:lnTo>
                    <a:pt x="1500" y="313"/>
                  </a:lnTo>
                  <a:lnTo>
                    <a:pt x="1495" y="315"/>
                  </a:lnTo>
                  <a:lnTo>
                    <a:pt x="1493" y="315"/>
                  </a:lnTo>
                  <a:lnTo>
                    <a:pt x="1490" y="314"/>
                  </a:lnTo>
                  <a:lnTo>
                    <a:pt x="1486" y="313"/>
                  </a:lnTo>
                  <a:lnTo>
                    <a:pt x="1484" y="311"/>
                  </a:lnTo>
                  <a:lnTo>
                    <a:pt x="1478" y="304"/>
                  </a:lnTo>
                  <a:lnTo>
                    <a:pt x="1473" y="293"/>
                  </a:lnTo>
                  <a:lnTo>
                    <a:pt x="1466" y="224"/>
                  </a:lnTo>
                  <a:lnTo>
                    <a:pt x="1466" y="224"/>
                  </a:lnTo>
                  <a:lnTo>
                    <a:pt x="1463" y="225"/>
                  </a:lnTo>
                  <a:lnTo>
                    <a:pt x="1460" y="225"/>
                  </a:lnTo>
                  <a:lnTo>
                    <a:pt x="1457" y="224"/>
                  </a:lnTo>
                  <a:lnTo>
                    <a:pt x="1453" y="223"/>
                  </a:lnTo>
                  <a:lnTo>
                    <a:pt x="1445" y="217"/>
                  </a:lnTo>
                  <a:lnTo>
                    <a:pt x="1434" y="208"/>
                  </a:lnTo>
                  <a:lnTo>
                    <a:pt x="1424" y="195"/>
                  </a:lnTo>
                  <a:lnTo>
                    <a:pt x="1412" y="182"/>
                  </a:lnTo>
                  <a:lnTo>
                    <a:pt x="1400" y="166"/>
                  </a:lnTo>
                  <a:lnTo>
                    <a:pt x="1388" y="149"/>
                  </a:lnTo>
                  <a:lnTo>
                    <a:pt x="1364" y="116"/>
                  </a:lnTo>
                  <a:lnTo>
                    <a:pt x="1345" y="85"/>
                  </a:lnTo>
                  <a:lnTo>
                    <a:pt x="1329" y="60"/>
                  </a:lnTo>
                  <a:lnTo>
                    <a:pt x="1322" y="46"/>
                  </a:lnTo>
                  <a:lnTo>
                    <a:pt x="1318" y="40"/>
                  </a:lnTo>
                  <a:lnTo>
                    <a:pt x="1313" y="34"/>
                  </a:lnTo>
                  <a:lnTo>
                    <a:pt x="1308" y="28"/>
                  </a:lnTo>
                  <a:lnTo>
                    <a:pt x="1303" y="22"/>
                  </a:lnTo>
                  <a:lnTo>
                    <a:pt x="1297" y="17"/>
                  </a:lnTo>
                  <a:lnTo>
                    <a:pt x="1290" y="13"/>
                  </a:lnTo>
                  <a:lnTo>
                    <a:pt x="1283" y="8"/>
                  </a:lnTo>
                  <a:lnTo>
                    <a:pt x="1277" y="5"/>
                  </a:lnTo>
                  <a:lnTo>
                    <a:pt x="1271" y="3"/>
                  </a:lnTo>
                  <a:lnTo>
                    <a:pt x="1264" y="2"/>
                  </a:lnTo>
                  <a:lnTo>
                    <a:pt x="1259" y="3"/>
                  </a:lnTo>
                  <a:lnTo>
                    <a:pt x="1254" y="5"/>
                  </a:lnTo>
                  <a:lnTo>
                    <a:pt x="1251" y="10"/>
                  </a:lnTo>
                  <a:lnTo>
                    <a:pt x="1248" y="16"/>
                  </a:lnTo>
                  <a:lnTo>
                    <a:pt x="1246" y="24"/>
                  </a:lnTo>
                  <a:lnTo>
                    <a:pt x="1245" y="36"/>
                  </a:lnTo>
                  <a:lnTo>
                    <a:pt x="1243" y="51"/>
                  </a:lnTo>
                  <a:lnTo>
                    <a:pt x="1241" y="68"/>
                  </a:lnTo>
                  <a:lnTo>
                    <a:pt x="1240" y="77"/>
                  </a:lnTo>
                  <a:lnTo>
                    <a:pt x="1237" y="86"/>
                  </a:lnTo>
                  <a:lnTo>
                    <a:pt x="1235" y="94"/>
                  </a:lnTo>
                  <a:lnTo>
                    <a:pt x="1232" y="102"/>
                  </a:lnTo>
                  <a:lnTo>
                    <a:pt x="1228" y="110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2" y="127"/>
                  </a:lnTo>
                  <a:lnTo>
                    <a:pt x="1206" y="130"/>
                  </a:lnTo>
                  <a:lnTo>
                    <a:pt x="1199" y="134"/>
                  </a:lnTo>
                  <a:lnTo>
                    <a:pt x="1191" y="135"/>
                  </a:lnTo>
                  <a:lnTo>
                    <a:pt x="1182" y="135"/>
                  </a:lnTo>
                  <a:lnTo>
                    <a:pt x="1179" y="128"/>
                  </a:lnTo>
                  <a:lnTo>
                    <a:pt x="1177" y="121"/>
                  </a:lnTo>
                  <a:lnTo>
                    <a:pt x="1175" y="112"/>
                  </a:lnTo>
                  <a:lnTo>
                    <a:pt x="1174" y="101"/>
                  </a:lnTo>
                  <a:lnTo>
                    <a:pt x="1172" y="78"/>
                  </a:lnTo>
                  <a:lnTo>
                    <a:pt x="1170" y="54"/>
                  </a:lnTo>
                  <a:lnTo>
                    <a:pt x="1168" y="43"/>
                  </a:lnTo>
                  <a:lnTo>
                    <a:pt x="1167" y="32"/>
                  </a:lnTo>
                  <a:lnTo>
                    <a:pt x="1165" y="22"/>
                  </a:lnTo>
                  <a:lnTo>
                    <a:pt x="1162" y="14"/>
                  </a:lnTo>
                  <a:lnTo>
                    <a:pt x="1159" y="7"/>
                  </a:lnTo>
                  <a:lnTo>
                    <a:pt x="1154" y="2"/>
                  </a:lnTo>
                  <a:lnTo>
                    <a:pt x="1152" y="1"/>
                  </a:lnTo>
                  <a:lnTo>
                    <a:pt x="1149" y="0"/>
                  </a:lnTo>
                  <a:lnTo>
                    <a:pt x="1145" y="0"/>
                  </a:lnTo>
                  <a:lnTo>
                    <a:pt x="1141" y="0"/>
                  </a:lnTo>
                  <a:lnTo>
                    <a:pt x="1129" y="3"/>
                  </a:lnTo>
                  <a:lnTo>
                    <a:pt x="1118" y="6"/>
                  </a:lnTo>
                  <a:lnTo>
                    <a:pt x="1110" y="10"/>
                  </a:lnTo>
                  <a:lnTo>
                    <a:pt x="1103" y="16"/>
                  </a:lnTo>
                  <a:lnTo>
                    <a:pt x="1099" y="20"/>
                  </a:lnTo>
                  <a:lnTo>
                    <a:pt x="1094" y="25"/>
                  </a:lnTo>
                  <a:lnTo>
                    <a:pt x="1092" y="31"/>
                  </a:lnTo>
                  <a:lnTo>
                    <a:pt x="1090" y="38"/>
                  </a:lnTo>
                  <a:lnTo>
                    <a:pt x="1088" y="50"/>
                  </a:lnTo>
                  <a:lnTo>
                    <a:pt x="1086" y="64"/>
                  </a:lnTo>
                  <a:lnTo>
                    <a:pt x="1084" y="71"/>
                  </a:lnTo>
                  <a:lnTo>
                    <a:pt x="1082" y="78"/>
                  </a:lnTo>
                  <a:lnTo>
                    <a:pt x="1079" y="87"/>
                  </a:lnTo>
                  <a:lnTo>
                    <a:pt x="1074" y="94"/>
                  </a:lnTo>
                  <a:lnTo>
                    <a:pt x="1069" y="100"/>
                  </a:lnTo>
                  <a:lnTo>
                    <a:pt x="1064" y="104"/>
                  </a:lnTo>
                  <a:lnTo>
                    <a:pt x="1058" y="108"/>
                  </a:lnTo>
                  <a:lnTo>
                    <a:pt x="1053" y="109"/>
                  </a:lnTo>
                  <a:lnTo>
                    <a:pt x="1040" y="110"/>
                  </a:lnTo>
                  <a:lnTo>
                    <a:pt x="1028" y="109"/>
                  </a:lnTo>
                  <a:lnTo>
                    <a:pt x="1016" y="108"/>
                  </a:lnTo>
                  <a:lnTo>
                    <a:pt x="1006" y="108"/>
                  </a:lnTo>
                  <a:lnTo>
                    <a:pt x="1001" y="109"/>
                  </a:lnTo>
                  <a:lnTo>
                    <a:pt x="996" y="112"/>
                  </a:lnTo>
                  <a:lnTo>
                    <a:pt x="993" y="115"/>
                  </a:lnTo>
                  <a:lnTo>
                    <a:pt x="990" y="121"/>
                  </a:lnTo>
                  <a:lnTo>
                    <a:pt x="988" y="129"/>
                  </a:lnTo>
                  <a:lnTo>
                    <a:pt x="987" y="141"/>
                  </a:lnTo>
                  <a:lnTo>
                    <a:pt x="986" y="153"/>
                  </a:lnTo>
                  <a:lnTo>
                    <a:pt x="987" y="167"/>
                  </a:lnTo>
                  <a:lnTo>
                    <a:pt x="987" y="181"/>
                  </a:lnTo>
                  <a:lnTo>
                    <a:pt x="988" y="194"/>
                  </a:lnTo>
                  <a:lnTo>
                    <a:pt x="987" y="206"/>
                  </a:lnTo>
                  <a:lnTo>
                    <a:pt x="986" y="217"/>
                  </a:lnTo>
                  <a:lnTo>
                    <a:pt x="984" y="222"/>
                  </a:lnTo>
                  <a:lnTo>
                    <a:pt x="982" y="226"/>
                  </a:lnTo>
                  <a:lnTo>
                    <a:pt x="978" y="231"/>
                  </a:lnTo>
                  <a:lnTo>
                    <a:pt x="973" y="234"/>
                  </a:lnTo>
                  <a:lnTo>
                    <a:pt x="969" y="236"/>
                  </a:lnTo>
                  <a:lnTo>
                    <a:pt x="964" y="237"/>
                  </a:lnTo>
                  <a:lnTo>
                    <a:pt x="958" y="238"/>
                  </a:lnTo>
                  <a:lnTo>
                    <a:pt x="953" y="239"/>
                  </a:lnTo>
                  <a:lnTo>
                    <a:pt x="940" y="240"/>
                  </a:lnTo>
                  <a:lnTo>
                    <a:pt x="929" y="241"/>
                  </a:lnTo>
                  <a:lnTo>
                    <a:pt x="917" y="243"/>
                  </a:lnTo>
                  <a:lnTo>
                    <a:pt x="909" y="246"/>
                  </a:lnTo>
                  <a:lnTo>
                    <a:pt x="893" y="257"/>
                  </a:lnTo>
                  <a:lnTo>
                    <a:pt x="880" y="268"/>
                  </a:lnTo>
                  <a:lnTo>
                    <a:pt x="872" y="273"/>
                  </a:lnTo>
                  <a:lnTo>
                    <a:pt x="865" y="279"/>
                  </a:lnTo>
                  <a:lnTo>
                    <a:pt x="858" y="285"/>
                  </a:lnTo>
                  <a:lnTo>
                    <a:pt x="848" y="289"/>
                  </a:lnTo>
                  <a:lnTo>
                    <a:pt x="842" y="293"/>
                  </a:lnTo>
                  <a:lnTo>
                    <a:pt x="837" y="297"/>
                  </a:lnTo>
                  <a:lnTo>
                    <a:pt x="833" y="303"/>
                  </a:lnTo>
                  <a:lnTo>
                    <a:pt x="829" y="309"/>
                  </a:lnTo>
                  <a:lnTo>
                    <a:pt x="821" y="320"/>
                  </a:lnTo>
                  <a:lnTo>
                    <a:pt x="814" y="334"/>
                  </a:lnTo>
                  <a:lnTo>
                    <a:pt x="810" y="341"/>
                  </a:lnTo>
                  <a:lnTo>
                    <a:pt x="806" y="347"/>
                  </a:lnTo>
                  <a:lnTo>
                    <a:pt x="800" y="355"/>
                  </a:lnTo>
                  <a:lnTo>
                    <a:pt x="794" y="361"/>
                  </a:lnTo>
                  <a:lnTo>
                    <a:pt x="787" y="367"/>
                  </a:lnTo>
                  <a:lnTo>
                    <a:pt x="778" y="372"/>
                  </a:lnTo>
                  <a:lnTo>
                    <a:pt x="769" y="377"/>
                  </a:lnTo>
                  <a:lnTo>
                    <a:pt x="758" y="382"/>
                  </a:lnTo>
                  <a:lnTo>
                    <a:pt x="744" y="385"/>
                  </a:lnTo>
                  <a:lnTo>
                    <a:pt x="731" y="388"/>
                  </a:lnTo>
                  <a:lnTo>
                    <a:pt x="717" y="389"/>
                  </a:lnTo>
                  <a:lnTo>
                    <a:pt x="703" y="391"/>
                  </a:lnTo>
                  <a:lnTo>
                    <a:pt x="676" y="393"/>
                  </a:lnTo>
                  <a:lnTo>
                    <a:pt x="648" y="396"/>
                  </a:lnTo>
                  <a:lnTo>
                    <a:pt x="644" y="398"/>
                  </a:lnTo>
                  <a:lnTo>
                    <a:pt x="641" y="399"/>
                  </a:lnTo>
                  <a:lnTo>
                    <a:pt x="638" y="401"/>
                  </a:lnTo>
                  <a:lnTo>
                    <a:pt x="635" y="403"/>
                  </a:lnTo>
                  <a:lnTo>
                    <a:pt x="630" y="408"/>
                  </a:lnTo>
                  <a:lnTo>
                    <a:pt x="626" y="415"/>
                  </a:lnTo>
                  <a:lnTo>
                    <a:pt x="624" y="423"/>
                  </a:lnTo>
                  <a:lnTo>
                    <a:pt x="623" y="432"/>
                  </a:lnTo>
                  <a:lnTo>
                    <a:pt x="623" y="441"/>
                  </a:lnTo>
                  <a:lnTo>
                    <a:pt x="624" y="451"/>
                  </a:lnTo>
                  <a:lnTo>
                    <a:pt x="625" y="460"/>
                  </a:lnTo>
                  <a:lnTo>
                    <a:pt x="628" y="470"/>
                  </a:lnTo>
                  <a:lnTo>
                    <a:pt x="630" y="480"/>
                  </a:lnTo>
                  <a:lnTo>
                    <a:pt x="635" y="488"/>
                  </a:lnTo>
                  <a:lnTo>
                    <a:pt x="638" y="497"/>
                  </a:lnTo>
                  <a:lnTo>
                    <a:pt x="642" y="504"/>
                  </a:lnTo>
                  <a:lnTo>
                    <a:pt x="647" y="510"/>
                  </a:lnTo>
                  <a:lnTo>
                    <a:pt x="651" y="515"/>
                  </a:lnTo>
                  <a:lnTo>
                    <a:pt x="665" y="525"/>
                  </a:lnTo>
                  <a:lnTo>
                    <a:pt x="683" y="535"/>
                  </a:lnTo>
                  <a:lnTo>
                    <a:pt x="702" y="547"/>
                  </a:lnTo>
                  <a:lnTo>
                    <a:pt x="719" y="559"/>
                  </a:lnTo>
                  <a:lnTo>
                    <a:pt x="725" y="564"/>
                  </a:lnTo>
                  <a:lnTo>
                    <a:pt x="729" y="571"/>
                  </a:lnTo>
                  <a:lnTo>
                    <a:pt x="732" y="574"/>
                  </a:lnTo>
                  <a:lnTo>
                    <a:pt x="732" y="577"/>
                  </a:lnTo>
                  <a:lnTo>
                    <a:pt x="732" y="580"/>
                  </a:lnTo>
                  <a:lnTo>
                    <a:pt x="732" y="583"/>
                  </a:lnTo>
                  <a:lnTo>
                    <a:pt x="729" y="585"/>
                  </a:lnTo>
                  <a:lnTo>
                    <a:pt x="727" y="588"/>
                  </a:lnTo>
                  <a:lnTo>
                    <a:pt x="724" y="592"/>
                  </a:lnTo>
                  <a:lnTo>
                    <a:pt x="719" y="595"/>
                  </a:lnTo>
                  <a:lnTo>
                    <a:pt x="708" y="600"/>
                  </a:lnTo>
                  <a:lnTo>
                    <a:pt x="691" y="605"/>
                  </a:lnTo>
                  <a:lnTo>
                    <a:pt x="677" y="606"/>
                  </a:lnTo>
                  <a:lnTo>
                    <a:pt x="658" y="608"/>
                  </a:lnTo>
                  <a:lnTo>
                    <a:pt x="649" y="611"/>
                  </a:lnTo>
                  <a:lnTo>
                    <a:pt x="642" y="616"/>
                  </a:lnTo>
                  <a:lnTo>
                    <a:pt x="640" y="619"/>
                  </a:lnTo>
                  <a:lnTo>
                    <a:pt x="639" y="622"/>
                  </a:lnTo>
                  <a:lnTo>
                    <a:pt x="638" y="625"/>
                  </a:lnTo>
                  <a:lnTo>
                    <a:pt x="639" y="629"/>
                  </a:lnTo>
                  <a:lnTo>
                    <a:pt x="641" y="632"/>
                  </a:lnTo>
                  <a:lnTo>
                    <a:pt x="644" y="635"/>
                  </a:lnTo>
                  <a:lnTo>
                    <a:pt x="647" y="637"/>
                  </a:lnTo>
                  <a:lnTo>
                    <a:pt x="651" y="640"/>
                  </a:lnTo>
                  <a:lnTo>
                    <a:pt x="663" y="642"/>
                  </a:lnTo>
                  <a:lnTo>
                    <a:pt x="675" y="644"/>
                  </a:lnTo>
                  <a:lnTo>
                    <a:pt x="700" y="644"/>
                  </a:lnTo>
                  <a:lnTo>
                    <a:pt x="719" y="644"/>
                  </a:lnTo>
                  <a:lnTo>
                    <a:pt x="724" y="644"/>
                  </a:lnTo>
                  <a:lnTo>
                    <a:pt x="727" y="645"/>
                  </a:lnTo>
                  <a:lnTo>
                    <a:pt x="731" y="647"/>
                  </a:lnTo>
                  <a:lnTo>
                    <a:pt x="733" y="648"/>
                  </a:lnTo>
                  <a:lnTo>
                    <a:pt x="734" y="650"/>
                  </a:lnTo>
                  <a:lnTo>
                    <a:pt x="735" y="652"/>
                  </a:lnTo>
                  <a:lnTo>
                    <a:pt x="735" y="655"/>
                  </a:lnTo>
                  <a:lnTo>
                    <a:pt x="734" y="657"/>
                  </a:lnTo>
                  <a:lnTo>
                    <a:pt x="732" y="663"/>
                  </a:lnTo>
                  <a:lnTo>
                    <a:pt x="727" y="668"/>
                  </a:lnTo>
                  <a:lnTo>
                    <a:pt x="722" y="672"/>
                  </a:lnTo>
                  <a:lnTo>
                    <a:pt x="716" y="676"/>
                  </a:lnTo>
                  <a:lnTo>
                    <a:pt x="689" y="687"/>
                  </a:lnTo>
                  <a:lnTo>
                    <a:pt x="662" y="697"/>
                  </a:lnTo>
                  <a:lnTo>
                    <a:pt x="648" y="703"/>
                  </a:lnTo>
                  <a:lnTo>
                    <a:pt x="637" y="711"/>
                  </a:lnTo>
                  <a:lnTo>
                    <a:pt x="631" y="715"/>
                  </a:lnTo>
                  <a:lnTo>
                    <a:pt x="626" y="720"/>
                  </a:lnTo>
                  <a:lnTo>
                    <a:pt x="622" y="726"/>
                  </a:lnTo>
                  <a:lnTo>
                    <a:pt x="618" y="732"/>
                  </a:lnTo>
                  <a:lnTo>
                    <a:pt x="615" y="739"/>
                  </a:lnTo>
                  <a:lnTo>
                    <a:pt x="613" y="744"/>
                  </a:lnTo>
                  <a:lnTo>
                    <a:pt x="612" y="749"/>
                  </a:lnTo>
                  <a:lnTo>
                    <a:pt x="612" y="753"/>
                  </a:lnTo>
                  <a:lnTo>
                    <a:pt x="612" y="757"/>
                  </a:lnTo>
                  <a:lnTo>
                    <a:pt x="613" y="761"/>
                  </a:lnTo>
                  <a:lnTo>
                    <a:pt x="614" y="764"/>
                  </a:lnTo>
                  <a:lnTo>
                    <a:pt x="616" y="766"/>
                  </a:lnTo>
                  <a:lnTo>
                    <a:pt x="622" y="770"/>
                  </a:lnTo>
                  <a:lnTo>
                    <a:pt x="629" y="773"/>
                  </a:lnTo>
                  <a:lnTo>
                    <a:pt x="638" y="774"/>
                  </a:lnTo>
                  <a:lnTo>
                    <a:pt x="647" y="775"/>
                  </a:lnTo>
                  <a:lnTo>
                    <a:pt x="669" y="774"/>
                  </a:lnTo>
                  <a:lnTo>
                    <a:pt x="689" y="774"/>
                  </a:lnTo>
                  <a:lnTo>
                    <a:pt x="698" y="774"/>
                  </a:lnTo>
                  <a:lnTo>
                    <a:pt x="705" y="775"/>
                  </a:lnTo>
                  <a:lnTo>
                    <a:pt x="712" y="777"/>
                  </a:lnTo>
                  <a:lnTo>
                    <a:pt x="716" y="780"/>
                  </a:lnTo>
                  <a:lnTo>
                    <a:pt x="717" y="784"/>
                  </a:lnTo>
                  <a:lnTo>
                    <a:pt x="717" y="788"/>
                  </a:lnTo>
                  <a:lnTo>
                    <a:pt x="716" y="794"/>
                  </a:lnTo>
                  <a:lnTo>
                    <a:pt x="715" y="801"/>
                  </a:lnTo>
                  <a:lnTo>
                    <a:pt x="711" y="820"/>
                  </a:lnTo>
                  <a:lnTo>
                    <a:pt x="707" y="841"/>
                  </a:lnTo>
                  <a:lnTo>
                    <a:pt x="701" y="863"/>
                  </a:lnTo>
                  <a:lnTo>
                    <a:pt x="697" y="884"/>
                  </a:lnTo>
                  <a:lnTo>
                    <a:pt x="694" y="901"/>
                  </a:lnTo>
                  <a:lnTo>
                    <a:pt x="694" y="914"/>
                  </a:lnTo>
                  <a:lnTo>
                    <a:pt x="699" y="917"/>
                  </a:lnTo>
                  <a:lnTo>
                    <a:pt x="705" y="920"/>
                  </a:lnTo>
                  <a:lnTo>
                    <a:pt x="712" y="921"/>
                  </a:lnTo>
                  <a:lnTo>
                    <a:pt x="719" y="923"/>
                  </a:lnTo>
                  <a:lnTo>
                    <a:pt x="733" y="924"/>
                  </a:lnTo>
                  <a:lnTo>
                    <a:pt x="746" y="925"/>
                  </a:lnTo>
                  <a:lnTo>
                    <a:pt x="761" y="925"/>
                  </a:lnTo>
                  <a:lnTo>
                    <a:pt x="773" y="926"/>
                  </a:lnTo>
                  <a:lnTo>
                    <a:pt x="780" y="929"/>
                  </a:lnTo>
                  <a:lnTo>
                    <a:pt x="786" y="930"/>
                  </a:lnTo>
                  <a:lnTo>
                    <a:pt x="791" y="932"/>
                  </a:lnTo>
                  <a:lnTo>
                    <a:pt x="796" y="935"/>
                  </a:lnTo>
                  <a:lnTo>
                    <a:pt x="800" y="940"/>
                  </a:lnTo>
                  <a:lnTo>
                    <a:pt x="802" y="944"/>
                  </a:lnTo>
                  <a:lnTo>
                    <a:pt x="803" y="950"/>
                  </a:lnTo>
                  <a:lnTo>
                    <a:pt x="803" y="956"/>
                  </a:lnTo>
                  <a:lnTo>
                    <a:pt x="802" y="962"/>
                  </a:lnTo>
                  <a:lnTo>
                    <a:pt x="799" y="969"/>
                  </a:lnTo>
                  <a:lnTo>
                    <a:pt x="796" y="975"/>
                  </a:lnTo>
                  <a:lnTo>
                    <a:pt x="792" y="983"/>
                  </a:lnTo>
                  <a:lnTo>
                    <a:pt x="772" y="1008"/>
                  </a:lnTo>
                  <a:lnTo>
                    <a:pt x="758" y="1026"/>
                  </a:lnTo>
                  <a:lnTo>
                    <a:pt x="743" y="1043"/>
                  </a:lnTo>
                  <a:lnTo>
                    <a:pt x="728" y="1063"/>
                  </a:lnTo>
                  <a:lnTo>
                    <a:pt x="721" y="1074"/>
                  </a:lnTo>
                  <a:lnTo>
                    <a:pt x="713" y="1082"/>
                  </a:lnTo>
                  <a:lnTo>
                    <a:pt x="704" y="1090"/>
                  </a:lnTo>
                  <a:lnTo>
                    <a:pt x="696" y="1097"/>
                  </a:lnTo>
                  <a:lnTo>
                    <a:pt x="694" y="1098"/>
                  </a:lnTo>
                  <a:lnTo>
                    <a:pt x="691" y="1098"/>
                  </a:lnTo>
                  <a:lnTo>
                    <a:pt x="689" y="1095"/>
                  </a:lnTo>
                  <a:lnTo>
                    <a:pt x="687" y="1092"/>
                  </a:lnTo>
                  <a:lnTo>
                    <a:pt x="683" y="1083"/>
                  </a:lnTo>
                  <a:lnTo>
                    <a:pt x="679" y="1070"/>
                  </a:lnTo>
                  <a:lnTo>
                    <a:pt x="674" y="1046"/>
                  </a:lnTo>
                  <a:lnTo>
                    <a:pt x="669" y="1030"/>
                  </a:lnTo>
                  <a:lnTo>
                    <a:pt x="659" y="1011"/>
                  </a:lnTo>
                  <a:lnTo>
                    <a:pt x="650" y="997"/>
                  </a:lnTo>
                  <a:lnTo>
                    <a:pt x="642" y="988"/>
                  </a:lnTo>
                  <a:lnTo>
                    <a:pt x="635" y="982"/>
                  </a:lnTo>
                  <a:lnTo>
                    <a:pt x="631" y="981"/>
                  </a:lnTo>
                  <a:lnTo>
                    <a:pt x="628" y="980"/>
                  </a:lnTo>
                  <a:lnTo>
                    <a:pt x="625" y="980"/>
                  </a:lnTo>
                  <a:lnTo>
                    <a:pt x="623" y="980"/>
                  </a:lnTo>
                  <a:lnTo>
                    <a:pt x="617" y="983"/>
                  </a:lnTo>
                  <a:lnTo>
                    <a:pt x="612" y="988"/>
                  </a:lnTo>
                  <a:lnTo>
                    <a:pt x="601" y="1002"/>
                  </a:lnTo>
                  <a:lnTo>
                    <a:pt x="589" y="1017"/>
                  </a:lnTo>
                  <a:lnTo>
                    <a:pt x="581" y="1025"/>
                  </a:lnTo>
                  <a:lnTo>
                    <a:pt x="573" y="1032"/>
                  </a:lnTo>
                  <a:lnTo>
                    <a:pt x="568" y="1035"/>
                  </a:lnTo>
                  <a:lnTo>
                    <a:pt x="564" y="1037"/>
                  </a:lnTo>
                  <a:lnTo>
                    <a:pt x="558" y="1039"/>
                  </a:lnTo>
                  <a:lnTo>
                    <a:pt x="553" y="1041"/>
                  </a:lnTo>
                  <a:lnTo>
                    <a:pt x="545" y="1042"/>
                  </a:lnTo>
                  <a:lnTo>
                    <a:pt x="538" y="1041"/>
                  </a:lnTo>
                  <a:lnTo>
                    <a:pt x="529" y="1040"/>
                  </a:lnTo>
                  <a:lnTo>
                    <a:pt x="522" y="1037"/>
                  </a:lnTo>
                  <a:lnTo>
                    <a:pt x="515" y="1033"/>
                  </a:lnTo>
                  <a:lnTo>
                    <a:pt x="507" y="1029"/>
                  </a:lnTo>
                  <a:lnTo>
                    <a:pt x="500" y="1022"/>
                  </a:lnTo>
                  <a:lnTo>
                    <a:pt x="494" y="1017"/>
                  </a:lnTo>
                  <a:lnTo>
                    <a:pt x="468" y="990"/>
                  </a:lnTo>
                  <a:lnTo>
                    <a:pt x="446" y="967"/>
                  </a:lnTo>
                  <a:lnTo>
                    <a:pt x="428" y="948"/>
                  </a:lnTo>
                  <a:lnTo>
                    <a:pt x="414" y="932"/>
                  </a:lnTo>
                  <a:lnTo>
                    <a:pt x="409" y="929"/>
                  </a:lnTo>
                  <a:lnTo>
                    <a:pt x="405" y="926"/>
                  </a:lnTo>
                  <a:lnTo>
                    <a:pt x="401" y="925"/>
                  </a:lnTo>
                  <a:lnTo>
                    <a:pt x="397" y="925"/>
                  </a:lnTo>
                  <a:lnTo>
                    <a:pt x="393" y="926"/>
                  </a:lnTo>
                  <a:lnTo>
                    <a:pt x="387" y="929"/>
                  </a:lnTo>
                  <a:lnTo>
                    <a:pt x="382" y="933"/>
                  </a:lnTo>
                  <a:lnTo>
                    <a:pt x="377" y="938"/>
                  </a:lnTo>
                  <a:lnTo>
                    <a:pt x="371" y="945"/>
                  </a:lnTo>
                  <a:lnTo>
                    <a:pt x="363" y="950"/>
                  </a:lnTo>
                  <a:lnTo>
                    <a:pt x="356" y="954"/>
                  </a:lnTo>
                  <a:lnTo>
                    <a:pt x="350" y="957"/>
                  </a:lnTo>
                  <a:lnTo>
                    <a:pt x="343" y="958"/>
                  </a:lnTo>
                  <a:lnTo>
                    <a:pt x="336" y="959"/>
                  </a:lnTo>
                  <a:lnTo>
                    <a:pt x="329" y="959"/>
                  </a:lnTo>
                  <a:lnTo>
                    <a:pt x="323" y="959"/>
                  </a:lnTo>
                  <a:lnTo>
                    <a:pt x="309" y="959"/>
                  </a:lnTo>
                  <a:lnTo>
                    <a:pt x="296" y="958"/>
                  </a:lnTo>
                  <a:lnTo>
                    <a:pt x="288" y="959"/>
                  </a:lnTo>
                  <a:lnTo>
                    <a:pt x="281" y="961"/>
                  </a:lnTo>
                  <a:lnTo>
                    <a:pt x="275" y="963"/>
                  </a:lnTo>
                  <a:lnTo>
                    <a:pt x="268" y="967"/>
                  </a:lnTo>
                  <a:lnTo>
                    <a:pt x="265" y="969"/>
                  </a:lnTo>
                  <a:lnTo>
                    <a:pt x="263" y="973"/>
                  </a:lnTo>
                  <a:lnTo>
                    <a:pt x="263" y="978"/>
                  </a:lnTo>
                  <a:lnTo>
                    <a:pt x="263" y="983"/>
                  </a:lnTo>
                  <a:lnTo>
                    <a:pt x="267" y="996"/>
                  </a:lnTo>
                  <a:lnTo>
                    <a:pt x="272" y="1011"/>
                  </a:lnTo>
                  <a:lnTo>
                    <a:pt x="277" y="1027"/>
                  </a:lnTo>
                  <a:lnTo>
                    <a:pt x="281" y="1042"/>
                  </a:lnTo>
                  <a:lnTo>
                    <a:pt x="283" y="1051"/>
                  </a:lnTo>
                  <a:lnTo>
                    <a:pt x="284" y="1057"/>
                  </a:lnTo>
                  <a:lnTo>
                    <a:pt x="284" y="1064"/>
                  </a:lnTo>
                  <a:lnTo>
                    <a:pt x="284" y="1069"/>
                  </a:lnTo>
                  <a:lnTo>
                    <a:pt x="276" y="1075"/>
                  </a:lnTo>
                  <a:lnTo>
                    <a:pt x="269" y="1080"/>
                  </a:lnTo>
                  <a:lnTo>
                    <a:pt x="262" y="1083"/>
                  </a:lnTo>
                  <a:lnTo>
                    <a:pt x="256" y="1085"/>
                  </a:lnTo>
                  <a:lnTo>
                    <a:pt x="251" y="1086"/>
                  </a:lnTo>
                  <a:lnTo>
                    <a:pt x="246" y="1086"/>
                  </a:lnTo>
                  <a:lnTo>
                    <a:pt x="241" y="1085"/>
                  </a:lnTo>
                  <a:lnTo>
                    <a:pt x="238" y="1083"/>
                  </a:lnTo>
                  <a:lnTo>
                    <a:pt x="235" y="1081"/>
                  </a:lnTo>
                  <a:lnTo>
                    <a:pt x="232" y="1078"/>
                  </a:lnTo>
                  <a:lnTo>
                    <a:pt x="230" y="1074"/>
                  </a:lnTo>
                  <a:lnTo>
                    <a:pt x="227" y="1069"/>
                  </a:lnTo>
                  <a:lnTo>
                    <a:pt x="224" y="1059"/>
                  </a:lnTo>
                  <a:lnTo>
                    <a:pt x="221" y="1047"/>
                  </a:lnTo>
                  <a:lnTo>
                    <a:pt x="216" y="1020"/>
                  </a:lnTo>
                  <a:lnTo>
                    <a:pt x="210" y="993"/>
                  </a:lnTo>
                  <a:lnTo>
                    <a:pt x="206" y="981"/>
                  </a:lnTo>
                  <a:lnTo>
                    <a:pt x="200" y="970"/>
                  </a:lnTo>
                  <a:lnTo>
                    <a:pt x="197" y="965"/>
                  </a:lnTo>
                  <a:lnTo>
                    <a:pt x="192" y="961"/>
                  </a:lnTo>
                  <a:lnTo>
                    <a:pt x="188" y="958"/>
                  </a:lnTo>
                  <a:lnTo>
                    <a:pt x="183" y="955"/>
                  </a:lnTo>
                  <a:lnTo>
                    <a:pt x="173" y="949"/>
                  </a:lnTo>
                  <a:lnTo>
                    <a:pt x="160" y="943"/>
                  </a:lnTo>
                  <a:lnTo>
                    <a:pt x="146" y="937"/>
                  </a:lnTo>
                  <a:lnTo>
                    <a:pt x="131" y="932"/>
                  </a:lnTo>
                  <a:lnTo>
                    <a:pt x="124" y="930"/>
                  </a:lnTo>
                  <a:lnTo>
                    <a:pt x="116" y="929"/>
                  </a:lnTo>
                  <a:lnTo>
                    <a:pt x="110" y="929"/>
                  </a:lnTo>
                  <a:lnTo>
                    <a:pt x="104" y="930"/>
                  </a:lnTo>
                  <a:lnTo>
                    <a:pt x="99" y="932"/>
                  </a:lnTo>
                  <a:lnTo>
                    <a:pt x="94" y="936"/>
                  </a:lnTo>
                  <a:lnTo>
                    <a:pt x="90" y="941"/>
                  </a:lnTo>
                  <a:lnTo>
                    <a:pt x="88" y="948"/>
                  </a:lnTo>
                  <a:lnTo>
                    <a:pt x="86" y="956"/>
                  </a:lnTo>
                  <a:lnTo>
                    <a:pt x="84" y="964"/>
                  </a:lnTo>
                  <a:lnTo>
                    <a:pt x="81" y="970"/>
                  </a:lnTo>
                  <a:lnTo>
                    <a:pt x="77" y="978"/>
                  </a:lnTo>
                  <a:lnTo>
                    <a:pt x="73" y="984"/>
                  </a:lnTo>
                  <a:lnTo>
                    <a:pt x="68" y="989"/>
                  </a:lnTo>
                  <a:lnTo>
                    <a:pt x="63" y="995"/>
                  </a:lnTo>
                  <a:lnTo>
                    <a:pt x="57" y="999"/>
                  </a:lnTo>
                  <a:lnTo>
                    <a:pt x="51" y="1005"/>
                  </a:lnTo>
                  <a:lnTo>
                    <a:pt x="44" y="1009"/>
                  </a:lnTo>
                  <a:lnTo>
                    <a:pt x="38" y="1012"/>
                  </a:lnTo>
                  <a:lnTo>
                    <a:pt x="31" y="1015"/>
                  </a:lnTo>
                  <a:lnTo>
                    <a:pt x="16" y="1020"/>
                  </a:lnTo>
                  <a:lnTo>
                    <a:pt x="1" y="1025"/>
                  </a:lnTo>
                  <a:lnTo>
                    <a:pt x="1" y="102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sp>
          <p:nvSpPr>
            <p:cNvPr id="143" name="Freeform 199">
              <a:extLst>
                <a:ext uri="{FF2B5EF4-FFF2-40B4-BE49-F238E27FC236}">
                  <a16:creationId xmlns:a16="http://schemas.microsoft.com/office/drawing/2014/main" id="{DE2C0143-5918-46C8-B45E-6EE202C62D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251" y="5984151"/>
              <a:ext cx="15073" cy="16029"/>
            </a:xfrm>
            <a:custGeom>
              <a:avLst/>
              <a:gdLst>
                <a:gd name="T0" fmla="*/ 32 w 64"/>
                <a:gd name="T1" fmla="*/ 0 h 64"/>
                <a:gd name="T2" fmla="*/ 39 w 64"/>
                <a:gd name="T3" fmla="*/ 2 h 64"/>
                <a:gd name="T4" fmla="*/ 44 w 64"/>
                <a:gd name="T5" fmla="*/ 4 h 64"/>
                <a:gd name="T6" fmla="*/ 50 w 64"/>
                <a:gd name="T7" fmla="*/ 7 h 64"/>
                <a:gd name="T8" fmla="*/ 54 w 64"/>
                <a:gd name="T9" fmla="*/ 10 h 64"/>
                <a:gd name="T10" fmla="*/ 59 w 64"/>
                <a:gd name="T11" fmla="*/ 15 h 64"/>
                <a:gd name="T12" fmla="*/ 62 w 64"/>
                <a:gd name="T13" fmla="*/ 20 h 64"/>
                <a:gd name="T14" fmla="*/ 63 w 64"/>
                <a:gd name="T15" fmla="*/ 27 h 64"/>
                <a:gd name="T16" fmla="*/ 64 w 64"/>
                <a:gd name="T17" fmla="*/ 33 h 64"/>
                <a:gd name="T18" fmla="*/ 63 w 64"/>
                <a:gd name="T19" fmla="*/ 39 h 64"/>
                <a:gd name="T20" fmla="*/ 62 w 64"/>
                <a:gd name="T21" fmla="*/ 45 h 64"/>
                <a:gd name="T22" fmla="*/ 59 w 64"/>
                <a:gd name="T23" fmla="*/ 51 h 64"/>
                <a:gd name="T24" fmla="*/ 54 w 64"/>
                <a:gd name="T25" fmla="*/ 55 h 64"/>
                <a:gd name="T26" fmla="*/ 50 w 64"/>
                <a:gd name="T27" fmla="*/ 59 h 64"/>
                <a:gd name="T28" fmla="*/ 44 w 64"/>
                <a:gd name="T29" fmla="*/ 62 h 64"/>
                <a:gd name="T30" fmla="*/ 39 w 64"/>
                <a:gd name="T31" fmla="*/ 64 h 64"/>
                <a:gd name="T32" fmla="*/ 32 w 64"/>
                <a:gd name="T33" fmla="*/ 64 h 64"/>
                <a:gd name="T34" fmla="*/ 26 w 64"/>
                <a:gd name="T35" fmla="*/ 64 h 64"/>
                <a:gd name="T36" fmla="*/ 20 w 64"/>
                <a:gd name="T37" fmla="*/ 62 h 64"/>
                <a:gd name="T38" fmla="*/ 15 w 64"/>
                <a:gd name="T39" fmla="*/ 59 h 64"/>
                <a:gd name="T40" fmla="*/ 10 w 64"/>
                <a:gd name="T41" fmla="*/ 55 h 64"/>
                <a:gd name="T42" fmla="*/ 5 w 64"/>
                <a:gd name="T43" fmla="*/ 51 h 64"/>
                <a:gd name="T44" fmla="*/ 3 w 64"/>
                <a:gd name="T45" fmla="*/ 45 h 64"/>
                <a:gd name="T46" fmla="*/ 1 w 64"/>
                <a:gd name="T47" fmla="*/ 39 h 64"/>
                <a:gd name="T48" fmla="*/ 0 w 64"/>
                <a:gd name="T49" fmla="*/ 33 h 64"/>
                <a:gd name="T50" fmla="*/ 1 w 64"/>
                <a:gd name="T51" fmla="*/ 27 h 64"/>
                <a:gd name="T52" fmla="*/ 3 w 64"/>
                <a:gd name="T53" fmla="*/ 20 h 64"/>
                <a:gd name="T54" fmla="*/ 5 w 64"/>
                <a:gd name="T55" fmla="*/ 15 h 64"/>
                <a:gd name="T56" fmla="*/ 10 w 64"/>
                <a:gd name="T57" fmla="*/ 10 h 64"/>
                <a:gd name="T58" fmla="*/ 15 w 64"/>
                <a:gd name="T59" fmla="*/ 7 h 64"/>
                <a:gd name="T60" fmla="*/ 20 w 64"/>
                <a:gd name="T61" fmla="*/ 4 h 64"/>
                <a:gd name="T62" fmla="*/ 26 w 64"/>
                <a:gd name="T63" fmla="*/ 2 h 64"/>
                <a:gd name="T64" fmla="*/ 32 w 64"/>
                <a:gd name="T6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4" h="64">
                  <a:moveTo>
                    <a:pt x="32" y="0"/>
                  </a:moveTo>
                  <a:lnTo>
                    <a:pt x="39" y="2"/>
                  </a:lnTo>
                  <a:lnTo>
                    <a:pt x="44" y="4"/>
                  </a:lnTo>
                  <a:lnTo>
                    <a:pt x="50" y="7"/>
                  </a:lnTo>
                  <a:lnTo>
                    <a:pt x="54" y="10"/>
                  </a:lnTo>
                  <a:lnTo>
                    <a:pt x="59" y="15"/>
                  </a:lnTo>
                  <a:lnTo>
                    <a:pt x="62" y="20"/>
                  </a:lnTo>
                  <a:lnTo>
                    <a:pt x="63" y="27"/>
                  </a:lnTo>
                  <a:lnTo>
                    <a:pt x="64" y="33"/>
                  </a:lnTo>
                  <a:lnTo>
                    <a:pt x="63" y="39"/>
                  </a:lnTo>
                  <a:lnTo>
                    <a:pt x="62" y="45"/>
                  </a:lnTo>
                  <a:lnTo>
                    <a:pt x="59" y="51"/>
                  </a:lnTo>
                  <a:lnTo>
                    <a:pt x="54" y="55"/>
                  </a:lnTo>
                  <a:lnTo>
                    <a:pt x="50" y="59"/>
                  </a:lnTo>
                  <a:lnTo>
                    <a:pt x="44" y="62"/>
                  </a:lnTo>
                  <a:lnTo>
                    <a:pt x="39" y="64"/>
                  </a:lnTo>
                  <a:lnTo>
                    <a:pt x="32" y="64"/>
                  </a:lnTo>
                  <a:lnTo>
                    <a:pt x="26" y="64"/>
                  </a:lnTo>
                  <a:lnTo>
                    <a:pt x="20" y="62"/>
                  </a:lnTo>
                  <a:lnTo>
                    <a:pt x="15" y="59"/>
                  </a:lnTo>
                  <a:lnTo>
                    <a:pt x="10" y="55"/>
                  </a:lnTo>
                  <a:lnTo>
                    <a:pt x="5" y="51"/>
                  </a:lnTo>
                  <a:lnTo>
                    <a:pt x="3" y="45"/>
                  </a:lnTo>
                  <a:lnTo>
                    <a:pt x="1" y="39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5" y="15"/>
                  </a:lnTo>
                  <a:lnTo>
                    <a:pt x="10" y="10"/>
                  </a:lnTo>
                  <a:lnTo>
                    <a:pt x="15" y="7"/>
                  </a:lnTo>
                  <a:lnTo>
                    <a:pt x="20" y="4"/>
                  </a:lnTo>
                  <a:lnTo>
                    <a:pt x="26" y="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2B2A29"/>
            </a:solidFill>
            <a:ln w="127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cs typeface="Arial" panose="020B0604020202020204" pitchFamily="34" charset="0"/>
              </a:endParaRPr>
            </a:p>
          </p:txBody>
        </p: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3D9892D0-9B9F-4183-96EF-E02CBF8E1493}"/>
                </a:ext>
              </a:extLst>
            </p:cNvPr>
            <p:cNvGrpSpPr/>
            <p:nvPr/>
          </p:nvGrpSpPr>
          <p:grpSpPr>
            <a:xfrm>
              <a:off x="5343811" y="4138144"/>
              <a:ext cx="164789" cy="161633"/>
              <a:chOff x="10854344" y="2762403"/>
              <a:chExt cx="157159" cy="128810"/>
            </a:xfrm>
          </p:grpSpPr>
          <p:sp>
            <p:nvSpPr>
              <p:cNvPr id="296" name="Oval 295">
                <a:extLst>
                  <a:ext uri="{FF2B5EF4-FFF2-40B4-BE49-F238E27FC236}">
                    <a16:creationId xmlns:a16="http://schemas.microsoft.com/office/drawing/2014/main" id="{BDCB038C-E053-4D82-A3EE-FDFA669BEE50}"/>
                  </a:ext>
                </a:extLst>
              </p:cNvPr>
              <p:cNvSpPr/>
              <p:nvPr/>
            </p:nvSpPr>
            <p:spPr bwMode="ltGray">
              <a:xfrm>
                <a:off x="10854344" y="2762403"/>
                <a:ext cx="157159" cy="128810"/>
              </a:xfrm>
              <a:prstGeom prst="ellipse">
                <a:avLst/>
              </a:prstGeom>
              <a:solidFill>
                <a:srgbClr val="DC6900"/>
              </a:solidFill>
              <a:ln w="3175">
                <a:solidFill>
                  <a:srgbClr val="DC69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97" name="Freeform 135">
                <a:extLst>
                  <a:ext uri="{FF2B5EF4-FFF2-40B4-BE49-F238E27FC236}">
                    <a16:creationId xmlns:a16="http://schemas.microsoft.com/office/drawing/2014/main" id="{316D3A99-2A9D-49FF-A477-85DEA940AB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4664" y="2796043"/>
                <a:ext cx="120109" cy="56396"/>
              </a:xfrm>
              <a:custGeom>
                <a:avLst/>
                <a:gdLst>
                  <a:gd name="T0" fmla="*/ 753 w 885"/>
                  <a:gd name="T1" fmla="*/ 108 h 509"/>
                  <a:gd name="T2" fmla="*/ 847 w 885"/>
                  <a:gd name="T3" fmla="*/ 346 h 509"/>
                  <a:gd name="T4" fmla="*/ 872 w 885"/>
                  <a:gd name="T5" fmla="*/ 463 h 509"/>
                  <a:gd name="T6" fmla="*/ 835 w 885"/>
                  <a:gd name="T7" fmla="*/ 498 h 509"/>
                  <a:gd name="T8" fmla="*/ 792 w 885"/>
                  <a:gd name="T9" fmla="*/ 509 h 509"/>
                  <a:gd name="T10" fmla="*/ 742 w 885"/>
                  <a:gd name="T11" fmla="*/ 494 h 509"/>
                  <a:gd name="T12" fmla="*/ 708 w 885"/>
                  <a:gd name="T13" fmla="*/ 451 h 509"/>
                  <a:gd name="T14" fmla="*/ 673 w 885"/>
                  <a:gd name="T15" fmla="*/ 473 h 509"/>
                  <a:gd name="T16" fmla="*/ 637 w 885"/>
                  <a:gd name="T17" fmla="*/ 503 h 509"/>
                  <a:gd name="T18" fmla="*/ 591 w 885"/>
                  <a:gd name="T19" fmla="*/ 509 h 509"/>
                  <a:gd name="T20" fmla="*/ 543 w 885"/>
                  <a:gd name="T21" fmla="*/ 488 h 509"/>
                  <a:gd name="T22" fmla="*/ 512 w 885"/>
                  <a:gd name="T23" fmla="*/ 438 h 509"/>
                  <a:gd name="T24" fmla="*/ 262 w 885"/>
                  <a:gd name="T25" fmla="*/ 449 h 509"/>
                  <a:gd name="T26" fmla="*/ 229 w 885"/>
                  <a:gd name="T27" fmla="*/ 492 h 509"/>
                  <a:gd name="T28" fmla="*/ 178 w 885"/>
                  <a:gd name="T29" fmla="*/ 507 h 509"/>
                  <a:gd name="T30" fmla="*/ 135 w 885"/>
                  <a:gd name="T31" fmla="*/ 496 h 509"/>
                  <a:gd name="T32" fmla="*/ 99 w 885"/>
                  <a:gd name="T33" fmla="*/ 461 h 509"/>
                  <a:gd name="T34" fmla="*/ 0 w 885"/>
                  <a:gd name="T35" fmla="*/ 438 h 509"/>
                  <a:gd name="T36" fmla="*/ 114 w 885"/>
                  <a:gd name="T37" fmla="*/ 96 h 509"/>
                  <a:gd name="T38" fmla="*/ 430 w 885"/>
                  <a:gd name="T39" fmla="*/ 346 h 509"/>
                  <a:gd name="T40" fmla="*/ 207 w 885"/>
                  <a:gd name="T41" fmla="*/ 373 h 509"/>
                  <a:gd name="T42" fmla="*/ 158 w 885"/>
                  <a:gd name="T43" fmla="*/ 368 h 509"/>
                  <a:gd name="T44" fmla="*/ 128 w 885"/>
                  <a:gd name="T45" fmla="*/ 405 h 509"/>
                  <a:gd name="T46" fmla="*/ 143 w 885"/>
                  <a:gd name="T47" fmla="*/ 452 h 509"/>
                  <a:gd name="T48" fmla="*/ 178 w 885"/>
                  <a:gd name="T49" fmla="*/ 467 h 509"/>
                  <a:gd name="T50" fmla="*/ 221 w 885"/>
                  <a:gd name="T51" fmla="*/ 444 h 509"/>
                  <a:gd name="T52" fmla="*/ 226 w 885"/>
                  <a:gd name="T53" fmla="*/ 396 h 509"/>
                  <a:gd name="T54" fmla="*/ 630 w 885"/>
                  <a:gd name="T55" fmla="*/ 376 h 509"/>
                  <a:gd name="T56" fmla="*/ 581 w 885"/>
                  <a:gd name="T57" fmla="*/ 372 h 509"/>
                  <a:gd name="T58" fmla="*/ 551 w 885"/>
                  <a:gd name="T59" fmla="*/ 408 h 509"/>
                  <a:gd name="T60" fmla="*/ 564 w 885"/>
                  <a:gd name="T61" fmla="*/ 455 h 509"/>
                  <a:gd name="T62" fmla="*/ 601 w 885"/>
                  <a:gd name="T63" fmla="*/ 469 h 509"/>
                  <a:gd name="T64" fmla="*/ 643 w 885"/>
                  <a:gd name="T65" fmla="*/ 447 h 509"/>
                  <a:gd name="T66" fmla="*/ 648 w 885"/>
                  <a:gd name="T67" fmla="*/ 398 h 509"/>
                  <a:gd name="T68" fmla="*/ 821 w 885"/>
                  <a:gd name="T69" fmla="*/ 376 h 509"/>
                  <a:gd name="T70" fmla="*/ 772 w 885"/>
                  <a:gd name="T71" fmla="*/ 372 h 509"/>
                  <a:gd name="T72" fmla="*/ 742 w 885"/>
                  <a:gd name="T73" fmla="*/ 408 h 509"/>
                  <a:gd name="T74" fmla="*/ 756 w 885"/>
                  <a:gd name="T75" fmla="*/ 455 h 509"/>
                  <a:gd name="T76" fmla="*/ 792 w 885"/>
                  <a:gd name="T77" fmla="*/ 469 h 509"/>
                  <a:gd name="T78" fmla="*/ 835 w 885"/>
                  <a:gd name="T79" fmla="*/ 447 h 509"/>
                  <a:gd name="T80" fmla="*/ 840 w 885"/>
                  <a:gd name="T81" fmla="*/ 398 h 509"/>
                  <a:gd name="T82" fmla="*/ 155 w 885"/>
                  <a:gd name="T83" fmla="*/ 142 h 509"/>
                  <a:gd name="T84" fmla="*/ 235 w 885"/>
                  <a:gd name="T85" fmla="*/ 250 h 509"/>
                  <a:gd name="T86" fmla="*/ 665 w 885"/>
                  <a:gd name="T87" fmla="*/ 0 h 509"/>
                  <a:gd name="T88" fmla="*/ 776 w 885"/>
                  <a:gd name="T89" fmla="*/ 254 h 509"/>
                  <a:gd name="T90" fmla="*/ 862 w 885"/>
                  <a:gd name="T91" fmla="*/ 55 h 509"/>
                  <a:gd name="T92" fmla="*/ 875 w 885"/>
                  <a:gd name="T93" fmla="*/ 166 h 509"/>
                  <a:gd name="T94" fmla="*/ 846 w 885"/>
                  <a:gd name="T95" fmla="*/ 280 h 509"/>
                  <a:gd name="T96" fmla="*/ 409 w 885"/>
                  <a:gd name="T97" fmla="*/ 298 h 509"/>
                  <a:gd name="T98" fmla="*/ 380 w 885"/>
                  <a:gd name="T99" fmla="*/ 186 h 509"/>
                  <a:gd name="T100" fmla="*/ 383 w 885"/>
                  <a:gd name="T101" fmla="*/ 74 h 509"/>
                  <a:gd name="T102" fmla="*/ 688 w 885"/>
                  <a:gd name="T103" fmla="*/ 0 h 509"/>
                  <a:gd name="T104" fmla="*/ 753 w 885"/>
                  <a:gd name="T105" fmla="*/ 1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509">
                    <a:moveTo>
                      <a:pt x="753" y="108"/>
                    </a:moveTo>
                    <a:lnTo>
                      <a:pt x="753" y="62"/>
                    </a:lnTo>
                    <a:lnTo>
                      <a:pt x="688" y="62"/>
                    </a:lnTo>
                    <a:lnTo>
                      <a:pt x="688" y="108"/>
                    </a:lnTo>
                    <a:lnTo>
                      <a:pt x="753" y="108"/>
                    </a:lnTo>
                    <a:lnTo>
                      <a:pt x="753" y="108"/>
                    </a:lnTo>
                    <a:close/>
                    <a:moveTo>
                      <a:pt x="801" y="328"/>
                    </a:moveTo>
                    <a:lnTo>
                      <a:pt x="801" y="328"/>
                    </a:lnTo>
                    <a:lnTo>
                      <a:pt x="814" y="331"/>
                    </a:lnTo>
                    <a:lnTo>
                      <a:pt x="825" y="334"/>
                    </a:lnTo>
                    <a:lnTo>
                      <a:pt x="836" y="340"/>
                    </a:lnTo>
                    <a:lnTo>
                      <a:pt x="847" y="346"/>
                    </a:lnTo>
                    <a:lnTo>
                      <a:pt x="885" y="346"/>
                    </a:lnTo>
                    <a:lnTo>
                      <a:pt x="885" y="438"/>
                    </a:lnTo>
                    <a:lnTo>
                      <a:pt x="881" y="438"/>
                    </a:lnTo>
                    <a:lnTo>
                      <a:pt x="881" y="438"/>
                    </a:lnTo>
                    <a:lnTo>
                      <a:pt x="877" y="451"/>
                    </a:lnTo>
                    <a:lnTo>
                      <a:pt x="872" y="463"/>
                    </a:lnTo>
                    <a:lnTo>
                      <a:pt x="865" y="473"/>
                    </a:lnTo>
                    <a:lnTo>
                      <a:pt x="856" y="483"/>
                    </a:lnTo>
                    <a:lnTo>
                      <a:pt x="856" y="483"/>
                    </a:lnTo>
                    <a:lnTo>
                      <a:pt x="850" y="488"/>
                    </a:lnTo>
                    <a:lnTo>
                      <a:pt x="843" y="494"/>
                    </a:lnTo>
                    <a:lnTo>
                      <a:pt x="835" y="498"/>
                    </a:lnTo>
                    <a:lnTo>
                      <a:pt x="827" y="503"/>
                    </a:lnTo>
                    <a:lnTo>
                      <a:pt x="820" y="505"/>
                    </a:lnTo>
                    <a:lnTo>
                      <a:pt x="811" y="507"/>
                    </a:lnTo>
                    <a:lnTo>
                      <a:pt x="802" y="509"/>
                    </a:lnTo>
                    <a:lnTo>
                      <a:pt x="792" y="509"/>
                    </a:lnTo>
                    <a:lnTo>
                      <a:pt x="792" y="509"/>
                    </a:lnTo>
                    <a:lnTo>
                      <a:pt x="783" y="509"/>
                    </a:lnTo>
                    <a:lnTo>
                      <a:pt x="774" y="507"/>
                    </a:lnTo>
                    <a:lnTo>
                      <a:pt x="765" y="505"/>
                    </a:lnTo>
                    <a:lnTo>
                      <a:pt x="756" y="503"/>
                    </a:lnTo>
                    <a:lnTo>
                      <a:pt x="749" y="498"/>
                    </a:lnTo>
                    <a:lnTo>
                      <a:pt x="742" y="494"/>
                    </a:lnTo>
                    <a:lnTo>
                      <a:pt x="734" y="488"/>
                    </a:lnTo>
                    <a:lnTo>
                      <a:pt x="728" y="483"/>
                    </a:lnTo>
                    <a:lnTo>
                      <a:pt x="728" y="483"/>
                    </a:lnTo>
                    <a:lnTo>
                      <a:pt x="720" y="473"/>
                    </a:lnTo>
                    <a:lnTo>
                      <a:pt x="713" y="463"/>
                    </a:lnTo>
                    <a:lnTo>
                      <a:pt x="708" y="451"/>
                    </a:lnTo>
                    <a:lnTo>
                      <a:pt x="703" y="438"/>
                    </a:lnTo>
                    <a:lnTo>
                      <a:pt x="690" y="438"/>
                    </a:lnTo>
                    <a:lnTo>
                      <a:pt x="690" y="438"/>
                    </a:lnTo>
                    <a:lnTo>
                      <a:pt x="685" y="451"/>
                    </a:lnTo>
                    <a:lnTo>
                      <a:pt x="681" y="463"/>
                    </a:lnTo>
                    <a:lnTo>
                      <a:pt x="673" y="473"/>
                    </a:lnTo>
                    <a:lnTo>
                      <a:pt x="665" y="483"/>
                    </a:lnTo>
                    <a:lnTo>
                      <a:pt x="665" y="483"/>
                    </a:lnTo>
                    <a:lnTo>
                      <a:pt x="659" y="488"/>
                    </a:lnTo>
                    <a:lnTo>
                      <a:pt x="652" y="494"/>
                    </a:lnTo>
                    <a:lnTo>
                      <a:pt x="644" y="498"/>
                    </a:lnTo>
                    <a:lnTo>
                      <a:pt x="637" y="503"/>
                    </a:lnTo>
                    <a:lnTo>
                      <a:pt x="628" y="505"/>
                    </a:lnTo>
                    <a:lnTo>
                      <a:pt x="619" y="507"/>
                    </a:lnTo>
                    <a:lnTo>
                      <a:pt x="610" y="509"/>
                    </a:lnTo>
                    <a:lnTo>
                      <a:pt x="601" y="509"/>
                    </a:lnTo>
                    <a:lnTo>
                      <a:pt x="601" y="509"/>
                    </a:lnTo>
                    <a:lnTo>
                      <a:pt x="591" y="509"/>
                    </a:lnTo>
                    <a:lnTo>
                      <a:pt x="582" y="507"/>
                    </a:lnTo>
                    <a:lnTo>
                      <a:pt x="573" y="505"/>
                    </a:lnTo>
                    <a:lnTo>
                      <a:pt x="566" y="503"/>
                    </a:lnTo>
                    <a:lnTo>
                      <a:pt x="558" y="498"/>
                    </a:lnTo>
                    <a:lnTo>
                      <a:pt x="550" y="494"/>
                    </a:lnTo>
                    <a:lnTo>
                      <a:pt x="543" y="488"/>
                    </a:lnTo>
                    <a:lnTo>
                      <a:pt x="537" y="483"/>
                    </a:lnTo>
                    <a:lnTo>
                      <a:pt x="537" y="483"/>
                    </a:lnTo>
                    <a:lnTo>
                      <a:pt x="528" y="473"/>
                    </a:lnTo>
                    <a:lnTo>
                      <a:pt x="521" y="463"/>
                    </a:lnTo>
                    <a:lnTo>
                      <a:pt x="516" y="451"/>
                    </a:lnTo>
                    <a:lnTo>
                      <a:pt x="512" y="438"/>
                    </a:lnTo>
                    <a:lnTo>
                      <a:pt x="336" y="438"/>
                    </a:lnTo>
                    <a:lnTo>
                      <a:pt x="306" y="438"/>
                    </a:lnTo>
                    <a:lnTo>
                      <a:pt x="301" y="438"/>
                    </a:lnTo>
                    <a:lnTo>
                      <a:pt x="267" y="438"/>
                    </a:lnTo>
                    <a:lnTo>
                      <a:pt x="267" y="438"/>
                    </a:lnTo>
                    <a:lnTo>
                      <a:pt x="262" y="449"/>
                    </a:lnTo>
                    <a:lnTo>
                      <a:pt x="258" y="461"/>
                    </a:lnTo>
                    <a:lnTo>
                      <a:pt x="250" y="471"/>
                    </a:lnTo>
                    <a:lnTo>
                      <a:pt x="242" y="480"/>
                    </a:lnTo>
                    <a:lnTo>
                      <a:pt x="242" y="480"/>
                    </a:lnTo>
                    <a:lnTo>
                      <a:pt x="236" y="486"/>
                    </a:lnTo>
                    <a:lnTo>
                      <a:pt x="229" y="492"/>
                    </a:lnTo>
                    <a:lnTo>
                      <a:pt x="221" y="496"/>
                    </a:lnTo>
                    <a:lnTo>
                      <a:pt x="214" y="499"/>
                    </a:lnTo>
                    <a:lnTo>
                      <a:pt x="206" y="503"/>
                    </a:lnTo>
                    <a:lnTo>
                      <a:pt x="197" y="505"/>
                    </a:lnTo>
                    <a:lnTo>
                      <a:pt x="188" y="506"/>
                    </a:lnTo>
                    <a:lnTo>
                      <a:pt x="178" y="507"/>
                    </a:lnTo>
                    <a:lnTo>
                      <a:pt x="178" y="507"/>
                    </a:lnTo>
                    <a:lnTo>
                      <a:pt x="169" y="506"/>
                    </a:lnTo>
                    <a:lnTo>
                      <a:pt x="160" y="505"/>
                    </a:lnTo>
                    <a:lnTo>
                      <a:pt x="151" y="503"/>
                    </a:lnTo>
                    <a:lnTo>
                      <a:pt x="144" y="499"/>
                    </a:lnTo>
                    <a:lnTo>
                      <a:pt x="135" y="496"/>
                    </a:lnTo>
                    <a:lnTo>
                      <a:pt x="128" y="492"/>
                    </a:lnTo>
                    <a:lnTo>
                      <a:pt x="120" y="486"/>
                    </a:lnTo>
                    <a:lnTo>
                      <a:pt x="114" y="480"/>
                    </a:lnTo>
                    <a:lnTo>
                      <a:pt x="114" y="480"/>
                    </a:lnTo>
                    <a:lnTo>
                      <a:pt x="106" y="471"/>
                    </a:lnTo>
                    <a:lnTo>
                      <a:pt x="99" y="461"/>
                    </a:lnTo>
                    <a:lnTo>
                      <a:pt x="94" y="449"/>
                    </a:lnTo>
                    <a:lnTo>
                      <a:pt x="90" y="438"/>
                    </a:lnTo>
                    <a:lnTo>
                      <a:pt x="84" y="438"/>
                    </a:lnTo>
                    <a:lnTo>
                      <a:pt x="57" y="438"/>
                    </a:lnTo>
                    <a:lnTo>
                      <a:pt x="27" y="438"/>
                    </a:lnTo>
                    <a:lnTo>
                      <a:pt x="0" y="438"/>
                    </a:lnTo>
                    <a:lnTo>
                      <a:pt x="0" y="357"/>
                    </a:lnTo>
                    <a:lnTo>
                      <a:pt x="27" y="357"/>
                    </a:lnTo>
                    <a:lnTo>
                      <a:pt x="27" y="238"/>
                    </a:lnTo>
                    <a:lnTo>
                      <a:pt x="27" y="230"/>
                    </a:lnTo>
                    <a:lnTo>
                      <a:pt x="32" y="222"/>
                    </a:lnTo>
                    <a:lnTo>
                      <a:pt x="114" y="96"/>
                    </a:lnTo>
                    <a:lnTo>
                      <a:pt x="121" y="83"/>
                    </a:lnTo>
                    <a:lnTo>
                      <a:pt x="121" y="83"/>
                    </a:lnTo>
                    <a:lnTo>
                      <a:pt x="336" y="80"/>
                    </a:lnTo>
                    <a:lnTo>
                      <a:pt x="336" y="110"/>
                    </a:lnTo>
                    <a:lnTo>
                      <a:pt x="336" y="346"/>
                    </a:lnTo>
                    <a:lnTo>
                      <a:pt x="430" y="346"/>
                    </a:lnTo>
                    <a:lnTo>
                      <a:pt x="430" y="328"/>
                    </a:lnTo>
                    <a:lnTo>
                      <a:pt x="801" y="328"/>
                    </a:lnTo>
                    <a:lnTo>
                      <a:pt x="801" y="328"/>
                    </a:lnTo>
                    <a:close/>
                    <a:moveTo>
                      <a:pt x="215" y="379"/>
                    </a:moveTo>
                    <a:lnTo>
                      <a:pt x="215" y="379"/>
                    </a:lnTo>
                    <a:lnTo>
                      <a:pt x="207" y="373"/>
                    </a:lnTo>
                    <a:lnTo>
                      <a:pt x="198" y="368"/>
                    </a:lnTo>
                    <a:lnTo>
                      <a:pt x="189" y="365"/>
                    </a:lnTo>
                    <a:lnTo>
                      <a:pt x="178" y="364"/>
                    </a:lnTo>
                    <a:lnTo>
                      <a:pt x="178" y="364"/>
                    </a:lnTo>
                    <a:lnTo>
                      <a:pt x="168" y="365"/>
                    </a:lnTo>
                    <a:lnTo>
                      <a:pt x="158" y="368"/>
                    </a:lnTo>
                    <a:lnTo>
                      <a:pt x="150" y="373"/>
                    </a:lnTo>
                    <a:lnTo>
                      <a:pt x="143" y="379"/>
                    </a:lnTo>
                    <a:lnTo>
                      <a:pt x="143" y="379"/>
                    </a:lnTo>
                    <a:lnTo>
                      <a:pt x="136" y="387"/>
                    </a:lnTo>
                    <a:lnTo>
                      <a:pt x="131" y="396"/>
                    </a:lnTo>
                    <a:lnTo>
                      <a:pt x="128" y="405"/>
                    </a:lnTo>
                    <a:lnTo>
                      <a:pt x="127" y="416"/>
                    </a:lnTo>
                    <a:lnTo>
                      <a:pt x="127" y="416"/>
                    </a:lnTo>
                    <a:lnTo>
                      <a:pt x="128" y="426"/>
                    </a:lnTo>
                    <a:lnTo>
                      <a:pt x="131" y="436"/>
                    </a:lnTo>
                    <a:lnTo>
                      <a:pt x="136" y="444"/>
                    </a:lnTo>
                    <a:lnTo>
                      <a:pt x="143" y="452"/>
                    </a:lnTo>
                    <a:lnTo>
                      <a:pt x="143" y="452"/>
                    </a:lnTo>
                    <a:lnTo>
                      <a:pt x="150" y="458"/>
                    </a:lnTo>
                    <a:lnTo>
                      <a:pt x="158" y="463"/>
                    </a:lnTo>
                    <a:lnTo>
                      <a:pt x="168" y="466"/>
                    </a:lnTo>
                    <a:lnTo>
                      <a:pt x="178" y="467"/>
                    </a:lnTo>
                    <a:lnTo>
                      <a:pt x="178" y="467"/>
                    </a:lnTo>
                    <a:lnTo>
                      <a:pt x="189" y="466"/>
                    </a:lnTo>
                    <a:lnTo>
                      <a:pt x="198" y="463"/>
                    </a:lnTo>
                    <a:lnTo>
                      <a:pt x="207" y="458"/>
                    </a:lnTo>
                    <a:lnTo>
                      <a:pt x="215" y="452"/>
                    </a:lnTo>
                    <a:lnTo>
                      <a:pt x="215" y="452"/>
                    </a:lnTo>
                    <a:lnTo>
                      <a:pt x="221" y="444"/>
                    </a:lnTo>
                    <a:lnTo>
                      <a:pt x="226" y="436"/>
                    </a:lnTo>
                    <a:lnTo>
                      <a:pt x="229" y="426"/>
                    </a:lnTo>
                    <a:lnTo>
                      <a:pt x="229" y="416"/>
                    </a:lnTo>
                    <a:lnTo>
                      <a:pt x="229" y="416"/>
                    </a:lnTo>
                    <a:lnTo>
                      <a:pt x="229" y="405"/>
                    </a:lnTo>
                    <a:lnTo>
                      <a:pt x="226" y="396"/>
                    </a:lnTo>
                    <a:lnTo>
                      <a:pt x="221" y="387"/>
                    </a:lnTo>
                    <a:lnTo>
                      <a:pt x="215" y="379"/>
                    </a:lnTo>
                    <a:lnTo>
                      <a:pt x="215" y="379"/>
                    </a:lnTo>
                    <a:close/>
                    <a:moveTo>
                      <a:pt x="637" y="383"/>
                    </a:moveTo>
                    <a:lnTo>
                      <a:pt x="637" y="383"/>
                    </a:lnTo>
                    <a:lnTo>
                      <a:pt x="630" y="376"/>
                    </a:lnTo>
                    <a:lnTo>
                      <a:pt x="621" y="372"/>
                    </a:lnTo>
                    <a:lnTo>
                      <a:pt x="611" y="368"/>
                    </a:lnTo>
                    <a:lnTo>
                      <a:pt x="601" y="367"/>
                    </a:lnTo>
                    <a:lnTo>
                      <a:pt x="601" y="367"/>
                    </a:lnTo>
                    <a:lnTo>
                      <a:pt x="590" y="368"/>
                    </a:lnTo>
                    <a:lnTo>
                      <a:pt x="581" y="372"/>
                    </a:lnTo>
                    <a:lnTo>
                      <a:pt x="572" y="376"/>
                    </a:lnTo>
                    <a:lnTo>
                      <a:pt x="564" y="383"/>
                    </a:lnTo>
                    <a:lnTo>
                      <a:pt x="564" y="383"/>
                    </a:lnTo>
                    <a:lnTo>
                      <a:pt x="558" y="389"/>
                    </a:lnTo>
                    <a:lnTo>
                      <a:pt x="553" y="398"/>
                    </a:lnTo>
                    <a:lnTo>
                      <a:pt x="551" y="408"/>
                    </a:lnTo>
                    <a:lnTo>
                      <a:pt x="550" y="418"/>
                    </a:lnTo>
                    <a:lnTo>
                      <a:pt x="550" y="418"/>
                    </a:lnTo>
                    <a:lnTo>
                      <a:pt x="551" y="428"/>
                    </a:lnTo>
                    <a:lnTo>
                      <a:pt x="553" y="438"/>
                    </a:lnTo>
                    <a:lnTo>
                      <a:pt x="558" y="447"/>
                    </a:lnTo>
                    <a:lnTo>
                      <a:pt x="564" y="455"/>
                    </a:lnTo>
                    <a:lnTo>
                      <a:pt x="564" y="455"/>
                    </a:lnTo>
                    <a:lnTo>
                      <a:pt x="572" y="461"/>
                    </a:lnTo>
                    <a:lnTo>
                      <a:pt x="581" y="466"/>
                    </a:lnTo>
                    <a:lnTo>
                      <a:pt x="590" y="468"/>
                    </a:lnTo>
                    <a:lnTo>
                      <a:pt x="601" y="469"/>
                    </a:lnTo>
                    <a:lnTo>
                      <a:pt x="601" y="469"/>
                    </a:lnTo>
                    <a:lnTo>
                      <a:pt x="611" y="468"/>
                    </a:lnTo>
                    <a:lnTo>
                      <a:pt x="621" y="466"/>
                    </a:lnTo>
                    <a:lnTo>
                      <a:pt x="630" y="461"/>
                    </a:lnTo>
                    <a:lnTo>
                      <a:pt x="637" y="455"/>
                    </a:lnTo>
                    <a:lnTo>
                      <a:pt x="637" y="455"/>
                    </a:lnTo>
                    <a:lnTo>
                      <a:pt x="643" y="447"/>
                    </a:lnTo>
                    <a:lnTo>
                      <a:pt x="648" y="438"/>
                    </a:lnTo>
                    <a:lnTo>
                      <a:pt x="651" y="428"/>
                    </a:lnTo>
                    <a:lnTo>
                      <a:pt x="652" y="418"/>
                    </a:lnTo>
                    <a:lnTo>
                      <a:pt x="652" y="418"/>
                    </a:lnTo>
                    <a:lnTo>
                      <a:pt x="651" y="408"/>
                    </a:lnTo>
                    <a:lnTo>
                      <a:pt x="648" y="398"/>
                    </a:lnTo>
                    <a:lnTo>
                      <a:pt x="643" y="389"/>
                    </a:lnTo>
                    <a:lnTo>
                      <a:pt x="637" y="383"/>
                    </a:lnTo>
                    <a:lnTo>
                      <a:pt x="637" y="383"/>
                    </a:lnTo>
                    <a:close/>
                    <a:moveTo>
                      <a:pt x="829" y="383"/>
                    </a:moveTo>
                    <a:lnTo>
                      <a:pt x="829" y="383"/>
                    </a:lnTo>
                    <a:lnTo>
                      <a:pt x="821" y="376"/>
                    </a:lnTo>
                    <a:lnTo>
                      <a:pt x="812" y="372"/>
                    </a:lnTo>
                    <a:lnTo>
                      <a:pt x="803" y="368"/>
                    </a:lnTo>
                    <a:lnTo>
                      <a:pt x="792" y="367"/>
                    </a:lnTo>
                    <a:lnTo>
                      <a:pt x="792" y="367"/>
                    </a:lnTo>
                    <a:lnTo>
                      <a:pt x="782" y="368"/>
                    </a:lnTo>
                    <a:lnTo>
                      <a:pt x="772" y="372"/>
                    </a:lnTo>
                    <a:lnTo>
                      <a:pt x="764" y="376"/>
                    </a:lnTo>
                    <a:lnTo>
                      <a:pt x="756" y="383"/>
                    </a:lnTo>
                    <a:lnTo>
                      <a:pt x="756" y="383"/>
                    </a:lnTo>
                    <a:lnTo>
                      <a:pt x="750" y="389"/>
                    </a:lnTo>
                    <a:lnTo>
                      <a:pt x="745" y="398"/>
                    </a:lnTo>
                    <a:lnTo>
                      <a:pt x="742" y="408"/>
                    </a:lnTo>
                    <a:lnTo>
                      <a:pt x="741" y="418"/>
                    </a:lnTo>
                    <a:lnTo>
                      <a:pt x="741" y="418"/>
                    </a:lnTo>
                    <a:lnTo>
                      <a:pt x="742" y="428"/>
                    </a:lnTo>
                    <a:lnTo>
                      <a:pt x="745" y="438"/>
                    </a:lnTo>
                    <a:lnTo>
                      <a:pt x="750" y="447"/>
                    </a:lnTo>
                    <a:lnTo>
                      <a:pt x="756" y="455"/>
                    </a:lnTo>
                    <a:lnTo>
                      <a:pt x="756" y="455"/>
                    </a:lnTo>
                    <a:lnTo>
                      <a:pt x="764" y="461"/>
                    </a:lnTo>
                    <a:lnTo>
                      <a:pt x="772" y="466"/>
                    </a:lnTo>
                    <a:lnTo>
                      <a:pt x="782" y="468"/>
                    </a:lnTo>
                    <a:lnTo>
                      <a:pt x="792" y="469"/>
                    </a:lnTo>
                    <a:lnTo>
                      <a:pt x="792" y="469"/>
                    </a:lnTo>
                    <a:lnTo>
                      <a:pt x="803" y="468"/>
                    </a:lnTo>
                    <a:lnTo>
                      <a:pt x="812" y="466"/>
                    </a:lnTo>
                    <a:lnTo>
                      <a:pt x="821" y="461"/>
                    </a:lnTo>
                    <a:lnTo>
                      <a:pt x="829" y="455"/>
                    </a:lnTo>
                    <a:lnTo>
                      <a:pt x="829" y="455"/>
                    </a:lnTo>
                    <a:lnTo>
                      <a:pt x="835" y="447"/>
                    </a:lnTo>
                    <a:lnTo>
                      <a:pt x="840" y="438"/>
                    </a:lnTo>
                    <a:lnTo>
                      <a:pt x="843" y="428"/>
                    </a:lnTo>
                    <a:lnTo>
                      <a:pt x="843" y="418"/>
                    </a:lnTo>
                    <a:lnTo>
                      <a:pt x="843" y="418"/>
                    </a:lnTo>
                    <a:lnTo>
                      <a:pt x="843" y="408"/>
                    </a:lnTo>
                    <a:lnTo>
                      <a:pt x="840" y="398"/>
                    </a:lnTo>
                    <a:lnTo>
                      <a:pt x="835" y="389"/>
                    </a:lnTo>
                    <a:lnTo>
                      <a:pt x="829" y="383"/>
                    </a:lnTo>
                    <a:lnTo>
                      <a:pt x="829" y="383"/>
                    </a:lnTo>
                    <a:close/>
                    <a:moveTo>
                      <a:pt x="217" y="250"/>
                    </a:moveTo>
                    <a:lnTo>
                      <a:pt x="217" y="141"/>
                    </a:lnTo>
                    <a:lnTo>
                      <a:pt x="155" y="142"/>
                    </a:lnTo>
                    <a:lnTo>
                      <a:pt x="87" y="247"/>
                    </a:lnTo>
                    <a:lnTo>
                      <a:pt x="87" y="250"/>
                    </a:lnTo>
                    <a:lnTo>
                      <a:pt x="217" y="250"/>
                    </a:lnTo>
                    <a:lnTo>
                      <a:pt x="217" y="250"/>
                    </a:lnTo>
                    <a:close/>
                    <a:moveTo>
                      <a:pt x="235" y="140"/>
                    </a:moveTo>
                    <a:lnTo>
                      <a:pt x="235" y="250"/>
                    </a:lnTo>
                    <a:lnTo>
                      <a:pt x="277" y="250"/>
                    </a:lnTo>
                    <a:lnTo>
                      <a:pt x="277" y="140"/>
                    </a:lnTo>
                    <a:lnTo>
                      <a:pt x="235" y="140"/>
                    </a:lnTo>
                    <a:lnTo>
                      <a:pt x="235" y="140"/>
                    </a:lnTo>
                    <a:close/>
                    <a:moveTo>
                      <a:pt x="409" y="0"/>
                    </a:moveTo>
                    <a:lnTo>
                      <a:pt x="665" y="0"/>
                    </a:lnTo>
                    <a:lnTo>
                      <a:pt x="665" y="254"/>
                    </a:lnTo>
                    <a:lnTo>
                      <a:pt x="688" y="254"/>
                    </a:lnTo>
                    <a:lnTo>
                      <a:pt x="688" y="204"/>
                    </a:lnTo>
                    <a:lnTo>
                      <a:pt x="753" y="204"/>
                    </a:lnTo>
                    <a:lnTo>
                      <a:pt x="753" y="254"/>
                    </a:lnTo>
                    <a:lnTo>
                      <a:pt x="776" y="254"/>
                    </a:lnTo>
                    <a:lnTo>
                      <a:pt x="776" y="0"/>
                    </a:lnTo>
                    <a:lnTo>
                      <a:pt x="839" y="0"/>
                    </a:lnTo>
                    <a:lnTo>
                      <a:pt x="839" y="0"/>
                    </a:lnTo>
                    <a:lnTo>
                      <a:pt x="847" y="19"/>
                    </a:lnTo>
                    <a:lnTo>
                      <a:pt x="855" y="36"/>
                    </a:lnTo>
                    <a:lnTo>
                      <a:pt x="862" y="55"/>
                    </a:lnTo>
                    <a:lnTo>
                      <a:pt x="867" y="74"/>
                    </a:lnTo>
                    <a:lnTo>
                      <a:pt x="872" y="92"/>
                    </a:lnTo>
                    <a:lnTo>
                      <a:pt x="874" y="111"/>
                    </a:lnTo>
                    <a:lnTo>
                      <a:pt x="875" y="130"/>
                    </a:lnTo>
                    <a:lnTo>
                      <a:pt x="876" y="149"/>
                    </a:lnTo>
                    <a:lnTo>
                      <a:pt x="875" y="166"/>
                    </a:lnTo>
                    <a:lnTo>
                      <a:pt x="873" y="185"/>
                    </a:lnTo>
                    <a:lnTo>
                      <a:pt x="870" y="204"/>
                    </a:lnTo>
                    <a:lnTo>
                      <a:pt x="865" y="223"/>
                    </a:lnTo>
                    <a:lnTo>
                      <a:pt x="860" y="242"/>
                    </a:lnTo>
                    <a:lnTo>
                      <a:pt x="854" y="261"/>
                    </a:lnTo>
                    <a:lnTo>
                      <a:pt x="846" y="280"/>
                    </a:lnTo>
                    <a:lnTo>
                      <a:pt x="839" y="298"/>
                    </a:lnTo>
                    <a:lnTo>
                      <a:pt x="801" y="298"/>
                    </a:lnTo>
                    <a:lnTo>
                      <a:pt x="792" y="298"/>
                    </a:lnTo>
                    <a:lnTo>
                      <a:pt x="430" y="298"/>
                    </a:lnTo>
                    <a:lnTo>
                      <a:pt x="419" y="298"/>
                    </a:lnTo>
                    <a:lnTo>
                      <a:pt x="409" y="298"/>
                    </a:lnTo>
                    <a:lnTo>
                      <a:pt x="409" y="298"/>
                    </a:lnTo>
                    <a:lnTo>
                      <a:pt x="396" y="261"/>
                    </a:lnTo>
                    <a:lnTo>
                      <a:pt x="391" y="242"/>
                    </a:lnTo>
                    <a:lnTo>
                      <a:pt x="387" y="224"/>
                    </a:lnTo>
                    <a:lnTo>
                      <a:pt x="382" y="205"/>
                    </a:lnTo>
                    <a:lnTo>
                      <a:pt x="380" y="186"/>
                    </a:lnTo>
                    <a:lnTo>
                      <a:pt x="378" y="167"/>
                    </a:lnTo>
                    <a:lnTo>
                      <a:pt x="377" y="149"/>
                    </a:lnTo>
                    <a:lnTo>
                      <a:pt x="377" y="131"/>
                    </a:lnTo>
                    <a:lnTo>
                      <a:pt x="378" y="112"/>
                    </a:lnTo>
                    <a:lnTo>
                      <a:pt x="380" y="93"/>
                    </a:lnTo>
                    <a:lnTo>
                      <a:pt x="383" y="74"/>
                    </a:lnTo>
                    <a:lnTo>
                      <a:pt x="388" y="55"/>
                    </a:lnTo>
                    <a:lnTo>
                      <a:pt x="393" y="38"/>
                    </a:lnTo>
                    <a:lnTo>
                      <a:pt x="400" y="19"/>
                    </a:lnTo>
                    <a:lnTo>
                      <a:pt x="409" y="0"/>
                    </a:lnTo>
                    <a:lnTo>
                      <a:pt x="409" y="0"/>
                    </a:lnTo>
                    <a:close/>
                    <a:moveTo>
                      <a:pt x="688" y="0"/>
                    </a:moveTo>
                    <a:lnTo>
                      <a:pt x="688" y="39"/>
                    </a:lnTo>
                    <a:lnTo>
                      <a:pt x="753" y="39"/>
                    </a:lnTo>
                    <a:lnTo>
                      <a:pt x="753" y="0"/>
                    </a:lnTo>
                    <a:lnTo>
                      <a:pt x="688" y="0"/>
                    </a:lnTo>
                    <a:lnTo>
                      <a:pt x="688" y="0"/>
                    </a:lnTo>
                    <a:close/>
                    <a:moveTo>
                      <a:pt x="753" y="181"/>
                    </a:moveTo>
                    <a:lnTo>
                      <a:pt x="753" y="131"/>
                    </a:lnTo>
                    <a:lnTo>
                      <a:pt x="688" y="131"/>
                    </a:lnTo>
                    <a:lnTo>
                      <a:pt x="688" y="181"/>
                    </a:lnTo>
                    <a:lnTo>
                      <a:pt x="753" y="1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A6E62223-CB4C-4839-B2E0-D2F75053D840}"/>
                </a:ext>
              </a:extLst>
            </p:cNvPr>
            <p:cNvGrpSpPr/>
            <p:nvPr/>
          </p:nvGrpSpPr>
          <p:grpSpPr>
            <a:xfrm>
              <a:off x="5419637" y="3820601"/>
              <a:ext cx="174326" cy="155621"/>
              <a:chOff x="11107520" y="2873908"/>
              <a:chExt cx="156960" cy="128647"/>
            </a:xfrm>
          </p:grpSpPr>
          <p:sp>
            <p:nvSpPr>
              <p:cNvPr id="294" name="Oval 293">
                <a:extLst>
                  <a:ext uri="{FF2B5EF4-FFF2-40B4-BE49-F238E27FC236}">
                    <a16:creationId xmlns:a16="http://schemas.microsoft.com/office/drawing/2014/main" id="{815E373E-BD9F-488C-B096-574EF6D842E3}"/>
                  </a:ext>
                </a:extLst>
              </p:cNvPr>
              <p:cNvSpPr/>
              <p:nvPr/>
            </p:nvSpPr>
            <p:spPr bwMode="ltGray">
              <a:xfrm>
                <a:off x="11107520" y="2873908"/>
                <a:ext cx="156960" cy="128647"/>
              </a:xfrm>
              <a:prstGeom prst="ellipse">
                <a:avLst/>
              </a:prstGeom>
              <a:solidFill>
                <a:srgbClr val="ABA591"/>
              </a:solidFill>
              <a:ln w="3175">
                <a:solidFill>
                  <a:srgbClr val="ABA5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95" name="Freeform 4805">
                <a:extLst>
                  <a:ext uri="{FF2B5EF4-FFF2-40B4-BE49-F238E27FC236}">
                    <a16:creationId xmlns:a16="http://schemas.microsoft.com/office/drawing/2014/main" id="{F5A2D05D-41EC-49DF-B04A-4880A244FD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30043" y="2896050"/>
                <a:ext cx="111914" cy="69568"/>
              </a:xfrm>
              <a:custGeom>
                <a:avLst/>
                <a:gdLst>
                  <a:gd name="T0" fmla="*/ 324 w 356"/>
                  <a:gd name="T1" fmla="*/ 64 h 270"/>
                  <a:gd name="T2" fmla="*/ 280 w 356"/>
                  <a:gd name="T3" fmla="*/ 10 h 270"/>
                  <a:gd name="T4" fmla="*/ 234 w 356"/>
                  <a:gd name="T5" fmla="*/ 2 h 270"/>
                  <a:gd name="T6" fmla="*/ 92 w 356"/>
                  <a:gd name="T7" fmla="*/ 4 h 270"/>
                  <a:gd name="T8" fmla="*/ 64 w 356"/>
                  <a:gd name="T9" fmla="*/ 18 h 270"/>
                  <a:gd name="T10" fmla="*/ 32 w 356"/>
                  <a:gd name="T11" fmla="*/ 64 h 270"/>
                  <a:gd name="T12" fmla="*/ 8 w 356"/>
                  <a:gd name="T13" fmla="*/ 108 h 270"/>
                  <a:gd name="T14" fmla="*/ 0 w 356"/>
                  <a:gd name="T15" fmla="*/ 168 h 270"/>
                  <a:gd name="T16" fmla="*/ 6 w 356"/>
                  <a:gd name="T17" fmla="*/ 224 h 270"/>
                  <a:gd name="T18" fmla="*/ 12 w 356"/>
                  <a:gd name="T19" fmla="*/ 232 h 270"/>
                  <a:gd name="T20" fmla="*/ 22 w 356"/>
                  <a:gd name="T21" fmla="*/ 232 h 270"/>
                  <a:gd name="T22" fmla="*/ 26 w 356"/>
                  <a:gd name="T23" fmla="*/ 266 h 270"/>
                  <a:gd name="T24" fmla="*/ 60 w 356"/>
                  <a:gd name="T25" fmla="*/ 270 h 270"/>
                  <a:gd name="T26" fmla="*/ 72 w 356"/>
                  <a:gd name="T27" fmla="*/ 258 h 270"/>
                  <a:gd name="T28" fmla="*/ 284 w 356"/>
                  <a:gd name="T29" fmla="*/ 258 h 270"/>
                  <a:gd name="T30" fmla="*/ 292 w 356"/>
                  <a:gd name="T31" fmla="*/ 268 h 270"/>
                  <a:gd name="T32" fmla="*/ 326 w 356"/>
                  <a:gd name="T33" fmla="*/ 268 h 270"/>
                  <a:gd name="T34" fmla="*/ 334 w 356"/>
                  <a:gd name="T35" fmla="*/ 232 h 270"/>
                  <a:gd name="T36" fmla="*/ 340 w 356"/>
                  <a:gd name="T37" fmla="*/ 232 h 270"/>
                  <a:gd name="T38" fmla="*/ 350 w 356"/>
                  <a:gd name="T39" fmla="*/ 224 h 270"/>
                  <a:gd name="T40" fmla="*/ 356 w 356"/>
                  <a:gd name="T41" fmla="*/ 168 h 270"/>
                  <a:gd name="T42" fmla="*/ 352 w 356"/>
                  <a:gd name="T43" fmla="*/ 120 h 270"/>
                  <a:gd name="T44" fmla="*/ 330 w 356"/>
                  <a:gd name="T45" fmla="*/ 72 h 270"/>
                  <a:gd name="T46" fmla="*/ 138 w 356"/>
                  <a:gd name="T47" fmla="*/ 20 h 270"/>
                  <a:gd name="T48" fmla="*/ 246 w 356"/>
                  <a:gd name="T49" fmla="*/ 22 h 270"/>
                  <a:gd name="T50" fmla="*/ 296 w 356"/>
                  <a:gd name="T51" fmla="*/ 62 h 270"/>
                  <a:gd name="T52" fmla="*/ 298 w 356"/>
                  <a:gd name="T53" fmla="*/ 76 h 270"/>
                  <a:gd name="T54" fmla="*/ 284 w 356"/>
                  <a:gd name="T55" fmla="*/ 80 h 270"/>
                  <a:gd name="T56" fmla="*/ 72 w 356"/>
                  <a:gd name="T57" fmla="*/ 80 h 270"/>
                  <a:gd name="T58" fmla="*/ 56 w 356"/>
                  <a:gd name="T59" fmla="*/ 74 h 270"/>
                  <a:gd name="T60" fmla="*/ 70 w 356"/>
                  <a:gd name="T61" fmla="*/ 46 h 270"/>
                  <a:gd name="T62" fmla="*/ 262 w 356"/>
                  <a:gd name="T63" fmla="*/ 136 h 270"/>
                  <a:gd name="T64" fmla="*/ 244 w 356"/>
                  <a:gd name="T65" fmla="*/ 154 h 270"/>
                  <a:gd name="T66" fmla="*/ 100 w 356"/>
                  <a:gd name="T67" fmla="*/ 148 h 270"/>
                  <a:gd name="T68" fmla="*/ 46 w 356"/>
                  <a:gd name="T69" fmla="*/ 152 h 270"/>
                  <a:gd name="T70" fmla="*/ 22 w 356"/>
                  <a:gd name="T71" fmla="*/ 136 h 270"/>
                  <a:gd name="T72" fmla="*/ 28 w 356"/>
                  <a:gd name="T73" fmla="*/ 106 h 270"/>
                  <a:gd name="T74" fmla="*/ 56 w 356"/>
                  <a:gd name="T75" fmla="*/ 102 h 270"/>
                  <a:gd name="T76" fmla="*/ 72 w 356"/>
                  <a:gd name="T77" fmla="*/ 126 h 270"/>
                  <a:gd name="T78" fmla="*/ 46 w 356"/>
                  <a:gd name="T79" fmla="*/ 152 h 270"/>
                  <a:gd name="T80" fmla="*/ 156 w 356"/>
                  <a:gd name="T81" fmla="*/ 212 h 270"/>
                  <a:gd name="T82" fmla="*/ 70 w 356"/>
                  <a:gd name="T83" fmla="*/ 198 h 270"/>
                  <a:gd name="T84" fmla="*/ 152 w 356"/>
                  <a:gd name="T85" fmla="*/ 184 h 270"/>
                  <a:gd name="T86" fmla="*/ 274 w 356"/>
                  <a:gd name="T87" fmla="*/ 186 h 270"/>
                  <a:gd name="T88" fmla="*/ 288 w 356"/>
                  <a:gd name="T89" fmla="*/ 212 h 270"/>
                  <a:gd name="T90" fmla="*/ 292 w 356"/>
                  <a:gd name="T91" fmla="*/ 144 h 270"/>
                  <a:gd name="T92" fmla="*/ 286 w 356"/>
                  <a:gd name="T93" fmla="*/ 116 h 270"/>
                  <a:gd name="T94" fmla="*/ 310 w 356"/>
                  <a:gd name="T95" fmla="*/ 100 h 270"/>
                  <a:gd name="T96" fmla="*/ 336 w 356"/>
                  <a:gd name="T97" fmla="*/ 126 h 270"/>
                  <a:gd name="T98" fmla="*/ 320 w 356"/>
                  <a:gd name="T99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6" h="270">
                    <a:moveTo>
                      <a:pt x="330" y="72"/>
                    </a:moveTo>
                    <a:lnTo>
                      <a:pt x="330" y="72"/>
                    </a:lnTo>
                    <a:lnTo>
                      <a:pt x="324" y="64"/>
                    </a:lnTo>
                    <a:lnTo>
                      <a:pt x="324" y="64"/>
                    </a:lnTo>
                    <a:lnTo>
                      <a:pt x="314" y="46"/>
                    </a:lnTo>
                    <a:lnTo>
                      <a:pt x="302" y="32"/>
                    </a:lnTo>
                    <a:lnTo>
                      <a:pt x="292" y="18"/>
                    </a:lnTo>
                    <a:lnTo>
                      <a:pt x="280" y="10"/>
                    </a:lnTo>
                    <a:lnTo>
                      <a:pt x="280" y="10"/>
                    </a:lnTo>
                    <a:lnTo>
                      <a:pt x="274" y="6"/>
                    </a:lnTo>
                    <a:lnTo>
                      <a:pt x="264" y="4"/>
                    </a:lnTo>
                    <a:lnTo>
                      <a:pt x="234" y="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22" y="2"/>
                    </a:lnTo>
                    <a:lnTo>
                      <a:pt x="92" y="4"/>
                    </a:lnTo>
                    <a:lnTo>
                      <a:pt x="82" y="6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64" y="18"/>
                    </a:lnTo>
                    <a:lnTo>
                      <a:pt x="54" y="32"/>
                    </a:lnTo>
                    <a:lnTo>
                      <a:pt x="42" y="4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08"/>
                    </a:lnTo>
                    <a:lnTo>
                      <a:pt x="4" y="120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0" y="192"/>
                    </a:lnTo>
                    <a:lnTo>
                      <a:pt x="2" y="210"/>
                    </a:lnTo>
                    <a:lnTo>
                      <a:pt x="6" y="224"/>
                    </a:lnTo>
                    <a:lnTo>
                      <a:pt x="6" y="224"/>
                    </a:lnTo>
                    <a:lnTo>
                      <a:pt x="6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22" y="232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62"/>
                    </a:lnTo>
                    <a:lnTo>
                      <a:pt x="26" y="266"/>
                    </a:lnTo>
                    <a:lnTo>
                      <a:pt x="30" y="268"/>
                    </a:lnTo>
                    <a:lnTo>
                      <a:pt x="34" y="270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4" y="268"/>
                    </a:lnTo>
                    <a:lnTo>
                      <a:pt x="68" y="266"/>
                    </a:lnTo>
                    <a:lnTo>
                      <a:pt x="70" y="262"/>
                    </a:lnTo>
                    <a:lnTo>
                      <a:pt x="72" y="258"/>
                    </a:lnTo>
                    <a:lnTo>
                      <a:pt x="72" y="232"/>
                    </a:lnTo>
                    <a:lnTo>
                      <a:pt x="178" y="232"/>
                    </a:lnTo>
                    <a:lnTo>
                      <a:pt x="284" y="232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6" y="262"/>
                    </a:lnTo>
                    <a:lnTo>
                      <a:pt x="288" y="266"/>
                    </a:lnTo>
                    <a:lnTo>
                      <a:pt x="292" y="268"/>
                    </a:lnTo>
                    <a:lnTo>
                      <a:pt x="296" y="270"/>
                    </a:lnTo>
                    <a:lnTo>
                      <a:pt x="322" y="270"/>
                    </a:lnTo>
                    <a:lnTo>
                      <a:pt x="322" y="270"/>
                    </a:lnTo>
                    <a:lnTo>
                      <a:pt x="326" y="268"/>
                    </a:lnTo>
                    <a:lnTo>
                      <a:pt x="330" y="266"/>
                    </a:lnTo>
                    <a:lnTo>
                      <a:pt x="332" y="262"/>
                    </a:lnTo>
                    <a:lnTo>
                      <a:pt x="334" y="258"/>
                    </a:lnTo>
                    <a:lnTo>
                      <a:pt x="334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4" y="232"/>
                    </a:lnTo>
                    <a:lnTo>
                      <a:pt x="346" y="230"/>
                    </a:lnTo>
                    <a:lnTo>
                      <a:pt x="350" y="228"/>
                    </a:lnTo>
                    <a:lnTo>
                      <a:pt x="350" y="224"/>
                    </a:lnTo>
                    <a:lnTo>
                      <a:pt x="350" y="224"/>
                    </a:lnTo>
                    <a:lnTo>
                      <a:pt x="354" y="210"/>
                    </a:lnTo>
                    <a:lnTo>
                      <a:pt x="356" y="192"/>
                    </a:lnTo>
                    <a:lnTo>
                      <a:pt x="356" y="168"/>
                    </a:lnTo>
                    <a:lnTo>
                      <a:pt x="356" y="168"/>
                    </a:lnTo>
                    <a:lnTo>
                      <a:pt x="356" y="150"/>
                    </a:lnTo>
                    <a:lnTo>
                      <a:pt x="354" y="134"/>
                    </a:lnTo>
                    <a:lnTo>
                      <a:pt x="352" y="120"/>
                    </a:lnTo>
                    <a:lnTo>
                      <a:pt x="348" y="108"/>
                    </a:lnTo>
                    <a:lnTo>
                      <a:pt x="340" y="88"/>
                    </a:lnTo>
                    <a:lnTo>
                      <a:pt x="330" y="72"/>
                    </a:lnTo>
                    <a:lnTo>
                      <a:pt x="330" y="72"/>
                    </a:lnTo>
                    <a:close/>
                    <a:moveTo>
                      <a:pt x="88" y="26"/>
                    </a:moveTo>
                    <a:lnTo>
                      <a:pt x="88" y="26"/>
                    </a:lnTo>
                    <a:lnTo>
                      <a:pt x="110" y="22"/>
                    </a:lnTo>
                    <a:lnTo>
                      <a:pt x="13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218" y="20"/>
                    </a:lnTo>
                    <a:lnTo>
                      <a:pt x="246" y="22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86" y="46"/>
                    </a:lnTo>
                    <a:lnTo>
                      <a:pt x="296" y="62"/>
                    </a:lnTo>
                    <a:lnTo>
                      <a:pt x="298" y="70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6"/>
                    </a:lnTo>
                    <a:lnTo>
                      <a:pt x="296" y="78"/>
                    </a:lnTo>
                    <a:lnTo>
                      <a:pt x="292" y="80"/>
                    </a:lnTo>
                    <a:lnTo>
                      <a:pt x="284" y="80"/>
                    </a:lnTo>
                    <a:lnTo>
                      <a:pt x="284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8" y="76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8" y="70"/>
                    </a:lnTo>
                    <a:lnTo>
                      <a:pt x="60" y="62"/>
                    </a:lnTo>
                    <a:lnTo>
                      <a:pt x="70" y="46"/>
                    </a:lnTo>
                    <a:lnTo>
                      <a:pt x="88" y="26"/>
                    </a:lnTo>
                    <a:lnTo>
                      <a:pt x="88" y="26"/>
                    </a:lnTo>
                    <a:close/>
                    <a:moveTo>
                      <a:pt x="262" y="136"/>
                    </a:moveTo>
                    <a:lnTo>
                      <a:pt x="262" y="136"/>
                    </a:lnTo>
                    <a:lnTo>
                      <a:pt x="260" y="144"/>
                    </a:lnTo>
                    <a:lnTo>
                      <a:pt x="256" y="148"/>
                    </a:lnTo>
                    <a:lnTo>
                      <a:pt x="252" y="152"/>
                    </a:lnTo>
                    <a:lnTo>
                      <a:pt x="244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4" y="152"/>
                    </a:lnTo>
                    <a:lnTo>
                      <a:pt x="100" y="148"/>
                    </a:lnTo>
                    <a:lnTo>
                      <a:pt x="96" y="144"/>
                    </a:lnTo>
                    <a:lnTo>
                      <a:pt x="94" y="136"/>
                    </a:lnTo>
                    <a:lnTo>
                      <a:pt x="262" y="136"/>
                    </a:lnTo>
                    <a:close/>
                    <a:moveTo>
                      <a:pt x="46" y="152"/>
                    </a:moveTo>
                    <a:lnTo>
                      <a:pt x="46" y="152"/>
                    </a:lnTo>
                    <a:lnTo>
                      <a:pt x="36" y="150"/>
                    </a:lnTo>
                    <a:lnTo>
                      <a:pt x="28" y="144"/>
                    </a:lnTo>
                    <a:lnTo>
                      <a:pt x="22" y="136"/>
                    </a:lnTo>
                    <a:lnTo>
                      <a:pt x="20" y="126"/>
                    </a:lnTo>
                    <a:lnTo>
                      <a:pt x="20" y="126"/>
                    </a:lnTo>
                    <a:lnTo>
                      <a:pt x="22" y="116"/>
                    </a:lnTo>
                    <a:lnTo>
                      <a:pt x="28" y="106"/>
                    </a:lnTo>
                    <a:lnTo>
                      <a:pt x="36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56" y="102"/>
                    </a:lnTo>
                    <a:lnTo>
                      <a:pt x="64" y="106"/>
                    </a:lnTo>
                    <a:lnTo>
                      <a:pt x="70" y="11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36"/>
                    </a:lnTo>
                    <a:lnTo>
                      <a:pt x="64" y="144"/>
                    </a:lnTo>
                    <a:lnTo>
                      <a:pt x="56" y="150"/>
                    </a:lnTo>
                    <a:lnTo>
                      <a:pt x="46" y="152"/>
                    </a:lnTo>
                    <a:lnTo>
                      <a:pt x="46" y="152"/>
                    </a:lnTo>
                    <a:close/>
                    <a:moveTo>
                      <a:pt x="288" y="212"/>
                    </a:moveTo>
                    <a:lnTo>
                      <a:pt x="204" y="212"/>
                    </a:lnTo>
                    <a:lnTo>
                      <a:pt x="156" y="212"/>
                    </a:lnTo>
                    <a:lnTo>
                      <a:pt x="68" y="212"/>
                    </a:lnTo>
                    <a:lnTo>
                      <a:pt x="68" y="206"/>
                    </a:lnTo>
                    <a:lnTo>
                      <a:pt x="68" y="206"/>
                    </a:lnTo>
                    <a:lnTo>
                      <a:pt x="70" y="198"/>
                    </a:lnTo>
                    <a:lnTo>
                      <a:pt x="76" y="190"/>
                    </a:lnTo>
                    <a:lnTo>
                      <a:pt x="82" y="186"/>
                    </a:lnTo>
                    <a:lnTo>
                      <a:pt x="90" y="184"/>
                    </a:lnTo>
                    <a:lnTo>
                      <a:pt x="152" y="184"/>
                    </a:lnTo>
                    <a:lnTo>
                      <a:pt x="208" y="184"/>
                    </a:lnTo>
                    <a:lnTo>
                      <a:pt x="266" y="184"/>
                    </a:lnTo>
                    <a:lnTo>
                      <a:pt x="266" y="184"/>
                    </a:lnTo>
                    <a:lnTo>
                      <a:pt x="274" y="186"/>
                    </a:lnTo>
                    <a:lnTo>
                      <a:pt x="280" y="190"/>
                    </a:lnTo>
                    <a:lnTo>
                      <a:pt x="286" y="198"/>
                    </a:lnTo>
                    <a:lnTo>
                      <a:pt x="288" y="206"/>
                    </a:lnTo>
                    <a:lnTo>
                      <a:pt x="288" y="212"/>
                    </a:lnTo>
                    <a:close/>
                    <a:moveTo>
                      <a:pt x="310" y="152"/>
                    </a:moveTo>
                    <a:lnTo>
                      <a:pt x="310" y="152"/>
                    </a:lnTo>
                    <a:lnTo>
                      <a:pt x="300" y="150"/>
                    </a:lnTo>
                    <a:lnTo>
                      <a:pt x="292" y="144"/>
                    </a:lnTo>
                    <a:lnTo>
                      <a:pt x="286" y="136"/>
                    </a:lnTo>
                    <a:lnTo>
                      <a:pt x="284" y="126"/>
                    </a:lnTo>
                    <a:lnTo>
                      <a:pt x="284" y="126"/>
                    </a:lnTo>
                    <a:lnTo>
                      <a:pt x="286" y="116"/>
                    </a:lnTo>
                    <a:lnTo>
                      <a:pt x="292" y="106"/>
                    </a:lnTo>
                    <a:lnTo>
                      <a:pt x="300" y="102"/>
                    </a:lnTo>
                    <a:lnTo>
                      <a:pt x="310" y="100"/>
                    </a:lnTo>
                    <a:lnTo>
                      <a:pt x="310" y="100"/>
                    </a:lnTo>
                    <a:lnTo>
                      <a:pt x="320" y="102"/>
                    </a:lnTo>
                    <a:lnTo>
                      <a:pt x="328" y="106"/>
                    </a:lnTo>
                    <a:lnTo>
                      <a:pt x="334" y="116"/>
                    </a:lnTo>
                    <a:lnTo>
                      <a:pt x="336" y="126"/>
                    </a:lnTo>
                    <a:lnTo>
                      <a:pt x="336" y="126"/>
                    </a:lnTo>
                    <a:lnTo>
                      <a:pt x="334" y="136"/>
                    </a:lnTo>
                    <a:lnTo>
                      <a:pt x="328" y="144"/>
                    </a:lnTo>
                    <a:lnTo>
                      <a:pt x="320" y="150"/>
                    </a:lnTo>
                    <a:lnTo>
                      <a:pt x="310" y="152"/>
                    </a:lnTo>
                    <a:lnTo>
                      <a:pt x="310" y="1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6ABDA3FB-0A08-43EE-B68C-152E50011F58}"/>
                </a:ext>
              </a:extLst>
            </p:cNvPr>
            <p:cNvGrpSpPr/>
            <p:nvPr/>
          </p:nvGrpSpPr>
          <p:grpSpPr>
            <a:xfrm>
              <a:off x="6336569" y="4918515"/>
              <a:ext cx="164789" cy="161633"/>
              <a:chOff x="10854344" y="2762403"/>
              <a:chExt cx="157159" cy="128810"/>
            </a:xfrm>
          </p:grpSpPr>
          <p:sp>
            <p:nvSpPr>
              <p:cNvPr id="292" name="Oval 291">
                <a:extLst>
                  <a:ext uri="{FF2B5EF4-FFF2-40B4-BE49-F238E27FC236}">
                    <a16:creationId xmlns:a16="http://schemas.microsoft.com/office/drawing/2014/main" id="{D821242B-5B20-4907-9783-B0038EF16262}"/>
                  </a:ext>
                </a:extLst>
              </p:cNvPr>
              <p:cNvSpPr/>
              <p:nvPr/>
            </p:nvSpPr>
            <p:spPr bwMode="ltGray">
              <a:xfrm>
                <a:off x="10854344" y="2762403"/>
                <a:ext cx="157159" cy="128810"/>
              </a:xfrm>
              <a:prstGeom prst="ellipse">
                <a:avLst/>
              </a:prstGeom>
              <a:solidFill>
                <a:srgbClr val="DC6900"/>
              </a:solidFill>
              <a:ln w="3175">
                <a:solidFill>
                  <a:srgbClr val="DC69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93" name="Freeform 135">
                <a:extLst>
                  <a:ext uri="{FF2B5EF4-FFF2-40B4-BE49-F238E27FC236}">
                    <a16:creationId xmlns:a16="http://schemas.microsoft.com/office/drawing/2014/main" id="{5FAA151D-518B-4511-AF0C-5656D9BD50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4664" y="2796043"/>
                <a:ext cx="120109" cy="56396"/>
              </a:xfrm>
              <a:custGeom>
                <a:avLst/>
                <a:gdLst>
                  <a:gd name="T0" fmla="*/ 753 w 885"/>
                  <a:gd name="T1" fmla="*/ 108 h 509"/>
                  <a:gd name="T2" fmla="*/ 847 w 885"/>
                  <a:gd name="T3" fmla="*/ 346 h 509"/>
                  <a:gd name="T4" fmla="*/ 872 w 885"/>
                  <a:gd name="T5" fmla="*/ 463 h 509"/>
                  <a:gd name="T6" fmla="*/ 835 w 885"/>
                  <a:gd name="T7" fmla="*/ 498 h 509"/>
                  <a:gd name="T8" fmla="*/ 792 w 885"/>
                  <a:gd name="T9" fmla="*/ 509 h 509"/>
                  <a:gd name="T10" fmla="*/ 742 w 885"/>
                  <a:gd name="T11" fmla="*/ 494 h 509"/>
                  <a:gd name="T12" fmla="*/ 708 w 885"/>
                  <a:gd name="T13" fmla="*/ 451 h 509"/>
                  <a:gd name="T14" fmla="*/ 673 w 885"/>
                  <a:gd name="T15" fmla="*/ 473 h 509"/>
                  <a:gd name="T16" fmla="*/ 637 w 885"/>
                  <a:gd name="T17" fmla="*/ 503 h 509"/>
                  <a:gd name="T18" fmla="*/ 591 w 885"/>
                  <a:gd name="T19" fmla="*/ 509 h 509"/>
                  <a:gd name="T20" fmla="*/ 543 w 885"/>
                  <a:gd name="T21" fmla="*/ 488 h 509"/>
                  <a:gd name="T22" fmla="*/ 512 w 885"/>
                  <a:gd name="T23" fmla="*/ 438 h 509"/>
                  <a:gd name="T24" fmla="*/ 262 w 885"/>
                  <a:gd name="T25" fmla="*/ 449 h 509"/>
                  <a:gd name="T26" fmla="*/ 229 w 885"/>
                  <a:gd name="T27" fmla="*/ 492 h 509"/>
                  <a:gd name="T28" fmla="*/ 178 w 885"/>
                  <a:gd name="T29" fmla="*/ 507 h 509"/>
                  <a:gd name="T30" fmla="*/ 135 w 885"/>
                  <a:gd name="T31" fmla="*/ 496 h 509"/>
                  <a:gd name="T32" fmla="*/ 99 w 885"/>
                  <a:gd name="T33" fmla="*/ 461 h 509"/>
                  <a:gd name="T34" fmla="*/ 0 w 885"/>
                  <a:gd name="T35" fmla="*/ 438 h 509"/>
                  <a:gd name="T36" fmla="*/ 114 w 885"/>
                  <a:gd name="T37" fmla="*/ 96 h 509"/>
                  <a:gd name="T38" fmla="*/ 430 w 885"/>
                  <a:gd name="T39" fmla="*/ 346 h 509"/>
                  <a:gd name="T40" fmla="*/ 207 w 885"/>
                  <a:gd name="T41" fmla="*/ 373 h 509"/>
                  <a:gd name="T42" fmla="*/ 158 w 885"/>
                  <a:gd name="T43" fmla="*/ 368 h 509"/>
                  <a:gd name="T44" fmla="*/ 128 w 885"/>
                  <a:gd name="T45" fmla="*/ 405 h 509"/>
                  <a:gd name="T46" fmla="*/ 143 w 885"/>
                  <a:gd name="T47" fmla="*/ 452 h 509"/>
                  <a:gd name="T48" fmla="*/ 178 w 885"/>
                  <a:gd name="T49" fmla="*/ 467 h 509"/>
                  <a:gd name="T50" fmla="*/ 221 w 885"/>
                  <a:gd name="T51" fmla="*/ 444 h 509"/>
                  <a:gd name="T52" fmla="*/ 226 w 885"/>
                  <a:gd name="T53" fmla="*/ 396 h 509"/>
                  <a:gd name="T54" fmla="*/ 630 w 885"/>
                  <a:gd name="T55" fmla="*/ 376 h 509"/>
                  <a:gd name="T56" fmla="*/ 581 w 885"/>
                  <a:gd name="T57" fmla="*/ 372 h 509"/>
                  <a:gd name="T58" fmla="*/ 551 w 885"/>
                  <a:gd name="T59" fmla="*/ 408 h 509"/>
                  <a:gd name="T60" fmla="*/ 564 w 885"/>
                  <a:gd name="T61" fmla="*/ 455 h 509"/>
                  <a:gd name="T62" fmla="*/ 601 w 885"/>
                  <a:gd name="T63" fmla="*/ 469 h 509"/>
                  <a:gd name="T64" fmla="*/ 643 w 885"/>
                  <a:gd name="T65" fmla="*/ 447 h 509"/>
                  <a:gd name="T66" fmla="*/ 648 w 885"/>
                  <a:gd name="T67" fmla="*/ 398 h 509"/>
                  <a:gd name="T68" fmla="*/ 821 w 885"/>
                  <a:gd name="T69" fmla="*/ 376 h 509"/>
                  <a:gd name="T70" fmla="*/ 772 w 885"/>
                  <a:gd name="T71" fmla="*/ 372 h 509"/>
                  <a:gd name="T72" fmla="*/ 742 w 885"/>
                  <a:gd name="T73" fmla="*/ 408 h 509"/>
                  <a:gd name="T74" fmla="*/ 756 w 885"/>
                  <a:gd name="T75" fmla="*/ 455 h 509"/>
                  <a:gd name="T76" fmla="*/ 792 w 885"/>
                  <a:gd name="T77" fmla="*/ 469 h 509"/>
                  <a:gd name="T78" fmla="*/ 835 w 885"/>
                  <a:gd name="T79" fmla="*/ 447 h 509"/>
                  <a:gd name="T80" fmla="*/ 840 w 885"/>
                  <a:gd name="T81" fmla="*/ 398 h 509"/>
                  <a:gd name="T82" fmla="*/ 155 w 885"/>
                  <a:gd name="T83" fmla="*/ 142 h 509"/>
                  <a:gd name="T84" fmla="*/ 235 w 885"/>
                  <a:gd name="T85" fmla="*/ 250 h 509"/>
                  <a:gd name="T86" fmla="*/ 665 w 885"/>
                  <a:gd name="T87" fmla="*/ 0 h 509"/>
                  <a:gd name="T88" fmla="*/ 776 w 885"/>
                  <a:gd name="T89" fmla="*/ 254 h 509"/>
                  <a:gd name="T90" fmla="*/ 862 w 885"/>
                  <a:gd name="T91" fmla="*/ 55 h 509"/>
                  <a:gd name="T92" fmla="*/ 875 w 885"/>
                  <a:gd name="T93" fmla="*/ 166 h 509"/>
                  <a:gd name="T94" fmla="*/ 846 w 885"/>
                  <a:gd name="T95" fmla="*/ 280 h 509"/>
                  <a:gd name="T96" fmla="*/ 409 w 885"/>
                  <a:gd name="T97" fmla="*/ 298 h 509"/>
                  <a:gd name="T98" fmla="*/ 380 w 885"/>
                  <a:gd name="T99" fmla="*/ 186 h 509"/>
                  <a:gd name="T100" fmla="*/ 383 w 885"/>
                  <a:gd name="T101" fmla="*/ 74 h 509"/>
                  <a:gd name="T102" fmla="*/ 688 w 885"/>
                  <a:gd name="T103" fmla="*/ 0 h 509"/>
                  <a:gd name="T104" fmla="*/ 753 w 885"/>
                  <a:gd name="T105" fmla="*/ 1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509">
                    <a:moveTo>
                      <a:pt x="753" y="108"/>
                    </a:moveTo>
                    <a:lnTo>
                      <a:pt x="753" y="62"/>
                    </a:lnTo>
                    <a:lnTo>
                      <a:pt x="688" y="62"/>
                    </a:lnTo>
                    <a:lnTo>
                      <a:pt x="688" y="108"/>
                    </a:lnTo>
                    <a:lnTo>
                      <a:pt x="753" y="108"/>
                    </a:lnTo>
                    <a:lnTo>
                      <a:pt x="753" y="108"/>
                    </a:lnTo>
                    <a:close/>
                    <a:moveTo>
                      <a:pt x="801" y="328"/>
                    </a:moveTo>
                    <a:lnTo>
                      <a:pt x="801" y="328"/>
                    </a:lnTo>
                    <a:lnTo>
                      <a:pt x="814" y="331"/>
                    </a:lnTo>
                    <a:lnTo>
                      <a:pt x="825" y="334"/>
                    </a:lnTo>
                    <a:lnTo>
                      <a:pt x="836" y="340"/>
                    </a:lnTo>
                    <a:lnTo>
                      <a:pt x="847" y="346"/>
                    </a:lnTo>
                    <a:lnTo>
                      <a:pt x="885" y="346"/>
                    </a:lnTo>
                    <a:lnTo>
                      <a:pt x="885" y="438"/>
                    </a:lnTo>
                    <a:lnTo>
                      <a:pt x="881" y="438"/>
                    </a:lnTo>
                    <a:lnTo>
                      <a:pt x="881" y="438"/>
                    </a:lnTo>
                    <a:lnTo>
                      <a:pt x="877" y="451"/>
                    </a:lnTo>
                    <a:lnTo>
                      <a:pt x="872" y="463"/>
                    </a:lnTo>
                    <a:lnTo>
                      <a:pt x="865" y="473"/>
                    </a:lnTo>
                    <a:lnTo>
                      <a:pt x="856" y="483"/>
                    </a:lnTo>
                    <a:lnTo>
                      <a:pt x="856" y="483"/>
                    </a:lnTo>
                    <a:lnTo>
                      <a:pt x="850" y="488"/>
                    </a:lnTo>
                    <a:lnTo>
                      <a:pt x="843" y="494"/>
                    </a:lnTo>
                    <a:lnTo>
                      <a:pt x="835" y="498"/>
                    </a:lnTo>
                    <a:lnTo>
                      <a:pt x="827" y="503"/>
                    </a:lnTo>
                    <a:lnTo>
                      <a:pt x="820" y="505"/>
                    </a:lnTo>
                    <a:lnTo>
                      <a:pt x="811" y="507"/>
                    </a:lnTo>
                    <a:lnTo>
                      <a:pt x="802" y="509"/>
                    </a:lnTo>
                    <a:lnTo>
                      <a:pt x="792" y="509"/>
                    </a:lnTo>
                    <a:lnTo>
                      <a:pt x="792" y="509"/>
                    </a:lnTo>
                    <a:lnTo>
                      <a:pt x="783" y="509"/>
                    </a:lnTo>
                    <a:lnTo>
                      <a:pt x="774" y="507"/>
                    </a:lnTo>
                    <a:lnTo>
                      <a:pt x="765" y="505"/>
                    </a:lnTo>
                    <a:lnTo>
                      <a:pt x="756" y="503"/>
                    </a:lnTo>
                    <a:lnTo>
                      <a:pt x="749" y="498"/>
                    </a:lnTo>
                    <a:lnTo>
                      <a:pt x="742" y="494"/>
                    </a:lnTo>
                    <a:lnTo>
                      <a:pt x="734" y="488"/>
                    </a:lnTo>
                    <a:lnTo>
                      <a:pt x="728" y="483"/>
                    </a:lnTo>
                    <a:lnTo>
                      <a:pt x="728" y="483"/>
                    </a:lnTo>
                    <a:lnTo>
                      <a:pt x="720" y="473"/>
                    </a:lnTo>
                    <a:lnTo>
                      <a:pt x="713" y="463"/>
                    </a:lnTo>
                    <a:lnTo>
                      <a:pt x="708" y="451"/>
                    </a:lnTo>
                    <a:lnTo>
                      <a:pt x="703" y="438"/>
                    </a:lnTo>
                    <a:lnTo>
                      <a:pt x="690" y="438"/>
                    </a:lnTo>
                    <a:lnTo>
                      <a:pt x="690" y="438"/>
                    </a:lnTo>
                    <a:lnTo>
                      <a:pt x="685" y="451"/>
                    </a:lnTo>
                    <a:lnTo>
                      <a:pt x="681" y="463"/>
                    </a:lnTo>
                    <a:lnTo>
                      <a:pt x="673" y="473"/>
                    </a:lnTo>
                    <a:lnTo>
                      <a:pt x="665" y="483"/>
                    </a:lnTo>
                    <a:lnTo>
                      <a:pt x="665" y="483"/>
                    </a:lnTo>
                    <a:lnTo>
                      <a:pt x="659" y="488"/>
                    </a:lnTo>
                    <a:lnTo>
                      <a:pt x="652" y="494"/>
                    </a:lnTo>
                    <a:lnTo>
                      <a:pt x="644" y="498"/>
                    </a:lnTo>
                    <a:lnTo>
                      <a:pt x="637" y="503"/>
                    </a:lnTo>
                    <a:lnTo>
                      <a:pt x="628" y="505"/>
                    </a:lnTo>
                    <a:lnTo>
                      <a:pt x="619" y="507"/>
                    </a:lnTo>
                    <a:lnTo>
                      <a:pt x="610" y="509"/>
                    </a:lnTo>
                    <a:lnTo>
                      <a:pt x="601" y="509"/>
                    </a:lnTo>
                    <a:lnTo>
                      <a:pt x="601" y="509"/>
                    </a:lnTo>
                    <a:lnTo>
                      <a:pt x="591" y="509"/>
                    </a:lnTo>
                    <a:lnTo>
                      <a:pt x="582" y="507"/>
                    </a:lnTo>
                    <a:lnTo>
                      <a:pt x="573" y="505"/>
                    </a:lnTo>
                    <a:lnTo>
                      <a:pt x="566" y="503"/>
                    </a:lnTo>
                    <a:lnTo>
                      <a:pt x="558" y="498"/>
                    </a:lnTo>
                    <a:lnTo>
                      <a:pt x="550" y="494"/>
                    </a:lnTo>
                    <a:lnTo>
                      <a:pt x="543" y="488"/>
                    </a:lnTo>
                    <a:lnTo>
                      <a:pt x="537" y="483"/>
                    </a:lnTo>
                    <a:lnTo>
                      <a:pt x="537" y="483"/>
                    </a:lnTo>
                    <a:lnTo>
                      <a:pt x="528" y="473"/>
                    </a:lnTo>
                    <a:lnTo>
                      <a:pt x="521" y="463"/>
                    </a:lnTo>
                    <a:lnTo>
                      <a:pt x="516" y="451"/>
                    </a:lnTo>
                    <a:lnTo>
                      <a:pt x="512" y="438"/>
                    </a:lnTo>
                    <a:lnTo>
                      <a:pt x="336" y="438"/>
                    </a:lnTo>
                    <a:lnTo>
                      <a:pt x="306" y="438"/>
                    </a:lnTo>
                    <a:lnTo>
                      <a:pt x="301" y="438"/>
                    </a:lnTo>
                    <a:lnTo>
                      <a:pt x="267" y="438"/>
                    </a:lnTo>
                    <a:lnTo>
                      <a:pt x="267" y="438"/>
                    </a:lnTo>
                    <a:lnTo>
                      <a:pt x="262" y="449"/>
                    </a:lnTo>
                    <a:lnTo>
                      <a:pt x="258" y="461"/>
                    </a:lnTo>
                    <a:lnTo>
                      <a:pt x="250" y="471"/>
                    </a:lnTo>
                    <a:lnTo>
                      <a:pt x="242" y="480"/>
                    </a:lnTo>
                    <a:lnTo>
                      <a:pt x="242" y="480"/>
                    </a:lnTo>
                    <a:lnTo>
                      <a:pt x="236" y="486"/>
                    </a:lnTo>
                    <a:lnTo>
                      <a:pt x="229" y="492"/>
                    </a:lnTo>
                    <a:lnTo>
                      <a:pt x="221" y="496"/>
                    </a:lnTo>
                    <a:lnTo>
                      <a:pt x="214" y="499"/>
                    </a:lnTo>
                    <a:lnTo>
                      <a:pt x="206" y="503"/>
                    </a:lnTo>
                    <a:lnTo>
                      <a:pt x="197" y="505"/>
                    </a:lnTo>
                    <a:lnTo>
                      <a:pt x="188" y="506"/>
                    </a:lnTo>
                    <a:lnTo>
                      <a:pt x="178" y="507"/>
                    </a:lnTo>
                    <a:lnTo>
                      <a:pt x="178" y="507"/>
                    </a:lnTo>
                    <a:lnTo>
                      <a:pt x="169" y="506"/>
                    </a:lnTo>
                    <a:lnTo>
                      <a:pt x="160" y="505"/>
                    </a:lnTo>
                    <a:lnTo>
                      <a:pt x="151" y="503"/>
                    </a:lnTo>
                    <a:lnTo>
                      <a:pt x="144" y="499"/>
                    </a:lnTo>
                    <a:lnTo>
                      <a:pt x="135" y="496"/>
                    </a:lnTo>
                    <a:lnTo>
                      <a:pt x="128" y="492"/>
                    </a:lnTo>
                    <a:lnTo>
                      <a:pt x="120" y="486"/>
                    </a:lnTo>
                    <a:lnTo>
                      <a:pt x="114" y="480"/>
                    </a:lnTo>
                    <a:lnTo>
                      <a:pt x="114" y="480"/>
                    </a:lnTo>
                    <a:lnTo>
                      <a:pt x="106" y="471"/>
                    </a:lnTo>
                    <a:lnTo>
                      <a:pt x="99" y="461"/>
                    </a:lnTo>
                    <a:lnTo>
                      <a:pt x="94" y="449"/>
                    </a:lnTo>
                    <a:lnTo>
                      <a:pt x="90" y="438"/>
                    </a:lnTo>
                    <a:lnTo>
                      <a:pt x="84" y="438"/>
                    </a:lnTo>
                    <a:lnTo>
                      <a:pt x="57" y="438"/>
                    </a:lnTo>
                    <a:lnTo>
                      <a:pt x="27" y="438"/>
                    </a:lnTo>
                    <a:lnTo>
                      <a:pt x="0" y="438"/>
                    </a:lnTo>
                    <a:lnTo>
                      <a:pt x="0" y="357"/>
                    </a:lnTo>
                    <a:lnTo>
                      <a:pt x="27" y="357"/>
                    </a:lnTo>
                    <a:lnTo>
                      <a:pt x="27" y="238"/>
                    </a:lnTo>
                    <a:lnTo>
                      <a:pt x="27" y="230"/>
                    </a:lnTo>
                    <a:lnTo>
                      <a:pt x="32" y="222"/>
                    </a:lnTo>
                    <a:lnTo>
                      <a:pt x="114" y="96"/>
                    </a:lnTo>
                    <a:lnTo>
                      <a:pt x="121" y="83"/>
                    </a:lnTo>
                    <a:lnTo>
                      <a:pt x="121" y="83"/>
                    </a:lnTo>
                    <a:lnTo>
                      <a:pt x="336" y="80"/>
                    </a:lnTo>
                    <a:lnTo>
                      <a:pt x="336" y="110"/>
                    </a:lnTo>
                    <a:lnTo>
                      <a:pt x="336" y="346"/>
                    </a:lnTo>
                    <a:lnTo>
                      <a:pt x="430" y="346"/>
                    </a:lnTo>
                    <a:lnTo>
                      <a:pt x="430" y="328"/>
                    </a:lnTo>
                    <a:lnTo>
                      <a:pt x="801" y="328"/>
                    </a:lnTo>
                    <a:lnTo>
                      <a:pt x="801" y="328"/>
                    </a:lnTo>
                    <a:close/>
                    <a:moveTo>
                      <a:pt x="215" y="379"/>
                    </a:moveTo>
                    <a:lnTo>
                      <a:pt x="215" y="379"/>
                    </a:lnTo>
                    <a:lnTo>
                      <a:pt x="207" y="373"/>
                    </a:lnTo>
                    <a:lnTo>
                      <a:pt x="198" y="368"/>
                    </a:lnTo>
                    <a:lnTo>
                      <a:pt x="189" y="365"/>
                    </a:lnTo>
                    <a:lnTo>
                      <a:pt x="178" y="364"/>
                    </a:lnTo>
                    <a:lnTo>
                      <a:pt x="178" y="364"/>
                    </a:lnTo>
                    <a:lnTo>
                      <a:pt x="168" y="365"/>
                    </a:lnTo>
                    <a:lnTo>
                      <a:pt x="158" y="368"/>
                    </a:lnTo>
                    <a:lnTo>
                      <a:pt x="150" y="373"/>
                    </a:lnTo>
                    <a:lnTo>
                      <a:pt x="143" y="379"/>
                    </a:lnTo>
                    <a:lnTo>
                      <a:pt x="143" y="379"/>
                    </a:lnTo>
                    <a:lnTo>
                      <a:pt x="136" y="387"/>
                    </a:lnTo>
                    <a:lnTo>
                      <a:pt x="131" y="396"/>
                    </a:lnTo>
                    <a:lnTo>
                      <a:pt x="128" y="405"/>
                    </a:lnTo>
                    <a:lnTo>
                      <a:pt x="127" y="416"/>
                    </a:lnTo>
                    <a:lnTo>
                      <a:pt x="127" y="416"/>
                    </a:lnTo>
                    <a:lnTo>
                      <a:pt x="128" y="426"/>
                    </a:lnTo>
                    <a:lnTo>
                      <a:pt x="131" y="436"/>
                    </a:lnTo>
                    <a:lnTo>
                      <a:pt x="136" y="444"/>
                    </a:lnTo>
                    <a:lnTo>
                      <a:pt x="143" y="452"/>
                    </a:lnTo>
                    <a:lnTo>
                      <a:pt x="143" y="452"/>
                    </a:lnTo>
                    <a:lnTo>
                      <a:pt x="150" y="458"/>
                    </a:lnTo>
                    <a:lnTo>
                      <a:pt x="158" y="463"/>
                    </a:lnTo>
                    <a:lnTo>
                      <a:pt x="168" y="466"/>
                    </a:lnTo>
                    <a:lnTo>
                      <a:pt x="178" y="467"/>
                    </a:lnTo>
                    <a:lnTo>
                      <a:pt x="178" y="467"/>
                    </a:lnTo>
                    <a:lnTo>
                      <a:pt x="189" y="466"/>
                    </a:lnTo>
                    <a:lnTo>
                      <a:pt x="198" y="463"/>
                    </a:lnTo>
                    <a:lnTo>
                      <a:pt x="207" y="458"/>
                    </a:lnTo>
                    <a:lnTo>
                      <a:pt x="215" y="452"/>
                    </a:lnTo>
                    <a:lnTo>
                      <a:pt x="215" y="452"/>
                    </a:lnTo>
                    <a:lnTo>
                      <a:pt x="221" y="444"/>
                    </a:lnTo>
                    <a:lnTo>
                      <a:pt x="226" y="436"/>
                    </a:lnTo>
                    <a:lnTo>
                      <a:pt x="229" y="426"/>
                    </a:lnTo>
                    <a:lnTo>
                      <a:pt x="229" y="416"/>
                    </a:lnTo>
                    <a:lnTo>
                      <a:pt x="229" y="416"/>
                    </a:lnTo>
                    <a:lnTo>
                      <a:pt x="229" y="405"/>
                    </a:lnTo>
                    <a:lnTo>
                      <a:pt x="226" y="396"/>
                    </a:lnTo>
                    <a:lnTo>
                      <a:pt x="221" y="387"/>
                    </a:lnTo>
                    <a:lnTo>
                      <a:pt x="215" y="379"/>
                    </a:lnTo>
                    <a:lnTo>
                      <a:pt x="215" y="379"/>
                    </a:lnTo>
                    <a:close/>
                    <a:moveTo>
                      <a:pt x="637" y="383"/>
                    </a:moveTo>
                    <a:lnTo>
                      <a:pt x="637" y="383"/>
                    </a:lnTo>
                    <a:lnTo>
                      <a:pt x="630" y="376"/>
                    </a:lnTo>
                    <a:lnTo>
                      <a:pt x="621" y="372"/>
                    </a:lnTo>
                    <a:lnTo>
                      <a:pt x="611" y="368"/>
                    </a:lnTo>
                    <a:lnTo>
                      <a:pt x="601" y="367"/>
                    </a:lnTo>
                    <a:lnTo>
                      <a:pt x="601" y="367"/>
                    </a:lnTo>
                    <a:lnTo>
                      <a:pt x="590" y="368"/>
                    </a:lnTo>
                    <a:lnTo>
                      <a:pt x="581" y="372"/>
                    </a:lnTo>
                    <a:lnTo>
                      <a:pt x="572" y="376"/>
                    </a:lnTo>
                    <a:lnTo>
                      <a:pt x="564" y="383"/>
                    </a:lnTo>
                    <a:lnTo>
                      <a:pt x="564" y="383"/>
                    </a:lnTo>
                    <a:lnTo>
                      <a:pt x="558" y="389"/>
                    </a:lnTo>
                    <a:lnTo>
                      <a:pt x="553" y="398"/>
                    </a:lnTo>
                    <a:lnTo>
                      <a:pt x="551" y="408"/>
                    </a:lnTo>
                    <a:lnTo>
                      <a:pt x="550" y="418"/>
                    </a:lnTo>
                    <a:lnTo>
                      <a:pt x="550" y="418"/>
                    </a:lnTo>
                    <a:lnTo>
                      <a:pt x="551" y="428"/>
                    </a:lnTo>
                    <a:lnTo>
                      <a:pt x="553" y="438"/>
                    </a:lnTo>
                    <a:lnTo>
                      <a:pt x="558" y="447"/>
                    </a:lnTo>
                    <a:lnTo>
                      <a:pt x="564" y="455"/>
                    </a:lnTo>
                    <a:lnTo>
                      <a:pt x="564" y="455"/>
                    </a:lnTo>
                    <a:lnTo>
                      <a:pt x="572" y="461"/>
                    </a:lnTo>
                    <a:lnTo>
                      <a:pt x="581" y="466"/>
                    </a:lnTo>
                    <a:lnTo>
                      <a:pt x="590" y="468"/>
                    </a:lnTo>
                    <a:lnTo>
                      <a:pt x="601" y="469"/>
                    </a:lnTo>
                    <a:lnTo>
                      <a:pt x="601" y="469"/>
                    </a:lnTo>
                    <a:lnTo>
                      <a:pt x="611" y="468"/>
                    </a:lnTo>
                    <a:lnTo>
                      <a:pt x="621" y="466"/>
                    </a:lnTo>
                    <a:lnTo>
                      <a:pt x="630" y="461"/>
                    </a:lnTo>
                    <a:lnTo>
                      <a:pt x="637" y="455"/>
                    </a:lnTo>
                    <a:lnTo>
                      <a:pt x="637" y="455"/>
                    </a:lnTo>
                    <a:lnTo>
                      <a:pt x="643" y="447"/>
                    </a:lnTo>
                    <a:lnTo>
                      <a:pt x="648" y="438"/>
                    </a:lnTo>
                    <a:lnTo>
                      <a:pt x="651" y="428"/>
                    </a:lnTo>
                    <a:lnTo>
                      <a:pt x="652" y="418"/>
                    </a:lnTo>
                    <a:lnTo>
                      <a:pt x="652" y="418"/>
                    </a:lnTo>
                    <a:lnTo>
                      <a:pt x="651" y="408"/>
                    </a:lnTo>
                    <a:lnTo>
                      <a:pt x="648" y="398"/>
                    </a:lnTo>
                    <a:lnTo>
                      <a:pt x="643" y="389"/>
                    </a:lnTo>
                    <a:lnTo>
                      <a:pt x="637" y="383"/>
                    </a:lnTo>
                    <a:lnTo>
                      <a:pt x="637" y="383"/>
                    </a:lnTo>
                    <a:close/>
                    <a:moveTo>
                      <a:pt x="829" y="383"/>
                    </a:moveTo>
                    <a:lnTo>
                      <a:pt x="829" y="383"/>
                    </a:lnTo>
                    <a:lnTo>
                      <a:pt x="821" y="376"/>
                    </a:lnTo>
                    <a:lnTo>
                      <a:pt x="812" y="372"/>
                    </a:lnTo>
                    <a:lnTo>
                      <a:pt x="803" y="368"/>
                    </a:lnTo>
                    <a:lnTo>
                      <a:pt x="792" y="367"/>
                    </a:lnTo>
                    <a:lnTo>
                      <a:pt x="792" y="367"/>
                    </a:lnTo>
                    <a:lnTo>
                      <a:pt x="782" y="368"/>
                    </a:lnTo>
                    <a:lnTo>
                      <a:pt x="772" y="372"/>
                    </a:lnTo>
                    <a:lnTo>
                      <a:pt x="764" y="376"/>
                    </a:lnTo>
                    <a:lnTo>
                      <a:pt x="756" y="383"/>
                    </a:lnTo>
                    <a:lnTo>
                      <a:pt x="756" y="383"/>
                    </a:lnTo>
                    <a:lnTo>
                      <a:pt x="750" y="389"/>
                    </a:lnTo>
                    <a:lnTo>
                      <a:pt x="745" y="398"/>
                    </a:lnTo>
                    <a:lnTo>
                      <a:pt x="742" y="408"/>
                    </a:lnTo>
                    <a:lnTo>
                      <a:pt x="741" y="418"/>
                    </a:lnTo>
                    <a:lnTo>
                      <a:pt x="741" y="418"/>
                    </a:lnTo>
                    <a:lnTo>
                      <a:pt x="742" y="428"/>
                    </a:lnTo>
                    <a:lnTo>
                      <a:pt x="745" y="438"/>
                    </a:lnTo>
                    <a:lnTo>
                      <a:pt x="750" y="447"/>
                    </a:lnTo>
                    <a:lnTo>
                      <a:pt x="756" y="455"/>
                    </a:lnTo>
                    <a:lnTo>
                      <a:pt x="756" y="455"/>
                    </a:lnTo>
                    <a:lnTo>
                      <a:pt x="764" y="461"/>
                    </a:lnTo>
                    <a:lnTo>
                      <a:pt x="772" y="466"/>
                    </a:lnTo>
                    <a:lnTo>
                      <a:pt x="782" y="468"/>
                    </a:lnTo>
                    <a:lnTo>
                      <a:pt x="792" y="469"/>
                    </a:lnTo>
                    <a:lnTo>
                      <a:pt x="792" y="469"/>
                    </a:lnTo>
                    <a:lnTo>
                      <a:pt x="803" y="468"/>
                    </a:lnTo>
                    <a:lnTo>
                      <a:pt x="812" y="466"/>
                    </a:lnTo>
                    <a:lnTo>
                      <a:pt x="821" y="461"/>
                    </a:lnTo>
                    <a:lnTo>
                      <a:pt x="829" y="455"/>
                    </a:lnTo>
                    <a:lnTo>
                      <a:pt x="829" y="455"/>
                    </a:lnTo>
                    <a:lnTo>
                      <a:pt x="835" y="447"/>
                    </a:lnTo>
                    <a:lnTo>
                      <a:pt x="840" y="438"/>
                    </a:lnTo>
                    <a:lnTo>
                      <a:pt x="843" y="428"/>
                    </a:lnTo>
                    <a:lnTo>
                      <a:pt x="843" y="418"/>
                    </a:lnTo>
                    <a:lnTo>
                      <a:pt x="843" y="418"/>
                    </a:lnTo>
                    <a:lnTo>
                      <a:pt x="843" y="408"/>
                    </a:lnTo>
                    <a:lnTo>
                      <a:pt x="840" y="398"/>
                    </a:lnTo>
                    <a:lnTo>
                      <a:pt x="835" y="389"/>
                    </a:lnTo>
                    <a:lnTo>
                      <a:pt x="829" y="383"/>
                    </a:lnTo>
                    <a:lnTo>
                      <a:pt x="829" y="383"/>
                    </a:lnTo>
                    <a:close/>
                    <a:moveTo>
                      <a:pt x="217" y="250"/>
                    </a:moveTo>
                    <a:lnTo>
                      <a:pt x="217" y="141"/>
                    </a:lnTo>
                    <a:lnTo>
                      <a:pt x="155" y="142"/>
                    </a:lnTo>
                    <a:lnTo>
                      <a:pt x="87" y="247"/>
                    </a:lnTo>
                    <a:lnTo>
                      <a:pt x="87" y="250"/>
                    </a:lnTo>
                    <a:lnTo>
                      <a:pt x="217" y="250"/>
                    </a:lnTo>
                    <a:lnTo>
                      <a:pt x="217" y="250"/>
                    </a:lnTo>
                    <a:close/>
                    <a:moveTo>
                      <a:pt x="235" y="140"/>
                    </a:moveTo>
                    <a:lnTo>
                      <a:pt x="235" y="250"/>
                    </a:lnTo>
                    <a:lnTo>
                      <a:pt x="277" y="250"/>
                    </a:lnTo>
                    <a:lnTo>
                      <a:pt x="277" y="140"/>
                    </a:lnTo>
                    <a:lnTo>
                      <a:pt x="235" y="140"/>
                    </a:lnTo>
                    <a:lnTo>
                      <a:pt x="235" y="140"/>
                    </a:lnTo>
                    <a:close/>
                    <a:moveTo>
                      <a:pt x="409" y="0"/>
                    </a:moveTo>
                    <a:lnTo>
                      <a:pt x="665" y="0"/>
                    </a:lnTo>
                    <a:lnTo>
                      <a:pt x="665" y="254"/>
                    </a:lnTo>
                    <a:lnTo>
                      <a:pt x="688" y="254"/>
                    </a:lnTo>
                    <a:lnTo>
                      <a:pt x="688" y="204"/>
                    </a:lnTo>
                    <a:lnTo>
                      <a:pt x="753" y="204"/>
                    </a:lnTo>
                    <a:lnTo>
                      <a:pt x="753" y="254"/>
                    </a:lnTo>
                    <a:lnTo>
                      <a:pt x="776" y="254"/>
                    </a:lnTo>
                    <a:lnTo>
                      <a:pt x="776" y="0"/>
                    </a:lnTo>
                    <a:lnTo>
                      <a:pt x="839" y="0"/>
                    </a:lnTo>
                    <a:lnTo>
                      <a:pt x="839" y="0"/>
                    </a:lnTo>
                    <a:lnTo>
                      <a:pt x="847" y="19"/>
                    </a:lnTo>
                    <a:lnTo>
                      <a:pt x="855" y="36"/>
                    </a:lnTo>
                    <a:lnTo>
                      <a:pt x="862" y="55"/>
                    </a:lnTo>
                    <a:lnTo>
                      <a:pt x="867" y="74"/>
                    </a:lnTo>
                    <a:lnTo>
                      <a:pt x="872" y="92"/>
                    </a:lnTo>
                    <a:lnTo>
                      <a:pt x="874" y="111"/>
                    </a:lnTo>
                    <a:lnTo>
                      <a:pt x="875" y="130"/>
                    </a:lnTo>
                    <a:lnTo>
                      <a:pt x="876" y="149"/>
                    </a:lnTo>
                    <a:lnTo>
                      <a:pt x="875" y="166"/>
                    </a:lnTo>
                    <a:lnTo>
                      <a:pt x="873" y="185"/>
                    </a:lnTo>
                    <a:lnTo>
                      <a:pt x="870" y="204"/>
                    </a:lnTo>
                    <a:lnTo>
                      <a:pt x="865" y="223"/>
                    </a:lnTo>
                    <a:lnTo>
                      <a:pt x="860" y="242"/>
                    </a:lnTo>
                    <a:lnTo>
                      <a:pt x="854" y="261"/>
                    </a:lnTo>
                    <a:lnTo>
                      <a:pt x="846" y="280"/>
                    </a:lnTo>
                    <a:lnTo>
                      <a:pt x="839" y="298"/>
                    </a:lnTo>
                    <a:lnTo>
                      <a:pt x="801" y="298"/>
                    </a:lnTo>
                    <a:lnTo>
                      <a:pt x="792" y="298"/>
                    </a:lnTo>
                    <a:lnTo>
                      <a:pt x="430" y="298"/>
                    </a:lnTo>
                    <a:lnTo>
                      <a:pt x="419" y="298"/>
                    </a:lnTo>
                    <a:lnTo>
                      <a:pt x="409" y="298"/>
                    </a:lnTo>
                    <a:lnTo>
                      <a:pt x="409" y="298"/>
                    </a:lnTo>
                    <a:lnTo>
                      <a:pt x="396" y="261"/>
                    </a:lnTo>
                    <a:lnTo>
                      <a:pt x="391" y="242"/>
                    </a:lnTo>
                    <a:lnTo>
                      <a:pt x="387" y="224"/>
                    </a:lnTo>
                    <a:lnTo>
                      <a:pt x="382" y="205"/>
                    </a:lnTo>
                    <a:lnTo>
                      <a:pt x="380" y="186"/>
                    </a:lnTo>
                    <a:lnTo>
                      <a:pt x="378" y="167"/>
                    </a:lnTo>
                    <a:lnTo>
                      <a:pt x="377" y="149"/>
                    </a:lnTo>
                    <a:lnTo>
                      <a:pt x="377" y="131"/>
                    </a:lnTo>
                    <a:lnTo>
                      <a:pt x="378" y="112"/>
                    </a:lnTo>
                    <a:lnTo>
                      <a:pt x="380" y="93"/>
                    </a:lnTo>
                    <a:lnTo>
                      <a:pt x="383" y="74"/>
                    </a:lnTo>
                    <a:lnTo>
                      <a:pt x="388" y="55"/>
                    </a:lnTo>
                    <a:lnTo>
                      <a:pt x="393" y="38"/>
                    </a:lnTo>
                    <a:lnTo>
                      <a:pt x="400" y="19"/>
                    </a:lnTo>
                    <a:lnTo>
                      <a:pt x="409" y="0"/>
                    </a:lnTo>
                    <a:lnTo>
                      <a:pt x="409" y="0"/>
                    </a:lnTo>
                    <a:close/>
                    <a:moveTo>
                      <a:pt x="688" y="0"/>
                    </a:moveTo>
                    <a:lnTo>
                      <a:pt x="688" y="39"/>
                    </a:lnTo>
                    <a:lnTo>
                      <a:pt x="753" y="39"/>
                    </a:lnTo>
                    <a:lnTo>
                      <a:pt x="753" y="0"/>
                    </a:lnTo>
                    <a:lnTo>
                      <a:pt x="688" y="0"/>
                    </a:lnTo>
                    <a:lnTo>
                      <a:pt x="688" y="0"/>
                    </a:lnTo>
                    <a:close/>
                    <a:moveTo>
                      <a:pt x="753" y="181"/>
                    </a:moveTo>
                    <a:lnTo>
                      <a:pt x="753" y="131"/>
                    </a:lnTo>
                    <a:lnTo>
                      <a:pt x="688" y="131"/>
                    </a:lnTo>
                    <a:lnTo>
                      <a:pt x="688" y="181"/>
                    </a:lnTo>
                    <a:lnTo>
                      <a:pt x="753" y="1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F066B504-456A-4AD3-A7D2-E940E4E5F145}"/>
                </a:ext>
              </a:extLst>
            </p:cNvPr>
            <p:cNvGrpSpPr/>
            <p:nvPr/>
          </p:nvGrpSpPr>
          <p:grpSpPr>
            <a:xfrm>
              <a:off x="6201404" y="4473099"/>
              <a:ext cx="164789" cy="161633"/>
              <a:chOff x="10854356" y="2762403"/>
              <a:chExt cx="157159" cy="128810"/>
            </a:xfrm>
          </p:grpSpPr>
          <p:sp>
            <p:nvSpPr>
              <p:cNvPr id="290" name="Oval 289">
                <a:extLst>
                  <a:ext uri="{FF2B5EF4-FFF2-40B4-BE49-F238E27FC236}">
                    <a16:creationId xmlns:a16="http://schemas.microsoft.com/office/drawing/2014/main" id="{08F95724-97AD-4C34-81A9-2009A524B8AF}"/>
                  </a:ext>
                </a:extLst>
              </p:cNvPr>
              <p:cNvSpPr/>
              <p:nvPr/>
            </p:nvSpPr>
            <p:spPr bwMode="ltGray">
              <a:xfrm>
                <a:off x="10854356" y="2762403"/>
                <a:ext cx="157159" cy="128810"/>
              </a:xfrm>
              <a:prstGeom prst="ellipse">
                <a:avLst/>
              </a:prstGeom>
              <a:solidFill>
                <a:srgbClr val="DC6900"/>
              </a:solidFill>
              <a:ln w="3175">
                <a:solidFill>
                  <a:srgbClr val="DC69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91" name="Freeform 135">
                <a:extLst>
                  <a:ext uri="{FF2B5EF4-FFF2-40B4-BE49-F238E27FC236}">
                    <a16:creationId xmlns:a16="http://schemas.microsoft.com/office/drawing/2014/main" id="{9DE2BFAB-4665-4C50-A8CB-ABB9B90004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4664" y="2796043"/>
                <a:ext cx="120109" cy="56396"/>
              </a:xfrm>
              <a:custGeom>
                <a:avLst/>
                <a:gdLst>
                  <a:gd name="T0" fmla="*/ 753 w 885"/>
                  <a:gd name="T1" fmla="*/ 108 h 509"/>
                  <a:gd name="T2" fmla="*/ 847 w 885"/>
                  <a:gd name="T3" fmla="*/ 346 h 509"/>
                  <a:gd name="T4" fmla="*/ 872 w 885"/>
                  <a:gd name="T5" fmla="*/ 463 h 509"/>
                  <a:gd name="T6" fmla="*/ 835 w 885"/>
                  <a:gd name="T7" fmla="*/ 498 h 509"/>
                  <a:gd name="T8" fmla="*/ 792 w 885"/>
                  <a:gd name="T9" fmla="*/ 509 h 509"/>
                  <a:gd name="T10" fmla="*/ 742 w 885"/>
                  <a:gd name="T11" fmla="*/ 494 h 509"/>
                  <a:gd name="T12" fmla="*/ 708 w 885"/>
                  <a:gd name="T13" fmla="*/ 451 h 509"/>
                  <a:gd name="T14" fmla="*/ 673 w 885"/>
                  <a:gd name="T15" fmla="*/ 473 h 509"/>
                  <a:gd name="T16" fmla="*/ 637 w 885"/>
                  <a:gd name="T17" fmla="*/ 503 h 509"/>
                  <a:gd name="T18" fmla="*/ 591 w 885"/>
                  <a:gd name="T19" fmla="*/ 509 h 509"/>
                  <a:gd name="T20" fmla="*/ 543 w 885"/>
                  <a:gd name="T21" fmla="*/ 488 h 509"/>
                  <a:gd name="T22" fmla="*/ 512 w 885"/>
                  <a:gd name="T23" fmla="*/ 438 h 509"/>
                  <a:gd name="T24" fmla="*/ 262 w 885"/>
                  <a:gd name="T25" fmla="*/ 449 h 509"/>
                  <a:gd name="T26" fmla="*/ 229 w 885"/>
                  <a:gd name="T27" fmla="*/ 492 h 509"/>
                  <a:gd name="T28" fmla="*/ 178 w 885"/>
                  <a:gd name="T29" fmla="*/ 507 h 509"/>
                  <a:gd name="T30" fmla="*/ 135 w 885"/>
                  <a:gd name="T31" fmla="*/ 496 h 509"/>
                  <a:gd name="T32" fmla="*/ 99 w 885"/>
                  <a:gd name="T33" fmla="*/ 461 h 509"/>
                  <a:gd name="T34" fmla="*/ 0 w 885"/>
                  <a:gd name="T35" fmla="*/ 438 h 509"/>
                  <a:gd name="T36" fmla="*/ 114 w 885"/>
                  <a:gd name="T37" fmla="*/ 96 h 509"/>
                  <a:gd name="T38" fmla="*/ 430 w 885"/>
                  <a:gd name="T39" fmla="*/ 346 h 509"/>
                  <a:gd name="T40" fmla="*/ 207 w 885"/>
                  <a:gd name="T41" fmla="*/ 373 h 509"/>
                  <a:gd name="T42" fmla="*/ 158 w 885"/>
                  <a:gd name="T43" fmla="*/ 368 h 509"/>
                  <a:gd name="T44" fmla="*/ 128 w 885"/>
                  <a:gd name="T45" fmla="*/ 405 h 509"/>
                  <a:gd name="T46" fmla="*/ 143 w 885"/>
                  <a:gd name="T47" fmla="*/ 452 h 509"/>
                  <a:gd name="T48" fmla="*/ 178 w 885"/>
                  <a:gd name="T49" fmla="*/ 467 h 509"/>
                  <a:gd name="T50" fmla="*/ 221 w 885"/>
                  <a:gd name="T51" fmla="*/ 444 h 509"/>
                  <a:gd name="T52" fmla="*/ 226 w 885"/>
                  <a:gd name="T53" fmla="*/ 396 h 509"/>
                  <a:gd name="T54" fmla="*/ 630 w 885"/>
                  <a:gd name="T55" fmla="*/ 376 h 509"/>
                  <a:gd name="T56" fmla="*/ 581 w 885"/>
                  <a:gd name="T57" fmla="*/ 372 h 509"/>
                  <a:gd name="T58" fmla="*/ 551 w 885"/>
                  <a:gd name="T59" fmla="*/ 408 h 509"/>
                  <a:gd name="T60" fmla="*/ 564 w 885"/>
                  <a:gd name="T61" fmla="*/ 455 h 509"/>
                  <a:gd name="T62" fmla="*/ 601 w 885"/>
                  <a:gd name="T63" fmla="*/ 469 h 509"/>
                  <a:gd name="T64" fmla="*/ 643 w 885"/>
                  <a:gd name="T65" fmla="*/ 447 h 509"/>
                  <a:gd name="T66" fmla="*/ 648 w 885"/>
                  <a:gd name="T67" fmla="*/ 398 h 509"/>
                  <a:gd name="T68" fmla="*/ 821 w 885"/>
                  <a:gd name="T69" fmla="*/ 376 h 509"/>
                  <a:gd name="T70" fmla="*/ 772 w 885"/>
                  <a:gd name="T71" fmla="*/ 372 h 509"/>
                  <a:gd name="T72" fmla="*/ 742 w 885"/>
                  <a:gd name="T73" fmla="*/ 408 h 509"/>
                  <a:gd name="T74" fmla="*/ 756 w 885"/>
                  <a:gd name="T75" fmla="*/ 455 h 509"/>
                  <a:gd name="T76" fmla="*/ 792 w 885"/>
                  <a:gd name="T77" fmla="*/ 469 h 509"/>
                  <a:gd name="T78" fmla="*/ 835 w 885"/>
                  <a:gd name="T79" fmla="*/ 447 h 509"/>
                  <a:gd name="T80" fmla="*/ 840 w 885"/>
                  <a:gd name="T81" fmla="*/ 398 h 509"/>
                  <a:gd name="T82" fmla="*/ 155 w 885"/>
                  <a:gd name="T83" fmla="*/ 142 h 509"/>
                  <a:gd name="T84" fmla="*/ 235 w 885"/>
                  <a:gd name="T85" fmla="*/ 250 h 509"/>
                  <a:gd name="T86" fmla="*/ 665 w 885"/>
                  <a:gd name="T87" fmla="*/ 0 h 509"/>
                  <a:gd name="T88" fmla="*/ 776 w 885"/>
                  <a:gd name="T89" fmla="*/ 254 h 509"/>
                  <a:gd name="T90" fmla="*/ 862 w 885"/>
                  <a:gd name="T91" fmla="*/ 55 h 509"/>
                  <a:gd name="T92" fmla="*/ 875 w 885"/>
                  <a:gd name="T93" fmla="*/ 166 h 509"/>
                  <a:gd name="T94" fmla="*/ 846 w 885"/>
                  <a:gd name="T95" fmla="*/ 280 h 509"/>
                  <a:gd name="T96" fmla="*/ 409 w 885"/>
                  <a:gd name="T97" fmla="*/ 298 h 509"/>
                  <a:gd name="T98" fmla="*/ 380 w 885"/>
                  <a:gd name="T99" fmla="*/ 186 h 509"/>
                  <a:gd name="T100" fmla="*/ 383 w 885"/>
                  <a:gd name="T101" fmla="*/ 74 h 509"/>
                  <a:gd name="T102" fmla="*/ 688 w 885"/>
                  <a:gd name="T103" fmla="*/ 0 h 509"/>
                  <a:gd name="T104" fmla="*/ 753 w 885"/>
                  <a:gd name="T105" fmla="*/ 1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509">
                    <a:moveTo>
                      <a:pt x="753" y="108"/>
                    </a:moveTo>
                    <a:lnTo>
                      <a:pt x="753" y="62"/>
                    </a:lnTo>
                    <a:lnTo>
                      <a:pt x="688" y="62"/>
                    </a:lnTo>
                    <a:lnTo>
                      <a:pt x="688" y="108"/>
                    </a:lnTo>
                    <a:lnTo>
                      <a:pt x="753" y="108"/>
                    </a:lnTo>
                    <a:lnTo>
                      <a:pt x="753" y="108"/>
                    </a:lnTo>
                    <a:close/>
                    <a:moveTo>
                      <a:pt x="801" y="328"/>
                    </a:moveTo>
                    <a:lnTo>
                      <a:pt x="801" y="328"/>
                    </a:lnTo>
                    <a:lnTo>
                      <a:pt x="814" y="331"/>
                    </a:lnTo>
                    <a:lnTo>
                      <a:pt x="825" y="334"/>
                    </a:lnTo>
                    <a:lnTo>
                      <a:pt x="836" y="340"/>
                    </a:lnTo>
                    <a:lnTo>
                      <a:pt x="847" y="346"/>
                    </a:lnTo>
                    <a:lnTo>
                      <a:pt x="885" y="346"/>
                    </a:lnTo>
                    <a:lnTo>
                      <a:pt x="885" y="438"/>
                    </a:lnTo>
                    <a:lnTo>
                      <a:pt x="881" y="438"/>
                    </a:lnTo>
                    <a:lnTo>
                      <a:pt x="881" y="438"/>
                    </a:lnTo>
                    <a:lnTo>
                      <a:pt x="877" y="451"/>
                    </a:lnTo>
                    <a:lnTo>
                      <a:pt x="872" y="463"/>
                    </a:lnTo>
                    <a:lnTo>
                      <a:pt x="865" y="473"/>
                    </a:lnTo>
                    <a:lnTo>
                      <a:pt x="856" y="483"/>
                    </a:lnTo>
                    <a:lnTo>
                      <a:pt x="856" y="483"/>
                    </a:lnTo>
                    <a:lnTo>
                      <a:pt x="850" y="488"/>
                    </a:lnTo>
                    <a:lnTo>
                      <a:pt x="843" y="494"/>
                    </a:lnTo>
                    <a:lnTo>
                      <a:pt x="835" y="498"/>
                    </a:lnTo>
                    <a:lnTo>
                      <a:pt x="827" y="503"/>
                    </a:lnTo>
                    <a:lnTo>
                      <a:pt x="820" y="505"/>
                    </a:lnTo>
                    <a:lnTo>
                      <a:pt x="811" y="507"/>
                    </a:lnTo>
                    <a:lnTo>
                      <a:pt x="802" y="509"/>
                    </a:lnTo>
                    <a:lnTo>
                      <a:pt x="792" y="509"/>
                    </a:lnTo>
                    <a:lnTo>
                      <a:pt x="792" y="509"/>
                    </a:lnTo>
                    <a:lnTo>
                      <a:pt x="783" y="509"/>
                    </a:lnTo>
                    <a:lnTo>
                      <a:pt x="774" y="507"/>
                    </a:lnTo>
                    <a:lnTo>
                      <a:pt x="765" y="505"/>
                    </a:lnTo>
                    <a:lnTo>
                      <a:pt x="756" y="503"/>
                    </a:lnTo>
                    <a:lnTo>
                      <a:pt x="749" y="498"/>
                    </a:lnTo>
                    <a:lnTo>
                      <a:pt x="742" y="494"/>
                    </a:lnTo>
                    <a:lnTo>
                      <a:pt x="734" y="488"/>
                    </a:lnTo>
                    <a:lnTo>
                      <a:pt x="728" y="483"/>
                    </a:lnTo>
                    <a:lnTo>
                      <a:pt x="728" y="483"/>
                    </a:lnTo>
                    <a:lnTo>
                      <a:pt x="720" y="473"/>
                    </a:lnTo>
                    <a:lnTo>
                      <a:pt x="713" y="463"/>
                    </a:lnTo>
                    <a:lnTo>
                      <a:pt x="708" y="451"/>
                    </a:lnTo>
                    <a:lnTo>
                      <a:pt x="703" y="438"/>
                    </a:lnTo>
                    <a:lnTo>
                      <a:pt x="690" y="438"/>
                    </a:lnTo>
                    <a:lnTo>
                      <a:pt x="690" y="438"/>
                    </a:lnTo>
                    <a:lnTo>
                      <a:pt x="685" y="451"/>
                    </a:lnTo>
                    <a:lnTo>
                      <a:pt x="681" y="463"/>
                    </a:lnTo>
                    <a:lnTo>
                      <a:pt x="673" y="473"/>
                    </a:lnTo>
                    <a:lnTo>
                      <a:pt x="665" y="483"/>
                    </a:lnTo>
                    <a:lnTo>
                      <a:pt x="665" y="483"/>
                    </a:lnTo>
                    <a:lnTo>
                      <a:pt x="659" y="488"/>
                    </a:lnTo>
                    <a:lnTo>
                      <a:pt x="652" y="494"/>
                    </a:lnTo>
                    <a:lnTo>
                      <a:pt x="644" y="498"/>
                    </a:lnTo>
                    <a:lnTo>
                      <a:pt x="637" y="503"/>
                    </a:lnTo>
                    <a:lnTo>
                      <a:pt x="628" y="505"/>
                    </a:lnTo>
                    <a:lnTo>
                      <a:pt x="619" y="507"/>
                    </a:lnTo>
                    <a:lnTo>
                      <a:pt x="610" y="509"/>
                    </a:lnTo>
                    <a:lnTo>
                      <a:pt x="601" y="509"/>
                    </a:lnTo>
                    <a:lnTo>
                      <a:pt x="601" y="509"/>
                    </a:lnTo>
                    <a:lnTo>
                      <a:pt x="591" y="509"/>
                    </a:lnTo>
                    <a:lnTo>
                      <a:pt x="582" y="507"/>
                    </a:lnTo>
                    <a:lnTo>
                      <a:pt x="573" y="505"/>
                    </a:lnTo>
                    <a:lnTo>
                      <a:pt x="566" y="503"/>
                    </a:lnTo>
                    <a:lnTo>
                      <a:pt x="558" y="498"/>
                    </a:lnTo>
                    <a:lnTo>
                      <a:pt x="550" y="494"/>
                    </a:lnTo>
                    <a:lnTo>
                      <a:pt x="543" y="488"/>
                    </a:lnTo>
                    <a:lnTo>
                      <a:pt x="537" y="483"/>
                    </a:lnTo>
                    <a:lnTo>
                      <a:pt x="537" y="483"/>
                    </a:lnTo>
                    <a:lnTo>
                      <a:pt x="528" y="473"/>
                    </a:lnTo>
                    <a:lnTo>
                      <a:pt x="521" y="463"/>
                    </a:lnTo>
                    <a:lnTo>
                      <a:pt x="516" y="451"/>
                    </a:lnTo>
                    <a:lnTo>
                      <a:pt x="512" y="438"/>
                    </a:lnTo>
                    <a:lnTo>
                      <a:pt x="336" y="438"/>
                    </a:lnTo>
                    <a:lnTo>
                      <a:pt x="306" y="438"/>
                    </a:lnTo>
                    <a:lnTo>
                      <a:pt x="301" y="438"/>
                    </a:lnTo>
                    <a:lnTo>
                      <a:pt x="267" y="438"/>
                    </a:lnTo>
                    <a:lnTo>
                      <a:pt x="267" y="438"/>
                    </a:lnTo>
                    <a:lnTo>
                      <a:pt x="262" y="449"/>
                    </a:lnTo>
                    <a:lnTo>
                      <a:pt x="258" y="461"/>
                    </a:lnTo>
                    <a:lnTo>
                      <a:pt x="250" y="471"/>
                    </a:lnTo>
                    <a:lnTo>
                      <a:pt x="242" y="480"/>
                    </a:lnTo>
                    <a:lnTo>
                      <a:pt x="242" y="480"/>
                    </a:lnTo>
                    <a:lnTo>
                      <a:pt x="236" y="486"/>
                    </a:lnTo>
                    <a:lnTo>
                      <a:pt x="229" y="492"/>
                    </a:lnTo>
                    <a:lnTo>
                      <a:pt x="221" y="496"/>
                    </a:lnTo>
                    <a:lnTo>
                      <a:pt x="214" y="499"/>
                    </a:lnTo>
                    <a:lnTo>
                      <a:pt x="206" y="503"/>
                    </a:lnTo>
                    <a:lnTo>
                      <a:pt x="197" y="505"/>
                    </a:lnTo>
                    <a:lnTo>
                      <a:pt x="188" y="506"/>
                    </a:lnTo>
                    <a:lnTo>
                      <a:pt x="178" y="507"/>
                    </a:lnTo>
                    <a:lnTo>
                      <a:pt x="178" y="507"/>
                    </a:lnTo>
                    <a:lnTo>
                      <a:pt x="169" y="506"/>
                    </a:lnTo>
                    <a:lnTo>
                      <a:pt x="160" y="505"/>
                    </a:lnTo>
                    <a:lnTo>
                      <a:pt x="151" y="503"/>
                    </a:lnTo>
                    <a:lnTo>
                      <a:pt x="144" y="499"/>
                    </a:lnTo>
                    <a:lnTo>
                      <a:pt x="135" y="496"/>
                    </a:lnTo>
                    <a:lnTo>
                      <a:pt x="128" y="492"/>
                    </a:lnTo>
                    <a:lnTo>
                      <a:pt x="120" y="486"/>
                    </a:lnTo>
                    <a:lnTo>
                      <a:pt x="114" y="480"/>
                    </a:lnTo>
                    <a:lnTo>
                      <a:pt x="114" y="480"/>
                    </a:lnTo>
                    <a:lnTo>
                      <a:pt x="106" y="471"/>
                    </a:lnTo>
                    <a:lnTo>
                      <a:pt x="99" y="461"/>
                    </a:lnTo>
                    <a:lnTo>
                      <a:pt x="94" y="449"/>
                    </a:lnTo>
                    <a:lnTo>
                      <a:pt x="90" y="438"/>
                    </a:lnTo>
                    <a:lnTo>
                      <a:pt x="84" y="438"/>
                    </a:lnTo>
                    <a:lnTo>
                      <a:pt x="57" y="438"/>
                    </a:lnTo>
                    <a:lnTo>
                      <a:pt x="27" y="438"/>
                    </a:lnTo>
                    <a:lnTo>
                      <a:pt x="0" y="438"/>
                    </a:lnTo>
                    <a:lnTo>
                      <a:pt x="0" y="357"/>
                    </a:lnTo>
                    <a:lnTo>
                      <a:pt x="27" y="357"/>
                    </a:lnTo>
                    <a:lnTo>
                      <a:pt x="27" y="238"/>
                    </a:lnTo>
                    <a:lnTo>
                      <a:pt x="27" y="230"/>
                    </a:lnTo>
                    <a:lnTo>
                      <a:pt x="32" y="222"/>
                    </a:lnTo>
                    <a:lnTo>
                      <a:pt x="114" y="96"/>
                    </a:lnTo>
                    <a:lnTo>
                      <a:pt x="121" y="83"/>
                    </a:lnTo>
                    <a:lnTo>
                      <a:pt x="121" y="83"/>
                    </a:lnTo>
                    <a:lnTo>
                      <a:pt x="336" y="80"/>
                    </a:lnTo>
                    <a:lnTo>
                      <a:pt x="336" y="110"/>
                    </a:lnTo>
                    <a:lnTo>
                      <a:pt x="336" y="346"/>
                    </a:lnTo>
                    <a:lnTo>
                      <a:pt x="430" y="346"/>
                    </a:lnTo>
                    <a:lnTo>
                      <a:pt x="430" y="328"/>
                    </a:lnTo>
                    <a:lnTo>
                      <a:pt x="801" y="328"/>
                    </a:lnTo>
                    <a:lnTo>
                      <a:pt x="801" y="328"/>
                    </a:lnTo>
                    <a:close/>
                    <a:moveTo>
                      <a:pt x="215" y="379"/>
                    </a:moveTo>
                    <a:lnTo>
                      <a:pt x="215" y="379"/>
                    </a:lnTo>
                    <a:lnTo>
                      <a:pt x="207" y="373"/>
                    </a:lnTo>
                    <a:lnTo>
                      <a:pt x="198" y="368"/>
                    </a:lnTo>
                    <a:lnTo>
                      <a:pt x="189" y="365"/>
                    </a:lnTo>
                    <a:lnTo>
                      <a:pt x="178" y="364"/>
                    </a:lnTo>
                    <a:lnTo>
                      <a:pt x="178" y="364"/>
                    </a:lnTo>
                    <a:lnTo>
                      <a:pt x="168" y="365"/>
                    </a:lnTo>
                    <a:lnTo>
                      <a:pt x="158" y="368"/>
                    </a:lnTo>
                    <a:lnTo>
                      <a:pt x="150" y="373"/>
                    </a:lnTo>
                    <a:lnTo>
                      <a:pt x="143" y="379"/>
                    </a:lnTo>
                    <a:lnTo>
                      <a:pt x="143" y="379"/>
                    </a:lnTo>
                    <a:lnTo>
                      <a:pt x="136" y="387"/>
                    </a:lnTo>
                    <a:lnTo>
                      <a:pt x="131" y="396"/>
                    </a:lnTo>
                    <a:lnTo>
                      <a:pt x="128" y="405"/>
                    </a:lnTo>
                    <a:lnTo>
                      <a:pt x="127" y="416"/>
                    </a:lnTo>
                    <a:lnTo>
                      <a:pt x="127" y="416"/>
                    </a:lnTo>
                    <a:lnTo>
                      <a:pt x="128" y="426"/>
                    </a:lnTo>
                    <a:lnTo>
                      <a:pt x="131" y="436"/>
                    </a:lnTo>
                    <a:lnTo>
                      <a:pt x="136" y="444"/>
                    </a:lnTo>
                    <a:lnTo>
                      <a:pt x="143" y="452"/>
                    </a:lnTo>
                    <a:lnTo>
                      <a:pt x="143" y="452"/>
                    </a:lnTo>
                    <a:lnTo>
                      <a:pt x="150" y="458"/>
                    </a:lnTo>
                    <a:lnTo>
                      <a:pt x="158" y="463"/>
                    </a:lnTo>
                    <a:lnTo>
                      <a:pt x="168" y="466"/>
                    </a:lnTo>
                    <a:lnTo>
                      <a:pt x="178" y="467"/>
                    </a:lnTo>
                    <a:lnTo>
                      <a:pt x="178" y="467"/>
                    </a:lnTo>
                    <a:lnTo>
                      <a:pt x="189" y="466"/>
                    </a:lnTo>
                    <a:lnTo>
                      <a:pt x="198" y="463"/>
                    </a:lnTo>
                    <a:lnTo>
                      <a:pt x="207" y="458"/>
                    </a:lnTo>
                    <a:lnTo>
                      <a:pt x="215" y="452"/>
                    </a:lnTo>
                    <a:lnTo>
                      <a:pt x="215" y="452"/>
                    </a:lnTo>
                    <a:lnTo>
                      <a:pt x="221" y="444"/>
                    </a:lnTo>
                    <a:lnTo>
                      <a:pt x="226" y="436"/>
                    </a:lnTo>
                    <a:lnTo>
                      <a:pt x="229" y="426"/>
                    </a:lnTo>
                    <a:lnTo>
                      <a:pt x="229" y="416"/>
                    </a:lnTo>
                    <a:lnTo>
                      <a:pt x="229" y="416"/>
                    </a:lnTo>
                    <a:lnTo>
                      <a:pt x="229" y="405"/>
                    </a:lnTo>
                    <a:lnTo>
                      <a:pt x="226" y="396"/>
                    </a:lnTo>
                    <a:lnTo>
                      <a:pt x="221" y="387"/>
                    </a:lnTo>
                    <a:lnTo>
                      <a:pt x="215" y="379"/>
                    </a:lnTo>
                    <a:lnTo>
                      <a:pt x="215" y="379"/>
                    </a:lnTo>
                    <a:close/>
                    <a:moveTo>
                      <a:pt x="637" y="383"/>
                    </a:moveTo>
                    <a:lnTo>
                      <a:pt x="637" y="383"/>
                    </a:lnTo>
                    <a:lnTo>
                      <a:pt x="630" y="376"/>
                    </a:lnTo>
                    <a:lnTo>
                      <a:pt x="621" y="372"/>
                    </a:lnTo>
                    <a:lnTo>
                      <a:pt x="611" y="368"/>
                    </a:lnTo>
                    <a:lnTo>
                      <a:pt x="601" y="367"/>
                    </a:lnTo>
                    <a:lnTo>
                      <a:pt x="601" y="367"/>
                    </a:lnTo>
                    <a:lnTo>
                      <a:pt x="590" y="368"/>
                    </a:lnTo>
                    <a:lnTo>
                      <a:pt x="581" y="372"/>
                    </a:lnTo>
                    <a:lnTo>
                      <a:pt x="572" y="376"/>
                    </a:lnTo>
                    <a:lnTo>
                      <a:pt x="564" y="383"/>
                    </a:lnTo>
                    <a:lnTo>
                      <a:pt x="564" y="383"/>
                    </a:lnTo>
                    <a:lnTo>
                      <a:pt x="558" y="389"/>
                    </a:lnTo>
                    <a:lnTo>
                      <a:pt x="553" y="398"/>
                    </a:lnTo>
                    <a:lnTo>
                      <a:pt x="551" y="408"/>
                    </a:lnTo>
                    <a:lnTo>
                      <a:pt x="550" y="418"/>
                    </a:lnTo>
                    <a:lnTo>
                      <a:pt x="550" y="418"/>
                    </a:lnTo>
                    <a:lnTo>
                      <a:pt x="551" y="428"/>
                    </a:lnTo>
                    <a:lnTo>
                      <a:pt x="553" y="438"/>
                    </a:lnTo>
                    <a:lnTo>
                      <a:pt x="558" y="447"/>
                    </a:lnTo>
                    <a:lnTo>
                      <a:pt x="564" y="455"/>
                    </a:lnTo>
                    <a:lnTo>
                      <a:pt x="564" y="455"/>
                    </a:lnTo>
                    <a:lnTo>
                      <a:pt x="572" y="461"/>
                    </a:lnTo>
                    <a:lnTo>
                      <a:pt x="581" y="466"/>
                    </a:lnTo>
                    <a:lnTo>
                      <a:pt x="590" y="468"/>
                    </a:lnTo>
                    <a:lnTo>
                      <a:pt x="601" y="469"/>
                    </a:lnTo>
                    <a:lnTo>
                      <a:pt x="601" y="469"/>
                    </a:lnTo>
                    <a:lnTo>
                      <a:pt x="611" y="468"/>
                    </a:lnTo>
                    <a:lnTo>
                      <a:pt x="621" y="466"/>
                    </a:lnTo>
                    <a:lnTo>
                      <a:pt x="630" y="461"/>
                    </a:lnTo>
                    <a:lnTo>
                      <a:pt x="637" y="455"/>
                    </a:lnTo>
                    <a:lnTo>
                      <a:pt x="637" y="455"/>
                    </a:lnTo>
                    <a:lnTo>
                      <a:pt x="643" y="447"/>
                    </a:lnTo>
                    <a:lnTo>
                      <a:pt x="648" y="438"/>
                    </a:lnTo>
                    <a:lnTo>
                      <a:pt x="651" y="428"/>
                    </a:lnTo>
                    <a:lnTo>
                      <a:pt x="652" y="418"/>
                    </a:lnTo>
                    <a:lnTo>
                      <a:pt x="652" y="418"/>
                    </a:lnTo>
                    <a:lnTo>
                      <a:pt x="651" y="408"/>
                    </a:lnTo>
                    <a:lnTo>
                      <a:pt x="648" y="398"/>
                    </a:lnTo>
                    <a:lnTo>
                      <a:pt x="643" y="389"/>
                    </a:lnTo>
                    <a:lnTo>
                      <a:pt x="637" y="383"/>
                    </a:lnTo>
                    <a:lnTo>
                      <a:pt x="637" y="383"/>
                    </a:lnTo>
                    <a:close/>
                    <a:moveTo>
                      <a:pt x="829" y="383"/>
                    </a:moveTo>
                    <a:lnTo>
                      <a:pt x="829" y="383"/>
                    </a:lnTo>
                    <a:lnTo>
                      <a:pt x="821" y="376"/>
                    </a:lnTo>
                    <a:lnTo>
                      <a:pt x="812" y="372"/>
                    </a:lnTo>
                    <a:lnTo>
                      <a:pt x="803" y="368"/>
                    </a:lnTo>
                    <a:lnTo>
                      <a:pt x="792" y="367"/>
                    </a:lnTo>
                    <a:lnTo>
                      <a:pt x="792" y="367"/>
                    </a:lnTo>
                    <a:lnTo>
                      <a:pt x="782" y="368"/>
                    </a:lnTo>
                    <a:lnTo>
                      <a:pt x="772" y="372"/>
                    </a:lnTo>
                    <a:lnTo>
                      <a:pt x="764" y="376"/>
                    </a:lnTo>
                    <a:lnTo>
                      <a:pt x="756" y="383"/>
                    </a:lnTo>
                    <a:lnTo>
                      <a:pt x="756" y="383"/>
                    </a:lnTo>
                    <a:lnTo>
                      <a:pt x="750" y="389"/>
                    </a:lnTo>
                    <a:lnTo>
                      <a:pt x="745" y="398"/>
                    </a:lnTo>
                    <a:lnTo>
                      <a:pt x="742" y="408"/>
                    </a:lnTo>
                    <a:lnTo>
                      <a:pt x="741" y="418"/>
                    </a:lnTo>
                    <a:lnTo>
                      <a:pt x="741" y="418"/>
                    </a:lnTo>
                    <a:lnTo>
                      <a:pt x="742" y="428"/>
                    </a:lnTo>
                    <a:lnTo>
                      <a:pt x="745" y="438"/>
                    </a:lnTo>
                    <a:lnTo>
                      <a:pt x="750" y="447"/>
                    </a:lnTo>
                    <a:lnTo>
                      <a:pt x="756" y="455"/>
                    </a:lnTo>
                    <a:lnTo>
                      <a:pt x="756" y="455"/>
                    </a:lnTo>
                    <a:lnTo>
                      <a:pt x="764" y="461"/>
                    </a:lnTo>
                    <a:lnTo>
                      <a:pt x="772" y="466"/>
                    </a:lnTo>
                    <a:lnTo>
                      <a:pt x="782" y="468"/>
                    </a:lnTo>
                    <a:lnTo>
                      <a:pt x="792" y="469"/>
                    </a:lnTo>
                    <a:lnTo>
                      <a:pt x="792" y="469"/>
                    </a:lnTo>
                    <a:lnTo>
                      <a:pt x="803" y="468"/>
                    </a:lnTo>
                    <a:lnTo>
                      <a:pt x="812" y="466"/>
                    </a:lnTo>
                    <a:lnTo>
                      <a:pt x="821" y="461"/>
                    </a:lnTo>
                    <a:lnTo>
                      <a:pt x="829" y="455"/>
                    </a:lnTo>
                    <a:lnTo>
                      <a:pt x="829" y="455"/>
                    </a:lnTo>
                    <a:lnTo>
                      <a:pt x="835" y="447"/>
                    </a:lnTo>
                    <a:lnTo>
                      <a:pt x="840" y="438"/>
                    </a:lnTo>
                    <a:lnTo>
                      <a:pt x="843" y="428"/>
                    </a:lnTo>
                    <a:lnTo>
                      <a:pt x="843" y="418"/>
                    </a:lnTo>
                    <a:lnTo>
                      <a:pt x="843" y="418"/>
                    </a:lnTo>
                    <a:lnTo>
                      <a:pt x="843" y="408"/>
                    </a:lnTo>
                    <a:lnTo>
                      <a:pt x="840" y="398"/>
                    </a:lnTo>
                    <a:lnTo>
                      <a:pt x="835" y="389"/>
                    </a:lnTo>
                    <a:lnTo>
                      <a:pt x="829" y="383"/>
                    </a:lnTo>
                    <a:lnTo>
                      <a:pt x="829" y="383"/>
                    </a:lnTo>
                    <a:close/>
                    <a:moveTo>
                      <a:pt x="217" y="250"/>
                    </a:moveTo>
                    <a:lnTo>
                      <a:pt x="217" y="141"/>
                    </a:lnTo>
                    <a:lnTo>
                      <a:pt x="155" y="142"/>
                    </a:lnTo>
                    <a:lnTo>
                      <a:pt x="87" y="247"/>
                    </a:lnTo>
                    <a:lnTo>
                      <a:pt x="87" y="250"/>
                    </a:lnTo>
                    <a:lnTo>
                      <a:pt x="217" y="250"/>
                    </a:lnTo>
                    <a:lnTo>
                      <a:pt x="217" y="250"/>
                    </a:lnTo>
                    <a:close/>
                    <a:moveTo>
                      <a:pt x="235" y="140"/>
                    </a:moveTo>
                    <a:lnTo>
                      <a:pt x="235" y="250"/>
                    </a:lnTo>
                    <a:lnTo>
                      <a:pt x="277" y="250"/>
                    </a:lnTo>
                    <a:lnTo>
                      <a:pt x="277" y="140"/>
                    </a:lnTo>
                    <a:lnTo>
                      <a:pt x="235" y="140"/>
                    </a:lnTo>
                    <a:lnTo>
                      <a:pt x="235" y="140"/>
                    </a:lnTo>
                    <a:close/>
                    <a:moveTo>
                      <a:pt x="409" y="0"/>
                    </a:moveTo>
                    <a:lnTo>
                      <a:pt x="665" y="0"/>
                    </a:lnTo>
                    <a:lnTo>
                      <a:pt x="665" y="254"/>
                    </a:lnTo>
                    <a:lnTo>
                      <a:pt x="688" y="254"/>
                    </a:lnTo>
                    <a:lnTo>
                      <a:pt x="688" y="204"/>
                    </a:lnTo>
                    <a:lnTo>
                      <a:pt x="753" y="204"/>
                    </a:lnTo>
                    <a:lnTo>
                      <a:pt x="753" y="254"/>
                    </a:lnTo>
                    <a:lnTo>
                      <a:pt x="776" y="254"/>
                    </a:lnTo>
                    <a:lnTo>
                      <a:pt x="776" y="0"/>
                    </a:lnTo>
                    <a:lnTo>
                      <a:pt x="839" y="0"/>
                    </a:lnTo>
                    <a:lnTo>
                      <a:pt x="839" y="0"/>
                    </a:lnTo>
                    <a:lnTo>
                      <a:pt x="847" y="19"/>
                    </a:lnTo>
                    <a:lnTo>
                      <a:pt x="855" y="36"/>
                    </a:lnTo>
                    <a:lnTo>
                      <a:pt x="862" y="55"/>
                    </a:lnTo>
                    <a:lnTo>
                      <a:pt x="867" y="74"/>
                    </a:lnTo>
                    <a:lnTo>
                      <a:pt x="872" y="92"/>
                    </a:lnTo>
                    <a:lnTo>
                      <a:pt x="874" y="111"/>
                    </a:lnTo>
                    <a:lnTo>
                      <a:pt x="875" y="130"/>
                    </a:lnTo>
                    <a:lnTo>
                      <a:pt x="876" y="149"/>
                    </a:lnTo>
                    <a:lnTo>
                      <a:pt x="875" y="166"/>
                    </a:lnTo>
                    <a:lnTo>
                      <a:pt x="873" y="185"/>
                    </a:lnTo>
                    <a:lnTo>
                      <a:pt x="870" y="204"/>
                    </a:lnTo>
                    <a:lnTo>
                      <a:pt x="865" y="223"/>
                    </a:lnTo>
                    <a:lnTo>
                      <a:pt x="860" y="242"/>
                    </a:lnTo>
                    <a:lnTo>
                      <a:pt x="854" y="261"/>
                    </a:lnTo>
                    <a:lnTo>
                      <a:pt x="846" y="280"/>
                    </a:lnTo>
                    <a:lnTo>
                      <a:pt x="839" y="298"/>
                    </a:lnTo>
                    <a:lnTo>
                      <a:pt x="801" y="298"/>
                    </a:lnTo>
                    <a:lnTo>
                      <a:pt x="792" y="298"/>
                    </a:lnTo>
                    <a:lnTo>
                      <a:pt x="430" y="298"/>
                    </a:lnTo>
                    <a:lnTo>
                      <a:pt x="419" y="298"/>
                    </a:lnTo>
                    <a:lnTo>
                      <a:pt x="409" y="298"/>
                    </a:lnTo>
                    <a:lnTo>
                      <a:pt x="409" y="298"/>
                    </a:lnTo>
                    <a:lnTo>
                      <a:pt x="396" y="261"/>
                    </a:lnTo>
                    <a:lnTo>
                      <a:pt x="391" y="242"/>
                    </a:lnTo>
                    <a:lnTo>
                      <a:pt x="387" y="224"/>
                    </a:lnTo>
                    <a:lnTo>
                      <a:pt x="382" y="205"/>
                    </a:lnTo>
                    <a:lnTo>
                      <a:pt x="380" y="186"/>
                    </a:lnTo>
                    <a:lnTo>
                      <a:pt x="378" y="167"/>
                    </a:lnTo>
                    <a:lnTo>
                      <a:pt x="377" y="149"/>
                    </a:lnTo>
                    <a:lnTo>
                      <a:pt x="377" y="131"/>
                    </a:lnTo>
                    <a:lnTo>
                      <a:pt x="378" y="112"/>
                    </a:lnTo>
                    <a:lnTo>
                      <a:pt x="380" y="93"/>
                    </a:lnTo>
                    <a:lnTo>
                      <a:pt x="383" y="74"/>
                    </a:lnTo>
                    <a:lnTo>
                      <a:pt x="388" y="55"/>
                    </a:lnTo>
                    <a:lnTo>
                      <a:pt x="393" y="38"/>
                    </a:lnTo>
                    <a:lnTo>
                      <a:pt x="400" y="19"/>
                    </a:lnTo>
                    <a:lnTo>
                      <a:pt x="409" y="0"/>
                    </a:lnTo>
                    <a:lnTo>
                      <a:pt x="409" y="0"/>
                    </a:lnTo>
                    <a:close/>
                    <a:moveTo>
                      <a:pt x="688" y="0"/>
                    </a:moveTo>
                    <a:lnTo>
                      <a:pt x="688" y="39"/>
                    </a:lnTo>
                    <a:lnTo>
                      <a:pt x="753" y="39"/>
                    </a:lnTo>
                    <a:lnTo>
                      <a:pt x="753" y="0"/>
                    </a:lnTo>
                    <a:lnTo>
                      <a:pt x="688" y="0"/>
                    </a:lnTo>
                    <a:lnTo>
                      <a:pt x="688" y="0"/>
                    </a:lnTo>
                    <a:close/>
                    <a:moveTo>
                      <a:pt x="753" y="181"/>
                    </a:moveTo>
                    <a:lnTo>
                      <a:pt x="753" y="131"/>
                    </a:lnTo>
                    <a:lnTo>
                      <a:pt x="688" y="131"/>
                    </a:lnTo>
                    <a:lnTo>
                      <a:pt x="688" y="181"/>
                    </a:lnTo>
                    <a:lnTo>
                      <a:pt x="753" y="1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42E88C4B-8007-4D02-A715-69381C2EDF2A}"/>
                </a:ext>
              </a:extLst>
            </p:cNvPr>
            <p:cNvGrpSpPr/>
            <p:nvPr/>
          </p:nvGrpSpPr>
          <p:grpSpPr>
            <a:xfrm>
              <a:off x="6532009" y="3076762"/>
              <a:ext cx="164789" cy="161633"/>
              <a:chOff x="10854344" y="2762403"/>
              <a:chExt cx="157159" cy="128810"/>
            </a:xfrm>
          </p:grpSpPr>
          <p:sp>
            <p:nvSpPr>
              <p:cNvPr id="288" name="Oval 287">
                <a:extLst>
                  <a:ext uri="{FF2B5EF4-FFF2-40B4-BE49-F238E27FC236}">
                    <a16:creationId xmlns:a16="http://schemas.microsoft.com/office/drawing/2014/main" id="{8E012697-3311-46DD-9EB2-EFC83426F23C}"/>
                  </a:ext>
                </a:extLst>
              </p:cNvPr>
              <p:cNvSpPr/>
              <p:nvPr/>
            </p:nvSpPr>
            <p:spPr bwMode="ltGray">
              <a:xfrm>
                <a:off x="10854344" y="2762403"/>
                <a:ext cx="157159" cy="128810"/>
              </a:xfrm>
              <a:prstGeom prst="ellipse">
                <a:avLst/>
              </a:prstGeom>
              <a:solidFill>
                <a:srgbClr val="DC6900"/>
              </a:solidFill>
              <a:ln w="3175">
                <a:solidFill>
                  <a:srgbClr val="DC69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89" name="Freeform 135">
                <a:extLst>
                  <a:ext uri="{FF2B5EF4-FFF2-40B4-BE49-F238E27FC236}">
                    <a16:creationId xmlns:a16="http://schemas.microsoft.com/office/drawing/2014/main" id="{812C76F2-6198-4D8B-9078-2845C1BB12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4664" y="2796043"/>
                <a:ext cx="120109" cy="56396"/>
              </a:xfrm>
              <a:custGeom>
                <a:avLst/>
                <a:gdLst>
                  <a:gd name="T0" fmla="*/ 753 w 885"/>
                  <a:gd name="T1" fmla="*/ 108 h 509"/>
                  <a:gd name="T2" fmla="*/ 847 w 885"/>
                  <a:gd name="T3" fmla="*/ 346 h 509"/>
                  <a:gd name="T4" fmla="*/ 872 w 885"/>
                  <a:gd name="T5" fmla="*/ 463 h 509"/>
                  <a:gd name="T6" fmla="*/ 835 w 885"/>
                  <a:gd name="T7" fmla="*/ 498 h 509"/>
                  <a:gd name="T8" fmla="*/ 792 w 885"/>
                  <a:gd name="T9" fmla="*/ 509 h 509"/>
                  <a:gd name="T10" fmla="*/ 742 w 885"/>
                  <a:gd name="T11" fmla="*/ 494 h 509"/>
                  <a:gd name="T12" fmla="*/ 708 w 885"/>
                  <a:gd name="T13" fmla="*/ 451 h 509"/>
                  <a:gd name="T14" fmla="*/ 673 w 885"/>
                  <a:gd name="T15" fmla="*/ 473 h 509"/>
                  <a:gd name="T16" fmla="*/ 637 w 885"/>
                  <a:gd name="T17" fmla="*/ 503 h 509"/>
                  <a:gd name="T18" fmla="*/ 591 w 885"/>
                  <a:gd name="T19" fmla="*/ 509 h 509"/>
                  <a:gd name="T20" fmla="*/ 543 w 885"/>
                  <a:gd name="T21" fmla="*/ 488 h 509"/>
                  <a:gd name="T22" fmla="*/ 512 w 885"/>
                  <a:gd name="T23" fmla="*/ 438 h 509"/>
                  <a:gd name="T24" fmla="*/ 262 w 885"/>
                  <a:gd name="T25" fmla="*/ 449 h 509"/>
                  <a:gd name="T26" fmla="*/ 229 w 885"/>
                  <a:gd name="T27" fmla="*/ 492 h 509"/>
                  <a:gd name="T28" fmla="*/ 178 w 885"/>
                  <a:gd name="T29" fmla="*/ 507 h 509"/>
                  <a:gd name="T30" fmla="*/ 135 w 885"/>
                  <a:gd name="T31" fmla="*/ 496 h 509"/>
                  <a:gd name="T32" fmla="*/ 99 w 885"/>
                  <a:gd name="T33" fmla="*/ 461 h 509"/>
                  <a:gd name="T34" fmla="*/ 0 w 885"/>
                  <a:gd name="T35" fmla="*/ 438 h 509"/>
                  <a:gd name="T36" fmla="*/ 114 w 885"/>
                  <a:gd name="T37" fmla="*/ 96 h 509"/>
                  <a:gd name="T38" fmla="*/ 430 w 885"/>
                  <a:gd name="T39" fmla="*/ 346 h 509"/>
                  <a:gd name="T40" fmla="*/ 207 w 885"/>
                  <a:gd name="T41" fmla="*/ 373 h 509"/>
                  <a:gd name="T42" fmla="*/ 158 w 885"/>
                  <a:gd name="T43" fmla="*/ 368 h 509"/>
                  <a:gd name="T44" fmla="*/ 128 w 885"/>
                  <a:gd name="T45" fmla="*/ 405 h 509"/>
                  <a:gd name="T46" fmla="*/ 143 w 885"/>
                  <a:gd name="T47" fmla="*/ 452 h 509"/>
                  <a:gd name="T48" fmla="*/ 178 w 885"/>
                  <a:gd name="T49" fmla="*/ 467 h 509"/>
                  <a:gd name="T50" fmla="*/ 221 w 885"/>
                  <a:gd name="T51" fmla="*/ 444 h 509"/>
                  <a:gd name="T52" fmla="*/ 226 w 885"/>
                  <a:gd name="T53" fmla="*/ 396 h 509"/>
                  <a:gd name="T54" fmla="*/ 630 w 885"/>
                  <a:gd name="T55" fmla="*/ 376 h 509"/>
                  <a:gd name="T56" fmla="*/ 581 w 885"/>
                  <a:gd name="T57" fmla="*/ 372 h 509"/>
                  <a:gd name="T58" fmla="*/ 551 w 885"/>
                  <a:gd name="T59" fmla="*/ 408 h 509"/>
                  <a:gd name="T60" fmla="*/ 564 w 885"/>
                  <a:gd name="T61" fmla="*/ 455 h 509"/>
                  <a:gd name="T62" fmla="*/ 601 w 885"/>
                  <a:gd name="T63" fmla="*/ 469 h 509"/>
                  <a:gd name="T64" fmla="*/ 643 w 885"/>
                  <a:gd name="T65" fmla="*/ 447 h 509"/>
                  <a:gd name="T66" fmla="*/ 648 w 885"/>
                  <a:gd name="T67" fmla="*/ 398 h 509"/>
                  <a:gd name="T68" fmla="*/ 821 w 885"/>
                  <a:gd name="T69" fmla="*/ 376 h 509"/>
                  <a:gd name="T70" fmla="*/ 772 w 885"/>
                  <a:gd name="T71" fmla="*/ 372 h 509"/>
                  <a:gd name="T72" fmla="*/ 742 w 885"/>
                  <a:gd name="T73" fmla="*/ 408 h 509"/>
                  <a:gd name="T74" fmla="*/ 756 w 885"/>
                  <a:gd name="T75" fmla="*/ 455 h 509"/>
                  <a:gd name="T76" fmla="*/ 792 w 885"/>
                  <a:gd name="T77" fmla="*/ 469 h 509"/>
                  <a:gd name="T78" fmla="*/ 835 w 885"/>
                  <a:gd name="T79" fmla="*/ 447 h 509"/>
                  <a:gd name="T80" fmla="*/ 840 w 885"/>
                  <a:gd name="T81" fmla="*/ 398 h 509"/>
                  <a:gd name="T82" fmla="*/ 155 w 885"/>
                  <a:gd name="T83" fmla="*/ 142 h 509"/>
                  <a:gd name="T84" fmla="*/ 235 w 885"/>
                  <a:gd name="T85" fmla="*/ 250 h 509"/>
                  <a:gd name="T86" fmla="*/ 665 w 885"/>
                  <a:gd name="T87" fmla="*/ 0 h 509"/>
                  <a:gd name="T88" fmla="*/ 776 w 885"/>
                  <a:gd name="T89" fmla="*/ 254 h 509"/>
                  <a:gd name="T90" fmla="*/ 862 w 885"/>
                  <a:gd name="T91" fmla="*/ 55 h 509"/>
                  <a:gd name="T92" fmla="*/ 875 w 885"/>
                  <a:gd name="T93" fmla="*/ 166 h 509"/>
                  <a:gd name="T94" fmla="*/ 846 w 885"/>
                  <a:gd name="T95" fmla="*/ 280 h 509"/>
                  <a:gd name="T96" fmla="*/ 409 w 885"/>
                  <a:gd name="T97" fmla="*/ 298 h 509"/>
                  <a:gd name="T98" fmla="*/ 380 w 885"/>
                  <a:gd name="T99" fmla="*/ 186 h 509"/>
                  <a:gd name="T100" fmla="*/ 383 w 885"/>
                  <a:gd name="T101" fmla="*/ 74 h 509"/>
                  <a:gd name="T102" fmla="*/ 688 w 885"/>
                  <a:gd name="T103" fmla="*/ 0 h 509"/>
                  <a:gd name="T104" fmla="*/ 753 w 885"/>
                  <a:gd name="T105" fmla="*/ 1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509">
                    <a:moveTo>
                      <a:pt x="753" y="108"/>
                    </a:moveTo>
                    <a:lnTo>
                      <a:pt x="753" y="62"/>
                    </a:lnTo>
                    <a:lnTo>
                      <a:pt x="688" y="62"/>
                    </a:lnTo>
                    <a:lnTo>
                      <a:pt x="688" y="108"/>
                    </a:lnTo>
                    <a:lnTo>
                      <a:pt x="753" y="108"/>
                    </a:lnTo>
                    <a:lnTo>
                      <a:pt x="753" y="108"/>
                    </a:lnTo>
                    <a:close/>
                    <a:moveTo>
                      <a:pt x="801" y="328"/>
                    </a:moveTo>
                    <a:lnTo>
                      <a:pt x="801" y="328"/>
                    </a:lnTo>
                    <a:lnTo>
                      <a:pt x="814" y="331"/>
                    </a:lnTo>
                    <a:lnTo>
                      <a:pt x="825" y="334"/>
                    </a:lnTo>
                    <a:lnTo>
                      <a:pt x="836" y="340"/>
                    </a:lnTo>
                    <a:lnTo>
                      <a:pt x="847" y="346"/>
                    </a:lnTo>
                    <a:lnTo>
                      <a:pt x="885" y="346"/>
                    </a:lnTo>
                    <a:lnTo>
                      <a:pt x="885" y="438"/>
                    </a:lnTo>
                    <a:lnTo>
                      <a:pt x="881" y="438"/>
                    </a:lnTo>
                    <a:lnTo>
                      <a:pt x="881" y="438"/>
                    </a:lnTo>
                    <a:lnTo>
                      <a:pt x="877" y="451"/>
                    </a:lnTo>
                    <a:lnTo>
                      <a:pt x="872" y="463"/>
                    </a:lnTo>
                    <a:lnTo>
                      <a:pt x="865" y="473"/>
                    </a:lnTo>
                    <a:lnTo>
                      <a:pt x="856" y="483"/>
                    </a:lnTo>
                    <a:lnTo>
                      <a:pt x="856" y="483"/>
                    </a:lnTo>
                    <a:lnTo>
                      <a:pt x="850" y="488"/>
                    </a:lnTo>
                    <a:lnTo>
                      <a:pt x="843" y="494"/>
                    </a:lnTo>
                    <a:lnTo>
                      <a:pt x="835" y="498"/>
                    </a:lnTo>
                    <a:lnTo>
                      <a:pt x="827" y="503"/>
                    </a:lnTo>
                    <a:lnTo>
                      <a:pt x="820" y="505"/>
                    </a:lnTo>
                    <a:lnTo>
                      <a:pt x="811" y="507"/>
                    </a:lnTo>
                    <a:lnTo>
                      <a:pt x="802" y="509"/>
                    </a:lnTo>
                    <a:lnTo>
                      <a:pt x="792" y="509"/>
                    </a:lnTo>
                    <a:lnTo>
                      <a:pt x="792" y="509"/>
                    </a:lnTo>
                    <a:lnTo>
                      <a:pt x="783" y="509"/>
                    </a:lnTo>
                    <a:lnTo>
                      <a:pt x="774" y="507"/>
                    </a:lnTo>
                    <a:lnTo>
                      <a:pt x="765" y="505"/>
                    </a:lnTo>
                    <a:lnTo>
                      <a:pt x="756" y="503"/>
                    </a:lnTo>
                    <a:lnTo>
                      <a:pt x="749" y="498"/>
                    </a:lnTo>
                    <a:lnTo>
                      <a:pt x="742" y="494"/>
                    </a:lnTo>
                    <a:lnTo>
                      <a:pt x="734" y="488"/>
                    </a:lnTo>
                    <a:lnTo>
                      <a:pt x="728" y="483"/>
                    </a:lnTo>
                    <a:lnTo>
                      <a:pt x="728" y="483"/>
                    </a:lnTo>
                    <a:lnTo>
                      <a:pt x="720" y="473"/>
                    </a:lnTo>
                    <a:lnTo>
                      <a:pt x="713" y="463"/>
                    </a:lnTo>
                    <a:lnTo>
                      <a:pt x="708" y="451"/>
                    </a:lnTo>
                    <a:lnTo>
                      <a:pt x="703" y="438"/>
                    </a:lnTo>
                    <a:lnTo>
                      <a:pt x="690" y="438"/>
                    </a:lnTo>
                    <a:lnTo>
                      <a:pt x="690" y="438"/>
                    </a:lnTo>
                    <a:lnTo>
                      <a:pt x="685" y="451"/>
                    </a:lnTo>
                    <a:lnTo>
                      <a:pt x="681" y="463"/>
                    </a:lnTo>
                    <a:lnTo>
                      <a:pt x="673" y="473"/>
                    </a:lnTo>
                    <a:lnTo>
                      <a:pt x="665" y="483"/>
                    </a:lnTo>
                    <a:lnTo>
                      <a:pt x="665" y="483"/>
                    </a:lnTo>
                    <a:lnTo>
                      <a:pt x="659" y="488"/>
                    </a:lnTo>
                    <a:lnTo>
                      <a:pt x="652" y="494"/>
                    </a:lnTo>
                    <a:lnTo>
                      <a:pt x="644" y="498"/>
                    </a:lnTo>
                    <a:lnTo>
                      <a:pt x="637" y="503"/>
                    </a:lnTo>
                    <a:lnTo>
                      <a:pt x="628" y="505"/>
                    </a:lnTo>
                    <a:lnTo>
                      <a:pt x="619" y="507"/>
                    </a:lnTo>
                    <a:lnTo>
                      <a:pt x="610" y="509"/>
                    </a:lnTo>
                    <a:lnTo>
                      <a:pt x="601" y="509"/>
                    </a:lnTo>
                    <a:lnTo>
                      <a:pt x="601" y="509"/>
                    </a:lnTo>
                    <a:lnTo>
                      <a:pt x="591" y="509"/>
                    </a:lnTo>
                    <a:lnTo>
                      <a:pt x="582" y="507"/>
                    </a:lnTo>
                    <a:lnTo>
                      <a:pt x="573" y="505"/>
                    </a:lnTo>
                    <a:lnTo>
                      <a:pt x="566" y="503"/>
                    </a:lnTo>
                    <a:lnTo>
                      <a:pt x="558" y="498"/>
                    </a:lnTo>
                    <a:lnTo>
                      <a:pt x="550" y="494"/>
                    </a:lnTo>
                    <a:lnTo>
                      <a:pt x="543" y="488"/>
                    </a:lnTo>
                    <a:lnTo>
                      <a:pt x="537" y="483"/>
                    </a:lnTo>
                    <a:lnTo>
                      <a:pt x="537" y="483"/>
                    </a:lnTo>
                    <a:lnTo>
                      <a:pt x="528" y="473"/>
                    </a:lnTo>
                    <a:lnTo>
                      <a:pt x="521" y="463"/>
                    </a:lnTo>
                    <a:lnTo>
                      <a:pt x="516" y="451"/>
                    </a:lnTo>
                    <a:lnTo>
                      <a:pt x="512" y="438"/>
                    </a:lnTo>
                    <a:lnTo>
                      <a:pt x="336" y="438"/>
                    </a:lnTo>
                    <a:lnTo>
                      <a:pt x="306" y="438"/>
                    </a:lnTo>
                    <a:lnTo>
                      <a:pt x="301" y="438"/>
                    </a:lnTo>
                    <a:lnTo>
                      <a:pt x="267" y="438"/>
                    </a:lnTo>
                    <a:lnTo>
                      <a:pt x="267" y="438"/>
                    </a:lnTo>
                    <a:lnTo>
                      <a:pt x="262" y="449"/>
                    </a:lnTo>
                    <a:lnTo>
                      <a:pt x="258" y="461"/>
                    </a:lnTo>
                    <a:lnTo>
                      <a:pt x="250" y="471"/>
                    </a:lnTo>
                    <a:lnTo>
                      <a:pt x="242" y="480"/>
                    </a:lnTo>
                    <a:lnTo>
                      <a:pt x="242" y="480"/>
                    </a:lnTo>
                    <a:lnTo>
                      <a:pt x="236" y="486"/>
                    </a:lnTo>
                    <a:lnTo>
                      <a:pt x="229" y="492"/>
                    </a:lnTo>
                    <a:lnTo>
                      <a:pt x="221" y="496"/>
                    </a:lnTo>
                    <a:lnTo>
                      <a:pt x="214" y="499"/>
                    </a:lnTo>
                    <a:lnTo>
                      <a:pt x="206" y="503"/>
                    </a:lnTo>
                    <a:lnTo>
                      <a:pt x="197" y="505"/>
                    </a:lnTo>
                    <a:lnTo>
                      <a:pt x="188" y="506"/>
                    </a:lnTo>
                    <a:lnTo>
                      <a:pt x="178" y="507"/>
                    </a:lnTo>
                    <a:lnTo>
                      <a:pt x="178" y="507"/>
                    </a:lnTo>
                    <a:lnTo>
                      <a:pt x="169" y="506"/>
                    </a:lnTo>
                    <a:lnTo>
                      <a:pt x="160" y="505"/>
                    </a:lnTo>
                    <a:lnTo>
                      <a:pt x="151" y="503"/>
                    </a:lnTo>
                    <a:lnTo>
                      <a:pt x="144" y="499"/>
                    </a:lnTo>
                    <a:lnTo>
                      <a:pt x="135" y="496"/>
                    </a:lnTo>
                    <a:lnTo>
                      <a:pt x="128" y="492"/>
                    </a:lnTo>
                    <a:lnTo>
                      <a:pt x="120" y="486"/>
                    </a:lnTo>
                    <a:lnTo>
                      <a:pt x="114" y="480"/>
                    </a:lnTo>
                    <a:lnTo>
                      <a:pt x="114" y="480"/>
                    </a:lnTo>
                    <a:lnTo>
                      <a:pt x="106" y="471"/>
                    </a:lnTo>
                    <a:lnTo>
                      <a:pt x="99" y="461"/>
                    </a:lnTo>
                    <a:lnTo>
                      <a:pt x="94" y="449"/>
                    </a:lnTo>
                    <a:lnTo>
                      <a:pt x="90" y="438"/>
                    </a:lnTo>
                    <a:lnTo>
                      <a:pt x="84" y="438"/>
                    </a:lnTo>
                    <a:lnTo>
                      <a:pt x="57" y="438"/>
                    </a:lnTo>
                    <a:lnTo>
                      <a:pt x="27" y="438"/>
                    </a:lnTo>
                    <a:lnTo>
                      <a:pt x="0" y="438"/>
                    </a:lnTo>
                    <a:lnTo>
                      <a:pt x="0" y="357"/>
                    </a:lnTo>
                    <a:lnTo>
                      <a:pt x="27" y="357"/>
                    </a:lnTo>
                    <a:lnTo>
                      <a:pt x="27" y="238"/>
                    </a:lnTo>
                    <a:lnTo>
                      <a:pt x="27" y="230"/>
                    </a:lnTo>
                    <a:lnTo>
                      <a:pt x="32" y="222"/>
                    </a:lnTo>
                    <a:lnTo>
                      <a:pt x="114" y="96"/>
                    </a:lnTo>
                    <a:lnTo>
                      <a:pt x="121" y="83"/>
                    </a:lnTo>
                    <a:lnTo>
                      <a:pt x="121" y="83"/>
                    </a:lnTo>
                    <a:lnTo>
                      <a:pt x="336" y="80"/>
                    </a:lnTo>
                    <a:lnTo>
                      <a:pt x="336" y="110"/>
                    </a:lnTo>
                    <a:lnTo>
                      <a:pt x="336" y="346"/>
                    </a:lnTo>
                    <a:lnTo>
                      <a:pt x="430" y="346"/>
                    </a:lnTo>
                    <a:lnTo>
                      <a:pt x="430" y="328"/>
                    </a:lnTo>
                    <a:lnTo>
                      <a:pt x="801" y="328"/>
                    </a:lnTo>
                    <a:lnTo>
                      <a:pt x="801" y="328"/>
                    </a:lnTo>
                    <a:close/>
                    <a:moveTo>
                      <a:pt x="215" y="379"/>
                    </a:moveTo>
                    <a:lnTo>
                      <a:pt x="215" y="379"/>
                    </a:lnTo>
                    <a:lnTo>
                      <a:pt x="207" y="373"/>
                    </a:lnTo>
                    <a:lnTo>
                      <a:pt x="198" y="368"/>
                    </a:lnTo>
                    <a:lnTo>
                      <a:pt x="189" y="365"/>
                    </a:lnTo>
                    <a:lnTo>
                      <a:pt x="178" y="364"/>
                    </a:lnTo>
                    <a:lnTo>
                      <a:pt x="178" y="364"/>
                    </a:lnTo>
                    <a:lnTo>
                      <a:pt x="168" y="365"/>
                    </a:lnTo>
                    <a:lnTo>
                      <a:pt x="158" y="368"/>
                    </a:lnTo>
                    <a:lnTo>
                      <a:pt x="150" y="373"/>
                    </a:lnTo>
                    <a:lnTo>
                      <a:pt x="143" y="379"/>
                    </a:lnTo>
                    <a:lnTo>
                      <a:pt x="143" y="379"/>
                    </a:lnTo>
                    <a:lnTo>
                      <a:pt x="136" y="387"/>
                    </a:lnTo>
                    <a:lnTo>
                      <a:pt x="131" y="396"/>
                    </a:lnTo>
                    <a:lnTo>
                      <a:pt x="128" y="405"/>
                    </a:lnTo>
                    <a:lnTo>
                      <a:pt x="127" y="416"/>
                    </a:lnTo>
                    <a:lnTo>
                      <a:pt x="127" y="416"/>
                    </a:lnTo>
                    <a:lnTo>
                      <a:pt x="128" y="426"/>
                    </a:lnTo>
                    <a:lnTo>
                      <a:pt x="131" y="436"/>
                    </a:lnTo>
                    <a:lnTo>
                      <a:pt x="136" y="444"/>
                    </a:lnTo>
                    <a:lnTo>
                      <a:pt x="143" y="452"/>
                    </a:lnTo>
                    <a:lnTo>
                      <a:pt x="143" y="452"/>
                    </a:lnTo>
                    <a:lnTo>
                      <a:pt x="150" y="458"/>
                    </a:lnTo>
                    <a:lnTo>
                      <a:pt x="158" y="463"/>
                    </a:lnTo>
                    <a:lnTo>
                      <a:pt x="168" y="466"/>
                    </a:lnTo>
                    <a:lnTo>
                      <a:pt x="178" y="467"/>
                    </a:lnTo>
                    <a:lnTo>
                      <a:pt x="178" y="467"/>
                    </a:lnTo>
                    <a:lnTo>
                      <a:pt x="189" y="466"/>
                    </a:lnTo>
                    <a:lnTo>
                      <a:pt x="198" y="463"/>
                    </a:lnTo>
                    <a:lnTo>
                      <a:pt x="207" y="458"/>
                    </a:lnTo>
                    <a:lnTo>
                      <a:pt x="215" y="452"/>
                    </a:lnTo>
                    <a:lnTo>
                      <a:pt x="215" y="452"/>
                    </a:lnTo>
                    <a:lnTo>
                      <a:pt x="221" y="444"/>
                    </a:lnTo>
                    <a:lnTo>
                      <a:pt x="226" y="436"/>
                    </a:lnTo>
                    <a:lnTo>
                      <a:pt x="229" y="426"/>
                    </a:lnTo>
                    <a:lnTo>
                      <a:pt x="229" y="416"/>
                    </a:lnTo>
                    <a:lnTo>
                      <a:pt x="229" y="416"/>
                    </a:lnTo>
                    <a:lnTo>
                      <a:pt x="229" y="405"/>
                    </a:lnTo>
                    <a:lnTo>
                      <a:pt x="226" y="396"/>
                    </a:lnTo>
                    <a:lnTo>
                      <a:pt x="221" y="387"/>
                    </a:lnTo>
                    <a:lnTo>
                      <a:pt x="215" y="379"/>
                    </a:lnTo>
                    <a:lnTo>
                      <a:pt x="215" y="379"/>
                    </a:lnTo>
                    <a:close/>
                    <a:moveTo>
                      <a:pt x="637" y="383"/>
                    </a:moveTo>
                    <a:lnTo>
                      <a:pt x="637" y="383"/>
                    </a:lnTo>
                    <a:lnTo>
                      <a:pt x="630" y="376"/>
                    </a:lnTo>
                    <a:lnTo>
                      <a:pt x="621" y="372"/>
                    </a:lnTo>
                    <a:lnTo>
                      <a:pt x="611" y="368"/>
                    </a:lnTo>
                    <a:lnTo>
                      <a:pt x="601" y="367"/>
                    </a:lnTo>
                    <a:lnTo>
                      <a:pt x="601" y="367"/>
                    </a:lnTo>
                    <a:lnTo>
                      <a:pt x="590" y="368"/>
                    </a:lnTo>
                    <a:lnTo>
                      <a:pt x="581" y="372"/>
                    </a:lnTo>
                    <a:lnTo>
                      <a:pt x="572" y="376"/>
                    </a:lnTo>
                    <a:lnTo>
                      <a:pt x="564" y="383"/>
                    </a:lnTo>
                    <a:lnTo>
                      <a:pt x="564" y="383"/>
                    </a:lnTo>
                    <a:lnTo>
                      <a:pt x="558" y="389"/>
                    </a:lnTo>
                    <a:lnTo>
                      <a:pt x="553" y="398"/>
                    </a:lnTo>
                    <a:lnTo>
                      <a:pt x="551" y="408"/>
                    </a:lnTo>
                    <a:lnTo>
                      <a:pt x="550" y="418"/>
                    </a:lnTo>
                    <a:lnTo>
                      <a:pt x="550" y="418"/>
                    </a:lnTo>
                    <a:lnTo>
                      <a:pt x="551" y="428"/>
                    </a:lnTo>
                    <a:lnTo>
                      <a:pt x="553" y="438"/>
                    </a:lnTo>
                    <a:lnTo>
                      <a:pt x="558" y="447"/>
                    </a:lnTo>
                    <a:lnTo>
                      <a:pt x="564" y="455"/>
                    </a:lnTo>
                    <a:lnTo>
                      <a:pt x="564" y="455"/>
                    </a:lnTo>
                    <a:lnTo>
                      <a:pt x="572" y="461"/>
                    </a:lnTo>
                    <a:lnTo>
                      <a:pt x="581" y="466"/>
                    </a:lnTo>
                    <a:lnTo>
                      <a:pt x="590" y="468"/>
                    </a:lnTo>
                    <a:lnTo>
                      <a:pt x="601" y="469"/>
                    </a:lnTo>
                    <a:lnTo>
                      <a:pt x="601" y="469"/>
                    </a:lnTo>
                    <a:lnTo>
                      <a:pt x="611" y="468"/>
                    </a:lnTo>
                    <a:lnTo>
                      <a:pt x="621" y="466"/>
                    </a:lnTo>
                    <a:lnTo>
                      <a:pt x="630" y="461"/>
                    </a:lnTo>
                    <a:lnTo>
                      <a:pt x="637" y="455"/>
                    </a:lnTo>
                    <a:lnTo>
                      <a:pt x="637" y="455"/>
                    </a:lnTo>
                    <a:lnTo>
                      <a:pt x="643" y="447"/>
                    </a:lnTo>
                    <a:lnTo>
                      <a:pt x="648" y="438"/>
                    </a:lnTo>
                    <a:lnTo>
                      <a:pt x="651" y="428"/>
                    </a:lnTo>
                    <a:lnTo>
                      <a:pt x="652" y="418"/>
                    </a:lnTo>
                    <a:lnTo>
                      <a:pt x="652" y="418"/>
                    </a:lnTo>
                    <a:lnTo>
                      <a:pt x="651" y="408"/>
                    </a:lnTo>
                    <a:lnTo>
                      <a:pt x="648" y="398"/>
                    </a:lnTo>
                    <a:lnTo>
                      <a:pt x="643" y="389"/>
                    </a:lnTo>
                    <a:lnTo>
                      <a:pt x="637" y="383"/>
                    </a:lnTo>
                    <a:lnTo>
                      <a:pt x="637" y="383"/>
                    </a:lnTo>
                    <a:close/>
                    <a:moveTo>
                      <a:pt x="829" y="383"/>
                    </a:moveTo>
                    <a:lnTo>
                      <a:pt x="829" y="383"/>
                    </a:lnTo>
                    <a:lnTo>
                      <a:pt x="821" y="376"/>
                    </a:lnTo>
                    <a:lnTo>
                      <a:pt x="812" y="372"/>
                    </a:lnTo>
                    <a:lnTo>
                      <a:pt x="803" y="368"/>
                    </a:lnTo>
                    <a:lnTo>
                      <a:pt x="792" y="367"/>
                    </a:lnTo>
                    <a:lnTo>
                      <a:pt x="792" y="367"/>
                    </a:lnTo>
                    <a:lnTo>
                      <a:pt x="782" y="368"/>
                    </a:lnTo>
                    <a:lnTo>
                      <a:pt x="772" y="372"/>
                    </a:lnTo>
                    <a:lnTo>
                      <a:pt x="764" y="376"/>
                    </a:lnTo>
                    <a:lnTo>
                      <a:pt x="756" y="383"/>
                    </a:lnTo>
                    <a:lnTo>
                      <a:pt x="756" y="383"/>
                    </a:lnTo>
                    <a:lnTo>
                      <a:pt x="750" y="389"/>
                    </a:lnTo>
                    <a:lnTo>
                      <a:pt x="745" y="398"/>
                    </a:lnTo>
                    <a:lnTo>
                      <a:pt x="742" y="408"/>
                    </a:lnTo>
                    <a:lnTo>
                      <a:pt x="741" y="418"/>
                    </a:lnTo>
                    <a:lnTo>
                      <a:pt x="741" y="418"/>
                    </a:lnTo>
                    <a:lnTo>
                      <a:pt x="742" y="428"/>
                    </a:lnTo>
                    <a:lnTo>
                      <a:pt x="745" y="438"/>
                    </a:lnTo>
                    <a:lnTo>
                      <a:pt x="750" y="447"/>
                    </a:lnTo>
                    <a:lnTo>
                      <a:pt x="756" y="455"/>
                    </a:lnTo>
                    <a:lnTo>
                      <a:pt x="756" y="455"/>
                    </a:lnTo>
                    <a:lnTo>
                      <a:pt x="764" y="461"/>
                    </a:lnTo>
                    <a:lnTo>
                      <a:pt x="772" y="466"/>
                    </a:lnTo>
                    <a:lnTo>
                      <a:pt x="782" y="468"/>
                    </a:lnTo>
                    <a:lnTo>
                      <a:pt x="792" y="469"/>
                    </a:lnTo>
                    <a:lnTo>
                      <a:pt x="792" y="469"/>
                    </a:lnTo>
                    <a:lnTo>
                      <a:pt x="803" y="468"/>
                    </a:lnTo>
                    <a:lnTo>
                      <a:pt x="812" y="466"/>
                    </a:lnTo>
                    <a:lnTo>
                      <a:pt x="821" y="461"/>
                    </a:lnTo>
                    <a:lnTo>
                      <a:pt x="829" y="455"/>
                    </a:lnTo>
                    <a:lnTo>
                      <a:pt x="829" y="455"/>
                    </a:lnTo>
                    <a:lnTo>
                      <a:pt x="835" y="447"/>
                    </a:lnTo>
                    <a:lnTo>
                      <a:pt x="840" y="438"/>
                    </a:lnTo>
                    <a:lnTo>
                      <a:pt x="843" y="428"/>
                    </a:lnTo>
                    <a:lnTo>
                      <a:pt x="843" y="418"/>
                    </a:lnTo>
                    <a:lnTo>
                      <a:pt x="843" y="418"/>
                    </a:lnTo>
                    <a:lnTo>
                      <a:pt x="843" y="408"/>
                    </a:lnTo>
                    <a:lnTo>
                      <a:pt x="840" y="398"/>
                    </a:lnTo>
                    <a:lnTo>
                      <a:pt x="835" y="389"/>
                    </a:lnTo>
                    <a:lnTo>
                      <a:pt x="829" y="383"/>
                    </a:lnTo>
                    <a:lnTo>
                      <a:pt x="829" y="383"/>
                    </a:lnTo>
                    <a:close/>
                    <a:moveTo>
                      <a:pt x="217" y="250"/>
                    </a:moveTo>
                    <a:lnTo>
                      <a:pt x="217" y="141"/>
                    </a:lnTo>
                    <a:lnTo>
                      <a:pt x="155" y="142"/>
                    </a:lnTo>
                    <a:lnTo>
                      <a:pt x="87" y="247"/>
                    </a:lnTo>
                    <a:lnTo>
                      <a:pt x="87" y="250"/>
                    </a:lnTo>
                    <a:lnTo>
                      <a:pt x="217" y="250"/>
                    </a:lnTo>
                    <a:lnTo>
                      <a:pt x="217" y="250"/>
                    </a:lnTo>
                    <a:close/>
                    <a:moveTo>
                      <a:pt x="235" y="140"/>
                    </a:moveTo>
                    <a:lnTo>
                      <a:pt x="235" y="250"/>
                    </a:lnTo>
                    <a:lnTo>
                      <a:pt x="277" y="250"/>
                    </a:lnTo>
                    <a:lnTo>
                      <a:pt x="277" y="140"/>
                    </a:lnTo>
                    <a:lnTo>
                      <a:pt x="235" y="140"/>
                    </a:lnTo>
                    <a:lnTo>
                      <a:pt x="235" y="140"/>
                    </a:lnTo>
                    <a:close/>
                    <a:moveTo>
                      <a:pt x="409" y="0"/>
                    </a:moveTo>
                    <a:lnTo>
                      <a:pt x="665" y="0"/>
                    </a:lnTo>
                    <a:lnTo>
                      <a:pt x="665" y="254"/>
                    </a:lnTo>
                    <a:lnTo>
                      <a:pt x="688" y="254"/>
                    </a:lnTo>
                    <a:lnTo>
                      <a:pt x="688" y="204"/>
                    </a:lnTo>
                    <a:lnTo>
                      <a:pt x="753" y="204"/>
                    </a:lnTo>
                    <a:lnTo>
                      <a:pt x="753" y="254"/>
                    </a:lnTo>
                    <a:lnTo>
                      <a:pt x="776" y="254"/>
                    </a:lnTo>
                    <a:lnTo>
                      <a:pt x="776" y="0"/>
                    </a:lnTo>
                    <a:lnTo>
                      <a:pt x="839" y="0"/>
                    </a:lnTo>
                    <a:lnTo>
                      <a:pt x="839" y="0"/>
                    </a:lnTo>
                    <a:lnTo>
                      <a:pt x="847" y="19"/>
                    </a:lnTo>
                    <a:lnTo>
                      <a:pt x="855" y="36"/>
                    </a:lnTo>
                    <a:lnTo>
                      <a:pt x="862" y="55"/>
                    </a:lnTo>
                    <a:lnTo>
                      <a:pt x="867" y="74"/>
                    </a:lnTo>
                    <a:lnTo>
                      <a:pt x="872" y="92"/>
                    </a:lnTo>
                    <a:lnTo>
                      <a:pt x="874" y="111"/>
                    </a:lnTo>
                    <a:lnTo>
                      <a:pt x="875" y="130"/>
                    </a:lnTo>
                    <a:lnTo>
                      <a:pt x="876" y="149"/>
                    </a:lnTo>
                    <a:lnTo>
                      <a:pt x="875" y="166"/>
                    </a:lnTo>
                    <a:lnTo>
                      <a:pt x="873" y="185"/>
                    </a:lnTo>
                    <a:lnTo>
                      <a:pt x="870" y="204"/>
                    </a:lnTo>
                    <a:lnTo>
                      <a:pt x="865" y="223"/>
                    </a:lnTo>
                    <a:lnTo>
                      <a:pt x="860" y="242"/>
                    </a:lnTo>
                    <a:lnTo>
                      <a:pt x="854" y="261"/>
                    </a:lnTo>
                    <a:lnTo>
                      <a:pt x="846" y="280"/>
                    </a:lnTo>
                    <a:lnTo>
                      <a:pt x="839" y="298"/>
                    </a:lnTo>
                    <a:lnTo>
                      <a:pt x="801" y="298"/>
                    </a:lnTo>
                    <a:lnTo>
                      <a:pt x="792" y="298"/>
                    </a:lnTo>
                    <a:lnTo>
                      <a:pt x="430" y="298"/>
                    </a:lnTo>
                    <a:lnTo>
                      <a:pt x="419" y="298"/>
                    </a:lnTo>
                    <a:lnTo>
                      <a:pt x="409" y="298"/>
                    </a:lnTo>
                    <a:lnTo>
                      <a:pt x="409" y="298"/>
                    </a:lnTo>
                    <a:lnTo>
                      <a:pt x="396" y="261"/>
                    </a:lnTo>
                    <a:lnTo>
                      <a:pt x="391" y="242"/>
                    </a:lnTo>
                    <a:lnTo>
                      <a:pt x="387" y="224"/>
                    </a:lnTo>
                    <a:lnTo>
                      <a:pt x="382" y="205"/>
                    </a:lnTo>
                    <a:lnTo>
                      <a:pt x="380" y="186"/>
                    </a:lnTo>
                    <a:lnTo>
                      <a:pt x="378" y="167"/>
                    </a:lnTo>
                    <a:lnTo>
                      <a:pt x="377" y="149"/>
                    </a:lnTo>
                    <a:lnTo>
                      <a:pt x="377" y="131"/>
                    </a:lnTo>
                    <a:lnTo>
                      <a:pt x="378" y="112"/>
                    </a:lnTo>
                    <a:lnTo>
                      <a:pt x="380" y="93"/>
                    </a:lnTo>
                    <a:lnTo>
                      <a:pt x="383" y="74"/>
                    </a:lnTo>
                    <a:lnTo>
                      <a:pt x="388" y="55"/>
                    </a:lnTo>
                    <a:lnTo>
                      <a:pt x="393" y="38"/>
                    </a:lnTo>
                    <a:lnTo>
                      <a:pt x="400" y="19"/>
                    </a:lnTo>
                    <a:lnTo>
                      <a:pt x="409" y="0"/>
                    </a:lnTo>
                    <a:lnTo>
                      <a:pt x="409" y="0"/>
                    </a:lnTo>
                    <a:close/>
                    <a:moveTo>
                      <a:pt x="688" y="0"/>
                    </a:moveTo>
                    <a:lnTo>
                      <a:pt x="688" y="39"/>
                    </a:lnTo>
                    <a:lnTo>
                      <a:pt x="753" y="39"/>
                    </a:lnTo>
                    <a:lnTo>
                      <a:pt x="753" y="0"/>
                    </a:lnTo>
                    <a:lnTo>
                      <a:pt x="688" y="0"/>
                    </a:lnTo>
                    <a:lnTo>
                      <a:pt x="688" y="0"/>
                    </a:lnTo>
                    <a:close/>
                    <a:moveTo>
                      <a:pt x="753" y="181"/>
                    </a:moveTo>
                    <a:lnTo>
                      <a:pt x="753" y="131"/>
                    </a:lnTo>
                    <a:lnTo>
                      <a:pt x="688" y="131"/>
                    </a:lnTo>
                    <a:lnTo>
                      <a:pt x="688" y="181"/>
                    </a:lnTo>
                    <a:lnTo>
                      <a:pt x="753" y="1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DAFD4D15-D7FA-4194-AE4B-227B8D7D6798}"/>
                </a:ext>
              </a:extLst>
            </p:cNvPr>
            <p:cNvGrpSpPr/>
            <p:nvPr/>
          </p:nvGrpSpPr>
          <p:grpSpPr>
            <a:xfrm>
              <a:off x="7156709" y="5398115"/>
              <a:ext cx="164789" cy="161633"/>
              <a:chOff x="10854344" y="2762403"/>
              <a:chExt cx="157159" cy="128810"/>
            </a:xfrm>
          </p:grpSpPr>
          <p:sp>
            <p:nvSpPr>
              <p:cNvPr id="286" name="Oval 285">
                <a:extLst>
                  <a:ext uri="{FF2B5EF4-FFF2-40B4-BE49-F238E27FC236}">
                    <a16:creationId xmlns:a16="http://schemas.microsoft.com/office/drawing/2014/main" id="{CF0FBAC8-6813-4C7A-B1F3-514A86AA7FF9}"/>
                  </a:ext>
                </a:extLst>
              </p:cNvPr>
              <p:cNvSpPr/>
              <p:nvPr/>
            </p:nvSpPr>
            <p:spPr bwMode="ltGray">
              <a:xfrm>
                <a:off x="10854344" y="2762403"/>
                <a:ext cx="157159" cy="128810"/>
              </a:xfrm>
              <a:prstGeom prst="ellipse">
                <a:avLst/>
              </a:prstGeom>
              <a:solidFill>
                <a:srgbClr val="DC6900"/>
              </a:solidFill>
              <a:ln w="3175">
                <a:solidFill>
                  <a:srgbClr val="DC69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87" name="Freeform 135">
                <a:extLst>
                  <a:ext uri="{FF2B5EF4-FFF2-40B4-BE49-F238E27FC236}">
                    <a16:creationId xmlns:a16="http://schemas.microsoft.com/office/drawing/2014/main" id="{D665CA5F-9366-4883-BEC5-881A583616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4664" y="2796043"/>
                <a:ext cx="120109" cy="56396"/>
              </a:xfrm>
              <a:custGeom>
                <a:avLst/>
                <a:gdLst>
                  <a:gd name="T0" fmla="*/ 753 w 885"/>
                  <a:gd name="T1" fmla="*/ 108 h 509"/>
                  <a:gd name="T2" fmla="*/ 847 w 885"/>
                  <a:gd name="T3" fmla="*/ 346 h 509"/>
                  <a:gd name="T4" fmla="*/ 872 w 885"/>
                  <a:gd name="T5" fmla="*/ 463 h 509"/>
                  <a:gd name="T6" fmla="*/ 835 w 885"/>
                  <a:gd name="T7" fmla="*/ 498 h 509"/>
                  <a:gd name="T8" fmla="*/ 792 w 885"/>
                  <a:gd name="T9" fmla="*/ 509 h 509"/>
                  <a:gd name="T10" fmla="*/ 742 w 885"/>
                  <a:gd name="T11" fmla="*/ 494 h 509"/>
                  <a:gd name="T12" fmla="*/ 708 w 885"/>
                  <a:gd name="T13" fmla="*/ 451 h 509"/>
                  <a:gd name="T14" fmla="*/ 673 w 885"/>
                  <a:gd name="T15" fmla="*/ 473 h 509"/>
                  <a:gd name="T16" fmla="*/ 637 w 885"/>
                  <a:gd name="T17" fmla="*/ 503 h 509"/>
                  <a:gd name="T18" fmla="*/ 591 w 885"/>
                  <a:gd name="T19" fmla="*/ 509 h 509"/>
                  <a:gd name="T20" fmla="*/ 543 w 885"/>
                  <a:gd name="T21" fmla="*/ 488 h 509"/>
                  <a:gd name="T22" fmla="*/ 512 w 885"/>
                  <a:gd name="T23" fmla="*/ 438 h 509"/>
                  <a:gd name="T24" fmla="*/ 262 w 885"/>
                  <a:gd name="T25" fmla="*/ 449 h 509"/>
                  <a:gd name="T26" fmla="*/ 229 w 885"/>
                  <a:gd name="T27" fmla="*/ 492 h 509"/>
                  <a:gd name="T28" fmla="*/ 178 w 885"/>
                  <a:gd name="T29" fmla="*/ 507 h 509"/>
                  <a:gd name="T30" fmla="*/ 135 w 885"/>
                  <a:gd name="T31" fmla="*/ 496 h 509"/>
                  <a:gd name="T32" fmla="*/ 99 w 885"/>
                  <a:gd name="T33" fmla="*/ 461 h 509"/>
                  <a:gd name="T34" fmla="*/ 0 w 885"/>
                  <a:gd name="T35" fmla="*/ 438 h 509"/>
                  <a:gd name="T36" fmla="*/ 114 w 885"/>
                  <a:gd name="T37" fmla="*/ 96 h 509"/>
                  <a:gd name="T38" fmla="*/ 430 w 885"/>
                  <a:gd name="T39" fmla="*/ 346 h 509"/>
                  <a:gd name="T40" fmla="*/ 207 w 885"/>
                  <a:gd name="T41" fmla="*/ 373 h 509"/>
                  <a:gd name="T42" fmla="*/ 158 w 885"/>
                  <a:gd name="T43" fmla="*/ 368 h 509"/>
                  <a:gd name="T44" fmla="*/ 128 w 885"/>
                  <a:gd name="T45" fmla="*/ 405 h 509"/>
                  <a:gd name="T46" fmla="*/ 143 w 885"/>
                  <a:gd name="T47" fmla="*/ 452 h 509"/>
                  <a:gd name="T48" fmla="*/ 178 w 885"/>
                  <a:gd name="T49" fmla="*/ 467 h 509"/>
                  <a:gd name="T50" fmla="*/ 221 w 885"/>
                  <a:gd name="T51" fmla="*/ 444 h 509"/>
                  <a:gd name="T52" fmla="*/ 226 w 885"/>
                  <a:gd name="T53" fmla="*/ 396 h 509"/>
                  <a:gd name="T54" fmla="*/ 630 w 885"/>
                  <a:gd name="T55" fmla="*/ 376 h 509"/>
                  <a:gd name="T56" fmla="*/ 581 w 885"/>
                  <a:gd name="T57" fmla="*/ 372 h 509"/>
                  <a:gd name="T58" fmla="*/ 551 w 885"/>
                  <a:gd name="T59" fmla="*/ 408 h 509"/>
                  <a:gd name="T60" fmla="*/ 564 w 885"/>
                  <a:gd name="T61" fmla="*/ 455 h 509"/>
                  <a:gd name="T62" fmla="*/ 601 w 885"/>
                  <a:gd name="T63" fmla="*/ 469 h 509"/>
                  <a:gd name="T64" fmla="*/ 643 w 885"/>
                  <a:gd name="T65" fmla="*/ 447 h 509"/>
                  <a:gd name="T66" fmla="*/ 648 w 885"/>
                  <a:gd name="T67" fmla="*/ 398 h 509"/>
                  <a:gd name="T68" fmla="*/ 821 w 885"/>
                  <a:gd name="T69" fmla="*/ 376 h 509"/>
                  <a:gd name="T70" fmla="*/ 772 w 885"/>
                  <a:gd name="T71" fmla="*/ 372 h 509"/>
                  <a:gd name="T72" fmla="*/ 742 w 885"/>
                  <a:gd name="T73" fmla="*/ 408 h 509"/>
                  <a:gd name="T74" fmla="*/ 756 w 885"/>
                  <a:gd name="T75" fmla="*/ 455 h 509"/>
                  <a:gd name="T76" fmla="*/ 792 w 885"/>
                  <a:gd name="T77" fmla="*/ 469 h 509"/>
                  <a:gd name="T78" fmla="*/ 835 w 885"/>
                  <a:gd name="T79" fmla="*/ 447 h 509"/>
                  <a:gd name="T80" fmla="*/ 840 w 885"/>
                  <a:gd name="T81" fmla="*/ 398 h 509"/>
                  <a:gd name="T82" fmla="*/ 155 w 885"/>
                  <a:gd name="T83" fmla="*/ 142 h 509"/>
                  <a:gd name="T84" fmla="*/ 235 w 885"/>
                  <a:gd name="T85" fmla="*/ 250 h 509"/>
                  <a:gd name="T86" fmla="*/ 665 w 885"/>
                  <a:gd name="T87" fmla="*/ 0 h 509"/>
                  <a:gd name="T88" fmla="*/ 776 w 885"/>
                  <a:gd name="T89" fmla="*/ 254 h 509"/>
                  <a:gd name="T90" fmla="*/ 862 w 885"/>
                  <a:gd name="T91" fmla="*/ 55 h 509"/>
                  <a:gd name="T92" fmla="*/ 875 w 885"/>
                  <a:gd name="T93" fmla="*/ 166 h 509"/>
                  <a:gd name="T94" fmla="*/ 846 w 885"/>
                  <a:gd name="T95" fmla="*/ 280 h 509"/>
                  <a:gd name="T96" fmla="*/ 409 w 885"/>
                  <a:gd name="T97" fmla="*/ 298 h 509"/>
                  <a:gd name="T98" fmla="*/ 380 w 885"/>
                  <a:gd name="T99" fmla="*/ 186 h 509"/>
                  <a:gd name="T100" fmla="*/ 383 w 885"/>
                  <a:gd name="T101" fmla="*/ 74 h 509"/>
                  <a:gd name="T102" fmla="*/ 688 w 885"/>
                  <a:gd name="T103" fmla="*/ 0 h 509"/>
                  <a:gd name="T104" fmla="*/ 753 w 885"/>
                  <a:gd name="T105" fmla="*/ 1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509">
                    <a:moveTo>
                      <a:pt x="753" y="108"/>
                    </a:moveTo>
                    <a:lnTo>
                      <a:pt x="753" y="62"/>
                    </a:lnTo>
                    <a:lnTo>
                      <a:pt x="688" y="62"/>
                    </a:lnTo>
                    <a:lnTo>
                      <a:pt x="688" y="108"/>
                    </a:lnTo>
                    <a:lnTo>
                      <a:pt x="753" y="108"/>
                    </a:lnTo>
                    <a:lnTo>
                      <a:pt x="753" y="108"/>
                    </a:lnTo>
                    <a:close/>
                    <a:moveTo>
                      <a:pt x="801" y="328"/>
                    </a:moveTo>
                    <a:lnTo>
                      <a:pt x="801" y="328"/>
                    </a:lnTo>
                    <a:lnTo>
                      <a:pt x="814" y="331"/>
                    </a:lnTo>
                    <a:lnTo>
                      <a:pt x="825" y="334"/>
                    </a:lnTo>
                    <a:lnTo>
                      <a:pt x="836" y="340"/>
                    </a:lnTo>
                    <a:lnTo>
                      <a:pt x="847" y="346"/>
                    </a:lnTo>
                    <a:lnTo>
                      <a:pt x="885" y="346"/>
                    </a:lnTo>
                    <a:lnTo>
                      <a:pt x="885" y="438"/>
                    </a:lnTo>
                    <a:lnTo>
                      <a:pt x="881" y="438"/>
                    </a:lnTo>
                    <a:lnTo>
                      <a:pt x="881" y="438"/>
                    </a:lnTo>
                    <a:lnTo>
                      <a:pt x="877" y="451"/>
                    </a:lnTo>
                    <a:lnTo>
                      <a:pt x="872" y="463"/>
                    </a:lnTo>
                    <a:lnTo>
                      <a:pt x="865" y="473"/>
                    </a:lnTo>
                    <a:lnTo>
                      <a:pt x="856" y="483"/>
                    </a:lnTo>
                    <a:lnTo>
                      <a:pt x="856" y="483"/>
                    </a:lnTo>
                    <a:lnTo>
                      <a:pt x="850" y="488"/>
                    </a:lnTo>
                    <a:lnTo>
                      <a:pt x="843" y="494"/>
                    </a:lnTo>
                    <a:lnTo>
                      <a:pt x="835" y="498"/>
                    </a:lnTo>
                    <a:lnTo>
                      <a:pt x="827" y="503"/>
                    </a:lnTo>
                    <a:lnTo>
                      <a:pt x="820" y="505"/>
                    </a:lnTo>
                    <a:lnTo>
                      <a:pt x="811" y="507"/>
                    </a:lnTo>
                    <a:lnTo>
                      <a:pt x="802" y="509"/>
                    </a:lnTo>
                    <a:lnTo>
                      <a:pt x="792" y="509"/>
                    </a:lnTo>
                    <a:lnTo>
                      <a:pt x="792" y="509"/>
                    </a:lnTo>
                    <a:lnTo>
                      <a:pt x="783" y="509"/>
                    </a:lnTo>
                    <a:lnTo>
                      <a:pt x="774" y="507"/>
                    </a:lnTo>
                    <a:lnTo>
                      <a:pt x="765" y="505"/>
                    </a:lnTo>
                    <a:lnTo>
                      <a:pt x="756" y="503"/>
                    </a:lnTo>
                    <a:lnTo>
                      <a:pt x="749" y="498"/>
                    </a:lnTo>
                    <a:lnTo>
                      <a:pt x="742" y="494"/>
                    </a:lnTo>
                    <a:lnTo>
                      <a:pt x="734" y="488"/>
                    </a:lnTo>
                    <a:lnTo>
                      <a:pt x="728" y="483"/>
                    </a:lnTo>
                    <a:lnTo>
                      <a:pt x="728" y="483"/>
                    </a:lnTo>
                    <a:lnTo>
                      <a:pt x="720" y="473"/>
                    </a:lnTo>
                    <a:lnTo>
                      <a:pt x="713" y="463"/>
                    </a:lnTo>
                    <a:lnTo>
                      <a:pt x="708" y="451"/>
                    </a:lnTo>
                    <a:lnTo>
                      <a:pt x="703" y="438"/>
                    </a:lnTo>
                    <a:lnTo>
                      <a:pt x="690" y="438"/>
                    </a:lnTo>
                    <a:lnTo>
                      <a:pt x="690" y="438"/>
                    </a:lnTo>
                    <a:lnTo>
                      <a:pt x="685" y="451"/>
                    </a:lnTo>
                    <a:lnTo>
                      <a:pt x="681" y="463"/>
                    </a:lnTo>
                    <a:lnTo>
                      <a:pt x="673" y="473"/>
                    </a:lnTo>
                    <a:lnTo>
                      <a:pt x="665" y="483"/>
                    </a:lnTo>
                    <a:lnTo>
                      <a:pt x="665" y="483"/>
                    </a:lnTo>
                    <a:lnTo>
                      <a:pt x="659" y="488"/>
                    </a:lnTo>
                    <a:lnTo>
                      <a:pt x="652" y="494"/>
                    </a:lnTo>
                    <a:lnTo>
                      <a:pt x="644" y="498"/>
                    </a:lnTo>
                    <a:lnTo>
                      <a:pt x="637" y="503"/>
                    </a:lnTo>
                    <a:lnTo>
                      <a:pt x="628" y="505"/>
                    </a:lnTo>
                    <a:lnTo>
                      <a:pt x="619" y="507"/>
                    </a:lnTo>
                    <a:lnTo>
                      <a:pt x="610" y="509"/>
                    </a:lnTo>
                    <a:lnTo>
                      <a:pt x="601" y="509"/>
                    </a:lnTo>
                    <a:lnTo>
                      <a:pt x="601" y="509"/>
                    </a:lnTo>
                    <a:lnTo>
                      <a:pt x="591" y="509"/>
                    </a:lnTo>
                    <a:lnTo>
                      <a:pt x="582" y="507"/>
                    </a:lnTo>
                    <a:lnTo>
                      <a:pt x="573" y="505"/>
                    </a:lnTo>
                    <a:lnTo>
                      <a:pt x="566" y="503"/>
                    </a:lnTo>
                    <a:lnTo>
                      <a:pt x="558" y="498"/>
                    </a:lnTo>
                    <a:lnTo>
                      <a:pt x="550" y="494"/>
                    </a:lnTo>
                    <a:lnTo>
                      <a:pt x="543" y="488"/>
                    </a:lnTo>
                    <a:lnTo>
                      <a:pt x="537" y="483"/>
                    </a:lnTo>
                    <a:lnTo>
                      <a:pt x="537" y="483"/>
                    </a:lnTo>
                    <a:lnTo>
                      <a:pt x="528" y="473"/>
                    </a:lnTo>
                    <a:lnTo>
                      <a:pt x="521" y="463"/>
                    </a:lnTo>
                    <a:lnTo>
                      <a:pt x="516" y="451"/>
                    </a:lnTo>
                    <a:lnTo>
                      <a:pt x="512" y="438"/>
                    </a:lnTo>
                    <a:lnTo>
                      <a:pt x="336" y="438"/>
                    </a:lnTo>
                    <a:lnTo>
                      <a:pt x="306" y="438"/>
                    </a:lnTo>
                    <a:lnTo>
                      <a:pt x="301" y="438"/>
                    </a:lnTo>
                    <a:lnTo>
                      <a:pt x="267" y="438"/>
                    </a:lnTo>
                    <a:lnTo>
                      <a:pt x="267" y="438"/>
                    </a:lnTo>
                    <a:lnTo>
                      <a:pt x="262" y="449"/>
                    </a:lnTo>
                    <a:lnTo>
                      <a:pt x="258" y="461"/>
                    </a:lnTo>
                    <a:lnTo>
                      <a:pt x="250" y="471"/>
                    </a:lnTo>
                    <a:lnTo>
                      <a:pt x="242" y="480"/>
                    </a:lnTo>
                    <a:lnTo>
                      <a:pt x="242" y="480"/>
                    </a:lnTo>
                    <a:lnTo>
                      <a:pt x="236" y="486"/>
                    </a:lnTo>
                    <a:lnTo>
                      <a:pt x="229" y="492"/>
                    </a:lnTo>
                    <a:lnTo>
                      <a:pt x="221" y="496"/>
                    </a:lnTo>
                    <a:lnTo>
                      <a:pt x="214" y="499"/>
                    </a:lnTo>
                    <a:lnTo>
                      <a:pt x="206" y="503"/>
                    </a:lnTo>
                    <a:lnTo>
                      <a:pt x="197" y="505"/>
                    </a:lnTo>
                    <a:lnTo>
                      <a:pt x="188" y="506"/>
                    </a:lnTo>
                    <a:lnTo>
                      <a:pt x="178" y="507"/>
                    </a:lnTo>
                    <a:lnTo>
                      <a:pt x="178" y="507"/>
                    </a:lnTo>
                    <a:lnTo>
                      <a:pt x="169" y="506"/>
                    </a:lnTo>
                    <a:lnTo>
                      <a:pt x="160" y="505"/>
                    </a:lnTo>
                    <a:lnTo>
                      <a:pt x="151" y="503"/>
                    </a:lnTo>
                    <a:lnTo>
                      <a:pt x="144" y="499"/>
                    </a:lnTo>
                    <a:lnTo>
                      <a:pt x="135" y="496"/>
                    </a:lnTo>
                    <a:lnTo>
                      <a:pt x="128" y="492"/>
                    </a:lnTo>
                    <a:lnTo>
                      <a:pt x="120" y="486"/>
                    </a:lnTo>
                    <a:lnTo>
                      <a:pt x="114" y="480"/>
                    </a:lnTo>
                    <a:lnTo>
                      <a:pt x="114" y="480"/>
                    </a:lnTo>
                    <a:lnTo>
                      <a:pt x="106" y="471"/>
                    </a:lnTo>
                    <a:lnTo>
                      <a:pt x="99" y="461"/>
                    </a:lnTo>
                    <a:lnTo>
                      <a:pt x="94" y="449"/>
                    </a:lnTo>
                    <a:lnTo>
                      <a:pt x="90" y="438"/>
                    </a:lnTo>
                    <a:lnTo>
                      <a:pt x="84" y="438"/>
                    </a:lnTo>
                    <a:lnTo>
                      <a:pt x="57" y="438"/>
                    </a:lnTo>
                    <a:lnTo>
                      <a:pt x="27" y="438"/>
                    </a:lnTo>
                    <a:lnTo>
                      <a:pt x="0" y="438"/>
                    </a:lnTo>
                    <a:lnTo>
                      <a:pt x="0" y="357"/>
                    </a:lnTo>
                    <a:lnTo>
                      <a:pt x="27" y="357"/>
                    </a:lnTo>
                    <a:lnTo>
                      <a:pt x="27" y="238"/>
                    </a:lnTo>
                    <a:lnTo>
                      <a:pt x="27" y="230"/>
                    </a:lnTo>
                    <a:lnTo>
                      <a:pt x="32" y="222"/>
                    </a:lnTo>
                    <a:lnTo>
                      <a:pt x="114" y="96"/>
                    </a:lnTo>
                    <a:lnTo>
                      <a:pt x="121" y="83"/>
                    </a:lnTo>
                    <a:lnTo>
                      <a:pt x="121" y="83"/>
                    </a:lnTo>
                    <a:lnTo>
                      <a:pt x="336" y="80"/>
                    </a:lnTo>
                    <a:lnTo>
                      <a:pt x="336" y="110"/>
                    </a:lnTo>
                    <a:lnTo>
                      <a:pt x="336" y="346"/>
                    </a:lnTo>
                    <a:lnTo>
                      <a:pt x="430" y="346"/>
                    </a:lnTo>
                    <a:lnTo>
                      <a:pt x="430" y="328"/>
                    </a:lnTo>
                    <a:lnTo>
                      <a:pt x="801" y="328"/>
                    </a:lnTo>
                    <a:lnTo>
                      <a:pt x="801" y="328"/>
                    </a:lnTo>
                    <a:close/>
                    <a:moveTo>
                      <a:pt x="215" y="379"/>
                    </a:moveTo>
                    <a:lnTo>
                      <a:pt x="215" y="379"/>
                    </a:lnTo>
                    <a:lnTo>
                      <a:pt x="207" y="373"/>
                    </a:lnTo>
                    <a:lnTo>
                      <a:pt x="198" y="368"/>
                    </a:lnTo>
                    <a:lnTo>
                      <a:pt x="189" y="365"/>
                    </a:lnTo>
                    <a:lnTo>
                      <a:pt x="178" y="364"/>
                    </a:lnTo>
                    <a:lnTo>
                      <a:pt x="178" y="364"/>
                    </a:lnTo>
                    <a:lnTo>
                      <a:pt x="168" y="365"/>
                    </a:lnTo>
                    <a:lnTo>
                      <a:pt x="158" y="368"/>
                    </a:lnTo>
                    <a:lnTo>
                      <a:pt x="150" y="373"/>
                    </a:lnTo>
                    <a:lnTo>
                      <a:pt x="143" y="379"/>
                    </a:lnTo>
                    <a:lnTo>
                      <a:pt x="143" y="379"/>
                    </a:lnTo>
                    <a:lnTo>
                      <a:pt x="136" y="387"/>
                    </a:lnTo>
                    <a:lnTo>
                      <a:pt x="131" y="396"/>
                    </a:lnTo>
                    <a:lnTo>
                      <a:pt x="128" y="405"/>
                    </a:lnTo>
                    <a:lnTo>
                      <a:pt x="127" y="416"/>
                    </a:lnTo>
                    <a:lnTo>
                      <a:pt x="127" y="416"/>
                    </a:lnTo>
                    <a:lnTo>
                      <a:pt x="128" y="426"/>
                    </a:lnTo>
                    <a:lnTo>
                      <a:pt x="131" y="436"/>
                    </a:lnTo>
                    <a:lnTo>
                      <a:pt x="136" y="444"/>
                    </a:lnTo>
                    <a:lnTo>
                      <a:pt x="143" y="452"/>
                    </a:lnTo>
                    <a:lnTo>
                      <a:pt x="143" y="452"/>
                    </a:lnTo>
                    <a:lnTo>
                      <a:pt x="150" y="458"/>
                    </a:lnTo>
                    <a:lnTo>
                      <a:pt x="158" y="463"/>
                    </a:lnTo>
                    <a:lnTo>
                      <a:pt x="168" y="466"/>
                    </a:lnTo>
                    <a:lnTo>
                      <a:pt x="178" y="467"/>
                    </a:lnTo>
                    <a:lnTo>
                      <a:pt x="178" y="467"/>
                    </a:lnTo>
                    <a:lnTo>
                      <a:pt x="189" y="466"/>
                    </a:lnTo>
                    <a:lnTo>
                      <a:pt x="198" y="463"/>
                    </a:lnTo>
                    <a:lnTo>
                      <a:pt x="207" y="458"/>
                    </a:lnTo>
                    <a:lnTo>
                      <a:pt x="215" y="452"/>
                    </a:lnTo>
                    <a:lnTo>
                      <a:pt x="215" y="452"/>
                    </a:lnTo>
                    <a:lnTo>
                      <a:pt x="221" y="444"/>
                    </a:lnTo>
                    <a:lnTo>
                      <a:pt x="226" y="436"/>
                    </a:lnTo>
                    <a:lnTo>
                      <a:pt x="229" y="426"/>
                    </a:lnTo>
                    <a:lnTo>
                      <a:pt x="229" y="416"/>
                    </a:lnTo>
                    <a:lnTo>
                      <a:pt x="229" y="416"/>
                    </a:lnTo>
                    <a:lnTo>
                      <a:pt x="229" y="405"/>
                    </a:lnTo>
                    <a:lnTo>
                      <a:pt x="226" y="396"/>
                    </a:lnTo>
                    <a:lnTo>
                      <a:pt x="221" y="387"/>
                    </a:lnTo>
                    <a:lnTo>
                      <a:pt x="215" y="379"/>
                    </a:lnTo>
                    <a:lnTo>
                      <a:pt x="215" y="379"/>
                    </a:lnTo>
                    <a:close/>
                    <a:moveTo>
                      <a:pt x="637" y="383"/>
                    </a:moveTo>
                    <a:lnTo>
                      <a:pt x="637" y="383"/>
                    </a:lnTo>
                    <a:lnTo>
                      <a:pt x="630" y="376"/>
                    </a:lnTo>
                    <a:lnTo>
                      <a:pt x="621" y="372"/>
                    </a:lnTo>
                    <a:lnTo>
                      <a:pt x="611" y="368"/>
                    </a:lnTo>
                    <a:lnTo>
                      <a:pt x="601" y="367"/>
                    </a:lnTo>
                    <a:lnTo>
                      <a:pt x="601" y="367"/>
                    </a:lnTo>
                    <a:lnTo>
                      <a:pt x="590" y="368"/>
                    </a:lnTo>
                    <a:lnTo>
                      <a:pt x="581" y="372"/>
                    </a:lnTo>
                    <a:lnTo>
                      <a:pt x="572" y="376"/>
                    </a:lnTo>
                    <a:lnTo>
                      <a:pt x="564" y="383"/>
                    </a:lnTo>
                    <a:lnTo>
                      <a:pt x="564" y="383"/>
                    </a:lnTo>
                    <a:lnTo>
                      <a:pt x="558" y="389"/>
                    </a:lnTo>
                    <a:lnTo>
                      <a:pt x="553" y="398"/>
                    </a:lnTo>
                    <a:lnTo>
                      <a:pt x="551" y="408"/>
                    </a:lnTo>
                    <a:lnTo>
                      <a:pt x="550" y="418"/>
                    </a:lnTo>
                    <a:lnTo>
                      <a:pt x="550" y="418"/>
                    </a:lnTo>
                    <a:lnTo>
                      <a:pt x="551" y="428"/>
                    </a:lnTo>
                    <a:lnTo>
                      <a:pt x="553" y="438"/>
                    </a:lnTo>
                    <a:lnTo>
                      <a:pt x="558" y="447"/>
                    </a:lnTo>
                    <a:lnTo>
                      <a:pt x="564" y="455"/>
                    </a:lnTo>
                    <a:lnTo>
                      <a:pt x="564" y="455"/>
                    </a:lnTo>
                    <a:lnTo>
                      <a:pt x="572" y="461"/>
                    </a:lnTo>
                    <a:lnTo>
                      <a:pt x="581" y="466"/>
                    </a:lnTo>
                    <a:lnTo>
                      <a:pt x="590" y="468"/>
                    </a:lnTo>
                    <a:lnTo>
                      <a:pt x="601" y="469"/>
                    </a:lnTo>
                    <a:lnTo>
                      <a:pt x="601" y="469"/>
                    </a:lnTo>
                    <a:lnTo>
                      <a:pt x="611" y="468"/>
                    </a:lnTo>
                    <a:lnTo>
                      <a:pt x="621" y="466"/>
                    </a:lnTo>
                    <a:lnTo>
                      <a:pt x="630" y="461"/>
                    </a:lnTo>
                    <a:lnTo>
                      <a:pt x="637" y="455"/>
                    </a:lnTo>
                    <a:lnTo>
                      <a:pt x="637" y="455"/>
                    </a:lnTo>
                    <a:lnTo>
                      <a:pt x="643" y="447"/>
                    </a:lnTo>
                    <a:lnTo>
                      <a:pt x="648" y="438"/>
                    </a:lnTo>
                    <a:lnTo>
                      <a:pt x="651" y="428"/>
                    </a:lnTo>
                    <a:lnTo>
                      <a:pt x="652" y="418"/>
                    </a:lnTo>
                    <a:lnTo>
                      <a:pt x="652" y="418"/>
                    </a:lnTo>
                    <a:lnTo>
                      <a:pt x="651" y="408"/>
                    </a:lnTo>
                    <a:lnTo>
                      <a:pt x="648" y="398"/>
                    </a:lnTo>
                    <a:lnTo>
                      <a:pt x="643" y="389"/>
                    </a:lnTo>
                    <a:lnTo>
                      <a:pt x="637" y="383"/>
                    </a:lnTo>
                    <a:lnTo>
                      <a:pt x="637" y="383"/>
                    </a:lnTo>
                    <a:close/>
                    <a:moveTo>
                      <a:pt x="829" y="383"/>
                    </a:moveTo>
                    <a:lnTo>
                      <a:pt x="829" y="383"/>
                    </a:lnTo>
                    <a:lnTo>
                      <a:pt x="821" y="376"/>
                    </a:lnTo>
                    <a:lnTo>
                      <a:pt x="812" y="372"/>
                    </a:lnTo>
                    <a:lnTo>
                      <a:pt x="803" y="368"/>
                    </a:lnTo>
                    <a:lnTo>
                      <a:pt x="792" y="367"/>
                    </a:lnTo>
                    <a:lnTo>
                      <a:pt x="792" y="367"/>
                    </a:lnTo>
                    <a:lnTo>
                      <a:pt x="782" y="368"/>
                    </a:lnTo>
                    <a:lnTo>
                      <a:pt x="772" y="372"/>
                    </a:lnTo>
                    <a:lnTo>
                      <a:pt x="764" y="376"/>
                    </a:lnTo>
                    <a:lnTo>
                      <a:pt x="756" y="383"/>
                    </a:lnTo>
                    <a:lnTo>
                      <a:pt x="756" y="383"/>
                    </a:lnTo>
                    <a:lnTo>
                      <a:pt x="750" y="389"/>
                    </a:lnTo>
                    <a:lnTo>
                      <a:pt x="745" y="398"/>
                    </a:lnTo>
                    <a:lnTo>
                      <a:pt x="742" y="408"/>
                    </a:lnTo>
                    <a:lnTo>
                      <a:pt x="741" y="418"/>
                    </a:lnTo>
                    <a:lnTo>
                      <a:pt x="741" y="418"/>
                    </a:lnTo>
                    <a:lnTo>
                      <a:pt x="742" y="428"/>
                    </a:lnTo>
                    <a:lnTo>
                      <a:pt x="745" y="438"/>
                    </a:lnTo>
                    <a:lnTo>
                      <a:pt x="750" y="447"/>
                    </a:lnTo>
                    <a:lnTo>
                      <a:pt x="756" y="455"/>
                    </a:lnTo>
                    <a:lnTo>
                      <a:pt x="756" y="455"/>
                    </a:lnTo>
                    <a:lnTo>
                      <a:pt x="764" y="461"/>
                    </a:lnTo>
                    <a:lnTo>
                      <a:pt x="772" y="466"/>
                    </a:lnTo>
                    <a:lnTo>
                      <a:pt x="782" y="468"/>
                    </a:lnTo>
                    <a:lnTo>
                      <a:pt x="792" y="469"/>
                    </a:lnTo>
                    <a:lnTo>
                      <a:pt x="792" y="469"/>
                    </a:lnTo>
                    <a:lnTo>
                      <a:pt x="803" y="468"/>
                    </a:lnTo>
                    <a:lnTo>
                      <a:pt x="812" y="466"/>
                    </a:lnTo>
                    <a:lnTo>
                      <a:pt x="821" y="461"/>
                    </a:lnTo>
                    <a:lnTo>
                      <a:pt x="829" y="455"/>
                    </a:lnTo>
                    <a:lnTo>
                      <a:pt x="829" y="455"/>
                    </a:lnTo>
                    <a:lnTo>
                      <a:pt x="835" y="447"/>
                    </a:lnTo>
                    <a:lnTo>
                      <a:pt x="840" y="438"/>
                    </a:lnTo>
                    <a:lnTo>
                      <a:pt x="843" y="428"/>
                    </a:lnTo>
                    <a:lnTo>
                      <a:pt x="843" y="418"/>
                    </a:lnTo>
                    <a:lnTo>
                      <a:pt x="843" y="418"/>
                    </a:lnTo>
                    <a:lnTo>
                      <a:pt x="843" y="408"/>
                    </a:lnTo>
                    <a:lnTo>
                      <a:pt x="840" y="398"/>
                    </a:lnTo>
                    <a:lnTo>
                      <a:pt x="835" y="389"/>
                    </a:lnTo>
                    <a:lnTo>
                      <a:pt x="829" y="383"/>
                    </a:lnTo>
                    <a:lnTo>
                      <a:pt x="829" y="383"/>
                    </a:lnTo>
                    <a:close/>
                    <a:moveTo>
                      <a:pt x="217" y="250"/>
                    </a:moveTo>
                    <a:lnTo>
                      <a:pt x="217" y="141"/>
                    </a:lnTo>
                    <a:lnTo>
                      <a:pt x="155" y="142"/>
                    </a:lnTo>
                    <a:lnTo>
                      <a:pt x="87" y="247"/>
                    </a:lnTo>
                    <a:lnTo>
                      <a:pt x="87" y="250"/>
                    </a:lnTo>
                    <a:lnTo>
                      <a:pt x="217" y="250"/>
                    </a:lnTo>
                    <a:lnTo>
                      <a:pt x="217" y="250"/>
                    </a:lnTo>
                    <a:close/>
                    <a:moveTo>
                      <a:pt x="235" y="140"/>
                    </a:moveTo>
                    <a:lnTo>
                      <a:pt x="235" y="250"/>
                    </a:lnTo>
                    <a:lnTo>
                      <a:pt x="277" y="250"/>
                    </a:lnTo>
                    <a:lnTo>
                      <a:pt x="277" y="140"/>
                    </a:lnTo>
                    <a:lnTo>
                      <a:pt x="235" y="140"/>
                    </a:lnTo>
                    <a:lnTo>
                      <a:pt x="235" y="140"/>
                    </a:lnTo>
                    <a:close/>
                    <a:moveTo>
                      <a:pt x="409" y="0"/>
                    </a:moveTo>
                    <a:lnTo>
                      <a:pt x="665" y="0"/>
                    </a:lnTo>
                    <a:lnTo>
                      <a:pt x="665" y="254"/>
                    </a:lnTo>
                    <a:lnTo>
                      <a:pt x="688" y="254"/>
                    </a:lnTo>
                    <a:lnTo>
                      <a:pt x="688" y="204"/>
                    </a:lnTo>
                    <a:lnTo>
                      <a:pt x="753" y="204"/>
                    </a:lnTo>
                    <a:lnTo>
                      <a:pt x="753" y="254"/>
                    </a:lnTo>
                    <a:lnTo>
                      <a:pt x="776" y="254"/>
                    </a:lnTo>
                    <a:lnTo>
                      <a:pt x="776" y="0"/>
                    </a:lnTo>
                    <a:lnTo>
                      <a:pt x="839" y="0"/>
                    </a:lnTo>
                    <a:lnTo>
                      <a:pt x="839" y="0"/>
                    </a:lnTo>
                    <a:lnTo>
                      <a:pt x="847" y="19"/>
                    </a:lnTo>
                    <a:lnTo>
                      <a:pt x="855" y="36"/>
                    </a:lnTo>
                    <a:lnTo>
                      <a:pt x="862" y="55"/>
                    </a:lnTo>
                    <a:lnTo>
                      <a:pt x="867" y="74"/>
                    </a:lnTo>
                    <a:lnTo>
                      <a:pt x="872" y="92"/>
                    </a:lnTo>
                    <a:lnTo>
                      <a:pt x="874" y="111"/>
                    </a:lnTo>
                    <a:lnTo>
                      <a:pt x="875" y="130"/>
                    </a:lnTo>
                    <a:lnTo>
                      <a:pt x="876" y="149"/>
                    </a:lnTo>
                    <a:lnTo>
                      <a:pt x="875" y="166"/>
                    </a:lnTo>
                    <a:lnTo>
                      <a:pt x="873" y="185"/>
                    </a:lnTo>
                    <a:lnTo>
                      <a:pt x="870" y="204"/>
                    </a:lnTo>
                    <a:lnTo>
                      <a:pt x="865" y="223"/>
                    </a:lnTo>
                    <a:lnTo>
                      <a:pt x="860" y="242"/>
                    </a:lnTo>
                    <a:lnTo>
                      <a:pt x="854" y="261"/>
                    </a:lnTo>
                    <a:lnTo>
                      <a:pt x="846" y="280"/>
                    </a:lnTo>
                    <a:lnTo>
                      <a:pt x="839" y="298"/>
                    </a:lnTo>
                    <a:lnTo>
                      <a:pt x="801" y="298"/>
                    </a:lnTo>
                    <a:lnTo>
                      <a:pt x="792" y="298"/>
                    </a:lnTo>
                    <a:lnTo>
                      <a:pt x="430" y="298"/>
                    </a:lnTo>
                    <a:lnTo>
                      <a:pt x="419" y="298"/>
                    </a:lnTo>
                    <a:lnTo>
                      <a:pt x="409" y="298"/>
                    </a:lnTo>
                    <a:lnTo>
                      <a:pt x="409" y="298"/>
                    </a:lnTo>
                    <a:lnTo>
                      <a:pt x="396" y="261"/>
                    </a:lnTo>
                    <a:lnTo>
                      <a:pt x="391" y="242"/>
                    </a:lnTo>
                    <a:lnTo>
                      <a:pt x="387" y="224"/>
                    </a:lnTo>
                    <a:lnTo>
                      <a:pt x="382" y="205"/>
                    </a:lnTo>
                    <a:lnTo>
                      <a:pt x="380" y="186"/>
                    </a:lnTo>
                    <a:lnTo>
                      <a:pt x="378" y="167"/>
                    </a:lnTo>
                    <a:lnTo>
                      <a:pt x="377" y="149"/>
                    </a:lnTo>
                    <a:lnTo>
                      <a:pt x="377" y="131"/>
                    </a:lnTo>
                    <a:lnTo>
                      <a:pt x="378" y="112"/>
                    </a:lnTo>
                    <a:lnTo>
                      <a:pt x="380" y="93"/>
                    </a:lnTo>
                    <a:lnTo>
                      <a:pt x="383" y="74"/>
                    </a:lnTo>
                    <a:lnTo>
                      <a:pt x="388" y="55"/>
                    </a:lnTo>
                    <a:lnTo>
                      <a:pt x="393" y="38"/>
                    </a:lnTo>
                    <a:lnTo>
                      <a:pt x="400" y="19"/>
                    </a:lnTo>
                    <a:lnTo>
                      <a:pt x="409" y="0"/>
                    </a:lnTo>
                    <a:lnTo>
                      <a:pt x="409" y="0"/>
                    </a:lnTo>
                    <a:close/>
                    <a:moveTo>
                      <a:pt x="688" y="0"/>
                    </a:moveTo>
                    <a:lnTo>
                      <a:pt x="688" y="39"/>
                    </a:lnTo>
                    <a:lnTo>
                      <a:pt x="753" y="39"/>
                    </a:lnTo>
                    <a:lnTo>
                      <a:pt x="753" y="0"/>
                    </a:lnTo>
                    <a:lnTo>
                      <a:pt x="688" y="0"/>
                    </a:lnTo>
                    <a:lnTo>
                      <a:pt x="688" y="0"/>
                    </a:lnTo>
                    <a:close/>
                    <a:moveTo>
                      <a:pt x="753" y="181"/>
                    </a:moveTo>
                    <a:lnTo>
                      <a:pt x="753" y="131"/>
                    </a:lnTo>
                    <a:lnTo>
                      <a:pt x="688" y="131"/>
                    </a:lnTo>
                    <a:lnTo>
                      <a:pt x="688" y="181"/>
                    </a:lnTo>
                    <a:lnTo>
                      <a:pt x="753" y="1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518D2F9C-EDD2-43A3-9175-66F10AE241D5}"/>
                </a:ext>
              </a:extLst>
            </p:cNvPr>
            <p:cNvGrpSpPr/>
            <p:nvPr/>
          </p:nvGrpSpPr>
          <p:grpSpPr>
            <a:xfrm>
              <a:off x="5188526" y="3863395"/>
              <a:ext cx="164789" cy="161633"/>
              <a:chOff x="10854344" y="2762403"/>
              <a:chExt cx="157159" cy="128810"/>
            </a:xfrm>
          </p:grpSpPr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4914EFA3-3F81-4ACE-B580-DAEEB518E87C}"/>
                  </a:ext>
                </a:extLst>
              </p:cNvPr>
              <p:cNvSpPr/>
              <p:nvPr/>
            </p:nvSpPr>
            <p:spPr bwMode="ltGray">
              <a:xfrm>
                <a:off x="10854344" y="2762403"/>
                <a:ext cx="157159" cy="128810"/>
              </a:xfrm>
              <a:prstGeom prst="ellipse">
                <a:avLst/>
              </a:prstGeom>
              <a:solidFill>
                <a:srgbClr val="DC6900"/>
              </a:solidFill>
              <a:ln w="3175">
                <a:solidFill>
                  <a:srgbClr val="DC69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85" name="Freeform 135">
                <a:extLst>
                  <a:ext uri="{FF2B5EF4-FFF2-40B4-BE49-F238E27FC236}">
                    <a16:creationId xmlns:a16="http://schemas.microsoft.com/office/drawing/2014/main" id="{14F321F5-763D-4AE8-BA55-8ED73833EC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4664" y="2796043"/>
                <a:ext cx="120109" cy="56396"/>
              </a:xfrm>
              <a:custGeom>
                <a:avLst/>
                <a:gdLst>
                  <a:gd name="T0" fmla="*/ 753 w 885"/>
                  <a:gd name="T1" fmla="*/ 108 h 509"/>
                  <a:gd name="T2" fmla="*/ 847 w 885"/>
                  <a:gd name="T3" fmla="*/ 346 h 509"/>
                  <a:gd name="T4" fmla="*/ 872 w 885"/>
                  <a:gd name="T5" fmla="*/ 463 h 509"/>
                  <a:gd name="T6" fmla="*/ 835 w 885"/>
                  <a:gd name="T7" fmla="*/ 498 h 509"/>
                  <a:gd name="T8" fmla="*/ 792 w 885"/>
                  <a:gd name="T9" fmla="*/ 509 h 509"/>
                  <a:gd name="T10" fmla="*/ 742 w 885"/>
                  <a:gd name="T11" fmla="*/ 494 h 509"/>
                  <a:gd name="T12" fmla="*/ 708 w 885"/>
                  <a:gd name="T13" fmla="*/ 451 h 509"/>
                  <a:gd name="T14" fmla="*/ 673 w 885"/>
                  <a:gd name="T15" fmla="*/ 473 h 509"/>
                  <a:gd name="T16" fmla="*/ 637 w 885"/>
                  <a:gd name="T17" fmla="*/ 503 h 509"/>
                  <a:gd name="T18" fmla="*/ 591 w 885"/>
                  <a:gd name="T19" fmla="*/ 509 h 509"/>
                  <a:gd name="T20" fmla="*/ 543 w 885"/>
                  <a:gd name="T21" fmla="*/ 488 h 509"/>
                  <a:gd name="T22" fmla="*/ 512 w 885"/>
                  <a:gd name="T23" fmla="*/ 438 h 509"/>
                  <a:gd name="T24" fmla="*/ 262 w 885"/>
                  <a:gd name="T25" fmla="*/ 449 h 509"/>
                  <a:gd name="T26" fmla="*/ 229 w 885"/>
                  <a:gd name="T27" fmla="*/ 492 h 509"/>
                  <a:gd name="T28" fmla="*/ 178 w 885"/>
                  <a:gd name="T29" fmla="*/ 507 h 509"/>
                  <a:gd name="T30" fmla="*/ 135 w 885"/>
                  <a:gd name="T31" fmla="*/ 496 h 509"/>
                  <a:gd name="T32" fmla="*/ 99 w 885"/>
                  <a:gd name="T33" fmla="*/ 461 h 509"/>
                  <a:gd name="T34" fmla="*/ 0 w 885"/>
                  <a:gd name="T35" fmla="*/ 438 h 509"/>
                  <a:gd name="T36" fmla="*/ 114 w 885"/>
                  <a:gd name="T37" fmla="*/ 96 h 509"/>
                  <a:gd name="T38" fmla="*/ 430 w 885"/>
                  <a:gd name="T39" fmla="*/ 346 h 509"/>
                  <a:gd name="T40" fmla="*/ 207 w 885"/>
                  <a:gd name="T41" fmla="*/ 373 h 509"/>
                  <a:gd name="T42" fmla="*/ 158 w 885"/>
                  <a:gd name="T43" fmla="*/ 368 h 509"/>
                  <a:gd name="T44" fmla="*/ 128 w 885"/>
                  <a:gd name="T45" fmla="*/ 405 h 509"/>
                  <a:gd name="T46" fmla="*/ 143 w 885"/>
                  <a:gd name="T47" fmla="*/ 452 h 509"/>
                  <a:gd name="T48" fmla="*/ 178 w 885"/>
                  <a:gd name="T49" fmla="*/ 467 h 509"/>
                  <a:gd name="T50" fmla="*/ 221 w 885"/>
                  <a:gd name="T51" fmla="*/ 444 h 509"/>
                  <a:gd name="T52" fmla="*/ 226 w 885"/>
                  <a:gd name="T53" fmla="*/ 396 h 509"/>
                  <a:gd name="T54" fmla="*/ 630 w 885"/>
                  <a:gd name="T55" fmla="*/ 376 h 509"/>
                  <a:gd name="T56" fmla="*/ 581 w 885"/>
                  <a:gd name="T57" fmla="*/ 372 h 509"/>
                  <a:gd name="T58" fmla="*/ 551 w 885"/>
                  <a:gd name="T59" fmla="*/ 408 h 509"/>
                  <a:gd name="T60" fmla="*/ 564 w 885"/>
                  <a:gd name="T61" fmla="*/ 455 h 509"/>
                  <a:gd name="T62" fmla="*/ 601 w 885"/>
                  <a:gd name="T63" fmla="*/ 469 h 509"/>
                  <a:gd name="T64" fmla="*/ 643 w 885"/>
                  <a:gd name="T65" fmla="*/ 447 h 509"/>
                  <a:gd name="T66" fmla="*/ 648 w 885"/>
                  <a:gd name="T67" fmla="*/ 398 h 509"/>
                  <a:gd name="T68" fmla="*/ 821 w 885"/>
                  <a:gd name="T69" fmla="*/ 376 h 509"/>
                  <a:gd name="T70" fmla="*/ 772 w 885"/>
                  <a:gd name="T71" fmla="*/ 372 h 509"/>
                  <a:gd name="T72" fmla="*/ 742 w 885"/>
                  <a:gd name="T73" fmla="*/ 408 h 509"/>
                  <a:gd name="T74" fmla="*/ 756 w 885"/>
                  <a:gd name="T75" fmla="*/ 455 h 509"/>
                  <a:gd name="T76" fmla="*/ 792 w 885"/>
                  <a:gd name="T77" fmla="*/ 469 h 509"/>
                  <a:gd name="T78" fmla="*/ 835 w 885"/>
                  <a:gd name="T79" fmla="*/ 447 h 509"/>
                  <a:gd name="T80" fmla="*/ 840 w 885"/>
                  <a:gd name="T81" fmla="*/ 398 h 509"/>
                  <a:gd name="T82" fmla="*/ 155 w 885"/>
                  <a:gd name="T83" fmla="*/ 142 h 509"/>
                  <a:gd name="T84" fmla="*/ 235 w 885"/>
                  <a:gd name="T85" fmla="*/ 250 h 509"/>
                  <a:gd name="T86" fmla="*/ 665 w 885"/>
                  <a:gd name="T87" fmla="*/ 0 h 509"/>
                  <a:gd name="T88" fmla="*/ 776 w 885"/>
                  <a:gd name="T89" fmla="*/ 254 h 509"/>
                  <a:gd name="T90" fmla="*/ 862 w 885"/>
                  <a:gd name="T91" fmla="*/ 55 h 509"/>
                  <a:gd name="T92" fmla="*/ 875 w 885"/>
                  <a:gd name="T93" fmla="*/ 166 h 509"/>
                  <a:gd name="T94" fmla="*/ 846 w 885"/>
                  <a:gd name="T95" fmla="*/ 280 h 509"/>
                  <a:gd name="T96" fmla="*/ 409 w 885"/>
                  <a:gd name="T97" fmla="*/ 298 h 509"/>
                  <a:gd name="T98" fmla="*/ 380 w 885"/>
                  <a:gd name="T99" fmla="*/ 186 h 509"/>
                  <a:gd name="T100" fmla="*/ 383 w 885"/>
                  <a:gd name="T101" fmla="*/ 74 h 509"/>
                  <a:gd name="T102" fmla="*/ 688 w 885"/>
                  <a:gd name="T103" fmla="*/ 0 h 509"/>
                  <a:gd name="T104" fmla="*/ 753 w 885"/>
                  <a:gd name="T105" fmla="*/ 1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509">
                    <a:moveTo>
                      <a:pt x="753" y="108"/>
                    </a:moveTo>
                    <a:lnTo>
                      <a:pt x="753" y="62"/>
                    </a:lnTo>
                    <a:lnTo>
                      <a:pt x="688" y="62"/>
                    </a:lnTo>
                    <a:lnTo>
                      <a:pt x="688" y="108"/>
                    </a:lnTo>
                    <a:lnTo>
                      <a:pt x="753" y="108"/>
                    </a:lnTo>
                    <a:lnTo>
                      <a:pt x="753" y="108"/>
                    </a:lnTo>
                    <a:close/>
                    <a:moveTo>
                      <a:pt x="801" y="328"/>
                    </a:moveTo>
                    <a:lnTo>
                      <a:pt x="801" y="328"/>
                    </a:lnTo>
                    <a:lnTo>
                      <a:pt x="814" y="331"/>
                    </a:lnTo>
                    <a:lnTo>
                      <a:pt x="825" y="334"/>
                    </a:lnTo>
                    <a:lnTo>
                      <a:pt x="836" y="340"/>
                    </a:lnTo>
                    <a:lnTo>
                      <a:pt x="847" y="346"/>
                    </a:lnTo>
                    <a:lnTo>
                      <a:pt x="885" y="346"/>
                    </a:lnTo>
                    <a:lnTo>
                      <a:pt x="885" y="438"/>
                    </a:lnTo>
                    <a:lnTo>
                      <a:pt x="881" y="438"/>
                    </a:lnTo>
                    <a:lnTo>
                      <a:pt x="881" y="438"/>
                    </a:lnTo>
                    <a:lnTo>
                      <a:pt x="877" y="451"/>
                    </a:lnTo>
                    <a:lnTo>
                      <a:pt x="872" y="463"/>
                    </a:lnTo>
                    <a:lnTo>
                      <a:pt x="865" y="473"/>
                    </a:lnTo>
                    <a:lnTo>
                      <a:pt x="856" y="483"/>
                    </a:lnTo>
                    <a:lnTo>
                      <a:pt x="856" y="483"/>
                    </a:lnTo>
                    <a:lnTo>
                      <a:pt x="850" y="488"/>
                    </a:lnTo>
                    <a:lnTo>
                      <a:pt x="843" y="494"/>
                    </a:lnTo>
                    <a:lnTo>
                      <a:pt x="835" y="498"/>
                    </a:lnTo>
                    <a:lnTo>
                      <a:pt x="827" y="503"/>
                    </a:lnTo>
                    <a:lnTo>
                      <a:pt x="820" y="505"/>
                    </a:lnTo>
                    <a:lnTo>
                      <a:pt x="811" y="507"/>
                    </a:lnTo>
                    <a:lnTo>
                      <a:pt x="802" y="509"/>
                    </a:lnTo>
                    <a:lnTo>
                      <a:pt x="792" y="509"/>
                    </a:lnTo>
                    <a:lnTo>
                      <a:pt x="792" y="509"/>
                    </a:lnTo>
                    <a:lnTo>
                      <a:pt x="783" y="509"/>
                    </a:lnTo>
                    <a:lnTo>
                      <a:pt x="774" y="507"/>
                    </a:lnTo>
                    <a:lnTo>
                      <a:pt x="765" y="505"/>
                    </a:lnTo>
                    <a:lnTo>
                      <a:pt x="756" y="503"/>
                    </a:lnTo>
                    <a:lnTo>
                      <a:pt x="749" y="498"/>
                    </a:lnTo>
                    <a:lnTo>
                      <a:pt x="742" y="494"/>
                    </a:lnTo>
                    <a:lnTo>
                      <a:pt x="734" y="488"/>
                    </a:lnTo>
                    <a:lnTo>
                      <a:pt x="728" y="483"/>
                    </a:lnTo>
                    <a:lnTo>
                      <a:pt x="728" y="483"/>
                    </a:lnTo>
                    <a:lnTo>
                      <a:pt x="720" y="473"/>
                    </a:lnTo>
                    <a:lnTo>
                      <a:pt x="713" y="463"/>
                    </a:lnTo>
                    <a:lnTo>
                      <a:pt x="708" y="451"/>
                    </a:lnTo>
                    <a:lnTo>
                      <a:pt x="703" y="438"/>
                    </a:lnTo>
                    <a:lnTo>
                      <a:pt x="690" y="438"/>
                    </a:lnTo>
                    <a:lnTo>
                      <a:pt x="690" y="438"/>
                    </a:lnTo>
                    <a:lnTo>
                      <a:pt x="685" y="451"/>
                    </a:lnTo>
                    <a:lnTo>
                      <a:pt x="681" y="463"/>
                    </a:lnTo>
                    <a:lnTo>
                      <a:pt x="673" y="473"/>
                    </a:lnTo>
                    <a:lnTo>
                      <a:pt x="665" y="483"/>
                    </a:lnTo>
                    <a:lnTo>
                      <a:pt x="665" y="483"/>
                    </a:lnTo>
                    <a:lnTo>
                      <a:pt x="659" y="488"/>
                    </a:lnTo>
                    <a:lnTo>
                      <a:pt x="652" y="494"/>
                    </a:lnTo>
                    <a:lnTo>
                      <a:pt x="644" y="498"/>
                    </a:lnTo>
                    <a:lnTo>
                      <a:pt x="637" y="503"/>
                    </a:lnTo>
                    <a:lnTo>
                      <a:pt x="628" y="505"/>
                    </a:lnTo>
                    <a:lnTo>
                      <a:pt x="619" y="507"/>
                    </a:lnTo>
                    <a:lnTo>
                      <a:pt x="610" y="509"/>
                    </a:lnTo>
                    <a:lnTo>
                      <a:pt x="601" y="509"/>
                    </a:lnTo>
                    <a:lnTo>
                      <a:pt x="601" y="509"/>
                    </a:lnTo>
                    <a:lnTo>
                      <a:pt x="591" y="509"/>
                    </a:lnTo>
                    <a:lnTo>
                      <a:pt x="582" y="507"/>
                    </a:lnTo>
                    <a:lnTo>
                      <a:pt x="573" y="505"/>
                    </a:lnTo>
                    <a:lnTo>
                      <a:pt x="566" y="503"/>
                    </a:lnTo>
                    <a:lnTo>
                      <a:pt x="558" y="498"/>
                    </a:lnTo>
                    <a:lnTo>
                      <a:pt x="550" y="494"/>
                    </a:lnTo>
                    <a:lnTo>
                      <a:pt x="543" y="488"/>
                    </a:lnTo>
                    <a:lnTo>
                      <a:pt x="537" y="483"/>
                    </a:lnTo>
                    <a:lnTo>
                      <a:pt x="537" y="483"/>
                    </a:lnTo>
                    <a:lnTo>
                      <a:pt x="528" y="473"/>
                    </a:lnTo>
                    <a:lnTo>
                      <a:pt x="521" y="463"/>
                    </a:lnTo>
                    <a:lnTo>
                      <a:pt x="516" y="451"/>
                    </a:lnTo>
                    <a:lnTo>
                      <a:pt x="512" y="438"/>
                    </a:lnTo>
                    <a:lnTo>
                      <a:pt x="336" y="438"/>
                    </a:lnTo>
                    <a:lnTo>
                      <a:pt x="306" y="438"/>
                    </a:lnTo>
                    <a:lnTo>
                      <a:pt x="301" y="438"/>
                    </a:lnTo>
                    <a:lnTo>
                      <a:pt x="267" y="438"/>
                    </a:lnTo>
                    <a:lnTo>
                      <a:pt x="267" y="438"/>
                    </a:lnTo>
                    <a:lnTo>
                      <a:pt x="262" y="449"/>
                    </a:lnTo>
                    <a:lnTo>
                      <a:pt x="258" y="461"/>
                    </a:lnTo>
                    <a:lnTo>
                      <a:pt x="250" y="471"/>
                    </a:lnTo>
                    <a:lnTo>
                      <a:pt x="242" y="480"/>
                    </a:lnTo>
                    <a:lnTo>
                      <a:pt x="242" y="480"/>
                    </a:lnTo>
                    <a:lnTo>
                      <a:pt x="236" y="486"/>
                    </a:lnTo>
                    <a:lnTo>
                      <a:pt x="229" y="492"/>
                    </a:lnTo>
                    <a:lnTo>
                      <a:pt x="221" y="496"/>
                    </a:lnTo>
                    <a:lnTo>
                      <a:pt x="214" y="499"/>
                    </a:lnTo>
                    <a:lnTo>
                      <a:pt x="206" y="503"/>
                    </a:lnTo>
                    <a:lnTo>
                      <a:pt x="197" y="505"/>
                    </a:lnTo>
                    <a:lnTo>
                      <a:pt x="188" y="506"/>
                    </a:lnTo>
                    <a:lnTo>
                      <a:pt x="178" y="507"/>
                    </a:lnTo>
                    <a:lnTo>
                      <a:pt x="178" y="507"/>
                    </a:lnTo>
                    <a:lnTo>
                      <a:pt x="169" y="506"/>
                    </a:lnTo>
                    <a:lnTo>
                      <a:pt x="160" y="505"/>
                    </a:lnTo>
                    <a:lnTo>
                      <a:pt x="151" y="503"/>
                    </a:lnTo>
                    <a:lnTo>
                      <a:pt x="144" y="499"/>
                    </a:lnTo>
                    <a:lnTo>
                      <a:pt x="135" y="496"/>
                    </a:lnTo>
                    <a:lnTo>
                      <a:pt x="128" y="492"/>
                    </a:lnTo>
                    <a:lnTo>
                      <a:pt x="120" y="486"/>
                    </a:lnTo>
                    <a:lnTo>
                      <a:pt x="114" y="480"/>
                    </a:lnTo>
                    <a:lnTo>
                      <a:pt x="114" y="480"/>
                    </a:lnTo>
                    <a:lnTo>
                      <a:pt x="106" y="471"/>
                    </a:lnTo>
                    <a:lnTo>
                      <a:pt x="99" y="461"/>
                    </a:lnTo>
                    <a:lnTo>
                      <a:pt x="94" y="449"/>
                    </a:lnTo>
                    <a:lnTo>
                      <a:pt x="90" y="438"/>
                    </a:lnTo>
                    <a:lnTo>
                      <a:pt x="84" y="438"/>
                    </a:lnTo>
                    <a:lnTo>
                      <a:pt x="57" y="438"/>
                    </a:lnTo>
                    <a:lnTo>
                      <a:pt x="27" y="438"/>
                    </a:lnTo>
                    <a:lnTo>
                      <a:pt x="0" y="438"/>
                    </a:lnTo>
                    <a:lnTo>
                      <a:pt x="0" y="357"/>
                    </a:lnTo>
                    <a:lnTo>
                      <a:pt x="27" y="357"/>
                    </a:lnTo>
                    <a:lnTo>
                      <a:pt x="27" y="238"/>
                    </a:lnTo>
                    <a:lnTo>
                      <a:pt x="27" y="230"/>
                    </a:lnTo>
                    <a:lnTo>
                      <a:pt x="32" y="222"/>
                    </a:lnTo>
                    <a:lnTo>
                      <a:pt x="114" y="96"/>
                    </a:lnTo>
                    <a:lnTo>
                      <a:pt x="121" y="83"/>
                    </a:lnTo>
                    <a:lnTo>
                      <a:pt x="121" y="83"/>
                    </a:lnTo>
                    <a:lnTo>
                      <a:pt x="336" y="80"/>
                    </a:lnTo>
                    <a:lnTo>
                      <a:pt x="336" y="110"/>
                    </a:lnTo>
                    <a:lnTo>
                      <a:pt x="336" y="346"/>
                    </a:lnTo>
                    <a:lnTo>
                      <a:pt x="430" y="346"/>
                    </a:lnTo>
                    <a:lnTo>
                      <a:pt x="430" y="328"/>
                    </a:lnTo>
                    <a:lnTo>
                      <a:pt x="801" y="328"/>
                    </a:lnTo>
                    <a:lnTo>
                      <a:pt x="801" y="328"/>
                    </a:lnTo>
                    <a:close/>
                    <a:moveTo>
                      <a:pt x="215" y="379"/>
                    </a:moveTo>
                    <a:lnTo>
                      <a:pt x="215" y="379"/>
                    </a:lnTo>
                    <a:lnTo>
                      <a:pt x="207" y="373"/>
                    </a:lnTo>
                    <a:lnTo>
                      <a:pt x="198" y="368"/>
                    </a:lnTo>
                    <a:lnTo>
                      <a:pt x="189" y="365"/>
                    </a:lnTo>
                    <a:lnTo>
                      <a:pt x="178" y="364"/>
                    </a:lnTo>
                    <a:lnTo>
                      <a:pt x="178" y="364"/>
                    </a:lnTo>
                    <a:lnTo>
                      <a:pt x="168" y="365"/>
                    </a:lnTo>
                    <a:lnTo>
                      <a:pt x="158" y="368"/>
                    </a:lnTo>
                    <a:lnTo>
                      <a:pt x="150" y="373"/>
                    </a:lnTo>
                    <a:lnTo>
                      <a:pt x="143" y="379"/>
                    </a:lnTo>
                    <a:lnTo>
                      <a:pt x="143" y="379"/>
                    </a:lnTo>
                    <a:lnTo>
                      <a:pt x="136" y="387"/>
                    </a:lnTo>
                    <a:lnTo>
                      <a:pt x="131" y="396"/>
                    </a:lnTo>
                    <a:lnTo>
                      <a:pt x="128" y="405"/>
                    </a:lnTo>
                    <a:lnTo>
                      <a:pt x="127" y="416"/>
                    </a:lnTo>
                    <a:lnTo>
                      <a:pt x="127" y="416"/>
                    </a:lnTo>
                    <a:lnTo>
                      <a:pt x="128" y="426"/>
                    </a:lnTo>
                    <a:lnTo>
                      <a:pt x="131" y="436"/>
                    </a:lnTo>
                    <a:lnTo>
                      <a:pt x="136" y="444"/>
                    </a:lnTo>
                    <a:lnTo>
                      <a:pt x="143" y="452"/>
                    </a:lnTo>
                    <a:lnTo>
                      <a:pt x="143" y="452"/>
                    </a:lnTo>
                    <a:lnTo>
                      <a:pt x="150" y="458"/>
                    </a:lnTo>
                    <a:lnTo>
                      <a:pt x="158" y="463"/>
                    </a:lnTo>
                    <a:lnTo>
                      <a:pt x="168" y="466"/>
                    </a:lnTo>
                    <a:lnTo>
                      <a:pt x="178" y="467"/>
                    </a:lnTo>
                    <a:lnTo>
                      <a:pt x="178" y="467"/>
                    </a:lnTo>
                    <a:lnTo>
                      <a:pt x="189" y="466"/>
                    </a:lnTo>
                    <a:lnTo>
                      <a:pt x="198" y="463"/>
                    </a:lnTo>
                    <a:lnTo>
                      <a:pt x="207" y="458"/>
                    </a:lnTo>
                    <a:lnTo>
                      <a:pt x="215" y="452"/>
                    </a:lnTo>
                    <a:lnTo>
                      <a:pt x="215" y="452"/>
                    </a:lnTo>
                    <a:lnTo>
                      <a:pt x="221" y="444"/>
                    </a:lnTo>
                    <a:lnTo>
                      <a:pt x="226" y="436"/>
                    </a:lnTo>
                    <a:lnTo>
                      <a:pt x="229" y="426"/>
                    </a:lnTo>
                    <a:lnTo>
                      <a:pt x="229" y="416"/>
                    </a:lnTo>
                    <a:lnTo>
                      <a:pt x="229" y="416"/>
                    </a:lnTo>
                    <a:lnTo>
                      <a:pt x="229" y="405"/>
                    </a:lnTo>
                    <a:lnTo>
                      <a:pt x="226" y="396"/>
                    </a:lnTo>
                    <a:lnTo>
                      <a:pt x="221" y="387"/>
                    </a:lnTo>
                    <a:lnTo>
                      <a:pt x="215" y="379"/>
                    </a:lnTo>
                    <a:lnTo>
                      <a:pt x="215" y="379"/>
                    </a:lnTo>
                    <a:close/>
                    <a:moveTo>
                      <a:pt x="637" y="383"/>
                    </a:moveTo>
                    <a:lnTo>
                      <a:pt x="637" y="383"/>
                    </a:lnTo>
                    <a:lnTo>
                      <a:pt x="630" y="376"/>
                    </a:lnTo>
                    <a:lnTo>
                      <a:pt x="621" y="372"/>
                    </a:lnTo>
                    <a:lnTo>
                      <a:pt x="611" y="368"/>
                    </a:lnTo>
                    <a:lnTo>
                      <a:pt x="601" y="367"/>
                    </a:lnTo>
                    <a:lnTo>
                      <a:pt x="601" y="367"/>
                    </a:lnTo>
                    <a:lnTo>
                      <a:pt x="590" y="368"/>
                    </a:lnTo>
                    <a:lnTo>
                      <a:pt x="581" y="372"/>
                    </a:lnTo>
                    <a:lnTo>
                      <a:pt x="572" y="376"/>
                    </a:lnTo>
                    <a:lnTo>
                      <a:pt x="564" y="383"/>
                    </a:lnTo>
                    <a:lnTo>
                      <a:pt x="564" y="383"/>
                    </a:lnTo>
                    <a:lnTo>
                      <a:pt x="558" y="389"/>
                    </a:lnTo>
                    <a:lnTo>
                      <a:pt x="553" y="398"/>
                    </a:lnTo>
                    <a:lnTo>
                      <a:pt x="551" y="408"/>
                    </a:lnTo>
                    <a:lnTo>
                      <a:pt x="550" y="418"/>
                    </a:lnTo>
                    <a:lnTo>
                      <a:pt x="550" y="418"/>
                    </a:lnTo>
                    <a:lnTo>
                      <a:pt x="551" y="428"/>
                    </a:lnTo>
                    <a:lnTo>
                      <a:pt x="553" y="438"/>
                    </a:lnTo>
                    <a:lnTo>
                      <a:pt x="558" y="447"/>
                    </a:lnTo>
                    <a:lnTo>
                      <a:pt x="564" y="455"/>
                    </a:lnTo>
                    <a:lnTo>
                      <a:pt x="564" y="455"/>
                    </a:lnTo>
                    <a:lnTo>
                      <a:pt x="572" y="461"/>
                    </a:lnTo>
                    <a:lnTo>
                      <a:pt x="581" y="466"/>
                    </a:lnTo>
                    <a:lnTo>
                      <a:pt x="590" y="468"/>
                    </a:lnTo>
                    <a:lnTo>
                      <a:pt x="601" y="469"/>
                    </a:lnTo>
                    <a:lnTo>
                      <a:pt x="601" y="469"/>
                    </a:lnTo>
                    <a:lnTo>
                      <a:pt x="611" y="468"/>
                    </a:lnTo>
                    <a:lnTo>
                      <a:pt x="621" y="466"/>
                    </a:lnTo>
                    <a:lnTo>
                      <a:pt x="630" y="461"/>
                    </a:lnTo>
                    <a:lnTo>
                      <a:pt x="637" y="455"/>
                    </a:lnTo>
                    <a:lnTo>
                      <a:pt x="637" y="455"/>
                    </a:lnTo>
                    <a:lnTo>
                      <a:pt x="643" y="447"/>
                    </a:lnTo>
                    <a:lnTo>
                      <a:pt x="648" y="438"/>
                    </a:lnTo>
                    <a:lnTo>
                      <a:pt x="651" y="428"/>
                    </a:lnTo>
                    <a:lnTo>
                      <a:pt x="652" y="418"/>
                    </a:lnTo>
                    <a:lnTo>
                      <a:pt x="652" y="418"/>
                    </a:lnTo>
                    <a:lnTo>
                      <a:pt x="651" y="408"/>
                    </a:lnTo>
                    <a:lnTo>
                      <a:pt x="648" y="398"/>
                    </a:lnTo>
                    <a:lnTo>
                      <a:pt x="643" y="389"/>
                    </a:lnTo>
                    <a:lnTo>
                      <a:pt x="637" y="383"/>
                    </a:lnTo>
                    <a:lnTo>
                      <a:pt x="637" y="383"/>
                    </a:lnTo>
                    <a:close/>
                    <a:moveTo>
                      <a:pt x="829" y="383"/>
                    </a:moveTo>
                    <a:lnTo>
                      <a:pt x="829" y="383"/>
                    </a:lnTo>
                    <a:lnTo>
                      <a:pt x="821" y="376"/>
                    </a:lnTo>
                    <a:lnTo>
                      <a:pt x="812" y="372"/>
                    </a:lnTo>
                    <a:lnTo>
                      <a:pt x="803" y="368"/>
                    </a:lnTo>
                    <a:lnTo>
                      <a:pt x="792" y="367"/>
                    </a:lnTo>
                    <a:lnTo>
                      <a:pt x="792" y="367"/>
                    </a:lnTo>
                    <a:lnTo>
                      <a:pt x="782" y="368"/>
                    </a:lnTo>
                    <a:lnTo>
                      <a:pt x="772" y="372"/>
                    </a:lnTo>
                    <a:lnTo>
                      <a:pt x="764" y="376"/>
                    </a:lnTo>
                    <a:lnTo>
                      <a:pt x="756" y="383"/>
                    </a:lnTo>
                    <a:lnTo>
                      <a:pt x="756" y="383"/>
                    </a:lnTo>
                    <a:lnTo>
                      <a:pt x="750" y="389"/>
                    </a:lnTo>
                    <a:lnTo>
                      <a:pt x="745" y="398"/>
                    </a:lnTo>
                    <a:lnTo>
                      <a:pt x="742" y="408"/>
                    </a:lnTo>
                    <a:lnTo>
                      <a:pt x="741" y="418"/>
                    </a:lnTo>
                    <a:lnTo>
                      <a:pt x="741" y="418"/>
                    </a:lnTo>
                    <a:lnTo>
                      <a:pt x="742" y="428"/>
                    </a:lnTo>
                    <a:lnTo>
                      <a:pt x="745" y="438"/>
                    </a:lnTo>
                    <a:lnTo>
                      <a:pt x="750" y="447"/>
                    </a:lnTo>
                    <a:lnTo>
                      <a:pt x="756" y="455"/>
                    </a:lnTo>
                    <a:lnTo>
                      <a:pt x="756" y="455"/>
                    </a:lnTo>
                    <a:lnTo>
                      <a:pt x="764" y="461"/>
                    </a:lnTo>
                    <a:lnTo>
                      <a:pt x="772" y="466"/>
                    </a:lnTo>
                    <a:lnTo>
                      <a:pt x="782" y="468"/>
                    </a:lnTo>
                    <a:lnTo>
                      <a:pt x="792" y="469"/>
                    </a:lnTo>
                    <a:lnTo>
                      <a:pt x="792" y="469"/>
                    </a:lnTo>
                    <a:lnTo>
                      <a:pt x="803" y="468"/>
                    </a:lnTo>
                    <a:lnTo>
                      <a:pt x="812" y="466"/>
                    </a:lnTo>
                    <a:lnTo>
                      <a:pt x="821" y="461"/>
                    </a:lnTo>
                    <a:lnTo>
                      <a:pt x="829" y="455"/>
                    </a:lnTo>
                    <a:lnTo>
                      <a:pt x="829" y="455"/>
                    </a:lnTo>
                    <a:lnTo>
                      <a:pt x="835" y="447"/>
                    </a:lnTo>
                    <a:lnTo>
                      <a:pt x="840" y="438"/>
                    </a:lnTo>
                    <a:lnTo>
                      <a:pt x="843" y="428"/>
                    </a:lnTo>
                    <a:lnTo>
                      <a:pt x="843" y="418"/>
                    </a:lnTo>
                    <a:lnTo>
                      <a:pt x="843" y="418"/>
                    </a:lnTo>
                    <a:lnTo>
                      <a:pt x="843" y="408"/>
                    </a:lnTo>
                    <a:lnTo>
                      <a:pt x="840" y="398"/>
                    </a:lnTo>
                    <a:lnTo>
                      <a:pt x="835" y="389"/>
                    </a:lnTo>
                    <a:lnTo>
                      <a:pt x="829" y="383"/>
                    </a:lnTo>
                    <a:lnTo>
                      <a:pt x="829" y="383"/>
                    </a:lnTo>
                    <a:close/>
                    <a:moveTo>
                      <a:pt x="217" y="250"/>
                    </a:moveTo>
                    <a:lnTo>
                      <a:pt x="217" y="141"/>
                    </a:lnTo>
                    <a:lnTo>
                      <a:pt x="155" y="142"/>
                    </a:lnTo>
                    <a:lnTo>
                      <a:pt x="87" y="247"/>
                    </a:lnTo>
                    <a:lnTo>
                      <a:pt x="87" y="250"/>
                    </a:lnTo>
                    <a:lnTo>
                      <a:pt x="217" y="250"/>
                    </a:lnTo>
                    <a:lnTo>
                      <a:pt x="217" y="250"/>
                    </a:lnTo>
                    <a:close/>
                    <a:moveTo>
                      <a:pt x="235" y="140"/>
                    </a:moveTo>
                    <a:lnTo>
                      <a:pt x="235" y="250"/>
                    </a:lnTo>
                    <a:lnTo>
                      <a:pt x="277" y="250"/>
                    </a:lnTo>
                    <a:lnTo>
                      <a:pt x="277" y="140"/>
                    </a:lnTo>
                    <a:lnTo>
                      <a:pt x="235" y="140"/>
                    </a:lnTo>
                    <a:lnTo>
                      <a:pt x="235" y="140"/>
                    </a:lnTo>
                    <a:close/>
                    <a:moveTo>
                      <a:pt x="409" y="0"/>
                    </a:moveTo>
                    <a:lnTo>
                      <a:pt x="665" y="0"/>
                    </a:lnTo>
                    <a:lnTo>
                      <a:pt x="665" y="254"/>
                    </a:lnTo>
                    <a:lnTo>
                      <a:pt x="688" y="254"/>
                    </a:lnTo>
                    <a:lnTo>
                      <a:pt x="688" y="204"/>
                    </a:lnTo>
                    <a:lnTo>
                      <a:pt x="753" y="204"/>
                    </a:lnTo>
                    <a:lnTo>
                      <a:pt x="753" y="254"/>
                    </a:lnTo>
                    <a:lnTo>
                      <a:pt x="776" y="254"/>
                    </a:lnTo>
                    <a:lnTo>
                      <a:pt x="776" y="0"/>
                    </a:lnTo>
                    <a:lnTo>
                      <a:pt x="839" y="0"/>
                    </a:lnTo>
                    <a:lnTo>
                      <a:pt x="839" y="0"/>
                    </a:lnTo>
                    <a:lnTo>
                      <a:pt x="847" y="19"/>
                    </a:lnTo>
                    <a:lnTo>
                      <a:pt x="855" y="36"/>
                    </a:lnTo>
                    <a:lnTo>
                      <a:pt x="862" y="55"/>
                    </a:lnTo>
                    <a:lnTo>
                      <a:pt x="867" y="74"/>
                    </a:lnTo>
                    <a:lnTo>
                      <a:pt x="872" y="92"/>
                    </a:lnTo>
                    <a:lnTo>
                      <a:pt x="874" y="111"/>
                    </a:lnTo>
                    <a:lnTo>
                      <a:pt x="875" y="130"/>
                    </a:lnTo>
                    <a:lnTo>
                      <a:pt x="876" y="149"/>
                    </a:lnTo>
                    <a:lnTo>
                      <a:pt x="875" y="166"/>
                    </a:lnTo>
                    <a:lnTo>
                      <a:pt x="873" y="185"/>
                    </a:lnTo>
                    <a:lnTo>
                      <a:pt x="870" y="204"/>
                    </a:lnTo>
                    <a:lnTo>
                      <a:pt x="865" y="223"/>
                    </a:lnTo>
                    <a:lnTo>
                      <a:pt x="860" y="242"/>
                    </a:lnTo>
                    <a:lnTo>
                      <a:pt x="854" y="261"/>
                    </a:lnTo>
                    <a:lnTo>
                      <a:pt x="846" y="280"/>
                    </a:lnTo>
                    <a:lnTo>
                      <a:pt x="839" y="298"/>
                    </a:lnTo>
                    <a:lnTo>
                      <a:pt x="801" y="298"/>
                    </a:lnTo>
                    <a:lnTo>
                      <a:pt x="792" y="298"/>
                    </a:lnTo>
                    <a:lnTo>
                      <a:pt x="430" y="298"/>
                    </a:lnTo>
                    <a:lnTo>
                      <a:pt x="419" y="298"/>
                    </a:lnTo>
                    <a:lnTo>
                      <a:pt x="409" y="298"/>
                    </a:lnTo>
                    <a:lnTo>
                      <a:pt x="409" y="298"/>
                    </a:lnTo>
                    <a:lnTo>
                      <a:pt x="396" y="261"/>
                    </a:lnTo>
                    <a:lnTo>
                      <a:pt x="391" y="242"/>
                    </a:lnTo>
                    <a:lnTo>
                      <a:pt x="387" y="224"/>
                    </a:lnTo>
                    <a:lnTo>
                      <a:pt x="382" y="205"/>
                    </a:lnTo>
                    <a:lnTo>
                      <a:pt x="380" y="186"/>
                    </a:lnTo>
                    <a:lnTo>
                      <a:pt x="378" y="167"/>
                    </a:lnTo>
                    <a:lnTo>
                      <a:pt x="377" y="149"/>
                    </a:lnTo>
                    <a:lnTo>
                      <a:pt x="377" y="131"/>
                    </a:lnTo>
                    <a:lnTo>
                      <a:pt x="378" y="112"/>
                    </a:lnTo>
                    <a:lnTo>
                      <a:pt x="380" y="93"/>
                    </a:lnTo>
                    <a:lnTo>
                      <a:pt x="383" y="74"/>
                    </a:lnTo>
                    <a:lnTo>
                      <a:pt x="388" y="55"/>
                    </a:lnTo>
                    <a:lnTo>
                      <a:pt x="393" y="38"/>
                    </a:lnTo>
                    <a:lnTo>
                      <a:pt x="400" y="19"/>
                    </a:lnTo>
                    <a:lnTo>
                      <a:pt x="409" y="0"/>
                    </a:lnTo>
                    <a:lnTo>
                      <a:pt x="409" y="0"/>
                    </a:lnTo>
                    <a:close/>
                    <a:moveTo>
                      <a:pt x="688" y="0"/>
                    </a:moveTo>
                    <a:lnTo>
                      <a:pt x="688" y="39"/>
                    </a:lnTo>
                    <a:lnTo>
                      <a:pt x="753" y="39"/>
                    </a:lnTo>
                    <a:lnTo>
                      <a:pt x="753" y="0"/>
                    </a:lnTo>
                    <a:lnTo>
                      <a:pt x="688" y="0"/>
                    </a:lnTo>
                    <a:lnTo>
                      <a:pt x="688" y="0"/>
                    </a:lnTo>
                    <a:close/>
                    <a:moveTo>
                      <a:pt x="753" y="181"/>
                    </a:moveTo>
                    <a:lnTo>
                      <a:pt x="753" y="131"/>
                    </a:lnTo>
                    <a:lnTo>
                      <a:pt x="688" y="131"/>
                    </a:lnTo>
                    <a:lnTo>
                      <a:pt x="688" y="181"/>
                    </a:lnTo>
                    <a:lnTo>
                      <a:pt x="753" y="1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C4B5878F-86EB-4508-A965-4E411346D2BC}"/>
                </a:ext>
              </a:extLst>
            </p:cNvPr>
            <p:cNvGrpSpPr/>
            <p:nvPr/>
          </p:nvGrpSpPr>
          <p:grpSpPr>
            <a:xfrm>
              <a:off x="5758765" y="3699672"/>
              <a:ext cx="164789" cy="161633"/>
              <a:chOff x="10854344" y="2762403"/>
              <a:chExt cx="157159" cy="128810"/>
            </a:xfrm>
          </p:grpSpPr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EE75034D-5CB8-4363-88AD-DFCDA7B219FF}"/>
                  </a:ext>
                </a:extLst>
              </p:cNvPr>
              <p:cNvSpPr/>
              <p:nvPr/>
            </p:nvSpPr>
            <p:spPr bwMode="ltGray">
              <a:xfrm>
                <a:off x="10854344" y="2762403"/>
                <a:ext cx="157159" cy="128810"/>
              </a:xfrm>
              <a:prstGeom prst="ellipse">
                <a:avLst/>
              </a:prstGeom>
              <a:solidFill>
                <a:srgbClr val="DC6900"/>
              </a:solidFill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83" name="Freeform 135">
                <a:extLst>
                  <a:ext uri="{FF2B5EF4-FFF2-40B4-BE49-F238E27FC236}">
                    <a16:creationId xmlns:a16="http://schemas.microsoft.com/office/drawing/2014/main" id="{AAA15D4B-DD48-4BCF-BF15-CE84D6AE66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74664" y="2796043"/>
                <a:ext cx="120109" cy="56396"/>
              </a:xfrm>
              <a:custGeom>
                <a:avLst/>
                <a:gdLst>
                  <a:gd name="T0" fmla="*/ 753 w 885"/>
                  <a:gd name="T1" fmla="*/ 108 h 509"/>
                  <a:gd name="T2" fmla="*/ 847 w 885"/>
                  <a:gd name="T3" fmla="*/ 346 h 509"/>
                  <a:gd name="T4" fmla="*/ 872 w 885"/>
                  <a:gd name="T5" fmla="*/ 463 h 509"/>
                  <a:gd name="T6" fmla="*/ 835 w 885"/>
                  <a:gd name="T7" fmla="*/ 498 h 509"/>
                  <a:gd name="T8" fmla="*/ 792 w 885"/>
                  <a:gd name="T9" fmla="*/ 509 h 509"/>
                  <a:gd name="T10" fmla="*/ 742 w 885"/>
                  <a:gd name="T11" fmla="*/ 494 h 509"/>
                  <a:gd name="T12" fmla="*/ 708 w 885"/>
                  <a:gd name="T13" fmla="*/ 451 h 509"/>
                  <a:gd name="T14" fmla="*/ 673 w 885"/>
                  <a:gd name="T15" fmla="*/ 473 h 509"/>
                  <a:gd name="T16" fmla="*/ 637 w 885"/>
                  <a:gd name="T17" fmla="*/ 503 h 509"/>
                  <a:gd name="T18" fmla="*/ 591 w 885"/>
                  <a:gd name="T19" fmla="*/ 509 h 509"/>
                  <a:gd name="T20" fmla="*/ 543 w 885"/>
                  <a:gd name="T21" fmla="*/ 488 h 509"/>
                  <a:gd name="T22" fmla="*/ 512 w 885"/>
                  <a:gd name="T23" fmla="*/ 438 h 509"/>
                  <a:gd name="T24" fmla="*/ 262 w 885"/>
                  <a:gd name="T25" fmla="*/ 449 h 509"/>
                  <a:gd name="T26" fmla="*/ 229 w 885"/>
                  <a:gd name="T27" fmla="*/ 492 h 509"/>
                  <a:gd name="T28" fmla="*/ 178 w 885"/>
                  <a:gd name="T29" fmla="*/ 507 h 509"/>
                  <a:gd name="T30" fmla="*/ 135 w 885"/>
                  <a:gd name="T31" fmla="*/ 496 h 509"/>
                  <a:gd name="T32" fmla="*/ 99 w 885"/>
                  <a:gd name="T33" fmla="*/ 461 h 509"/>
                  <a:gd name="T34" fmla="*/ 0 w 885"/>
                  <a:gd name="T35" fmla="*/ 438 h 509"/>
                  <a:gd name="T36" fmla="*/ 114 w 885"/>
                  <a:gd name="T37" fmla="*/ 96 h 509"/>
                  <a:gd name="T38" fmla="*/ 430 w 885"/>
                  <a:gd name="T39" fmla="*/ 346 h 509"/>
                  <a:gd name="T40" fmla="*/ 207 w 885"/>
                  <a:gd name="T41" fmla="*/ 373 h 509"/>
                  <a:gd name="T42" fmla="*/ 158 w 885"/>
                  <a:gd name="T43" fmla="*/ 368 h 509"/>
                  <a:gd name="T44" fmla="*/ 128 w 885"/>
                  <a:gd name="T45" fmla="*/ 405 h 509"/>
                  <a:gd name="T46" fmla="*/ 143 w 885"/>
                  <a:gd name="T47" fmla="*/ 452 h 509"/>
                  <a:gd name="T48" fmla="*/ 178 w 885"/>
                  <a:gd name="T49" fmla="*/ 467 h 509"/>
                  <a:gd name="T50" fmla="*/ 221 w 885"/>
                  <a:gd name="T51" fmla="*/ 444 h 509"/>
                  <a:gd name="T52" fmla="*/ 226 w 885"/>
                  <a:gd name="T53" fmla="*/ 396 h 509"/>
                  <a:gd name="T54" fmla="*/ 630 w 885"/>
                  <a:gd name="T55" fmla="*/ 376 h 509"/>
                  <a:gd name="T56" fmla="*/ 581 w 885"/>
                  <a:gd name="T57" fmla="*/ 372 h 509"/>
                  <a:gd name="T58" fmla="*/ 551 w 885"/>
                  <a:gd name="T59" fmla="*/ 408 h 509"/>
                  <a:gd name="T60" fmla="*/ 564 w 885"/>
                  <a:gd name="T61" fmla="*/ 455 h 509"/>
                  <a:gd name="T62" fmla="*/ 601 w 885"/>
                  <a:gd name="T63" fmla="*/ 469 h 509"/>
                  <a:gd name="T64" fmla="*/ 643 w 885"/>
                  <a:gd name="T65" fmla="*/ 447 h 509"/>
                  <a:gd name="T66" fmla="*/ 648 w 885"/>
                  <a:gd name="T67" fmla="*/ 398 h 509"/>
                  <a:gd name="T68" fmla="*/ 821 w 885"/>
                  <a:gd name="T69" fmla="*/ 376 h 509"/>
                  <a:gd name="T70" fmla="*/ 772 w 885"/>
                  <a:gd name="T71" fmla="*/ 372 h 509"/>
                  <a:gd name="T72" fmla="*/ 742 w 885"/>
                  <a:gd name="T73" fmla="*/ 408 h 509"/>
                  <a:gd name="T74" fmla="*/ 756 w 885"/>
                  <a:gd name="T75" fmla="*/ 455 h 509"/>
                  <a:gd name="T76" fmla="*/ 792 w 885"/>
                  <a:gd name="T77" fmla="*/ 469 h 509"/>
                  <a:gd name="T78" fmla="*/ 835 w 885"/>
                  <a:gd name="T79" fmla="*/ 447 h 509"/>
                  <a:gd name="T80" fmla="*/ 840 w 885"/>
                  <a:gd name="T81" fmla="*/ 398 h 509"/>
                  <a:gd name="T82" fmla="*/ 155 w 885"/>
                  <a:gd name="T83" fmla="*/ 142 h 509"/>
                  <a:gd name="T84" fmla="*/ 235 w 885"/>
                  <a:gd name="T85" fmla="*/ 250 h 509"/>
                  <a:gd name="T86" fmla="*/ 665 w 885"/>
                  <a:gd name="T87" fmla="*/ 0 h 509"/>
                  <a:gd name="T88" fmla="*/ 776 w 885"/>
                  <a:gd name="T89" fmla="*/ 254 h 509"/>
                  <a:gd name="T90" fmla="*/ 862 w 885"/>
                  <a:gd name="T91" fmla="*/ 55 h 509"/>
                  <a:gd name="T92" fmla="*/ 875 w 885"/>
                  <a:gd name="T93" fmla="*/ 166 h 509"/>
                  <a:gd name="T94" fmla="*/ 846 w 885"/>
                  <a:gd name="T95" fmla="*/ 280 h 509"/>
                  <a:gd name="T96" fmla="*/ 409 w 885"/>
                  <a:gd name="T97" fmla="*/ 298 h 509"/>
                  <a:gd name="T98" fmla="*/ 380 w 885"/>
                  <a:gd name="T99" fmla="*/ 186 h 509"/>
                  <a:gd name="T100" fmla="*/ 383 w 885"/>
                  <a:gd name="T101" fmla="*/ 74 h 509"/>
                  <a:gd name="T102" fmla="*/ 688 w 885"/>
                  <a:gd name="T103" fmla="*/ 0 h 509"/>
                  <a:gd name="T104" fmla="*/ 753 w 885"/>
                  <a:gd name="T105" fmla="*/ 181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5" h="509">
                    <a:moveTo>
                      <a:pt x="753" y="108"/>
                    </a:moveTo>
                    <a:lnTo>
                      <a:pt x="753" y="62"/>
                    </a:lnTo>
                    <a:lnTo>
                      <a:pt x="688" y="62"/>
                    </a:lnTo>
                    <a:lnTo>
                      <a:pt x="688" y="108"/>
                    </a:lnTo>
                    <a:lnTo>
                      <a:pt x="753" y="108"/>
                    </a:lnTo>
                    <a:lnTo>
                      <a:pt x="753" y="108"/>
                    </a:lnTo>
                    <a:close/>
                    <a:moveTo>
                      <a:pt x="801" y="328"/>
                    </a:moveTo>
                    <a:lnTo>
                      <a:pt x="801" y="328"/>
                    </a:lnTo>
                    <a:lnTo>
                      <a:pt x="814" y="331"/>
                    </a:lnTo>
                    <a:lnTo>
                      <a:pt x="825" y="334"/>
                    </a:lnTo>
                    <a:lnTo>
                      <a:pt x="836" y="340"/>
                    </a:lnTo>
                    <a:lnTo>
                      <a:pt x="847" y="346"/>
                    </a:lnTo>
                    <a:lnTo>
                      <a:pt x="885" y="346"/>
                    </a:lnTo>
                    <a:lnTo>
                      <a:pt x="885" y="438"/>
                    </a:lnTo>
                    <a:lnTo>
                      <a:pt x="881" y="438"/>
                    </a:lnTo>
                    <a:lnTo>
                      <a:pt x="881" y="438"/>
                    </a:lnTo>
                    <a:lnTo>
                      <a:pt x="877" y="451"/>
                    </a:lnTo>
                    <a:lnTo>
                      <a:pt x="872" y="463"/>
                    </a:lnTo>
                    <a:lnTo>
                      <a:pt x="865" y="473"/>
                    </a:lnTo>
                    <a:lnTo>
                      <a:pt x="856" y="483"/>
                    </a:lnTo>
                    <a:lnTo>
                      <a:pt x="856" y="483"/>
                    </a:lnTo>
                    <a:lnTo>
                      <a:pt x="850" y="488"/>
                    </a:lnTo>
                    <a:lnTo>
                      <a:pt x="843" y="494"/>
                    </a:lnTo>
                    <a:lnTo>
                      <a:pt x="835" y="498"/>
                    </a:lnTo>
                    <a:lnTo>
                      <a:pt x="827" y="503"/>
                    </a:lnTo>
                    <a:lnTo>
                      <a:pt x="820" y="505"/>
                    </a:lnTo>
                    <a:lnTo>
                      <a:pt x="811" y="507"/>
                    </a:lnTo>
                    <a:lnTo>
                      <a:pt x="802" y="509"/>
                    </a:lnTo>
                    <a:lnTo>
                      <a:pt x="792" y="509"/>
                    </a:lnTo>
                    <a:lnTo>
                      <a:pt x="792" y="509"/>
                    </a:lnTo>
                    <a:lnTo>
                      <a:pt x="783" y="509"/>
                    </a:lnTo>
                    <a:lnTo>
                      <a:pt x="774" y="507"/>
                    </a:lnTo>
                    <a:lnTo>
                      <a:pt x="765" y="505"/>
                    </a:lnTo>
                    <a:lnTo>
                      <a:pt x="756" y="503"/>
                    </a:lnTo>
                    <a:lnTo>
                      <a:pt x="749" y="498"/>
                    </a:lnTo>
                    <a:lnTo>
                      <a:pt x="742" y="494"/>
                    </a:lnTo>
                    <a:lnTo>
                      <a:pt x="734" y="488"/>
                    </a:lnTo>
                    <a:lnTo>
                      <a:pt x="728" y="483"/>
                    </a:lnTo>
                    <a:lnTo>
                      <a:pt x="728" y="483"/>
                    </a:lnTo>
                    <a:lnTo>
                      <a:pt x="720" y="473"/>
                    </a:lnTo>
                    <a:lnTo>
                      <a:pt x="713" y="463"/>
                    </a:lnTo>
                    <a:lnTo>
                      <a:pt x="708" y="451"/>
                    </a:lnTo>
                    <a:lnTo>
                      <a:pt x="703" y="438"/>
                    </a:lnTo>
                    <a:lnTo>
                      <a:pt x="690" y="438"/>
                    </a:lnTo>
                    <a:lnTo>
                      <a:pt x="690" y="438"/>
                    </a:lnTo>
                    <a:lnTo>
                      <a:pt x="685" y="451"/>
                    </a:lnTo>
                    <a:lnTo>
                      <a:pt x="681" y="463"/>
                    </a:lnTo>
                    <a:lnTo>
                      <a:pt x="673" y="473"/>
                    </a:lnTo>
                    <a:lnTo>
                      <a:pt x="665" y="483"/>
                    </a:lnTo>
                    <a:lnTo>
                      <a:pt x="665" y="483"/>
                    </a:lnTo>
                    <a:lnTo>
                      <a:pt x="659" y="488"/>
                    </a:lnTo>
                    <a:lnTo>
                      <a:pt x="652" y="494"/>
                    </a:lnTo>
                    <a:lnTo>
                      <a:pt x="644" y="498"/>
                    </a:lnTo>
                    <a:lnTo>
                      <a:pt x="637" y="503"/>
                    </a:lnTo>
                    <a:lnTo>
                      <a:pt x="628" y="505"/>
                    </a:lnTo>
                    <a:lnTo>
                      <a:pt x="619" y="507"/>
                    </a:lnTo>
                    <a:lnTo>
                      <a:pt x="610" y="509"/>
                    </a:lnTo>
                    <a:lnTo>
                      <a:pt x="601" y="509"/>
                    </a:lnTo>
                    <a:lnTo>
                      <a:pt x="601" y="509"/>
                    </a:lnTo>
                    <a:lnTo>
                      <a:pt x="591" y="509"/>
                    </a:lnTo>
                    <a:lnTo>
                      <a:pt x="582" y="507"/>
                    </a:lnTo>
                    <a:lnTo>
                      <a:pt x="573" y="505"/>
                    </a:lnTo>
                    <a:lnTo>
                      <a:pt x="566" y="503"/>
                    </a:lnTo>
                    <a:lnTo>
                      <a:pt x="558" y="498"/>
                    </a:lnTo>
                    <a:lnTo>
                      <a:pt x="550" y="494"/>
                    </a:lnTo>
                    <a:lnTo>
                      <a:pt x="543" y="488"/>
                    </a:lnTo>
                    <a:lnTo>
                      <a:pt x="537" y="483"/>
                    </a:lnTo>
                    <a:lnTo>
                      <a:pt x="537" y="483"/>
                    </a:lnTo>
                    <a:lnTo>
                      <a:pt x="528" y="473"/>
                    </a:lnTo>
                    <a:lnTo>
                      <a:pt x="521" y="463"/>
                    </a:lnTo>
                    <a:lnTo>
                      <a:pt x="516" y="451"/>
                    </a:lnTo>
                    <a:lnTo>
                      <a:pt x="512" y="438"/>
                    </a:lnTo>
                    <a:lnTo>
                      <a:pt x="336" y="438"/>
                    </a:lnTo>
                    <a:lnTo>
                      <a:pt x="306" y="438"/>
                    </a:lnTo>
                    <a:lnTo>
                      <a:pt x="301" y="438"/>
                    </a:lnTo>
                    <a:lnTo>
                      <a:pt x="267" y="438"/>
                    </a:lnTo>
                    <a:lnTo>
                      <a:pt x="267" y="438"/>
                    </a:lnTo>
                    <a:lnTo>
                      <a:pt x="262" y="449"/>
                    </a:lnTo>
                    <a:lnTo>
                      <a:pt x="258" y="461"/>
                    </a:lnTo>
                    <a:lnTo>
                      <a:pt x="250" y="471"/>
                    </a:lnTo>
                    <a:lnTo>
                      <a:pt x="242" y="480"/>
                    </a:lnTo>
                    <a:lnTo>
                      <a:pt x="242" y="480"/>
                    </a:lnTo>
                    <a:lnTo>
                      <a:pt x="236" y="486"/>
                    </a:lnTo>
                    <a:lnTo>
                      <a:pt x="229" y="492"/>
                    </a:lnTo>
                    <a:lnTo>
                      <a:pt x="221" y="496"/>
                    </a:lnTo>
                    <a:lnTo>
                      <a:pt x="214" y="499"/>
                    </a:lnTo>
                    <a:lnTo>
                      <a:pt x="206" y="503"/>
                    </a:lnTo>
                    <a:lnTo>
                      <a:pt x="197" y="505"/>
                    </a:lnTo>
                    <a:lnTo>
                      <a:pt x="188" y="506"/>
                    </a:lnTo>
                    <a:lnTo>
                      <a:pt x="178" y="507"/>
                    </a:lnTo>
                    <a:lnTo>
                      <a:pt x="178" y="507"/>
                    </a:lnTo>
                    <a:lnTo>
                      <a:pt x="169" y="506"/>
                    </a:lnTo>
                    <a:lnTo>
                      <a:pt x="160" y="505"/>
                    </a:lnTo>
                    <a:lnTo>
                      <a:pt x="151" y="503"/>
                    </a:lnTo>
                    <a:lnTo>
                      <a:pt x="144" y="499"/>
                    </a:lnTo>
                    <a:lnTo>
                      <a:pt x="135" y="496"/>
                    </a:lnTo>
                    <a:lnTo>
                      <a:pt x="128" y="492"/>
                    </a:lnTo>
                    <a:lnTo>
                      <a:pt x="120" y="486"/>
                    </a:lnTo>
                    <a:lnTo>
                      <a:pt x="114" y="480"/>
                    </a:lnTo>
                    <a:lnTo>
                      <a:pt x="114" y="480"/>
                    </a:lnTo>
                    <a:lnTo>
                      <a:pt x="106" y="471"/>
                    </a:lnTo>
                    <a:lnTo>
                      <a:pt x="99" y="461"/>
                    </a:lnTo>
                    <a:lnTo>
                      <a:pt x="94" y="449"/>
                    </a:lnTo>
                    <a:lnTo>
                      <a:pt x="90" y="438"/>
                    </a:lnTo>
                    <a:lnTo>
                      <a:pt x="84" y="438"/>
                    </a:lnTo>
                    <a:lnTo>
                      <a:pt x="57" y="438"/>
                    </a:lnTo>
                    <a:lnTo>
                      <a:pt x="27" y="438"/>
                    </a:lnTo>
                    <a:lnTo>
                      <a:pt x="0" y="438"/>
                    </a:lnTo>
                    <a:lnTo>
                      <a:pt x="0" y="357"/>
                    </a:lnTo>
                    <a:lnTo>
                      <a:pt x="27" y="357"/>
                    </a:lnTo>
                    <a:lnTo>
                      <a:pt x="27" y="238"/>
                    </a:lnTo>
                    <a:lnTo>
                      <a:pt x="27" y="230"/>
                    </a:lnTo>
                    <a:lnTo>
                      <a:pt x="32" y="222"/>
                    </a:lnTo>
                    <a:lnTo>
                      <a:pt x="114" y="96"/>
                    </a:lnTo>
                    <a:lnTo>
                      <a:pt x="121" y="83"/>
                    </a:lnTo>
                    <a:lnTo>
                      <a:pt x="121" y="83"/>
                    </a:lnTo>
                    <a:lnTo>
                      <a:pt x="336" y="80"/>
                    </a:lnTo>
                    <a:lnTo>
                      <a:pt x="336" y="110"/>
                    </a:lnTo>
                    <a:lnTo>
                      <a:pt x="336" y="346"/>
                    </a:lnTo>
                    <a:lnTo>
                      <a:pt x="430" y="346"/>
                    </a:lnTo>
                    <a:lnTo>
                      <a:pt x="430" y="328"/>
                    </a:lnTo>
                    <a:lnTo>
                      <a:pt x="801" y="328"/>
                    </a:lnTo>
                    <a:lnTo>
                      <a:pt x="801" y="328"/>
                    </a:lnTo>
                    <a:close/>
                    <a:moveTo>
                      <a:pt x="215" y="379"/>
                    </a:moveTo>
                    <a:lnTo>
                      <a:pt x="215" y="379"/>
                    </a:lnTo>
                    <a:lnTo>
                      <a:pt x="207" y="373"/>
                    </a:lnTo>
                    <a:lnTo>
                      <a:pt x="198" y="368"/>
                    </a:lnTo>
                    <a:lnTo>
                      <a:pt x="189" y="365"/>
                    </a:lnTo>
                    <a:lnTo>
                      <a:pt x="178" y="364"/>
                    </a:lnTo>
                    <a:lnTo>
                      <a:pt x="178" y="364"/>
                    </a:lnTo>
                    <a:lnTo>
                      <a:pt x="168" y="365"/>
                    </a:lnTo>
                    <a:lnTo>
                      <a:pt x="158" y="368"/>
                    </a:lnTo>
                    <a:lnTo>
                      <a:pt x="150" y="373"/>
                    </a:lnTo>
                    <a:lnTo>
                      <a:pt x="143" y="379"/>
                    </a:lnTo>
                    <a:lnTo>
                      <a:pt x="143" y="379"/>
                    </a:lnTo>
                    <a:lnTo>
                      <a:pt x="136" y="387"/>
                    </a:lnTo>
                    <a:lnTo>
                      <a:pt x="131" y="396"/>
                    </a:lnTo>
                    <a:lnTo>
                      <a:pt x="128" y="405"/>
                    </a:lnTo>
                    <a:lnTo>
                      <a:pt x="127" y="416"/>
                    </a:lnTo>
                    <a:lnTo>
                      <a:pt x="127" y="416"/>
                    </a:lnTo>
                    <a:lnTo>
                      <a:pt x="128" y="426"/>
                    </a:lnTo>
                    <a:lnTo>
                      <a:pt x="131" y="436"/>
                    </a:lnTo>
                    <a:lnTo>
                      <a:pt x="136" y="444"/>
                    </a:lnTo>
                    <a:lnTo>
                      <a:pt x="143" y="452"/>
                    </a:lnTo>
                    <a:lnTo>
                      <a:pt x="143" y="452"/>
                    </a:lnTo>
                    <a:lnTo>
                      <a:pt x="150" y="458"/>
                    </a:lnTo>
                    <a:lnTo>
                      <a:pt x="158" y="463"/>
                    </a:lnTo>
                    <a:lnTo>
                      <a:pt x="168" y="466"/>
                    </a:lnTo>
                    <a:lnTo>
                      <a:pt x="178" y="467"/>
                    </a:lnTo>
                    <a:lnTo>
                      <a:pt x="178" y="467"/>
                    </a:lnTo>
                    <a:lnTo>
                      <a:pt x="189" y="466"/>
                    </a:lnTo>
                    <a:lnTo>
                      <a:pt x="198" y="463"/>
                    </a:lnTo>
                    <a:lnTo>
                      <a:pt x="207" y="458"/>
                    </a:lnTo>
                    <a:lnTo>
                      <a:pt x="215" y="452"/>
                    </a:lnTo>
                    <a:lnTo>
                      <a:pt x="215" y="452"/>
                    </a:lnTo>
                    <a:lnTo>
                      <a:pt x="221" y="444"/>
                    </a:lnTo>
                    <a:lnTo>
                      <a:pt x="226" y="436"/>
                    </a:lnTo>
                    <a:lnTo>
                      <a:pt x="229" y="426"/>
                    </a:lnTo>
                    <a:lnTo>
                      <a:pt x="229" y="416"/>
                    </a:lnTo>
                    <a:lnTo>
                      <a:pt x="229" y="416"/>
                    </a:lnTo>
                    <a:lnTo>
                      <a:pt x="229" y="405"/>
                    </a:lnTo>
                    <a:lnTo>
                      <a:pt x="226" y="396"/>
                    </a:lnTo>
                    <a:lnTo>
                      <a:pt x="221" y="387"/>
                    </a:lnTo>
                    <a:lnTo>
                      <a:pt x="215" y="379"/>
                    </a:lnTo>
                    <a:lnTo>
                      <a:pt x="215" y="379"/>
                    </a:lnTo>
                    <a:close/>
                    <a:moveTo>
                      <a:pt x="637" y="383"/>
                    </a:moveTo>
                    <a:lnTo>
                      <a:pt x="637" y="383"/>
                    </a:lnTo>
                    <a:lnTo>
                      <a:pt x="630" y="376"/>
                    </a:lnTo>
                    <a:lnTo>
                      <a:pt x="621" y="372"/>
                    </a:lnTo>
                    <a:lnTo>
                      <a:pt x="611" y="368"/>
                    </a:lnTo>
                    <a:lnTo>
                      <a:pt x="601" y="367"/>
                    </a:lnTo>
                    <a:lnTo>
                      <a:pt x="601" y="367"/>
                    </a:lnTo>
                    <a:lnTo>
                      <a:pt x="590" y="368"/>
                    </a:lnTo>
                    <a:lnTo>
                      <a:pt x="581" y="372"/>
                    </a:lnTo>
                    <a:lnTo>
                      <a:pt x="572" y="376"/>
                    </a:lnTo>
                    <a:lnTo>
                      <a:pt x="564" y="383"/>
                    </a:lnTo>
                    <a:lnTo>
                      <a:pt x="564" y="383"/>
                    </a:lnTo>
                    <a:lnTo>
                      <a:pt x="558" y="389"/>
                    </a:lnTo>
                    <a:lnTo>
                      <a:pt x="553" y="398"/>
                    </a:lnTo>
                    <a:lnTo>
                      <a:pt x="551" y="408"/>
                    </a:lnTo>
                    <a:lnTo>
                      <a:pt x="550" y="418"/>
                    </a:lnTo>
                    <a:lnTo>
                      <a:pt x="550" y="418"/>
                    </a:lnTo>
                    <a:lnTo>
                      <a:pt x="551" y="428"/>
                    </a:lnTo>
                    <a:lnTo>
                      <a:pt x="553" y="438"/>
                    </a:lnTo>
                    <a:lnTo>
                      <a:pt x="558" y="447"/>
                    </a:lnTo>
                    <a:lnTo>
                      <a:pt x="564" y="455"/>
                    </a:lnTo>
                    <a:lnTo>
                      <a:pt x="564" y="455"/>
                    </a:lnTo>
                    <a:lnTo>
                      <a:pt x="572" y="461"/>
                    </a:lnTo>
                    <a:lnTo>
                      <a:pt x="581" y="466"/>
                    </a:lnTo>
                    <a:lnTo>
                      <a:pt x="590" y="468"/>
                    </a:lnTo>
                    <a:lnTo>
                      <a:pt x="601" y="469"/>
                    </a:lnTo>
                    <a:lnTo>
                      <a:pt x="601" y="469"/>
                    </a:lnTo>
                    <a:lnTo>
                      <a:pt x="611" y="468"/>
                    </a:lnTo>
                    <a:lnTo>
                      <a:pt x="621" y="466"/>
                    </a:lnTo>
                    <a:lnTo>
                      <a:pt x="630" y="461"/>
                    </a:lnTo>
                    <a:lnTo>
                      <a:pt x="637" y="455"/>
                    </a:lnTo>
                    <a:lnTo>
                      <a:pt x="637" y="455"/>
                    </a:lnTo>
                    <a:lnTo>
                      <a:pt x="643" y="447"/>
                    </a:lnTo>
                    <a:lnTo>
                      <a:pt x="648" y="438"/>
                    </a:lnTo>
                    <a:lnTo>
                      <a:pt x="651" y="428"/>
                    </a:lnTo>
                    <a:lnTo>
                      <a:pt x="652" y="418"/>
                    </a:lnTo>
                    <a:lnTo>
                      <a:pt x="652" y="418"/>
                    </a:lnTo>
                    <a:lnTo>
                      <a:pt x="651" y="408"/>
                    </a:lnTo>
                    <a:lnTo>
                      <a:pt x="648" y="398"/>
                    </a:lnTo>
                    <a:lnTo>
                      <a:pt x="643" y="389"/>
                    </a:lnTo>
                    <a:lnTo>
                      <a:pt x="637" y="383"/>
                    </a:lnTo>
                    <a:lnTo>
                      <a:pt x="637" y="383"/>
                    </a:lnTo>
                    <a:close/>
                    <a:moveTo>
                      <a:pt x="829" y="383"/>
                    </a:moveTo>
                    <a:lnTo>
                      <a:pt x="829" y="383"/>
                    </a:lnTo>
                    <a:lnTo>
                      <a:pt x="821" y="376"/>
                    </a:lnTo>
                    <a:lnTo>
                      <a:pt x="812" y="372"/>
                    </a:lnTo>
                    <a:lnTo>
                      <a:pt x="803" y="368"/>
                    </a:lnTo>
                    <a:lnTo>
                      <a:pt x="792" y="367"/>
                    </a:lnTo>
                    <a:lnTo>
                      <a:pt x="792" y="367"/>
                    </a:lnTo>
                    <a:lnTo>
                      <a:pt x="782" y="368"/>
                    </a:lnTo>
                    <a:lnTo>
                      <a:pt x="772" y="372"/>
                    </a:lnTo>
                    <a:lnTo>
                      <a:pt x="764" y="376"/>
                    </a:lnTo>
                    <a:lnTo>
                      <a:pt x="756" y="383"/>
                    </a:lnTo>
                    <a:lnTo>
                      <a:pt x="756" y="383"/>
                    </a:lnTo>
                    <a:lnTo>
                      <a:pt x="750" y="389"/>
                    </a:lnTo>
                    <a:lnTo>
                      <a:pt x="745" y="398"/>
                    </a:lnTo>
                    <a:lnTo>
                      <a:pt x="742" y="408"/>
                    </a:lnTo>
                    <a:lnTo>
                      <a:pt x="741" y="418"/>
                    </a:lnTo>
                    <a:lnTo>
                      <a:pt x="741" y="418"/>
                    </a:lnTo>
                    <a:lnTo>
                      <a:pt x="742" y="428"/>
                    </a:lnTo>
                    <a:lnTo>
                      <a:pt x="745" y="438"/>
                    </a:lnTo>
                    <a:lnTo>
                      <a:pt x="750" y="447"/>
                    </a:lnTo>
                    <a:lnTo>
                      <a:pt x="756" y="455"/>
                    </a:lnTo>
                    <a:lnTo>
                      <a:pt x="756" y="455"/>
                    </a:lnTo>
                    <a:lnTo>
                      <a:pt x="764" y="461"/>
                    </a:lnTo>
                    <a:lnTo>
                      <a:pt x="772" y="466"/>
                    </a:lnTo>
                    <a:lnTo>
                      <a:pt x="782" y="468"/>
                    </a:lnTo>
                    <a:lnTo>
                      <a:pt x="792" y="469"/>
                    </a:lnTo>
                    <a:lnTo>
                      <a:pt x="792" y="469"/>
                    </a:lnTo>
                    <a:lnTo>
                      <a:pt x="803" y="468"/>
                    </a:lnTo>
                    <a:lnTo>
                      <a:pt x="812" y="466"/>
                    </a:lnTo>
                    <a:lnTo>
                      <a:pt x="821" y="461"/>
                    </a:lnTo>
                    <a:lnTo>
                      <a:pt x="829" y="455"/>
                    </a:lnTo>
                    <a:lnTo>
                      <a:pt x="829" y="455"/>
                    </a:lnTo>
                    <a:lnTo>
                      <a:pt x="835" y="447"/>
                    </a:lnTo>
                    <a:lnTo>
                      <a:pt x="840" y="438"/>
                    </a:lnTo>
                    <a:lnTo>
                      <a:pt x="843" y="428"/>
                    </a:lnTo>
                    <a:lnTo>
                      <a:pt x="843" y="418"/>
                    </a:lnTo>
                    <a:lnTo>
                      <a:pt x="843" y="418"/>
                    </a:lnTo>
                    <a:lnTo>
                      <a:pt x="843" y="408"/>
                    </a:lnTo>
                    <a:lnTo>
                      <a:pt x="840" y="398"/>
                    </a:lnTo>
                    <a:lnTo>
                      <a:pt x="835" y="389"/>
                    </a:lnTo>
                    <a:lnTo>
                      <a:pt x="829" y="383"/>
                    </a:lnTo>
                    <a:lnTo>
                      <a:pt x="829" y="383"/>
                    </a:lnTo>
                    <a:close/>
                    <a:moveTo>
                      <a:pt x="217" y="250"/>
                    </a:moveTo>
                    <a:lnTo>
                      <a:pt x="217" y="141"/>
                    </a:lnTo>
                    <a:lnTo>
                      <a:pt x="155" y="142"/>
                    </a:lnTo>
                    <a:lnTo>
                      <a:pt x="87" y="247"/>
                    </a:lnTo>
                    <a:lnTo>
                      <a:pt x="87" y="250"/>
                    </a:lnTo>
                    <a:lnTo>
                      <a:pt x="217" y="250"/>
                    </a:lnTo>
                    <a:lnTo>
                      <a:pt x="217" y="250"/>
                    </a:lnTo>
                    <a:close/>
                    <a:moveTo>
                      <a:pt x="235" y="140"/>
                    </a:moveTo>
                    <a:lnTo>
                      <a:pt x="235" y="250"/>
                    </a:lnTo>
                    <a:lnTo>
                      <a:pt x="277" y="250"/>
                    </a:lnTo>
                    <a:lnTo>
                      <a:pt x="277" y="140"/>
                    </a:lnTo>
                    <a:lnTo>
                      <a:pt x="235" y="140"/>
                    </a:lnTo>
                    <a:lnTo>
                      <a:pt x="235" y="140"/>
                    </a:lnTo>
                    <a:close/>
                    <a:moveTo>
                      <a:pt x="409" y="0"/>
                    </a:moveTo>
                    <a:lnTo>
                      <a:pt x="665" y="0"/>
                    </a:lnTo>
                    <a:lnTo>
                      <a:pt x="665" y="254"/>
                    </a:lnTo>
                    <a:lnTo>
                      <a:pt x="688" y="254"/>
                    </a:lnTo>
                    <a:lnTo>
                      <a:pt x="688" y="204"/>
                    </a:lnTo>
                    <a:lnTo>
                      <a:pt x="753" y="204"/>
                    </a:lnTo>
                    <a:lnTo>
                      <a:pt x="753" y="254"/>
                    </a:lnTo>
                    <a:lnTo>
                      <a:pt x="776" y="254"/>
                    </a:lnTo>
                    <a:lnTo>
                      <a:pt x="776" y="0"/>
                    </a:lnTo>
                    <a:lnTo>
                      <a:pt x="839" y="0"/>
                    </a:lnTo>
                    <a:lnTo>
                      <a:pt x="839" y="0"/>
                    </a:lnTo>
                    <a:lnTo>
                      <a:pt x="847" y="19"/>
                    </a:lnTo>
                    <a:lnTo>
                      <a:pt x="855" y="36"/>
                    </a:lnTo>
                    <a:lnTo>
                      <a:pt x="862" y="55"/>
                    </a:lnTo>
                    <a:lnTo>
                      <a:pt x="867" y="74"/>
                    </a:lnTo>
                    <a:lnTo>
                      <a:pt x="872" y="92"/>
                    </a:lnTo>
                    <a:lnTo>
                      <a:pt x="874" y="111"/>
                    </a:lnTo>
                    <a:lnTo>
                      <a:pt x="875" y="130"/>
                    </a:lnTo>
                    <a:lnTo>
                      <a:pt x="876" y="149"/>
                    </a:lnTo>
                    <a:lnTo>
                      <a:pt x="875" y="166"/>
                    </a:lnTo>
                    <a:lnTo>
                      <a:pt x="873" y="185"/>
                    </a:lnTo>
                    <a:lnTo>
                      <a:pt x="870" y="204"/>
                    </a:lnTo>
                    <a:lnTo>
                      <a:pt x="865" y="223"/>
                    </a:lnTo>
                    <a:lnTo>
                      <a:pt x="860" y="242"/>
                    </a:lnTo>
                    <a:lnTo>
                      <a:pt x="854" y="261"/>
                    </a:lnTo>
                    <a:lnTo>
                      <a:pt x="846" y="280"/>
                    </a:lnTo>
                    <a:lnTo>
                      <a:pt x="839" y="298"/>
                    </a:lnTo>
                    <a:lnTo>
                      <a:pt x="801" y="298"/>
                    </a:lnTo>
                    <a:lnTo>
                      <a:pt x="792" y="298"/>
                    </a:lnTo>
                    <a:lnTo>
                      <a:pt x="430" y="298"/>
                    </a:lnTo>
                    <a:lnTo>
                      <a:pt x="419" y="298"/>
                    </a:lnTo>
                    <a:lnTo>
                      <a:pt x="409" y="298"/>
                    </a:lnTo>
                    <a:lnTo>
                      <a:pt x="409" y="298"/>
                    </a:lnTo>
                    <a:lnTo>
                      <a:pt x="396" y="261"/>
                    </a:lnTo>
                    <a:lnTo>
                      <a:pt x="391" y="242"/>
                    </a:lnTo>
                    <a:lnTo>
                      <a:pt x="387" y="224"/>
                    </a:lnTo>
                    <a:lnTo>
                      <a:pt x="382" y="205"/>
                    </a:lnTo>
                    <a:lnTo>
                      <a:pt x="380" y="186"/>
                    </a:lnTo>
                    <a:lnTo>
                      <a:pt x="378" y="167"/>
                    </a:lnTo>
                    <a:lnTo>
                      <a:pt x="377" y="149"/>
                    </a:lnTo>
                    <a:lnTo>
                      <a:pt x="377" y="131"/>
                    </a:lnTo>
                    <a:lnTo>
                      <a:pt x="378" y="112"/>
                    </a:lnTo>
                    <a:lnTo>
                      <a:pt x="380" y="93"/>
                    </a:lnTo>
                    <a:lnTo>
                      <a:pt x="383" y="74"/>
                    </a:lnTo>
                    <a:lnTo>
                      <a:pt x="388" y="55"/>
                    </a:lnTo>
                    <a:lnTo>
                      <a:pt x="393" y="38"/>
                    </a:lnTo>
                    <a:lnTo>
                      <a:pt x="400" y="19"/>
                    </a:lnTo>
                    <a:lnTo>
                      <a:pt x="409" y="0"/>
                    </a:lnTo>
                    <a:lnTo>
                      <a:pt x="409" y="0"/>
                    </a:lnTo>
                    <a:close/>
                    <a:moveTo>
                      <a:pt x="688" y="0"/>
                    </a:moveTo>
                    <a:lnTo>
                      <a:pt x="688" y="39"/>
                    </a:lnTo>
                    <a:lnTo>
                      <a:pt x="753" y="39"/>
                    </a:lnTo>
                    <a:lnTo>
                      <a:pt x="753" y="0"/>
                    </a:lnTo>
                    <a:lnTo>
                      <a:pt x="688" y="0"/>
                    </a:lnTo>
                    <a:lnTo>
                      <a:pt x="688" y="0"/>
                    </a:lnTo>
                    <a:close/>
                    <a:moveTo>
                      <a:pt x="753" y="181"/>
                    </a:moveTo>
                    <a:lnTo>
                      <a:pt x="753" y="131"/>
                    </a:lnTo>
                    <a:lnTo>
                      <a:pt x="688" y="131"/>
                    </a:lnTo>
                    <a:lnTo>
                      <a:pt x="688" y="181"/>
                    </a:lnTo>
                    <a:lnTo>
                      <a:pt x="753" y="18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A26000F8-5C1F-42FA-B2FD-E975050BBFDD}"/>
                </a:ext>
              </a:extLst>
            </p:cNvPr>
            <p:cNvGrpSpPr/>
            <p:nvPr/>
          </p:nvGrpSpPr>
          <p:grpSpPr>
            <a:xfrm>
              <a:off x="6424133" y="4243919"/>
              <a:ext cx="160476" cy="144931"/>
              <a:chOff x="10141598" y="3543688"/>
              <a:chExt cx="157159" cy="128810"/>
            </a:xfrm>
          </p:grpSpPr>
          <p:sp>
            <p:nvSpPr>
              <p:cNvPr id="280" name="Oval 279">
                <a:extLst>
                  <a:ext uri="{FF2B5EF4-FFF2-40B4-BE49-F238E27FC236}">
                    <a16:creationId xmlns:a16="http://schemas.microsoft.com/office/drawing/2014/main" id="{70CA8194-7FBB-4261-B201-570417948A38}"/>
                  </a:ext>
                </a:extLst>
              </p:cNvPr>
              <p:cNvSpPr/>
              <p:nvPr/>
            </p:nvSpPr>
            <p:spPr bwMode="ltGray">
              <a:xfrm>
                <a:off x="10141598" y="3543688"/>
                <a:ext cx="157159" cy="128810"/>
              </a:xfrm>
              <a:prstGeom prst="ellipse">
                <a:avLst/>
              </a:prstGeom>
              <a:solidFill>
                <a:srgbClr val="933401"/>
              </a:solidFill>
              <a:ln w="38100">
                <a:solidFill>
                  <a:srgbClr val="9334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81" name="Freeform 7403">
                <a:extLst>
                  <a:ext uri="{FF2B5EF4-FFF2-40B4-BE49-F238E27FC236}">
                    <a16:creationId xmlns:a16="http://schemas.microsoft.com/office/drawing/2014/main" id="{399D5888-B67D-4E70-AD00-C135C438E5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6663" y="3558609"/>
                <a:ext cx="118586" cy="86773"/>
              </a:xfrm>
              <a:custGeom>
                <a:avLst/>
                <a:gdLst>
                  <a:gd name="T0" fmla="*/ 780 w 802"/>
                  <a:gd name="T1" fmla="*/ 124 h 716"/>
                  <a:gd name="T2" fmla="*/ 780 w 802"/>
                  <a:gd name="T3" fmla="*/ 64 h 716"/>
                  <a:gd name="T4" fmla="*/ 750 w 802"/>
                  <a:gd name="T5" fmla="*/ 26 h 716"/>
                  <a:gd name="T6" fmla="*/ 590 w 802"/>
                  <a:gd name="T7" fmla="*/ 50 h 716"/>
                  <a:gd name="T8" fmla="*/ 620 w 802"/>
                  <a:gd name="T9" fmla="*/ 88 h 716"/>
                  <a:gd name="T10" fmla="*/ 620 w 802"/>
                  <a:gd name="T11" fmla="*/ 160 h 716"/>
                  <a:gd name="T12" fmla="*/ 560 w 802"/>
                  <a:gd name="T13" fmla="*/ 148 h 716"/>
                  <a:gd name="T14" fmla="*/ 560 w 802"/>
                  <a:gd name="T15" fmla="*/ 218 h 716"/>
                  <a:gd name="T16" fmla="*/ 548 w 802"/>
                  <a:gd name="T17" fmla="*/ 264 h 716"/>
                  <a:gd name="T18" fmla="*/ 548 w 802"/>
                  <a:gd name="T19" fmla="*/ 328 h 716"/>
                  <a:gd name="T20" fmla="*/ 560 w 802"/>
                  <a:gd name="T21" fmla="*/ 374 h 716"/>
                  <a:gd name="T22" fmla="*/ 560 w 802"/>
                  <a:gd name="T23" fmla="*/ 464 h 716"/>
                  <a:gd name="T24" fmla="*/ 516 w 802"/>
                  <a:gd name="T25" fmla="*/ 522 h 716"/>
                  <a:gd name="T26" fmla="*/ 516 w 802"/>
                  <a:gd name="T27" fmla="*/ 102 h 716"/>
                  <a:gd name="T28" fmla="*/ 488 w 802"/>
                  <a:gd name="T29" fmla="*/ 64 h 716"/>
                  <a:gd name="T30" fmla="*/ 488 w 802"/>
                  <a:gd name="T31" fmla="*/ 0 h 716"/>
                  <a:gd name="T32" fmla="*/ 358 w 802"/>
                  <a:gd name="T33" fmla="*/ 50 h 716"/>
                  <a:gd name="T34" fmla="*/ 358 w 802"/>
                  <a:gd name="T35" fmla="*/ 102 h 716"/>
                  <a:gd name="T36" fmla="*/ 326 w 802"/>
                  <a:gd name="T37" fmla="*/ 160 h 716"/>
                  <a:gd name="T38" fmla="*/ 296 w 802"/>
                  <a:gd name="T39" fmla="*/ 174 h 716"/>
                  <a:gd name="T40" fmla="*/ 284 w 802"/>
                  <a:gd name="T41" fmla="*/ 218 h 716"/>
                  <a:gd name="T42" fmla="*/ 284 w 802"/>
                  <a:gd name="T43" fmla="*/ 278 h 716"/>
                  <a:gd name="T44" fmla="*/ 296 w 802"/>
                  <a:gd name="T45" fmla="*/ 328 h 716"/>
                  <a:gd name="T46" fmla="*/ 296 w 802"/>
                  <a:gd name="T47" fmla="*/ 408 h 716"/>
                  <a:gd name="T48" fmla="*/ 284 w 802"/>
                  <a:gd name="T49" fmla="*/ 464 h 716"/>
                  <a:gd name="T50" fmla="*/ 252 w 802"/>
                  <a:gd name="T51" fmla="*/ 160 h 716"/>
                  <a:gd name="T52" fmla="*/ 224 w 802"/>
                  <a:gd name="T53" fmla="*/ 102 h 716"/>
                  <a:gd name="T54" fmla="*/ 224 w 802"/>
                  <a:gd name="T55" fmla="*/ 50 h 716"/>
                  <a:gd name="T56" fmla="*/ 94 w 802"/>
                  <a:gd name="T57" fmla="*/ 0 h 716"/>
                  <a:gd name="T58" fmla="*/ 94 w 802"/>
                  <a:gd name="T59" fmla="*/ 64 h 716"/>
                  <a:gd name="T60" fmla="*/ 62 w 802"/>
                  <a:gd name="T61" fmla="*/ 102 h 716"/>
                  <a:gd name="T62" fmla="*/ 62 w 802"/>
                  <a:gd name="T63" fmla="*/ 174 h 716"/>
                  <a:gd name="T64" fmla="*/ 20 w 802"/>
                  <a:gd name="T65" fmla="*/ 174 h 716"/>
                  <a:gd name="T66" fmla="*/ 20 w 802"/>
                  <a:gd name="T67" fmla="*/ 232 h 716"/>
                  <a:gd name="T68" fmla="*/ 34 w 802"/>
                  <a:gd name="T69" fmla="*/ 278 h 716"/>
                  <a:gd name="T70" fmla="*/ 34 w 802"/>
                  <a:gd name="T71" fmla="*/ 362 h 716"/>
                  <a:gd name="T72" fmla="*/ 20 w 802"/>
                  <a:gd name="T73" fmla="*/ 408 h 716"/>
                  <a:gd name="T74" fmla="*/ 20 w 802"/>
                  <a:gd name="T75" fmla="*/ 474 h 716"/>
                  <a:gd name="T76" fmla="*/ 802 w 802"/>
                  <a:gd name="T77" fmla="*/ 716 h 716"/>
                  <a:gd name="T78" fmla="*/ 590 w 802"/>
                  <a:gd name="T79" fmla="*/ 218 h 716"/>
                  <a:gd name="T80" fmla="*/ 590 w 802"/>
                  <a:gd name="T81" fmla="*/ 264 h 716"/>
                  <a:gd name="T82" fmla="*/ 590 w 802"/>
                  <a:gd name="T83" fmla="*/ 314 h 716"/>
                  <a:gd name="T84" fmla="*/ 590 w 802"/>
                  <a:gd name="T85" fmla="*/ 362 h 716"/>
                  <a:gd name="T86" fmla="*/ 590 w 802"/>
                  <a:gd name="T87" fmla="*/ 408 h 716"/>
                  <a:gd name="T88" fmla="*/ 590 w 802"/>
                  <a:gd name="T89" fmla="*/ 464 h 716"/>
                  <a:gd name="T90" fmla="*/ 590 w 802"/>
                  <a:gd name="T91" fmla="*/ 522 h 716"/>
                  <a:gd name="T92" fmla="*/ 326 w 802"/>
                  <a:gd name="T93" fmla="*/ 218 h 716"/>
                  <a:gd name="T94" fmla="*/ 326 w 802"/>
                  <a:gd name="T95" fmla="*/ 264 h 716"/>
                  <a:gd name="T96" fmla="*/ 326 w 802"/>
                  <a:gd name="T97" fmla="*/ 314 h 716"/>
                  <a:gd name="T98" fmla="*/ 326 w 802"/>
                  <a:gd name="T99" fmla="*/ 362 h 716"/>
                  <a:gd name="T100" fmla="*/ 326 w 802"/>
                  <a:gd name="T101" fmla="*/ 408 h 716"/>
                  <a:gd name="T102" fmla="*/ 326 w 802"/>
                  <a:gd name="T103" fmla="*/ 464 h 716"/>
                  <a:gd name="T104" fmla="*/ 326 w 802"/>
                  <a:gd name="T105" fmla="*/ 522 h 716"/>
                  <a:gd name="T106" fmla="*/ 62 w 802"/>
                  <a:gd name="T107" fmla="*/ 218 h 716"/>
                  <a:gd name="T108" fmla="*/ 62 w 802"/>
                  <a:gd name="T109" fmla="*/ 264 h 716"/>
                  <a:gd name="T110" fmla="*/ 62 w 802"/>
                  <a:gd name="T111" fmla="*/ 314 h 716"/>
                  <a:gd name="T112" fmla="*/ 62 w 802"/>
                  <a:gd name="T113" fmla="*/ 362 h 716"/>
                  <a:gd name="T114" fmla="*/ 62 w 802"/>
                  <a:gd name="T115" fmla="*/ 408 h 716"/>
                  <a:gd name="T116" fmla="*/ 62 w 802"/>
                  <a:gd name="T117" fmla="*/ 464 h 716"/>
                  <a:gd name="T118" fmla="*/ 62 w 802"/>
                  <a:gd name="T119" fmla="*/ 52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2" h="716">
                    <a:moveTo>
                      <a:pt x="780" y="522"/>
                    </a:moveTo>
                    <a:lnTo>
                      <a:pt x="780" y="160"/>
                    </a:lnTo>
                    <a:lnTo>
                      <a:pt x="750" y="160"/>
                    </a:lnTo>
                    <a:lnTo>
                      <a:pt x="750" y="124"/>
                    </a:lnTo>
                    <a:lnTo>
                      <a:pt x="780" y="124"/>
                    </a:lnTo>
                    <a:lnTo>
                      <a:pt x="780" y="102"/>
                    </a:lnTo>
                    <a:lnTo>
                      <a:pt x="750" y="102"/>
                    </a:lnTo>
                    <a:lnTo>
                      <a:pt x="750" y="88"/>
                    </a:lnTo>
                    <a:lnTo>
                      <a:pt x="780" y="88"/>
                    </a:lnTo>
                    <a:lnTo>
                      <a:pt x="780" y="64"/>
                    </a:lnTo>
                    <a:lnTo>
                      <a:pt x="750" y="64"/>
                    </a:lnTo>
                    <a:lnTo>
                      <a:pt x="750" y="50"/>
                    </a:lnTo>
                    <a:lnTo>
                      <a:pt x="780" y="50"/>
                    </a:lnTo>
                    <a:lnTo>
                      <a:pt x="780" y="26"/>
                    </a:lnTo>
                    <a:lnTo>
                      <a:pt x="750" y="26"/>
                    </a:lnTo>
                    <a:lnTo>
                      <a:pt x="750" y="0"/>
                    </a:lnTo>
                    <a:lnTo>
                      <a:pt x="620" y="0"/>
                    </a:lnTo>
                    <a:lnTo>
                      <a:pt x="620" y="26"/>
                    </a:lnTo>
                    <a:lnTo>
                      <a:pt x="590" y="26"/>
                    </a:lnTo>
                    <a:lnTo>
                      <a:pt x="590" y="50"/>
                    </a:lnTo>
                    <a:lnTo>
                      <a:pt x="620" y="50"/>
                    </a:lnTo>
                    <a:lnTo>
                      <a:pt x="620" y="64"/>
                    </a:lnTo>
                    <a:lnTo>
                      <a:pt x="590" y="64"/>
                    </a:lnTo>
                    <a:lnTo>
                      <a:pt x="590" y="88"/>
                    </a:lnTo>
                    <a:lnTo>
                      <a:pt x="620" y="88"/>
                    </a:lnTo>
                    <a:lnTo>
                      <a:pt x="620" y="102"/>
                    </a:lnTo>
                    <a:lnTo>
                      <a:pt x="590" y="102"/>
                    </a:lnTo>
                    <a:lnTo>
                      <a:pt x="590" y="124"/>
                    </a:lnTo>
                    <a:lnTo>
                      <a:pt x="620" y="124"/>
                    </a:lnTo>
                    <a:lnTo>
                      <a:pt x="620" y="160"/>
                    </a:lnTo>
                    <a:lnTo>
                      <a:pt x="590" y="160"/>
                    </a:lnTo>
                    <a:lnTo>
                      <a:pt x="590" y="174"/>
                    </a:lnTo>
                    <a:lnTo>
                      <a:pt x="566" y="174"/>
                    </a:lnTo>
                    <a:lnTo>
                      <a:pt x="566" y="148"/>
                    </a:lnTo>
                    <a:lnTo>
                      <a:pt x="560" y="148"/>
                    </a:lnTo>
                    <a:lnTo>
                      <a:pt x="560" y="174"/>
                    </a:lnTo>
                    <a:lnTo>
                      <a:pt x="548" y="174"/>
                    </a:lnTo>
                    <a:lnTo>
                      <a:pt x="548" y="190"/>
                    </a:lnTo>
                    <a:lnTo>
                      <a:pt x="560" y="190"/>
                    </a:lnTo>
                    <a:lnTo>
                      <a:pt x="560" y="218"/>
                    </a:lnTo>
                    <a:lnTo>
                      <a:pt x="548" y="218"/>
                    </a:lnTo>
                    <a:lnTo>
                      <a:pt x="548" y="232"/>
                    </a:lnTo>
                    <a:lnTo>
                      <a:pt x="560" y="232"/>
                    </a:lnTo>
                    <a:lnTo>
                      <a:pt x="560" y="264"/>
                    </a:lnTo>
                    <a:lnTo>
                      <a:pt x="548" y="264"/>
                    </a:lnTo>
                    <a:lnTo>
                      <a:pt x="548" y="278"/>
                    </a:lnTo>
                    <a:lnTo>
                      <a:pt x="560" y="278"/>
                    </a:lnTo>
                    <a:lnTo>
                      <a:pt x="560" y="314"/>
                    </a:lnTo>
                    <a:lnTo>
                      <a:pt x="548" y="314"/>
                    </a:lnTo>
                    <a:lnTo>
                      <a:pt x="548" y="328"/>
                    </a:lnTo>
                    <a:lnTo>
                      <a:pt x="560" y="328"/>
                    </a:lnTo>
                    <a:lnTo>
                      <a:pt x="560" y="362"/>
                    </a:lnTo>
                    <a:lnTo>
                      <a:pt x="548" y="362"/>
                    </a:lnTo>
                    <a:lnTo>
                      <a:pt x="548" y="374"/>
                    </a:lnTo>
                    <a:lnTo>
                      <a:pt x="560" y="374"/>
                    </a:lnTo>
                    <a:lnTo>
                      <a:pt x="560" y="408"/>
                    </a:lnTo>
                    <a:lnTo>
                      <a:pt x="548" y="408"/>
                    </a:lnTo>
                    <a:lnTo>
                      <a:pt x="548" y="426"/>
                    </a:lnTo>
                    <a:lnTo>
                      <a:pt x="560" y="426"/>
                    </a:lnTo>
                    <a:lnTo>
                      <a:pt x="560" y="464"/>
                    </a:lnTo>
                    <a:lnTo>
                      <a:pt x="548" y="464"/>
                    </a:lnTo>
                    <a:lnTo>
                      <a:pt x="548" y="474"/>
                    </a:lnTo>
                    <a:lnTo>
                      <a:pt x="560" y="474"/>
                    </a:lnTo>
                    <a:lnTo>
                      <a:pt x="560" y="522"/>
                    </a:lnTo>
                    <a:lnTo>
                      <a:pt x="516" y="522"/>
                    </a:lnTo>
                    <a:lnTo>
                      <a:pt x="516" y="160"/>
                    </a:lnTo>
                    <a:lnTo>
                      <a:pt x="488" y="160"/>
                    </a:lnTo>
                    <a:lnTo>
                      <a:pt x="488" y="124"/>
                    </a:lnTo>
                    <a:lnTo>
                      <a:pt x="516" y="124"/>
                    </a:lnTo>
                    <a:lnTo>
                      <a:pt x="516" y="102"/>
                    </a:lnTo>
                    <a:lnTo>
                      <a:pt x="488" y="102"/>
                    </a:lnTo>
                    <a:lnTo>
                      <a:pt x="488" y="88"/>
                    </a:lnTo>
                    <a:lnTo>
                      <a:pt x="516" y="88"/>
                    </a:lnTo>
                    <a:lnTo>
                      <a:pt x="516" y="64"/>
                    </a:lnTo>
                    <a:lnTo>
                      <a:pt x="488" y="64"/>
                    </a:lnTo>
                    <a:lnTo>
                      <a:pt x="488" y="50"/>
                    </a:lnTo>
                    <a:lnTo>
                      <a:pt x="516" y="50"/>
                    </a:lnTo>
                    <a:lnTo>
                      <a:pt x="516" y="26"/>
                    </a:lnTo>
                    <a:lnTo>
                      <a:pt x="488" y="26"/>
                    </a:lnTo>
                    <a:lnTo>
                      <a:pt x="488" y="0"/>
                    </a:lnTo>
                    <a:lnTo>
                      <a:pt x="358" y="0"/>
                    </a:lnTo>
                    <a:lnTo>
                      <a:pt x="358" y="26"/>
                    </a:lnTo>
                    <a:lnTo>
                      <a:pt x="326" y="26"/>
                    </a:lnTo>
                    <a:lnTo>
                      <a:pt x="326" y="50"/>
                    </a:lnTo>
                    <a:lnTo>
                      <a:pt x="358" y="50"/>
                    </a:lnTo>
                    <a:lnTo>
                      <a:pt x="358" y="64"/>
                    </a:lnTo>
                    <a:lnTo>
                      <a:pt x="326" y="64"/>
                    </a:lnTo>
                    <a:lnTo>
                      <a:pt x="326" y="88"/>
                    </a:lnTo>
                    <a:lnTo>
                      <a:pt x="358" y="88"/>
                    </a:lnTo>
                    <a:lnTo>
                      <a:pt x="358" y="102"/>
                    </a:lnTo>
                    <a:lnTo>
                      <a:pt x="326" y="102"/>
                    </a:lnTo>
                    <a:lnTo>
                      <a:pt x="326" y="124"/>
                    </a:lnTo>
                    <a:lnTo>
                      <a:pt x="358" y="124"/>
                    </a:lnTo>
                    <a:lnTo>
                      <a:pt x="358" y="160"/>
                    </a:lnTo>
                    <a:lnTo>
                      <a:pt x="326" y="160"/>
                    </a:lnTo>
                    <a:lnTo>
                      <a:pt x="326" y="174"/>
                    </a:lnTo>
                    <a:lnTo>
                      <a:pt x="304" y="174"/>
                    </a:lnTo>
                    <a:lnTo>
                      <a:pt x="304" y="148"/>
                    </a:lnTo>
                    <a:lnTo>
                      <a:pt x="296" y="148"/>
                    </a:lnTo>
                    <a:lnTo>
                      <a:pt x="296" y="174"/>
                    </a:lnTo>
                    <a:lnTo>
                      <a:pt x="284" y="174"/>
                    </a:lnTo>
                    <a:lnTo>
                      <a:pt x="284" y="190"/>
                    </a:lnTo>
                    <a:lnTo>
                      <a:pt x="296" y="190"/>
                    </a:lnTo>
                    <a:lnTo>
                      <a:pt x="296" y="218"/>
                    </a:lnTo>
                    <a:lnTo>
                      <a:pt x="284" y="218"/>
                    </a:lnTo>
                    <a:lnTo>
                      <a:pt x="284" y="232"/>
                    </a:lnTo>
                    <a:lnTo>
                      <a:pt x="296" y="232"/>
                    </a:lnTo>
                    <a:lnTo>
                      <a:pt x="296" y="264"/>
                    </a:lnTo>
                    <a:lnTo>
                      <a:pt x="284" y="264"/>
                    </a:lnTo>
                    <a:lnTo>
                      <a:pt x="284" y="278"/>
                    </a:lnTo>
                    <a:lnTo>
                      <a:pt x="296" y="278"/>
                    </a:lnTo>
                    <a:lnTo>
                      <a:pt x="296" y="314"/>
                    </a:lnTo>
                    <a:lnTo>
                      <a:pt x="284" y="314"/>
                    </a:lnTo>
                    <a:lnTo>
                      <a:pt x="284" y="328"/>
                    </a:lnTo>
                    <a:lnTo>
                      <a:pt x="296" y="328"/>
                    </a:lnTo>
                    <a:lnTo>
                      <a:pt x="296" y="362"/>
                    </a:lnTo>
                    <a:lnTo>
                      <a:pt x="284" y="362"/>
                    </a:lnTo>
                    <a:lnTo>
                      <a:pt x="284" y="374"/>
                    </a:lnTo>
                    <a:lnTo>
                      <a:pt x="296" y="374"/>
                    </a:lnTo>
                    <a:lnTo>
                      <a:pt x="296" y="408"/>
                    </a:lnTo>
                    <a:lnTo>
                      <a:pt x="284" y="408"/>
                    </a:lnTo>
                    <a:lnTo>
                      <a:pt x="284" y="426"/>
                    </a:lnTo>
                    <a:lnTo>
                      <a:pt x="296" y="426"/>
                    </a:lnTo>
                    <a:lnTo>
                      <a:pt x="296" y="464"/>
                    </a:lnTo>
                    <a:lnTo>
                      <a:pt x="284" y="464"/>
                    </a:lnTo>
                    <a:lnTo>
                      <a:pt x="284" y="474"/>
                    </a:lnTo>
                    <a:lnTo>
                      <a:pt x="296" y="474"/>
                    </a:lnTo>
                    <a:lnTo>
                      <a:pt x="296" y="522"/>
                    </a:lnTo>
                    <a:lnTo>
                      <a:pt x="252" y="522"/>
                    </a:lnTo>
                    <a:lnTo>
                      <a:pt x="252" y="160"/>
                    </a:lnTo>
                    <a:lnTo>
                      <a:pt x="224" y="160"/>
                    </a:lnTo>
                    <a:lnTo>
                      <a:pt x="224" y="124"/>
                    </a:lnTo>
                    <a:lnTo>
                      <a:pt x="252" y="124"/>
                    </a:lnTo>
                    <a:lnTo>
                      <a:pt x="252" y="102"/>
                    </a:lnTo>
                    <a:lnTo>
                      <a:pt x="224" y="102"/>
                    </a:lnTo>
                    <a:lnTo>
                      <a:pt x="224" y="88"/>
                    </a:lnTo>
                    <a:lnTo>
                      <a:pt x="252" y="88"/>
                    </a:lnTo>
                    <a:lnTo>
                      <a:pt x="252" y="64"/>
                    </a:lnTo>
                    <a:lnTo>
                      <a:pt x="224" y="64"/>
                    </a:lnTo>
                    <a:lnTo>
                      <a:pt x="224" y="50"/>
                    </a:lnTo>
                    <a:lnTo>
                      <a:pt x="252" y="50"/>
                    </a:lnTo>
                    <a:lnTo>
                      <a:pt x="252" y="26"/>
                    </a:lnTo>
                    <a:lnTo>
                      <a:pt x="224" y="26"/>
                    </a:lnTo>
                    <a:lnTo>
                      <a:pt x="224" y="0"/>
                    </a:lnTo>
                    <a:lnTo>
                      <a:pt x="94" y="0"/>
                    </a:lnTo>
                    <a:lnTo>
                      <a:pt x="94" y="26"/>
                    </a:lnTo>
                    <a:lnTo>
                      <a:pt x="62" y="26"/>
                    </a:lnTo>
                    <a:lnTo>
                      <a:pt x="62" y="50"/>
                    </a:lnTo>
                    <a:lnTo>
                      <a:pt x="94" y="50"/>
                    </a:lnTo>
                    <a:lnTo>
                      <a:pt x="94" y="64"/>
                    </a:lnTo>
                    <a:lnTo>
                      <a:pt x="62" y="64"/>
                    </a:lnTo>
                    <a:lnTo>
                      <a:pt x="62" y="88"/>
                    </a:lnTo>
                    <a:lnTo>
                      <a:pt x="94" y="88"/>
                    </a:lnTo>
                    <a:lnTo>
                      <a:pt x="94" y="102"/>
                    </a:lnTo>
                    <a:lnTo>
                      <a:pt x="62" y="102"/>
                    </a:lnTo>
                    <a:lnTo>
                      <a:pt x="62" y="124"/>
                    </a:lnTo>
                    <a:lnTo>
                      <a:pt x="94" y="124"/>
                    </a:lnTo>
                    <a:lnTo>
                      <a:pt x="94" y="160"/>
                    </a:lnTo>
                    <a:lnTo>
                      <a:pt x="62" y="160"/>
                    </a:lnTo>
                    <a:lnTo>
                      <a:pt x="62" y="174"/>
                    </a:lnTo>
                    <a:lnTo>
                      <a:pt x="40" y="174"/>
                    </a:lnTo>
                    <a:lnTo>
                      <a:pt x="40" y="148"/>
                    </a:lnTo>
                    <a:lnTo>
                      <a:pt x="34" y="148"/>
                    </a:lnTo>
                    <a:lnTo>
                      <a:pt x="34" y="174"/>
                    </a:lnTo>
                    <a:lnTo>
                      <a:pt x="20" y="174"/>
                    </a:lnTo>
                    <a:lnTo>
                      <a:pt x="20" y="190"/>
                    </a:lnTo>
                    <a:lnTo>
                      <a:pt x="34" y="190"/>
                    </a:lnTo>
                    <a:lnTo>
                      <a:pt x="34" y="218"/>
                    </a:lnTo>
                    <a:lnTo>
                      <a:pt x="20" y="218"/>
                    </a:lnTo>
                    <a:lnTo>
                      <a:pt x="20" y="232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20" y="264"/>
                    </a:lnTo>
                    <a:lnTo>
                      <a:pt x="20" y="278"/>
                    </a:lnTo>
                    <a:lnTo>
                      <a:pt x="34" y="278"/>
                    </a:lnTo>
                    <a:lnTo>
                      <a:pt x="34" y="314"/>
                    </a:lnTo>
                    <a:lnTo>
                      <a:pt x="20" y="314"/>
                    </a:lnTo>
                    <a:lnTo>
                      <a:pt x="20" y="328"/>
                    </a:lnTo>
                    <a:lnTo>
                      <a:pt x="34" y="328"/>
                    </a:lnTo>
                    <a:lnTo>
                      <a:pt x="34" y="362"/>
                    </a:lnTo>
                    <a:lnTo>
                      <a:pt x="20" y="362"/>
                    </a:lnTo>
                    <a:lnTo>
                      <a:pt x="20" y="374"/>
                    </a:lnTo>
                    <a:lnTo>
                      <a:pt x="34" y="374"/>
                    </a:lnTo>
                    <a:lnTo>
                      <a:pt x="34" y="408"/>
                    </a:lnTo>
                    <a:lnTo>
                      <a:pt x="20" y="408"/>
                    </a:lnTo>
                    <a:lnTo>
                      <a:pt x="20" y="426"/>
                    </a:lnTo>
                    <a:lnTo>
                      <a:pt x="34" y="426"/>
                    </a:lnTo>
                    <a:lnTo>
                      <a:pt x="34" y="464"/>
                    </a:lnTo>
                    <a:lnTo>
                      <a:pt x="20" y="464"/>
                    </a:lnTo>
                    <a:lnTo>
                      <a:pt x="20" y="474"/>
                    </a:lnTo>
                    <a:lnTo>
                      <a:pt x="34" y="474"/>
                    </a:lnTo>
                    <a:lnTo>
                      <a:pt x="34" y="522"/>
                    </a:lnTo>
                    <a:lnTo>
                      <a:pt x="0" y="522"/>
                    </a:lnTo>
                    <a:lnTo>
                      <a:pt x="0" y="716"/>
                    </a:lnTo>
                    <a:lnTo>
                      <a:pt x="802" y="716"/>
                    </a:lnTo>
                    <a:lnTo>
                      <a:pt x="802" y="522"/>
                    </a:lnTo>
                    <a:lnTo>
                      <a:pt x="780" y="522"/>
                    </a:lnTo>
                    <a:close/>
                    <a:moveTo>
                      <a:pt x="566" y="190"/>
                    </a:moveTo>
                    <a:lnTo>
                      <a:pt x="590" y="190"/>
                    </a:lnTo>
                    <a:lnTo>
                      <a:pt x="590" y="218"/>
                    </a:lnTo>
                    <a:lnTo>
                      <a:pt x="566" y="218"/>
                    </a:lnTo>
                    <a:lnTo>
                      <a:pt x="566" y="190"/>
                    </a:lnTo>
                    <a:close/>
                    <a:moveTo>
                      <a:pt x="566" y="232"/>
                    </a:moveTo>
                    <a:lnTo>
                      <a:pt x="590" y="232"/>
                    </a:lnTo>
                    <a:lnTo>
                      <a:pt x="590" y="264"/>
                    </a:lnTo>
                    <a:lnTo>
                      <a:pt x="566" y="264"/>
                    </a:lnTo>
                    <a:lnTo>
                      <a:pt x="566" y="232"/>
                    </a:lnTo>
                    <a:close/>
                    <a:moveTo>
                      <a:pt x="566" y="278"/>
                    </a:moveTo>
                    <a:lnTo>
                      <a:pt x="590" y="278"/>
                    </a:lnTo>
                    <a:lnTo>
                      <a:pt x="590" y="314"/>
                    </a:lnTo>
                    <a:lnTo>
                      <a:pt x="566" y="314"/>
                    </a:lnTo>
                    <a:lnTo>
                      <a:pt x="566" y="278"/>
                    </a:lnTo>
                    <a:close/>
                    <a:moveTo>
                      <a:pt x="566" y="328"/>
                    </a:moveTo>
                    <a:lnTo>
                      <a:pt x="590" y="328"/>
                    </a:lnTo>
                    <a:lnTo>
                      <a:pt x="590" y="362"/>
                    </a:lnTo>
                    <a:lnTo>
                      <a:pt x="566" y="362"/>
                    </a:lnTo>
                    <a:lnTo>
                      <a:pt x="566" y="328"/>
                    </a:lnTo>
                    <a:close/>
                    <a:moveTo>
                      <a:pt x="566" y="374"/>
                    </a:moveTo>
                    <a:lnTo>
                      <a:pt x="590" y="374"/>
                    </a:lnTo>
                    <a:lnTo>
                      <a:pt x="590" y="408"/>
                    </a:lnTo>
                    <a:lnTo>
                      <a:pt x="566" y="408"/>
                    </a:lnTo>
                    <a:lnTo>
                      <a:pt x="566" y="374"/>
                    </a:lnTo>
                    <a:close/>
                    <a:moveTo>
                      <a:pt x="566" y="426"/>
                    </a:moveTo>
                    <a:lnTo>
                      <a:pt x="590" y="426"/>
                    </a:lnTo>
                    <a:lnTo>
                      <a:pt x="590" y="464"/>
                    </a:lnTo>
                    <a:lnTo>
                      <a:pt x="566" y="464"/>
                    </a:lnTo>
                    <a:lnTo>
                      <a:pt x="566" y="426"/>
                    </a:lnTo>
                    <a:close/>
                    <a:moveTo>
                      <a:pt x="566" y="474"/>
                    </a:moveTo>
                    <a:lnTo>
                      <a:pt x="590" y="474"/>
                    </a:lnTo>
                    <a:lnTo>
                      <a:pt x="590" y="522"/>
                    </a:lnTo>
                    <a:lnTo>
                      <a:pt x="566" y="522"/>
                    </a:lnTo>
                    <a:lnTo>
                      <a:pt x="566" y="474"/>
                    </a:lnTo>
                    <a:close/>
                    <a:moveTo>
                      <a:pt x="304" y="190"/>
                    </a:moveTo>
                    <a:lnTo>
                      <a:pt x="326" y="190"/>
                    </a:lnTo>
                    <a:lnTo>
                      <a:pt x="326" y="218"/>
                    </a:lnTo>
                    <a:lnTo>
                      <a:pt x="304" y="218"/>
                    </a:lnTo>
                    <a:lnTo>
                      <a:pt x="304" y="190"/>
                    </a:lnTo>
                    <a:close/>
                    <a:moveTo>
                      <a:pt x="304" y="232"/>
                    </a:moveTo>
                    <a:lnTo>
                      <a:pt x="326" y="232"/>
                    </a:lnTo>
                    <a:lnTo>
                      <a:pt x="326" y="264"/>
                    </a:lnTo>
                    <a:lnTo>
                      <a:pt x="304" y="264"/>
                    </a:lnTo>
                    <a:lnTo>
                      <a:pt x="304" y="232"/>
                    </a:lnTo>
                    <a:close/>
                    <a:moveTo>
                      <a:pt x="304" y="278"/>
                    </a:moveTo>
                    <a:lnTo>
                      <a:pt x="326" y="278"/>
                    </a:lnTo>
                    <a:lnTo>
                      <a:pt x="326" y="314"/>
                    </a:lnTo>
                    <a:lnTo>
                      <a:pt x="304" y="314"/>
                    </a:lnTo>
                    <a:lnTo>
                      <a:pt x="304" y="278"/>
                    </a:lnTo>
                    <a:close/>
                    <a:moveTo>
                      <a:pt x="304" y="328"/>
                    </a:moveTo>
                    <a:lnTo>
                      <a:pt x="326" y="328"/>
                    </a:lnTo>
                    <a:lnTo>
                      <a:pt x="326" y="362"/>
                    </a:lnTo>
                    <a:lnTo>
                      <a:pt x="304" y="362"/>
                    </a:lnTo>
                    <a:lnTo>
                      <a:pt x="304" y="328"/>
                    </a:lnTo>
                    <a:close/>
                    <a:moveTo>
                      <a:pt x="304" y="374"/>
                    </a:moveTo>
                    <a:lnTo>
                      <a:pt x="326" y="374"/>
                    </a:lnTo>
                    <a:lnTo>
                      <a:pt x="326" y="408"/>
                    </a:lnTo>
                    <a:lnTo>
                      <a:pt x="304" y="408"/>
                    </a:lnTo>
                    <a:lnTo>
                      <a:pt x="304" y="374"/>
                    </a:lnTo>
                    <a:close/>
                    <a:moveTo>
                      <a:pt x="304" y="426"/>
                    </a:moveTo>
                    <a:lnTo>
                      <a:pt x="326" y="426"/>
                    </a:lnTo>
                    <a:lnTo>
                      <a:pt x="326" y="464"/>
                    </a:lnTo>
                    <a:lnTo>
                      <a:pt x="304" y="464"/>
                    </a:lnTo>
                    <a:lnTo>
                      <a:pt x="304" y="426"/>
                    </a:lnTo>
                    <a:close/>
                    <a:moveTo>
                      <a:pt x="304" y="474"/>
                    </a:moveTo>
                    <a:lnTo>
                      <a:pt x="326" y="474"/>
                    </a:lnTo>
                    <a:lnTo>
                      <a:pt x="326" y="522"/>
                    </a:lnTo>
                    <a:lnTo>
                      <a:pt x="304" y="522"/>
                    </a:lnTo>
                    <a:lnTo>
                      <a:pt x="304" y="474"/>
                    </a:lnTo>
                    <a:close/>
                    <a:moveTo>
                      <a:pt x="40" y="190"/>
                    </a:moveTo>
                    <a:lnTo>
                      <a:pt x="62" y="190"/>
                    </a:lnTo>
                    <a:lnTo>
                      <a:pt x="62" y="218"/>
                    </a:lnTo>
                    <a:lnTo>
                      <a:pt x="40" y="218"/>
                    </a:lnTo>
                    <a:lnTo>
                      <a:pt x="40" y="190"/>
                    </a:lnTo>
                    <a:close/>
                    <a:moveTo>
                      <a:pt x="40" y="232"/>
                    </a:moveTo>
                    <a:lnTo>
                      <a:pt x="62" y="232"/>
                    </a:lnTo>
                    <a:lnTo>
                      <a:pt x="62" y="264"/>
                    </a:lnTo>
                    <a:lnTo>
                      <a:pt x="40" y="264"/>
                    </a:lnTo>
                    <a:lnTo>
                      <a:pt x="40" y="232"/>
                    </a:lnTo>
                    <a:close/>
                    <a:moveTo>
                      <a:pt x="40" y="278"/>
                    </a:moveTo>
                    <a:lnTo>
                      <a:pt x="62" y="278"/>
                    </a:lnTo>
                    <a:lnTo>
                      <a:pt x="62" y="314"/>
                    </a:lnTo>
                    <a:lnTo>
                      <a:pt x="40" y="314"/>
                    </a:lnTo>
                    <a:lnTo>
                      <a:pt x="40" y="278"/>
                    </a:lnTo>
                    <a:close/>
                    <a:moveTo>
                      <a:pt x="40" y="328"/>
                    </a:moveTo>
                    <a:lnTo>
                      <a:pt x="62" y="328"/>
                    </a:lnTo>
                    <a:lnTo>
                      <a:pt x="62" y="362"/>
                    </a:lnTo>
                    <a:lnTo>
                      <a:pt x="40" y="362"/>
                    </a:lnTo>
                    <a:lnTo>
                      <a:pt x="40" y="328"/>
                    </a:lnTo>
                    <a:close/>
                    <a:moveTo>
                      <a:pt x="40" y="374"/>
                    </a:moveTo>
                    <a:lnTo>
                      <a:pt x="62" y="374"/>
                    </a:lnTo>
                    <a:lnTo>
                      <a:pt x="62" y="408"/>
                    </a:lnTo>
                    <a:lnTo>
                      <a:pt x="40" y="408"/>
                    </a:lnTo>
                    <a:lnTo>
                      <a:pt x="40" y="374"/>
                    </a:lnTo>
                    <a:close/>
                    <a:moveTo>
                      <a:pt x="40" y="426"/>
                    </a:moveTo>
                    <a:lnTo>
                      <a:pt x="62" y="426"/>
                    </a:lnTo>
                    <a:lnTo>
                      <a:pt x="62" y="464"/>
                    </a:lnTo>
                    <a:lnTo>
                      <a:pt x="40" y="464"/>
                    </a:lnTo>
                    <a:lnTo>
                      <a:pt x="40" y="426"/>
                    </a:lnTo>
                    <a:close/>
                    <a:moveTo>
                      <a:pt x="40" y="474"/>
                    </a:moveTo>
                    <a:lnTo>
                      <a:pt x="62" y="474"/>
                    </a:lnTo>
                    <a:lnTo>
                      <a:pt x="62" y="522"/>
                    </a:lnTo>
                    <a:lnTo>
                      <a:pt x="40" y="522"/>
                    </a:lnTo>
                    <a:lnTo>
                      <a:pt x="40" y="47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4495BDF6-BC7F-41C5-810A-022C188ADF69}"/>
                </a:ext>
              </a:extLst>
            </p:cNvPr>
            <p:cNvGrpSpPr/>
            <p:nvPr/>
          </p:nvGrpSpPr>
          <p:grpSpPr>
            <a:xfrm>
              <a:off x="6115444" y="4066562"/>
              <a:ext cx="160476" cy="144931"/>
              <a:chOff x="10141598" y="3543688"/>
              <a:chExt cx="157159" cy="128810"/>
            </a:xfrm>
          </p:grpSpPr>
          <p:sp>
            <p:nvSpPr>
              <p:cNvPr id="278" name="Oval 277">
                <a:extLst>
                  <a:ext uri="{FF2B5EF4-FFF2-40B4-BE49-F238E27FC236}">
                    <a16:creationId xmlns:a16="http://schemas.microsoft.com/office/drawing/2014/main" id="{0A129476-6C8A-4B70-BFDA-278283E8502A}"/>
                  </a:ext>
                </a:extLst>
              </p:cNvPr>
              <p:cNvSpPr/>
              <p:nvPr/>
            </p:nvSpPr>
            <p:spPr bwMode="ltGray">
              <a:xfrm>
                <a:off x="10141598" y="3543688"/>
                <a:ext cx="157159" cy="128810"/>
              </a:xfrm>
              <a:prstGeom prst="ellipse">
                <a:avLst/>
              </a:prstGeom>
              <a:solidFill>
                <a:srgbClr val="933401"/>
              </a:solidFill>
              <a:ln w="38100">
                <a:solidFill>
                  <a:srgbClr val="9334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9" name="Freeform 7403">
                <a:extLst>
                  <a:ext uri="{FF2B5EF4-FFF2-40B4-BE49-F238E27FC236}">
                    <a16:creationId xmlns:a16="http://schemas.microsoft.com/office/drawing/2014/main" id="{4724B72C-DB0C-4C43-B2C6-D844522285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6663" y="3558609"/>
                <a:ext cx="118586" cy="86773"/>
              </a:xfrm>
              <a:custGeom>
                <a:avLst/>
                <a:gdLst>
                  <a:gd name="T0" fmla="*/ 780 w 802"/>
                  <a:gd name="T1" fmla="*/ 124 h 716"/>
                  <a:gd name="T2" fmla="*/ 780 w 802"/>
                  <a:gd name="T3" fmla="*/ 64 h 716"/>
                  <a:gd name="T4" fmla="*/ 750 w 802"/>
                  <a:gd name="T5" fmla="*/ 26 h 716"/>
                  <a:gd name="T6" fmla="*/ 590 w 802"/>
                  <a:gd name="T7" fmla="*/ 50 h 716"/>
                  <a:gd name="T8" fmla="*/ 620 w 802"/>
                  <a:gd name="T9" fmla="*/ 88 h 716"/>
                  <a:gd name="T10" fmla="*/ 620 w 802"/>
                  <a:gd name="T11" fmla="*/ 160 h 716"/>
                  <a:gd name="T12" fmla="*/ 560 w 802"/>
                  <a:gd name="T13" fmla="*/ 148 h 716"/>
                  <a:gd name="T14" fmla="*/ 560 w 802"/>
                  <a:gd name="T15" fmla="*/ 218 h 716"/>
                  <a:gd name="T16" fmla="*/ 548 w 802"/>
                  <a:gd name="T17" fmla="*/ 264 h 716"/>
                  <a:gd name="T18" fmla="*/ 548 w 802"/>
                  <a:gd name="T19" fmla="*/ 328 h 716"/>
                  <a:gd name="T20" fmla="*/ 560 w 802"/>
                  <a:gd name="T21" fmla="*/ 374 h 716"/>
                  <a:gd name="T22" fmla="*/ 560 w 802"/>
                  <a:gd name="T23" fmla="*/ 464 h 716"/>
                  <a:gd name="T24" fmla="*/ 516 w 802"/>
                  <a:gd name="T25" fmla="*/ 522 h 716"/>
                  <a:gd name="T26" fmla="*/ 516 w 802"/>
                  <a:gd name="T27" fmla="*/ 102 h 716"/>
                  <a:gd name="T28" fmla="*/ 488 w 802"/>
                  <a:gd name="T29" fmla="*/ 64 h 716"/>
                  <a:gd name="T30" fmla="*/ 488 w 802"/>
                  <a:gd name="T31" fmla="*/ 0 h 716"/>
                  <a:gd name="T32" fmla="*/ 358 w 802"/>
                  <a:gd name="T33" fmla="*/ 50 h 716"/>
                  <a:gd name="T34" fmla="*/ 358 w 802"/>
                  <a:gd name="T35" fmla="*/ 102 h 716"/>
                  <a:gd name="T36" fmla="*/ 326 w 802"/>
                  <a:gd name="T37" fmla="*/ 160 h 716"/>
                  <a:gd name="T38" fmla="*/ 296 w 802"/>
                  <a:gd name="T39" fmla="*/ 174 h 716"/>
                  <a:gd name="T40" fmla="*/ 284 w 802"/>
                  <a:gd name="T41" fmla="*/ 218 h 716"/>
                  <a:gd name="T42" fmla="*/ 284 w 802"/>
                  <a:gd name="T43" fmla="*/ 278 h 716"/>
                  <a:gd name="T44" fmla="*/ 296 w 802"/>
                  <a:gd name="T45" fmla="*/ 328 h 716"/>
                  <a:gd name="T46" fmla="*/ 296 w 802"/>
                  <a:gd name="T47" fmla="*/ 408 h 716"/>
                  <a:gd name="T48" fmla="*/ 284 w 802"/>
                  <a:gd name="T49" fmla="*/ 464 h 716"/>
                  <a:gd name="T50" fmla="*/ 252 w 802"/>
                  <a:gd name="T51" fmla="*/ 160 h 716"/>
                  <a:gd name="T52" fmla="*/ 224 w 802"/>
                  <a:gd name="T53" fmla="*/ 102 h 716"/>
                  <a:gd name="T54" fmla="*/ 224 w 802"/>
                  <a:gd name="T55" fmla="*/ 50 h 716"/>
                  <a:gd name="T56" fmla="*/ 94 w 802"/>
                  <a:gd name="T57" fmla="*/ 0 h 716"/>
                  <a:gd name="T58" fmla="*/ 94 w 802"/>
                  <a:gd name="T59" fmla="*/ 64 h 716"/>
                  <a:gd name="T60" fmla="*/ 62 w 802"/>
                  <a:gd name="T61" fmla="*/ 102 h 716"/>
                  <a:gd name="T62" fmla="*/ 62 w 802"/>
                  <a:gd name="T63" fmla="*/ 174 h 716"/>
                  <a:gd name="T64" fmla="*/ 20 w 802"/>
                  <a:gd name="T65" fmla="*/ 174 h 716"/>
                  <a:gd name="T66" fmla="*/ 20 w 802"/>
                  <a:gd name="T67" fmla="*/ 232 h 716"/>
                  <a:gd name="T68" fmla="*/ 34 w 802"/>
                  <a:gd name="T69" fmla="*/ 278 h 716"/>
                  <a:gd name="T70" fmla="*/ 34 w 802"/>
                  <a:gd name="T71" fmla="*/ 362 h 716"/>
                  <a:gd name="T72" fmla="*/ 20 w 802"/>
                  <a:gd name="T73" fmla="*/ 408 h 716"/>
                  <a:gd name="T74" fmla="*/ 20 w 802"/>
                  <a:gd name="T75" fmla="*/ 474 h 716"/>
                  <a:gd name="T76" fmla="*/ 802 w 802"/>
                  <a:gd name="T77" fmla="*/ 716 h 716"/>
                  <a:gd name="T78" fmla="*/ 590 w 802"/>
                  <a:gd name="T79" fmla="*/ 218 h 716"/>
                  <a:gd name="T80" fmla="*/ 590 w 802"/>
                  <a:gd name="T81" fmla="*/ 264 h 716"/>
                  <a:gd name="T82" fmla="*/ 590 w 802"/>
                  <a:gd name="T83" fmla="*/ 314 h 716"/>
                  <a:gd name="T84" fmla="*/ 590 w 802"/>
                  <a:gd name="T85" fmla="*/ 362 h 716"/>
                  <a:gd name="T86" fmla="*/ 590 w 802"/>
                  <a:gd name="T87" fmla="*/ 408 h 716"/>
                  <a:gd name="T88" fmla="*/ 590 w 802"/>
                  <a:gd name="T89" fmla="*/ 464 h 716"/>
                  <a:gd name="T90" fmla="*/ 590 w 802"/>
                  <a:gd name="T91" fmla="*/ 522 h 716"/>
                  <a:gd name="T92" fmla="*/ 326 w 802"/>
                  <a:gd name="T93" fmla="*/ 218 h 716"/>
                  <a:gd name="T94" fmla="*/ 326 w 802"/>
                  <a:gd name="T95" fmla="*/ 264 h 716"/>
                  <a:gd name="T96" fmla="*/ 326 w 802"/>
                  <a:gd name="T97" fmla="*/ 314 h 716"/>
                  <a:gd name="T98" fmla="*/ 326 w 802"/>
                  <a:gd name="T99" fmla="*/ 362 h 716"/>
                  <a:gd name="T100" fmla="*/ 326 w 802"/>
                  <a:gd name="T101" fmla="*/ 408 h 716"/>
                  <a:gd name="T102" fmla="*/ 326 w 802"/>
                  <a:gd name="T103" fmla="*/ 464 h 716"/>
                  <a:gd name="T104" fmla="*/ 326 w 802"/>
                  <a:gd name="T105" fmla="*/ 522 h 716"/>
                  <a:gd name="T106" fmla="*/ 62 w 802"/>
                  <a:gd name="T107" fmla="*/ 218 h 716"/>
                  <a:gd name="T108" fmla="*/ 62 w 802"/>
                  <a:gd name="T109" fmla="*/ 264 h 716"/>
                  <a:gd name="T110" fmla="*/ 62 w 802"/>
                  <a:gd name="T111" fmla="*/ 314 h 716"/>
                  <a:gd name="T112" fmla="*/ 62 w 802"/>
                  <a:gd name="T113" fmla="*/ 362 h 716"/>
                  <a:gd name="T114" fmla="*/ 62 w 802"/>
                  <a:gd name="T115" fmla="*/ 408 h 716"/>
                  <a:gd name="T116" fmla="*/ 62 w 802"/>
                  <a:gd name="T117" fmla="*/ 464 h 716"/>
                  <a:gd name="T118" fmla="*/ 62 w 802"/>
                  <a:gd name="T119" fmla="*/ 52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2" h="716">
                    <a:moveTo>
                      <a:pt x="780" y="522"/>
                    </a:moveTo>
                    <a:lnTo>
                      <a:pt x="780" y="160"/>
                    </a:lnTo>
                    <a:lnTo>
                      <a:pt x="750" y="160"/>
                    </a:lnTo>
                    <a:lnTo>
                      <a:pt x="750" y="124"/>
                    </a:lnTo>
                    <a:lnTo>
                      <a:pt x="780" y="124"/>
                    </a:lnTo>
                    <a:lnTo>
                      <a:pt x="780" y="102"/>
                    </a:lnTo>
                    <a:lnTo>
                      <a:pt x="750" y="102"/>
                    </a:lnTo>
                    <a:lnTo>
                      <a:pt x="750" y="88"/>
                    </a:lnTo>
                    <a:lnTo>
                      <a:pt x="780" y="88"/>
                    </a:lnTo>
                    <a:lnTo>
                      <a:pt x="780" y="64"/>
                    </a:lnTo>
                    <a:lnTo>
                      <a:pt x="750" y="64"/>
                    </a:lnTo>
                    <a:lnTo>
                      <a:pt x="750" y="50"/>
                    </a:lnTo>
                    <a:lnTo>
                      <a:pt x="780" y="50"/>
                    </a:lnTo>
                    <a:lnTo>
                      <a:pt x="780" y="26"/>
                    </a:lnTo>
                    <a:lnTo>
                      <a:pt x="750" y="26"/>
                    </a:lnTo>
                    <a:lnTo>
                      <a:pt x="750" y="0"/>
                    </a:lnTo>
                    <a:lnTo>
                      <a:pt x="620" y="0"/>
                    </a:lnTo>
                    <a:lnTo>
                      <a:pt x="620" y="26"/>
                    </a:lnTo>
                    <a:lnTo>
                      <a:pt x="590" y="26"/>
                    </a:lnTo>
                    <a:lnTo>
                      <a:pt x="590" y="50"/>
                    </a:lnTo>
                    <a:lnTo>
                      <a:pt x="620" y="50"/>
                    </a:lnTo>
                    <a:lnTo>
                      <a:pt x="620" y="64"/>
                    </a:lnTo>
                    <a:lnTo>
                      <a:pt x="590" y="64"/>
                    </a:lnTo>
                    <a:lnTo>
                      <a:pt x="590" y="88"/>
                    </a:lnTo>
                    <a:lnTo>
                      <a:pt x="620" y="88"/>
                    </a:lnTo>
                    <a:lnTo>
                      <a:pt x="620" y="102"/>
                    </a:lnTo>
                    <a:lnTo>
                      <a:pt x="590" y="102"/>
                    </a:lnTo>
                    <a:lnTo>
                      <a:pt x="590" y="124"/>
                    </a:lnTo>
                    <a:lnTo>
                      <a:pt x="620" y="124"/>
                    </a:lnTo>
                    <a:lnTo>
                      <a:pt x="620" y="160"/>
                    </a:lnTo>
                    <a:lnTo>
                      <a:pt x="590" y="160"/>
                    </a:lnTo>
                    <a:lnTo>
                      <a:pt x="590" y="174"/>
                    </a:lnTo>
                    <a:lnTo>
                      <a:pt x="566" y="174"/>
                    </a:lnTo>
                    <a:lnTo>
                      <a:pt x="566" y="148"/>
                    </a:lnTo>
                    <a:lnTo>
                      <a:pt x="560" y="148"/>
                    </a:lnTo>
                    <a:lnTo>
                      <a:pt x="560" y="174"/>
                    </a:lnTo>
                    <a:lnTo>
                      <a:pt x="548" y="174"/>
                    </a:lnTo>
                    <a:lnTo>
                      <a:pt x="548" y="190"/>
                    </a:lnTo>
                    <a:lnTo>
                      <a:pt x="560" y="190"/>
                    </a:lnTo>
                    <a:lnTo>
                      <a:pt x="560" y="218"/>
                    </a:lnTo>
                    <a:lnTo>
                      <a:pt x="548" y="218"/>
                    </a:lnTo>
                    <a:lnTo>
                      <a:pt x="548" y="232"/>
                    </a:lnTo>
                    <a:lnTo>
                      <a:pt x="560" y="232"/>
                    </a:lnTo>
                    <a:lnTo>
                      <a:pt x="560" y="264"/>
                    </a:lnTo>
                    <a:lnTo>
                      <a:pt x="548" y="264"/>
                    </a:lnTo>
                    <a:lnTo>
                      <a:pt x="548" y="278"/>
                    </a:lnTo>
                    <a:lnTo>
                      <a:pt x="560" y="278"/>
                    </a:lnTo>
                    <a:lnTo>
                      <a:pt x="560" y="314"/>
                    </a:lnTo>
                    <a:lnTo>
                      <a:pt x="548" y="314"/>
                    </a:lnTo>
                    <a:lnTo>
                      <a:pt x="548" y="328"/>
                    </a:lnTo>
                    <a:lnTo>
                      <a:pt x="560" y="328"/>
                    </a:lnTo>
                    <a:lnTo>
                      <a:pt x="560" y="362"/>
                    </a:lnTo>
                    <a:lnTo>
                      <a:pt x="548" y="362"/>
                    </a:lnTo>
                    <a:lnTo>
                      <a:pt x="548" y="374"/>
                    </a:lnTo>
                    <a:lnTo>
                      <a:pt x="560" y="374"/>
                    </a:lnTo>
                    <a:lnTo>
                      <a:pt x="560" y="408"/>
                    </a:lnTo>
                    <a:lnTo>
                      <a:pt x="548" y="408"/>
                    </a:lnTo>
                    <a:lnTo>
                      <a:pt x="548" y="426"/>
                    </a:lnTo>
                    <a:lnTo>
                      <a:pt x="560" y="426"/>
                    </a:lnTo>
                    <a:lnTo>
                      <a:pt x="560" y="464"/>
                    </a:lnTo>
                    <a:lnTo>
                      <a:pt x="548" y="464"/>
                    </a:lnTo>
                    <a:lnTo>
                      <a:pt x="548" y="474"/>
                    </a:lnTo>
                    <a:lnTo>
                      <a:pt x="560" y="474"/>
                    </a:lnTo>
                    <a:lnTo>
                      <a:pt x="560" y="522"/>
                    </a:lnTo>
                    <a:lnTo>
                      <a:pt x="516" y="522"/>
                    </a:lnTo>
                    <a:lnTo>
                      <a:pt x="516" y="160"/>
                    </a:lnTo>
                    <a:lnTo>
                      <a:pt x="488" y="160"/>
                    </a:lnTo>
                    <a:lnTo>
                      <a:pt x="488" y="124"/>
                    </a:lnTo>
                    <a:lnTo>
                      <a:pt x="516" y="124"/>
                    </a:lnTo>
                    <a:lnTo>
                      <a:pt x="516" y="102"/>
                    </a:lnTo>
                    <a:lnTo>
                      <a:pt x="488" y="102"/>
                    </a:lnTo>
                    <a:lnTo>
                      <a:pt x="488" y="88"/>
                    </a:lnTo>
                    <a:lnTo>
                      <a:pt x="516" y="88"/>
                    </a:lnTo>
                    <a:lnTo>
                      <a:pt x="516" y="64"/>
                    </a:lnTo>
                    <a:lnTo>
                      <a:pt x="488" y="64"/>
                    </a:lnTo>
                    <a:lnTo>
                      <a:pt x="488" y="50"/>
                    </a:lnTo>
                    <a:lnTo>
                      <a:pt x="516" y="50"/>
                    </a:lnTo>
                    <a:lnTo>
                      <a:pt x="516" y="26"/>
                    </a:lnTo>
                    <a:lnTo>
                      <a:pt x="488" y="26"/>
                    </a:lnTo>
                    <a:lnTo>
                      <a:pt x="488" y="0"/>
                    </a:lnTo>
                    <a:lnTo>
                      <a:pt x="358" y="0"/>
                    </a:lnTo>
                    <a:lnTo>
                      <a:pt x="358" y="26"/>
                    </a:lnTo>
                    <a:lnTo>
                      <a:pt x="326" y="26"/>
                    </a:lnTo>
                    <a:lnTo>
                      <a:pt x="326" y="50"/>
                    </a:lnTo>
                    <a:lnTo>
                      <a:pt x="358" y="50"/>
                    </a:lnTo>
                    <a:lnTo>
                      <a:pt x="358" y="64"/>
                    </a:lnTo>
                    <a:lnTo>
                      <a:pt x="326" y="64"/>
                    </a:lnTo>
                    <a:lnTo>
                      <a:pt x="326" y="88"/>
                    </a:lnTo>
                    <a:lnTo>
                      <a:pt x="358" y="88"/>
                    </a:lnTo>
                    <a:lnTo>
                      <a:pt x="358" y="102"/>
                    </a:lnTo>
                    <a:lnTo>
                      <a:pt x="326" y="102"/>
                    </a:lnTo>
                    <a:lnTo>
                      <a:pt x="326" y="124"/>
                    </a:lnTo>
                    <a:lnTo>
                      <a:pt x="358" y="124"/>
                    </a:lnTo>
                    <a:lnTo>
                      <a:pt x="358" y="160"/>
                    </a:lnTo>
                    <a:lnTo>
                      <a:pt x="326" y="160"/>
                    </a:lnTo>
                    <a:lnTo>
                      <a:pt x="326" y="174"/>
                    </a:lnTo>
                    <a:lnTo>
                      <a:pt x="304" y="174"/>
                    </a:lnTo>
                    <a:lnTo>
                      <a:pt x="304" y="148"/>
                    </a:lnTo>
                    <a:lnTo>
                      <a:pt x="296" y="148"/>
                    </a:lnTo>
                    <a:lnTo>
                      <a:pt x="296" y="174"/>
                    </a:lnTo>
                    <a:lnTo>
                      <a:pt x="284" y="174"/>
                    </a:lnTo>
                    <a:lnTo>
                      <a:pt x="284" y="190"/>
                    </a:lnTo>
                    <a:lnTo>
                      <a:pt x="296" y="190"/>
                    </a:lnTo>
                    <a:lnTo>
                      <a:pt x="296" y="218"/>
                    </a:lnTo>
                    <a:lnTo>
                      <a:pt x="284" y="218"/>
                    </a:lnTo>
                    <a:lnTo>
                      <a:pt x="284" y="232"/>
                    </a:lnTo>
                    <a:lnTo>
                      <a:pt x="296" y="232"/>
                    </a:lnTo>
                    <a:lnTo>
                      <a:pt x="296" y="264"/>
                    </a:lnTo>
                    <a:lnTo>
                      <a:pt x="284" y="264"/>
                    </a:lnTo>
                    <a:lnTo>
                      <a:pt x="284" y="278"/>
                    </a:lnTo>
                    <a:lnTo>
                      <a:pt x="296" y="278"/>
                    </a:lnTo>
                    <a:lnTo>
                      <a:pt x="296" y="314"/>
                    </a:lnTo>
                    <a:lnTo>
                      <a:pt x="284" y="314"/>
                    </a:lnTo>
                    <a:lnTo>
                      <a:pt x="284" y="328"/>
                    </a:lnTo>
                    <a:lnTo>
                      <a:pt x="296" y="328"/>
                    </a:lnTo>
                    <a:lnTo>
                      <a:pt x="296" y="362"/>
                    </a:lnTo>
                    <a:lnTo>
                      <a:pt x="284" y="362"/>
                    </a:lnTo>
                    <a:lnTo>
                      <a:pt x="284" y="374"/>
                    </a:lnTo>
                    <a:lnTo>
                      <a:pt x="296" y="374"/>
                    </a:lnTo>
                    <a:lnTo>
                      <a:pt x="296" y="408"/>
                    </a:lnTo>
                    <a:lnTo>
                      <a:pt x="284" y="408"/>
                    </a:lnTo>
                    <a:lnTo>
                      <a:pt x="284" y="426"/>
                    </a:lnTo>
                    <a:lnTo>
                      <a:pt x="296" y="426"/>
                    </a:lnTo>
                    <a:lnTo>
                      <a:pt x="296" y="464"/>
                    </a:lnTo>
                    <a:lnTo>
                      <a:pt x="284" y="464"/>
                    </a:lnTo>
                    <a:lnTo>
                      <a:pt x="284" y="474"/>
                    </a:lnTo>
                    <a:lnTo>
                      <a:pt x="296" y="474"/>
                    </a:lnTo>
                    <a:lnTo>
                      <a:pt x="296" y="522"/>
                    </a:lnTo>
                    <a:lnTo>
                      <a:pt x="252" y="522"/>
                    </a:lnTo>
                    <a:lnTo>
                      <a:pt x="252" y="160"/>
                    </a:lnTo>
                    <a:lnTo>
                      <a:pt x="224" y="160"/>
                    </a:lnTo>
                    <a:lnTo>
                      <a:pt x="224" y="124"/>
                    </a:lnTo>
                    <a:lnTo>
                      <a:pt x="252" y="124"/>
                    </a:lnTo>
                    <a:lnTo>
                      <a:pt x="252" y="102"/>
                    </a:lnTo>
                    <a:lnTo>
                      <a:pt x="224" y="102"/>
                    </a:lnTo>
                    <a:lnTo>
                      <a:pt x="224" y="88"/>
                    </a:lnTo>
                    <a:lnTo>
                      <a:pt x="252" y="88"/>
                    </a:lnTo>
                    <a:lnTo>
                      <a:pt x="252" y="64"/>
                    </a:lnTo>
                    <a:lnTo>
                      <a:pt x="224" y="64"/>
                    </a:lnTo>
                    <a:lnTo>
                      <a:pt x="224" y="50"/>
                    </a:lnTo>
                    <a:lnTo>
                      <a:pt x="252" y="50"/>
                    </a:lnTo>
                    <a:lnTo>
                      <a:pt x="252" y="26"/>
                    </a:lnTo>
                    <a:lnTo>
                      <a:pt x="224" y="26"/>
                    </a:lnTo>
                    <a:lnTo>
                      <a:pt x="224" y="0"/>
                    </a:lnTo>
                    <a:lnTo>
                      <a:pt x="94" y="0"/>
                    </a:lnTo>
                    <a:lnTo>
                      <a:pt x="94" y="26"/>
                    </a:lnTo>
                    <a:lnTo>
                      <a:pt x="62" y="26"/>
                    </a:lnTo>
                    <a:lnTo>
                      <a:pt x="62" y="50"/>
                    </a:lnTo>
                    <a:lnTo>
                      <a:pt x="94" y="50"/>
                    </a:lnTo>
                    <a:lnTo>
                      <a:pt x="94" y="64"/>
                    </a:lnTo>
                    <a:lnTo>
                      <a:pt x="62" y="64"/>
                    </a:lnTo>
                    <a:lnTo>
                      <a:pt x="62" y="88"/>
                    </a:lnTo>
                    <a:lnTo>
                      <a:pt x="94" y="88"/>
                    </a:lnTo>
                    <a:lnTo>
                      <a:pt x="94" y="102"/>
                    </a:lnTo>
                    <a:lnTo>
                      <a:pt x="62" y="102"/>
                    </a:lnTo>
                    <a:lnTo>
                      <a:pt x="62" y="124"/>
                    </a:lnTo>
                    <a:lnTo>
                      <a:pt x="94" y="124"/>
                    </a:lnTo>
                    <a:lnTo>
                      <a:pt x="94" y="160"/>
                    </a:lnTo>
                    <a:lnTo>
                      <a:pt x="62" y="160"/>
                    </a:lnTo>
                    <a:lnTo>
                      <a:pt x="62" y="174"/>
                    </a:lnTo>
                    <a:lnTo>
                      <a:pt x="40" y="174"/>
                    </a:lnTo>
                    <a:lnTo>
                      <a:pt x="40" y="148"/>
                    </a:lnTo>
                    <a:lnTo>
                      <a:pt x="34" y="148"/>
                    </a:lnTo>
                    <a:lnTo>
                      <a:pt x="34" y="174"/>
                    </a:lnTo>
                    <a:lnTo>
                      <a:pt x="20" y="174"/>
                    </a:lnTo>
                    <a:lnTo>
                      <a:pt x="20" y="190"/>
                    </a:lnTo>
                    <a:lnTo>
                      <a:pt x="34" y="190"/>
                    </a:lnTo>
                    <a:lnTo>
                      <a:pt x="34" y="218"/>
                    </a:lnTo>
                    <a:lnTo>
                      <a:pt x="20" y="218"/>
                    </a:lnTo>
                    <a:lnTo>
                      <a:pt x="20" y="232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20" y="264"/>
                    </a:lnTo>
                    <a:lnTo>
                      <a:pt x="20" y="278"/>
                    </a:lnTo>
                    <a:lnTo>
                      <a:pt x="34" y="278"/>
                    </a:lnTo>
                    <a:lnTo>
                      <a:pt x="34" y="314"/>
                    </a:lnTo>
                    <a:lnTo>
                      <a:pt x="20" y="314"/>
                    </a:lnTo>
                    <a:lnTo>
                      <a:pt x="20" y="328"/>
                    </a:lnTo>
                    <a:lnTo>
                      <a:pt x="34" y="328"/>
                    </a:lnTo>
                    <a:lnTo>
                      <a:pt x="34" y="362"/>
                    </a:lnTo>
                    <a:lnTo>
                      <a:pt x="20" y="362"/>
                    </a:lnTo>
                    <a:lnTo>
                      <a:pt x="20" y="374"/>
                    </a:lnTo>
                    <a:lnTo>
                      <a:pt x="34" y="374"/>
                    </a:lnTo>
                    <a:lnTo>
                      <a:pt x="34" y="408"/>
                    </a:lnTo>
                    <a:lnTo>
                      <a:pt x="20" y="408"/>
                    </a:lnTo>
                    <a:lnTo>
                      <a:pt x="20" y="426"/>
                    </a:lnTo>
                    <a:lnTo>
                      <a:pt x="34" y="426"/>
                    </a:lnTo>
                    <a:lnTo>
                      <a:pt x="34" y="464"/>
                    </a:lnTo>
                    <a:lnTo>
                      <a:pt x="20" y="464"/>
                    </a:lnTo>
                    <a:lnTo>
                      <a:pt x="20" y="474"/>
                    </a:lnTo>
                    <a:lnTo>
                      <a:pt x="34" y="474"/>
                    </a:lnTo>
                    <a:lnTo>
                      <a:pt x="34" y="522"/>
                    </a:lnTo>
                    <a:lnTo>
                      <a:pt x="0" y="522"/>
                    </a:lnTo>
                    <a:lnTo>
                      <a:pt x="0" y="716"/>
                    </a:lnTo>
                    <a:lnTo>
                      <a:pt x="802" y="716"/>
                    </a:lnTo>
                    <a:lnTo>
                      <a:pt x="802" y="522"/>
                    </a:lnTo>
                    <a:lnTo>
                      <a:pt x="780" y="522"/>
                    </a:lnTo>
                    <a:close/>
                    <a:moveTo>
                      <a:pt x="566" y="190"/>
                    </a:moveTo>
                    <a:lnTo>
                      <a:pt x="590" y="190"/>
                    </a:lnTo>
                    <a:lnTo>
                      <a:pt x="590" y="218"/>
                    </a:lnTo>
                    <a:lnTo>
                      <a:pt x="566" y="218"/>
                    </a:lnTo>
                    <a:lnTo>
                      <a:pt x="566" y="190"/>
                    </a:lnTo>
                    <a:close/>
                    <a:moveTo>
                      <a:pt x="566" y="232"/>
                    </a:moveTo>
                    <a:lnTo>
                      <a:pt x="590" y="232"/>
                    </a:lnTo>
                    <a:lnTo>
                      <a:pt x="590" y="264"/>
                    </a:lnTo>
                    <a:lnTo>
                      <a:pt x="566" y="264"/>
                    </a:lnTo>
                    <a:lnTo>
                      <a:pt x="566" y="232"/>
                    </a:lnTo>
                    <a:close/>
                    <a:moveTo>
                      <a:pt x="566" y="278"/>
                    </a:moveTo>
                    <a:lnTo>
                      <a:pt x="590" y="278"/>
                    </a:lnTo>
                    <a:lnTo>
                      <a:pt x="590" y="314"/>
                    </a:lnTo>
                    <a:lnTo>
                      <a:pt x="566" y="314"/>
                    </a:lnTo>
                    <a:lnTo>
                      <a:pt x="566" y="278"/>
                    </a:lnTo>
                    <a:close/>
                    <a:moveTo>
                      <a:pt x="566" y="328"/>
                    </a:moveTo>
                    <a:lnTo>
                      <a:pt x="590" y="328"/>
                    </a:lnTo>
                    <a:lnTo>
                      <a:pt x="590" y="362"/>
                    </a:lnTo>
                    <a:lnTo>
                      <a:pt x="566" y="362"/>
                    </a:lnTo>
                    <a:lnTo>
                      <a:pt x="566" y="328"/>
                    </a:lnTo>
                    <a:close/>
                    <a:moveTo>
                      <a:pt x="566" y="374"/>
                    </a:moveTo>
                    <a:lnTo>
                      <a:pt x="590" y="374"/>
                    </a:lnTo>
                    <a:lnTo>
                      <a:pt x="590" y="408"/>
                    </a:lnTo>
                    <a:lnTo>
                      <a:pt x="566" y="408"/>
                    </a:lnTo>
                    <a:lnTo>
                      <a:pt x="566" y="374"/>
                    </a:lnTo>
                    <a:close/>
                    <a:moveTo>
                      <a:pt x="566" y="426"/>
                    </a:moveTo>
                    <a:lnTo>
                      <a:pt x="590" y="426"/>
                    </a:lnTo>
                    <a:lnTo>
                      <a:pt x="590" y="464"/>
                    </a:lnTo>
                    <a:lnTo>
                      <a:pt x="566" y="464"/>
                    </a:lnTo>
                    <a:lnTo>
                      <a:pt x="566" y="426"/>
                    </a:lnTo>
                    <a:close/>
                    <a:moveTo>
                      <a:pt x="566" y="474"/>
                    </a:moveTo>
                    <a:lnTo>
                      <a:pt x="590" y="474"/>
                    </a:lnTo>
                    <a:lnTo>
                      <a:pt x="590" y="522"/>
                    </a:lnTo>
                    <a:lnTo>
                      <a:pt x="566" y="522"/>
                    </a:lnTo>
                    <a:lnTo>
                      <a:pt x="566" y="474"/>
                    </a:lnTo>
                    <a:close/>
                    <a:moveTo>
                      <a:pt x="304" y="190"/>
                    </a:moveTo>
                    <a:lnTo>
                      <a:pt x="326" y="190"/>
                    </a:lnTo>
                    <a:lnTo>
                      <a:pt x="326" y="218"/>
                    </a:lnTo>
                    <a:lnTo>
                      <a:pt x="304" y="218"/>
                    </a:lnTo>
                    <a:lnTo>
                      <a:pt x="304" y="190"/>
                    </a:lnTo>
                    <a:close/>
                    <a:moveTo>
                      <a:pt x="304" y="232"/>
                    </a:moveTo>
                    <a:lnTo>
                      <a:pt x="326" y="232"/>
                    </a:lnTo>
                    <a:lnTo>
                      <a:pt x="326" y="264"/>
                    </a:lnTo>
                    <a:lnTo>
                      <a:pt x="304" y="264"/>
                    </a:lnTo>
                    <a:lnTo>
                      <a:pt x="304" y="232"/>
                    </a:lnTo>
                    <a:close/>
                    <a:moveTo>
                      <a:pt x="304" y="278"/>
                    </a:moveTo>
                    <a:lnTo>
                      <a:pt x="326" y="278"/>
                    </a:lnTo>
                    <a:lnTo>
                      <a:pt x="326" y="314"/>
                    </a:lnTo>
                    <a:lnTo>
                      <a:pt x="304" y="314"/>
                    </a:lnTo>
                    <a:lnTo>
                      <a:pt x="304" y="278"/>
                    </a:lnTo>
                    <a:close/>
                    <a:moveTo>
                      <a:pt x="304" y="328"/>
                    </a:moveTo>
                    <a:lnTo>
                      <a:pt x="326" y="328"/>
                    </a:lnTo>
                    <a:lnTo>
                      <a:pt x="326" y="362"/>
                    </a:lnTo>
                    <a:lnTo>
                      <a:pt x="304" y="362"/>
                    </a:lnTo>
                    <a:lnTo>
                      <a:pt x="304" y="328"/>
                    </a:lnTo>
                    <a:close/>
                    <a:moveTo>
                      <a:pt x="304" y="374"/>
                    </a:moveTo>
                    <a:lnTo>
                      <a:pt x="326" y="374"/>
                    </a:lnTo>
                    <a:lnTo>
                      <a:pt x="326" y="408"/>
                    </a:lnTo>
                    <a:lnTo>
                      <a:pt x="304" y="408"/>
                    </a:lnTo>
                    <a:lnTo>
                      <a:pt x="304" y="374"/>
                    </a:lnTo>
                    <a:close/>
                    <a:moveTo>
                      <a:pt x="304" y="426"/>
                    </a:moveTo>
                    <a:lnTo>
                      <a:pt x="326" y="426"/>
                    </a:lnTo>
                    <a:lnTo>
                      <a:pt x="326" y="464"/>
                    </a:lnTo>
                    <a:lnTo>
                      <a:pt x="304" y="464"/>
                    </a:lnTo>
                    <a:lnTo>
                      <a:pt x="304" y="426"/>
                    </a:lnTo>
                    <a:close/>
                    <a:moveTo>
                      <a:pt x="304" y="474"/>
                    </a:moveTo>
                    <a:lnTo>
                      <a:pt x="326" y="474"/>
                    </a:lnTo>
                    <a:lnTo>
                      <a:pt x="326" y="522"/>
                    </a:lnTo>
                    <a:lnTo>
                      <a:pt x="304" y="522"/>
                    </a:lnTo>
                    <a:lnTo>
                      <a:pt x="304" y="474"/>
                    </a:lnTo>
                    <a:close/>
                    <a:moveTo>
                      <a:pt x="40" y="190"/>
                    </a:moveTo>
                    <a:lnTo>
                      <a:pt x="62" y="190"/>
                    </a:lnTo>
                    <a:lnTo>
                      <a:pt x="62" y="218"/>
                    </a:lnTo>
                    <a:lnTo>
                      <a:pt x="40" y="218"/>
                    </a:lnTo>
                    <a:lnTo>
                      <a:pt x="40" y="190"/>
                    </a:lnTo>
                    <a:close/>
                    <a:moveTo>
                      <a:pt x="40" y="232"/>
                    </a:moveTo>
                    <a:lnTo>
                      <a:pt x="62" y="232"/>
                    </a:lnTo>
                    <a:lnTo>
                      <a:pt x="62" y="264"/>
                    </a:lnTo>
                    <a:lnTo>
                      <a:pt x="40" y="264"/>
                    </a:lnTo>
                    <a:lnTo>
                      <a:pt x="40" y="232"/>
                    </a:lnTo>
                    <a:close/>
                    <a:moveTo>
                      <a:pt x="40" y="278"/>
                    </a:moveTo>
                    <a:lnTo>
                      <a:pt x="62" y="278"/>
                    </a:lnTo>
                    <a:lnTo>
                      <a:pt x="62" y="314"/>
                    </a:lnTo>
                    <a:lnTo>
                      <a:pt x="40" y="314"/>
                    </a:lnTo>
                    <a:lnTo>
                      <a:pt x="40" y="278"/>
                    </a:lnTo>
                    <a:close/>
                    <a:moveTo>
                      <a:pt x="40" y="328"/>
                    </a:moveTo>
                    <a:lnTo>
                      <a:pt x="62" y="328"/>
                    </a:lnTo>
                    <a:lnTo>
                      <a:pt x="62" y="362"/>
                    </a:lnTo>
                    <a:lnTo>
                      <a:pt x="40" y="362"/>
                    </a:lnTo>
                    <a:lnTo>
                      <a:pt x="40" y="328"/>
                    </a:lnTo>
                    <a:close/>
                    <a:moveTo>
                      <a:pt x="40" y="374"/>
                    </a:moveTo>
                    <a:lnTo>
                      <a:pt x="62" y="374"/>
                    </a:lnTo>
                    <a:lnTo>
                      <a:pt x="62" y="408"/>
                    </a:lnTo>
                    <a:lnTo>
                      <a:pt x="40" y="408"/>
                    </a:lnTo>
                    <a:lnTo>
                      <a:pt x="40" y="374"/>
                    </a:lnTo>
                    <a:close/>
                    <a:moveTo>
                      <a:pt x="40" y="426"/>
                    </a:moveTo>
                    <a:lnTo>
                      <a:pt x="62" y="426"/>
                    </a:lnTo>
                    <a:lnTo>
                      <a:pt x="62" y="464"/>
                    </a:lnTo>
                    <a:lnTo>
                      <a:pt x="40" y="464"/>
                    </a:lnTo>
                    <a:lnTo>
                      <a:pt x="40" y="426"/>
                    </a:lnTo>
                    <a:close/>
                    <a:moveTo>
                      <a:pt x="40" y="474"/>
                    </a:moveTo>
                    <a:lnTo>
                      <a:pt x="62" y="474"/>
                    </a:lnTo>
                    <a:lnTo>
                      <a:pt x="62" y="522"/>
                    </a:lnTo>
                    <a:lnTo>
                      <a:pt x="40" y="522"/>
                    </a:lnTo>
                    <a:lnTo>
                      <a:pt x="40" y="47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FB70F919-8A04-4620-B020-513D038F8425}"/>
                </a:ext>
              </a:extLst>
            </p:cNvPr>
            <p:cNvGrpSpPr/>
            <p:nvPr/>
          </p:nvGrpSpPr>
          <p:grpSpPr>
            <a:xfrm>
              <a:off x="5370875" y="5603617"/>
              <a:ext cx="160476" cy="144931"/>
              <a:chOff x="10141598" y="3543688"/>
              <a:chExt cx="157159" cy="128810"/>
            </a:xfrm>
          </p:grpSpPr>
          <p:sp>
            <p:nvSpPr>
              <p:cNvPr id="276" name="Oval 275">
                <a:extLst>
                  <a:ext uri="{FF2B5EF4-FFF2-40B4-BE49-F238E27FC236}">
                    <a16:creationId xmlns:a16="http://schemas.microsoft.com/office/drawing/2014/main" id="{1FF35F47-566C-4794-8D8D-B38D9344B89A}"/>
                  </a:ext>
                </a:extLst>
              </p:cNvPr>
              <p:cNvSpPr/>
              <p:nvPr/>
            </p:nvSpPr>
            <p:spPr bwMode="ltGray">
              <a:xfrm>
                <a:off x="10141598" y="3543688"/>
                <a:ext cx="157159" cy="128810"/>
              </a:xfrm>
              <a:prstGeom prst="ellipse">
                <a:avLst/>
              </a:prstGeom>
              <a:solidFill>
                <a:srgbClr val="933401"/>
              </a:solidFill>
              <a:ln w="38100">
                <a:solidFill>
                  <a:srgbClr val="9334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7" name="Freeform 7403">
                <a:extLst>
                  <a:ext uri="{FF2B5EF4-FFF2-40B4-BE49-F238E27FC236}">
                    <a16:creationId xmlns:a16="http://schemas.microsoft.com/office/drawing/2014/main" id="{36D40BE9-549E-4F9F-A6B2-143EE752A2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6663" y="3558609"/>
                <a:ext cx="118586" cy="86773"/>
              </a:xfrm>
              <a:custGeom>
                <a:avLst/>
                <a:gdLst>
                  <a:gd name="T0" fmla="*/ 780 w 802"/>
                  <a:gd name="T1" fmla="*/ 124 h 716"/>
                  <a:gd name="T2" fmla="*/ 780 w 802"/>
                  <a:gd name="T3" fmla="*/ 64 h 716"/>
                  <a:gd name="T4" fmla="*/ 750 w 802"/>
                  <a:gd name="T5" fmla="*/ 26 h 716"/>
                  <a:gd name="T6" fmla="*/ 590 w 802"/>
                  <a:gd name="T7" fmla="*/ 50 h 716"/>
                  <a:gd name="T8" fmla="*/ 620 w 802"/>
                  <a:gd name="T9" fmla="*/ 88 h 716"/>
                  <a:gd name="T10" fmla="*/ 620 w 802"/>
                  <a:gd name="T11" fmla="*/ 160 h 716"/>
                  <a:gd name="T12" fmla="*/ 560 w 802"/>
                  <a:gd name="T13" fmla="*/ 148 h 716"/>
                  <a:gd name="T14" fmla="*/ 560 w 802"/>
                  <a:gd name="T15" fmla="*/ 218 h 716"/>
                  <a:gd name="T16" fmla="*/ 548 w 802"/>
                  <a:gd name="T17" fmla="*/ 264 h 716"/>
                  <a:gd name="T18" fmla="*/ 548 w 802"/>
                  <a:gd name="T19" fmla="*/ 328 h 716"/>
                  <a:gd name="T20" fmla="*/ 560 w 802"/>
                  <a:gd name="T21" fmla="*/ 374 h 716"/>
                  <a:gd name="T22" fmla="*/ 560 w 802"/>
                  <a:gd name="T23" fmla="*/ 464 h 716"/>
                  <a:gd name="T24" fmla="*/ 516 w 802"/>
                  <a:gd name="T25" fmla="*/ 522 h 716"/>
                  <a:gd name="T26" fmla="*/ 516 w 802"/>
                  <a:gd name="T27" fmla="*/ 102 h 716"/>
                  <a:gd name="T28" fmla="*/ 488 w 802"/>
                  <a:gd name="T29" fmla="*/ 64 h 716"/>
                  <a:gd name="T30" fmla="*/ 488 w 802"/>
                  <a:gd name="T31" fmla="*/ 0 h 716"/>
                  <a:gd name="T32" fmla="*/ 358 w 802"/>
                  <a:gd name="T33" fmla="*/ 50 h 716"/>
                  <a:gd name="T34" fmla="*/ 358 w 802"/>
                  <a:gd name="T35" fmla="*/ 102 h 716"/>
                  <a:gd name="T36" fmla="*/ 326 w 802"/>
                  <a:gd name="T37" fmla="*/ 160 h 716"/>
                  <a:gd name="T38" fmla="*/ 296 w 802"/>
                  <a:gd name="T39" fmla="*/ 174 h 716"/>
                  <a:gd name="T40" fmla="*/ 284 w 802"/>
                  <a:gd name="T41" fmla="*/ 218 h 716"/>
                  <a:gd name="T42" fmla="*/ 284 w 802"/>
                  <a:gd name="T43" fmla="*/ 278 h 716"/>
                  <a:gd name="T44" fmla="*/ 296 w 802"/>
                  <a:gd name="T45" fmla="*/ 328 h 716"/>
                  <a:gd name="T46" fmla="*/ 296 w 802"/>
                  <a:gd name="T47" fmla="*/ 408 h 716"/>
                  <a:gd name="T48" fmla="*/ 284 w 802"/>
                  <a:gd name="T49" fmla="*/ 464 h 716"/>
                  <a:gd name="T50" fmla="*/ 252 w 802"/>
                  <a:gd name="T51" fmla="*/ 160 h 716"/>
                  <a:gd name="T52" fmla="*/ 224 w 802"/>
                  <a:gd name="T53" fmla="*/ 102 h 716"/>
                  <a:gd name="T54" fmla="*/ 224 w 802"/>
                  <a:gd name="T55" fmla="*/ 50 h 716"/>
                  <a:gd name="T56" fmla="*/ 94 w 802"/>
                  <a:gd name="T57" fmla="*/ 0 h 716"/>
                  <a:gd name="T58" fmla="*/ 94 w 802"/>
                  <a:gd name="T59" fmla="*/ 64 h 716"/>
                  <a:gd name="T60" fmla="*/ 62 w 802"/>
                  <a:gd name="T61" fmla="*/ 102 h 716"/>
                  <a:gd name="T62" fmla="*/ 62 w 802"/>
                  <a:gd name="T63" fmla="*/ 174 h 716"/>
                  <a:gd name="T64" fmla="*/ 20 w 802"/>
                  <a:gd name="T65" fmla="*/ 174 h 716"/>
                  <a:gd name="T66" fmla="*/ 20 w 802"/>
                  <a:gd name="T67" fmla="*/ 232 h 716"/>
                  <a:gd name="T68" fmla="*/ 34 w 802"/>
                  <a:gd name="T69" fmla="*/ 278 h 716"/>
                  <a:gd name="T70" fmla="*/ 34 w 802"/>
                  <a:gd name="T71" fmla="*/ 362 h 716"/>
                  <a:gd name="T72" fmla="*/ 20 w 802"/>
                  <a:gd name="T73" fmla="*/ 408 h 716"/>
                  <a:gd name="T74" fmla="*/ 20 w 802"/>
                  <a:gd name="T75" fmla="*/ 474 h 716"/>
                  <a:gd name="T76" fmla="*/ 802 w 802"/>
                  <a:gd name="T77" fmla="*/ 716 h 716"/>
                  <a:gd name="T78" fmla="*/ 590 w 802"/>
                  <a:gd name="T79" fmla="*/ 218 h 716"/>
                  <a:gd name="T80" fmla="*/ 590 w 802"/>
                  <a:gd name="T81" fmla="*/ 264 h 716"/>
                  <a:gd name="T82" fmla="*/ 590 w 802"/>
                  <a:gd name="T83" fmla="*/ 314 h 716"/>
                  <a:gd name="T84" fmla="*/ 590 w 802"/>
                  <a:gd name="T85" fmla="*/ 362 h 716"/>
                  <a:gd name="T86" fmla="*/ 590 w 802"/>
                  <a:gd name="T87" fmla="*/ 408 h 716"/>
                  <a:gd name="T88" fmla="*/ 590 w 802"/>
                  <a:gd name="T89" fmla="*/ 464 h 716"/>
                  <a:gd name="T90" fmla="*/ 590 w 802"/>
                  <a:gd name="T91" fmla="*/ 522 h 716"/>
                  <a:gd name="T92" fmla="*/ 326 w 802"/>
                  <a:gd name="T93" fmla="*/ 218 h 716"/>
                  <a:gd name="T94" fmla="*/ 326 w 802"/>
                  <a:gd name="T95" fmla="*/ 264 h 716"/>
                  <a:gd name="T96" fmla="*/ 326 w 802"/>
                  <a:gd name="T97" fmla="*/ 314 h 716"/>
                  <a:gd name="T98" fmla="*/ 326 w 802"/>
                  <a:gd name="T99" fmla="*/ 362 h 716"/>
                  <a:gd name="T100" fmla="*/ 326 w 802"/>
                  <a:gd name="T101" fmla="*/ 408 h 716"/>
                  <a:gd name="T102" fmla="*/ 326 w 802"/>
                  <a:gd name="T103" fmla="*/ 464 h 716"/>
                  <a:gd name="T104" fmla="*/ 326 w 802"/>
                  <a:gd name="T105" fmla="*/ 522 h 716"/>
                  <a:gd name="T106" fmla="*/ 62 w 802"/>
                  <a:gd name="T107" fmla="*/ 218 h 716"/>
                  <a:gd name="T108" fmla="*/ 62 w 802"/>
                  <a:gd name="T109" fmla="*/ 264 h 716"/>
                  <a:gd name="T110" fmla="*/ 62 w 802"/>
                  <a:gd name="T111" fmla="*/ 314 h 716"/>
                  <a:gd name="T112" fmla="*/ 62 w 802"/>
                  <a:gd name="T113" fmla="*/ 362 h 716"/>
                  <a:gd name="T114" fmla="*/ 62 w 802"/>
                  <a:gd name="T115" fmla="*/ 408 h 716"/>
                  <a:gd name="T116" fmla="*/ 62 w 802"/>
                  <a:gd name="T117" fmla="*/ 464 h 716"/>
                  <a:gd name="T118" fmla="*/ 62 w 802"/>
                  <a:gd name="T119" fmla="*/ 52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2" h="716">
                    <a:moveTo>
                      <a:pt x="780" y="522"/>
                    </a:moveTo>
                    <a:lnTo>
                      <a:pt x="780" y="160"/>
                    </a:lnTo>
                    <a:lnTo>
                      <a:pt x="750" y="160"/>
                    </a:lnTo>
                    <a:lnTo>
                      <a:pt x="750" y="124"/>
                    </a:lnTo>
                    <a:lnTo>
                      <a:pt x="780" y="124"/>
                    </a:lnTo>
                    <a:lnTo>
                      <a:pt x="780" y="102"/>
                    </a:lnTo>
                    <a:lnTo>
                      <a:pt x="750" y="102"/>
                    </a:lnTo>
                    <a:lnTo>
                      <a:pt x="750" y="88"/>
                    </a:lnTo>
                    <a:lnTo>
                      <a:pt x="780" y="88"/>
                    </a:lnTo>
                    <a:lnTo>
                      <a:pt x="780" y="64"/>
                    </a:lnTo>
                    <a:lnTo>
                      <a:pt x="750" y="64"/>
                    </a:lnTo>
                    <a:lnTo>
                      <a:pt x="750" y="50"/>
                    </a:lnTo>
                    <a:lnTo>
                      <a:pt x="780" y="50"/>
                    </a:lnTo>
                    <a:lnTo>
                      <a:pt x="780" y="26"/>
                    </a:lnTo>
                    <a:lnTo>
                      <a:pt x="750" y="26"/>
                    </a:lnTo>
                    <a:lnTo>
                      <a:pt x="750" y="0"/>
                    </a:lnTo>
                    <a:lnTo>
                      <a:pt x="620" y="0"/>
                    </a:lnTo>
                    <a:lnTo>
                      <a:pt x="620" y="26"/>
                    </a:lnTo>
                    <a:lnTo>
                      <a:pt x="590" y="26"/>
                    </a:lnTo>
                    <a:lnTo>
                      <a:pt x="590" y="50"/>
                    </a:lnTo>
                    <a:lnTo>
                      <a:pt x="620" y="50"/>
                    </a:lnTo>
                    <a:lnTo>
                      <a:pt x="620" y="64"/>
                    </a:lnTo>
                    <a:lnTo>
                      <a:pt x="590" y="64"/>
                    </a:lnTo>
                    <a:lnTo>
                      <a:pt x="590" y="88"/>
                    </a:lnTo>
                    <a:lnTo>
                      <a:pt x="620" y="88"/>
                    </a:lnTo>
                    <a:lnTo>
                      <a:pt x="620" y="102"/>
                    </a:lnTo>
                    <a:lnTo>
                      <a:pt x="590" y="102"/>
                    </a:lnTo>
                    <a:lnTo>
                      <a:pt x="590" y="124"/>
                    </a:lnTo>
                    <a:lnTo>
                      <a:pt x="620" y="124"/>
                    </a:lnTo>
                    <a:lnTo>
                      <a:pt x="620" y="160"/>
                    </a:lnTo>
                    <a:lnTo>
                      <a:pt x="590" y="160"/>
                    </a:lnTo>
                    <a:lnTo>
                      <a:pt x="590" y="174"/>
                    </a:lnTo>
                    <a:lnTo>
                      <a:pt x="566" y="174"/>
                    </a:lnTo>
                    <a:lnTo>
                      <a:pt x="566" y="148"/>
                    </a:lnTo>
                    <a:lnTo>
                      <a:pt x="560" y="148"/>
                    </a:lnTo>
                    <a:lnTo>
                      <a:pt x="560" y="174"/>
                    </a:lnTo>
                    <a:lnTo>
                      <a:pt x="548" y="174"/>
                    </a:lnTo>
                    <a:lnTo>
                      <a:pt x="548" y="190"/>
                    </a:lnTo>
                    <a:lnTo>
                      <a:pt x="560" y="190"/>
                    </a:lnTo>
                    <a:lnTo>
                      <a:pt x="560" y="218"/>
                    </a:lnTo>
                    <a:lnTo>
                      <a:pt x="548" y="218"/>
                    </a:lnTo>
                    <a:lnTo>
                      <a:pt x="548" y="232"/>
                    </a:lnTo>
                    <a:lnTo>
                      <a:pt x="560" y="232"/>
                    </a:lnTo>
                    <a:lnTo>
                      <a:pt x="560" y="264"/>
                    </a:lnTo>
                    <a:lnTo>
                      <a:pt x="548" y="264"/>
                    </a:lnTo>
                    <a:lnTo>
                      <a:pt x="548" y="278"/>
                    </a:lnTo>
                    <a:lnTo>
                      <a:pt x="560" y="278"/>
                    </a:lnTo>
                    <a:lnTo>
                      <a:pt x="560" y="314"/>
                    </a:lnTo>
                    <a:lnTo>
                      <a:pt x="548" y="314"/>
                    </a:lnTo>
                    <a:lnTo>
                      <a:pt x="548" y="328"/>
                    </a:lnTo>
                    <a:lnTo>
                      <a:pt x="560" y="328"/>
                    </a:lnTo>
                    <a:lnTo>
                      <a:pt x="560" y="362"/>
                    </a:lnTo>
                    <a:lnTo>
                      <a:pt x="548" y="362"/>
                    </a:lnTo>
                    <a:lnTo>
                      <a:pt x="548" y="374"/>
                    </a:lnTo>
                    <a:lnTo>
                      <a:pt x="560" y="374"/>
                    </a:lnTo>
                    <a:lnTo>
                      <a:pt x="560" y="408"/>
                    </a:lnTo>
                    <a:lnTo>
                      <a:pt x="548" y="408"/>
                    </a:lnTo>
                    <a:lnTo>
                      <a:pt x="548" y="426"/>
                    </a:lnTo>
                    <a:lnTo>
                      <a:pt x="560" y="426"/>
                    </a:lnTo>
                    <a:lnTo>
                      <a:pt x="560" y="464"/>
                    </a:lnTo>
                    <a:lnTo>
                      <a:pt x="548" y="464"/>
                    </a:lnTo>
                    <a:lnTo>
                      <a:pt x="548" y="474"/>
                    </a:lnTo>
                    <a:lnTo>
                      <a:pt x="560" y="474"/>
                    </a:lnTo>
                    <a:lnTo>
                      <a:pt x="560" y="522"/>
                    </a:lnTo>
                    <a:lnTo>
                      <a:pt x="516" y="522"/>
                    </a:lnTo>
                    <a:lnTo>
                      <a:pt x="516" y="160"/>
                    </a:lnTo>
                    <a:lnTo>
                      <a:pt x="488" y="160"/>
                    </a:lnTo>
                    <a:lnTo>
                      <a:pt x="488" y="124"/>
                    </a:lnTo>
                    <a:lnTo>
                      <a:pt x="516" y="124"/>
                    </a:lnTo>
                    <a:lnTo>
                      <a:pt x="516" y="102"/>
                    </a:lnTo>
                    <a:lnTo>
                      <a:pt x="488" y="102"/>
                    </a:lnTo>
                    <a:lnTo>
                      <a:pt x="488" y="88"/>
                    </a:lnTo>
                    <a:lnTo>
                      <a:pt x="516" y="88"/>
                    </a:lnTo>
                    <a:lnTo>
                      <a:pt x="516" y="64"/>
                    </a:lnTo>
                    <a:lnTo>
                      <a:pt x="488" y="64"/>
                    </a:lnTo>
                    <a:lnTo>
                      <a:pt x="488" y="50"/>
                    </a:lnTo>
                    <a:lnTo>
                      <a:pt x="516" y="50"/>
                    </a:lnTo>
                    <a:lnTo>
                      <a:pt x="516" y="26"/>
                    </a:lnTo>
                    <a:lnTo>
                      <a:pt x="488" y="26"/>
                    </a:lnTo>
                    <a:lnTo>
                      <a:pt x="488" y="0"/>
                    </a:lnTo>
                    <a:lnTo>
                      <a:pt x="358" y="0"/>
                    </a:lnTo>
                    <a:lnTo>
                      <a:pt x="358" y="26"/>
                    </a:lnTo>
                    <a:lnTo>
                      <a:pt x="326" y="26"/>
                    </a:lnTo>
                    <a:lnTo>
                      <a:pt x="326" y="50"/>
                    </a:lnTo>
                    <a:lnTo>
                      <a:pt x="358" y="50"/>
                    </a:lnTo>
                    <a:lnTo>
                      <a:pt x="358" y="64"/>
                    </a:lnTo>
                    <a:lnTo>
                      <a:pt x="326" y="64"/>
                    </a:lnTo>
                    <a:lnTo>
                      <a:pt x="326" y="88"/>
                    </a:lnTo>
                    <a:lnTo>
                      <a:pt x="358" y="88"/>
                    </a:lnTo>
                    <a:lnTo>
                      <a:pt x="358" y="102"/>
                    </a:lnTo>
                    <a:lnTo>
                      <a:pt x="326" y="102"/>
                    </a:lnTo>
                    <a:lnTo>
                      <a:pt x="326" y="124"/>
                    </a:lnTo>
                    <a:lnTo>
                      <a:pt x="358" y="124"/>
                    </a:lnTo>
                    <a:lnTo>
                      <a:pt x="358" y="160"/>
                    </a:lnTo>
                    <a:lnTo>
                      <a:pt x="326" y="160"/>
                    </a:lnTo>
                    <a:lnTo>
                      <a:pt x="326" y="174"/>
                    </a:lnTo>
                    <a:lnTo>
                      <a:pt x="304" y="174"/>
                    </a:lnTo>
                    <a:lnTo>
                      <a:pt x="304" y="148"/>
                    </a:lnTo>
                    <a:lnTo>
                      <a:pt x="296" y="148"/>
                    </a:lnTo>
                    <a:lnTo>
                      <a:pt x="296" y="174"/>
                    </a:lnTo>
                    <a:lnTo>
                      <a:pt x="284" y="174"/>
                    </a:lnTo>
                    <a:lnTo>
                      <a:pt x="284" y="190"/>
                    </a:lnTo>
                    <a:lnTo>
                      <a:pt x="296" y="190"/>
                    </a:lnTo>
                    <a:lnTo>
                      <a:pt x="296" y="218"/>
                    </a:lnTo>
                    <a:lnTo>
                      <a:pt x="284" y="218"/>
                    </a:lnTo>
                    <a:lnTo>
                      <a:pt x="284" y="232"/>
                    </a:lnTo>
                    <a:lnTo>
                      <a:pt x="296" y="232"/>
                    </a:lnTo>
                    <a:lnTo>
                      <a:pt x="296" y="264"/>
                    </a:lnTo>
                    <a:lnTo>
                      <a:pt x="284" y="264"/>
                    </a:lnTo>
                    <a:lnTo>
                      <a:pt x="284" y="278"/>
                    </a:lnTo>
                    <a:lnTo>
                      <a:pt x="296" y="278"/>
                    </a:lnTo>
                    <a:lnTo>
                      <a:pt x="296" y="314"/>
                    </a:lnTo>
                    <a:lnTo>
                      <a:pt x="284" y="314"/>
                    </a:lnTo>
                    <a:lnTo>
                      <a:pt x="284" y="328"/>
                    </a:lnTo>
                    <a:lnTo>
                      <a:pt x="296" y="328"/>
                    </a:lnTo>
                    <a:lnTo>
                      <a:pt x="296" y="362"/>
                    </a:lnTo>
                    <a:lnTo>
                      <a:pt x="284" y="362"/>
                    </a:lnTo>
                    <a:lnTo>
                      <a:pt x="284" y="374"/>
                    </a:lnTo>
                    <a:lnTo>
                      <a:pt x="296" y="374"/>
                    </a:lnTo>
                    <a:lnTo>
                      <a:pt x="296" y="408"/>
                    </a:lnTo>
                    <a:lnTo>
                      <a:pt x="284" y="408"/>
                    </a:lnTo>
                    <a:lnTo>
                      <a:pt x="284" y="426"/>
                    </a:lnTo>
                    <a:lnTo>
                      <a:pt x="296" y="426"/>
                    </a:lnTo>
                    <a:lnTo>
                      <a:pt x="296" y="464"/>
                    </a:lnTo>
                    <a:lnTo>
                      <a:pt x="284" y="464"/>
                    </a:lnTo>
                    <a:lnTo>
                      <a:pt x="284" y="474"/>
                    </a:lnTo>
                    <a:lnTo>
                      <a:pt x="296" y="474"/>
                    </a:lnTo>
                    <a:lnTo>
                      <a:pt x="296" y="522"/>
                    </a:lnTo>
                    <a:lnTo>
                      <a:pt x="252" y="522"/>
                    </a:lnTo>
                    <a:lnTo>
                      <a:pt x="252" y="160"/>
                    </a:lnTo>
                    <a:lnTo>
                      <a:pt x="224" y="160"/>
                    </a:lnTo>
                    <a:lnTo>
                      <a:pt x="224" y="124"/>
                    </a:lnTo>
                    <a:lnTo>
                      <a:pt x="252" y="124"/>
                    </a:lnTo>
                    <a:lnTo>
                      <a:pt x="252" y="102"/>
                    </a:lnTo>
                    <a:lnTo>
                      <a:pt x="224" y="102"/>
                    </a:lnTo>
                    <a:lnTo>
                      <a:pt x="224" y="88"/>
                    </a:lnTo>
                    <a:lnTo>
                      <a:pt x="252" y="88"/>
                    </a:lnTo>
                    <a:lnTo>
                      <a:pt x="252" y="64"/>
                    </a:lnTo>
                    <a:lnTo>
                      <a:pt x="224" y="64"/>
                    </a:lnTo>
                    <a:lnTo>
                      <a:pt x="224" y="50"/>
                    </a:lnTo>
                    <a:lnTo>
                      <a:pt x="252" y="50"/>
                    </a:lnTo>
                    <a:lnTo>
                      <a:pt x="252" y="26"/>
                    </a:lnTo>
                    <a:lnTo>
                      <a:pt x="224" y="26"/>
                    </a:lnTo>
                    <a:lnTo>
                      <a:pt x="224" y="0"/>
                    </a:lnTo>
                    <a:lnTo>
                      <a:pt x="94" y="0"/>
                    </a:lnTo>
                    <a:lnTo>
                      <a:pt x="94" y="26"/>
                    </a:lnTo>
                    <a:lnTo>
                      <a:pt x="62" y="26"/>
                    </a:lnTo>
                    <a:lnTo>
                      <a:pt x="62" y="50"/>
                    </a:lnTo>
                    <a:lnTo>
                      <a:pt x="94" y="50"/>
                    </a:lnTo>
                    <a:lnTo>
                      <a:pt x="94" y="64"/>
                    </a:lnTo>
                    <a:lnTo>
                      <a:pt x="62" y="64"/>
                    </a:lnTo>
                    <a:lnTo>
                      <a:pt x="62" y="88"/>
                    </a:lnTo>
                    <a:lnTo>
                      <a:pt x="94" y="88"/>
                    </a:lnTo>
                    <a:lnTo>
                      <a:pt x="94" y="102"/>
                    </a:lnTo>
                    <a:lnTo>
                      <a:pt x="62" y="102"/>
                    </a:lnTo>
                    <a:lnTo>
                      <a:pt x="62" y="124"/>
                    </a:lnTo>
                    <a:lnTo>
                      <a:pt x="94" y="124"/>
                    </a:lnTo>
                    <a:lnTo>
                      <a:pt x="94" y="160"/>
                    </a:lnTo>
                    <a:lnTo>
                      <a:pt x="62" y="160"/>
                    </a:lnTo>
                    <a:lnTo>
                      <a:pt x="62" y="174"/>
                    </a:lnTo>
                    <a:lnTo>
                      <a:pt x="40" y="174"/>
                    </a:lnTo>
                    <a:lnTo>
                      <a:pt x="40" y="148"/>
                    </a:lnTo>
                    <a:lnTo>
                      <a:pt x="34" y="148"/>
                    </a:lnTo>
                    <a:lnTo>
                      <a:pt x="34" y="174"/>
                    </a:lnTo>
                    <a:lnTo>
                      <a:pt x="20" y="174"/>
                    </a:lnTo>
                    <a:lnTo>
                      <a:pt x="20" y="190"/>
                    </a:lnTo>
                    <a:lnTo>
                      <a:pt x="34" y="190"/>
                    </a:lnTo>
                    <a:lnTo>
                      <a:pt x="34" y="218"/>
                    </a:lnTo>
                    <a:lnTo>
                      <a:pt x="20" y="218"/>
                    </a:lnTo>
                    <a:lnTo>
                      <a:pt x="20" y="232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20" y="264"/>
                    </a:lnTo>
                    <a:lnTo>
                      <a:pt x="20" y="278"/>
                    </a:lnTo>
                    <a:lnTo>
                      <a:pt x="34" y="278"/>
                    </a:lnTo>
                    <a:lnTo>
                      <a:pt x="34" y="314"/>
                    </a:lnTo>
                    <a:lnTo>
                      <a:pt x="20" y="314"/>
                    </a:lnTo>
                    <a:lnTo>
                      <a:pt x="20" y="328"/>
                    </a:lnTo>
                    <a:lnTo>
                      <a:pt x="34" y="328"/>
                    </a:lnTo>
                    <a:lnTo>
                      <a:pt x="34" y="362"/>
                    </a:lnTo>
                    <a:lnTo>
                      <a:pt x="20" y="362"/>
                    </a:lnTo>
                    <a:lnTo>
                      <a:pt x="20" y="374"/>
                    </a:lnTo>
                    <a:lnTo>
                      <a:pt x="34" y="374"/>
                    </a:lnTo>
                    <a:lnTo>
                      <a:pt x="34" y="408"/>
                    </a:lnTo>
                    <a:lnTo>
                      <a:pt x="20" y="408"/>
                    </a:lnTo>
                    <a:lnTo>
                      <a:pt x="20" y="426"/>
                    </a:lnTo>
                    <a:lnTo>
                      <a:pt x="34" y="426"/>
                    </a:lnTo>
                    <a:lnTo>
                      <a:pt x="34" y="464"/>
                    </a:lnTo>
                    <a:lnTo>
                      <a:pt x="20" y="464"/>
                    </a:lnTo>
                    <a:lnTo>
                      <a:pt x="20" y="474"/>
                    </a:lnTo>
                    <a:lnTo>
                      <a:pt x="34" y="474"/>
                    </a:lnTo>
                    <a:lnTo>
                      <a:pt x="34" y="522"/>
                    </a:lnTo>
                    <a:lnTo>
                      <a:pt x="0" y="522"/>
                    </a:lnTo>
                    <a:lnTo>
                      <a:pt x="0" y="716"/>
                    </a:lnTo>
                    <a:lnTo>
                      <a:pt x="802" y="716"/>
                    </a:lnTo>
                    <a:lnTo>
                      <a:pt x="802" y="522"/>
                    </a:lnTo>
                    <a:lnTo>
                      <a:pt x="780" y="522"/>
                    </a:lnTo>
                    <a:close/>
                    <a:moveTo>
                      <a:pt x="566" y="190"/>
                    </a:moveTo>
                    <a:lnTo>
                      <a:pt x="590" y="190"/>
                    </a:lnTo>
                    <a:lnTo>
                      <a:pt x="590" y="218"/>
                    </a:lnTo>
                    <a:lnTo>
                      <a:pt x="566" y="218"/>
                    </a:lnTo>
                    <a:lnTo>
                      <a:pt x="566" y="190"/>
                    </a:lnTo>
                    <a:close/>
                    <a:moveTo>
                      <a:pt x="566" y="232"/>
                    </a:moveTo>
                    <a:lnTo>
                      <a:pt x="590" y="232"/>
                    </a:lnTo>
                    <a:lnTo>
                      <a:pt x="590" y="264"/>
                    </a:lnTo>
                    <a:lnTo>
                      <a:pt x="566" y="264"/>
                    </a:lnTo>
                    <a:lnTo>
                      <a:pt x="566" y="232"/>
                    </a:lnTo>
                    <a:close/>
                    <a:moveTo>
                      <a:pt x="566" y="278"/>
                    </a:moveTo>
                    <a:lnTo>
                      <a:pt x="590" y="278"/>
                    </a:lnTo>
                    <a:lnTo>
                      <a:pt x="590" y="314"/>
                    </a:lnTo>
                    <a:lnTo>
                      <a:pt x="566" y="314"/>
                    </a:lnTo>
                    <a:lnTo>
                      <a:pt x="566" y="278"/>
                    </a:lnTo>
                    <a:close/>
                    <a:moveTo>
                      <a:pt x="566" y="328"/>
                    </a:moveTo>
                    <a:lnTo>
                      <a:pt x="590" y="328"/>
                    </a:lnTo>
                    <a:lnTo>
                      <a:pt x="590" y="362"/>
                    </a:lnTo>
                    <a:lnTo>
                      <a:pt x="566" y="362"/>
                    </a:lnTo>
                    <a:lnTo>
                      <a:pt x="566" y="328"/>
                    </a:lnTo>
                    <a:close/>
                    <a:moveTo>
                      <a:pt x="566" y="374"/>
                    </a:moveTo>
                    <a:lnTo>
                      <a:pt x="590" y="374"/>
                    </a:lnTo>
                    <a:lnTo>
                      <a:pt x="590" y="408"/>
                    </a:lnTo>
                    <a:lnTo>
                      <a:pt x="566" y="408"/>
                    </a:lnTo>
                    <a:lnTo>
                      <a:pt x="566" y="374"/>
                    </a:lnTo>
                    <a:close/>
                    <a:moveTo>
                      <a:pt x="566" y="426"/>
                    </a:moveTo>
                    <a:lnTo>
                      <a:pt x="590" y="426"/>
                    </a:lnTo>
                    <a:lnTo>
                      <a:pt x="590" y="464"/>
                    </a:lnTo>
                    <a:lnTo>
                      <a:pt x="566" y="464"/>
                    </a:lnTo>
                    <a:lnTo>
                      <a:pt x="566" y="426"/>
                    </a:lnTo>
                    <a:close/>
                    <a:moveTo>
                      <a:pt x="566" y="474"/>
                    </a:moveTo>
                    <a:lnTo>
                      <a:pt x="590" y="474"/>
                    </a:lnTo>
                    <a:lnTo>
                      <a:pt x="590" y="522"/>
                    </a:lnTo>
                    <a:lnTo>
                      <a:pt x="566" y="522"/>
                    </a:lnTo>
                    <a:lnTo>
                      <a:pt x="566" y="474"/>
                    </a:lnTo>
                    <a:close/>
                    <a:moveTo>
                      <a:pt x="304" y="190"/>
                    </a:moveTo>
                    <a:lnTo>
                      <a:pt x="326" y="190"/>
                    </a:lnTo>
                    <a:lnTo>
                      <a:pt x="326" y="218"/>
                    </a:lnTo>
                    <a:lnTo>
                      <a:pt x="304" y="218"/>
                    </a:lnTo>
                    <a:lnTo>
                      <a:pt x="304" y="190"/>
                    </a:lnTo>
                    <a:close/>
                    <a:moveTo>
                      <a:pt x="304" y="232"/>
                    </a:moveTo>
                    <a:lnTo>
                      <a:pt x="326" y="232"/>
                    </a:lnTo>
                    <a:lnTo>
                      <a:pt x="326" y="264"/>
                    </a:lnTo>
                    <a:lnTo>
                      <a:pt x="304" y="264"/>
                    </a:lnTo>
                    <a:lnTo>
                      <a:pt x="304" y="232"/>
                    </a:lnTo>
                    <a:close/>
                    <a:moveTo>
                      <a:pt x="304" y="278"/>
                    </a:moveTo>
                    <a:lnTo>
                      <a:pt x="326" y="278"/>
                    </a:lnTo>
                    <a:lnTo>
                      <a:pt x="326" y="314"/>
                    </a:lnTo>
                    <a:lnTo>
                      <a:pt x="304" y="314"/>
                    </a:lnTo>
                    <a:lnTo>
                      <a:pt x="304" y="278"/>
                    </a:lnTo>
                    <a:close/>
                    <a:moveTo>
                      <a:pt x="304" y="328"/>
                    </a:moveTo>
                    <a:lnTo>
                      <a:pt x="326" y="328"/>
                    </a:lnTo>
                    <a:lnTo>
                      <a:pt x="326" y="362"/>
                    </a:lnTo>
                    <a:lnTo>
                      <a:pt x="304" y="362"/>
                    </a:lnTo>
                    <a:lnTo>
                      <a:pt x="304" y="328"/>
                    </a:lnTo>
                    <a:close/>
                    <a:moveTo>
                      <a:pt x="304" y="374"/>
                    </a:moveTo>
                    <a:lnTo>
                      <a:pt x="326" y="374"/>
                    </a:lnTo>
                    <a:lnTo>
                      <a:pt x="326" y="408"/>
                    </a:lnTo>
                    <a:lnTo>
                      <a:pt x="304" y="408"/>
                    </a:lnTo>
                    <a:lnTo>
                      <a:pt x="304" y="374"/>
                    </a:lnTo>
                    <a:close/>
                    <a:moveTo>
                      <a:pt x="304" y="426"/>
                    </a:moveTo>
                    <a:lnTo>
                      <a:pt x="326" y="426"/>
                    </a:lnTo>
                    <a:lnTo>
                      <a:pt x="326" y="464"/>
                    </a:lnTo>
                    <a:lnTo>
                      <a:pt x="304" y="464"/>
                    </a:lnTo>
                    <a:lnTo>
                      <a:pt x="304" y="426"/>
                    </a:lnTo>
                    <a:close/>
                    <a:moveTo>
                      <a:pt x="304" y="474"/>
                    </a:moveTo>
                    <a:lnTo>
                      <a:pt x="326" y="474"/>
                    </a:lnTo>
                    <a:lnTo>
                      <a:pt x="326" y="522"/>
                    </a:lnTo>
                    <a:lnTo>
                      <a:pt x="304" y="522"/>
                    </a:lnTo>
                    <a:lnTo>
                      <a:pt x="304" y="474"/>
                    </a:lnTo>
                    <a:close/>
                    <a:moveTo>
                      <a:pt x="40" y="190"/>
                    </a:moveTo>
                    <a:lnTo>
                      <a:pt x="62" y="190"/>
                    </a:lnTo>
                    <a:lnTo>
                      <a:pt x="62" y="218"/>
                    </a:lnTo>
                    <a:lnTo>
                      <a:pt x="40" y="218"/>
                    </a:lnTo>
                    <a:lnTo>
                      <a:pt x="40" y="190"/>
                    </a:lnTo>
                    <a:close/>
                    <a:moveTo>
                      <a:pt x="40" y="232"/>
                    </a:moveTo>
                    <a:lnTo>
                      <a:pt x="62" y="232"/>
                    </a:lnTo>
                    <a:lnTo>
                      <a:pt x="62" y="264"/>
                    </a:lnTo>
                    <a:lnTo>
                      <a:pt x="40" y="264"/>
                    </a:lnTo>
                    <a:lnTo>
                      <a:pt x="40" y="232"/>
                    </a:lnTo>
                    <a:close/>
                    <a:moveTo>
                      <a:pt x="40" y="278"/>
                    </a:moveTo>
                    <a:lnTo>
                      <a:pt x="62" y="278"/>
                    </a:lnTo>
                    <a:lnTo>
                      <a:pt x="62" y="314"/>
                    </a:lnTo>
                    <a:lnTo>
                      <a:pt x="40" y="314"/>
                    </a:lnTo>
                    <a:lnTo>
                      <a:pt x="40" y="278"/>
                    </a:lnTo>
                    <a:close/>
                    <a:moveTo>
                      <a:pt x="40" y="328"/>
                    </a:moveTo>
                    <a:lnTo>
                      <a:pt x="62" y="328"/>
                    </a:lnTo>
                    <a:lnTo>
                      <a:pt x="62" y="362"/>
                    </a:lnTo>
                    <a:lnTo>
                      <a:pt x="40" y="362"/>
                    </a:lnTo>
                    <a:lnTo>
                      <a:pt x="40" y="328"/>
                    </a:lnTo>
                    <a:close/>
                    <a:moveTo>
                      <a:pt x="40" y="374"/>
                    </a:moveTo>
                    <a:lnTo>
                      <a:pt x="62" y="374"/>
                    </a:lnTo>
                    <a:lnTo>
                      <a:pt x="62" y="408"/>
                    </a:lnTo>
                    <a:lnTo>
                      <a:pt x="40" y="408"/>
                    </a:lnTo>
                    <a:lnTo>
                      <a:pt x="40" y="374"/>
                    </a:lnTo>
                    <a:close/>
                    <a:moveTo>
                      <a:pt x="40" y="426"/>
                    </a:moveTo>
                    <a:lnTo>
                      <a:pt x="62" y="426"/>
                    </a:lnTo>
                    <a:lnTo>
                      <a:pt x="62" y="464"/>
                    </a:lnTo>
                    <a:lnTo>
                      <a:pt x="40" y="464"/>
                    </a:lnTo>
                    <a:lnTo>
                      <a:pt x="40" y="426"/>
                    </a:lnTo>
                    <a:close/>
                    <a:moveTo>
                      <a:pt x="40" y="474"/>
                    </a:moveTo>
                    <a:lnTo>
                      <a:pt x="62" y="474"/>
                    </a:lnTo>
                    <a:lnTo>
                      <a:pt x="62" y="522"/>
                    </a:lnTo>
                    <a:lnTo>
                      <a:pt x="40" y="522"/>
                    </a:lnTo>
                    <a:lnTo>
                      <a:pt x="40" y="47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5583E372-7D75-4D58-AAB4-8870E3887C60}"/>
                </a:ext>
              </a:extLst>
            </p:cNvPr>
            <p:cNvGrpSpPr/>
            <p:nvPr/>
          </p:nvGrpSpPr>
          <p:grpSpPr>
            <a:xfrm>
              <a:off x="5303393" y="3496032"/>
              <a:ext cx="160476" cy="144931"/>
              <a:chOff x="10141598" y="3536376"/>
              <a:chExt cx="157159" cy="128810"/>
            </a:xfrm>
          </p:grpSpPr>
          <p:sp>
            <p:nvSpPr>
              <p:cNvPr id="274" name="Oval 273">
                <a:extLst>
                  <a:ext uri="{FF2B5EF4-FFF2-40B4-BE49-F238E27FC236}">
                    <a16:creationId xmlns:a16="http://schemas.microsoft.com/office/drawing/2014/main" id="{6E7E8178-BDAC-410C-B8A3-14EA97D4E06B}"/>
                  </a:ext>
                </a:extLst>
              </p:cNvPr>
              <p:cNvSpPr/>
              <p:nvPr/>
            </p:nvSpPr>
            <p:spPr bwMode="ltGray">
              <a:xfrm>
                <a:off x="10141598" y="3536376"/>
                <a:ext cx="157159" cy="128810"/>
              </a:xfrm>
              <a:prstGeom prst="ellipse">
                <a:avLst/>
              </a:prstGeom>
              <a:solidFill>
                <a:srgbClr val="933401"/>
              </a:solidFill>
              <a:ln w="38100">
                <a:solidFill>
                  <a:srgbClr val="9334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5" name="Freeform 7403">
                <a:extLst>
                  <a:ext uri="{FF2B5EF4-FFF2-40B4-BE49-F238E27FC236}">
                    <a16:creationId xmlns:a16="http://schemas.microsoft.com/office/drawing/2014/main" id="{5A7CC603-D4EA-4058-8277-8A33C830E8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6663" y="3558609"/>
                <a:ext cx="118586" cy="86773"/>
              </a:xfrm>
              <a:custGeom>
                <a:avLst/>
                <a:gdLst>
                  <a:gd name="T0" fmla="*/ 780 w 802"/>
                  <a:gd name="T1" fmla="*/ 124 h 716"/>
                  <a:gd name="T2" fmla="*/ 780 w 802"/>
                  <a:gd name="T3" fmla="*/ 64 h 716"/>
                  <a:gd name="T4" fmla="*/ 750 w 802"/>
                  <a:gd name="T5" fmla="*/ 26 h 716"/>
                  <a:gd name="T6" fmla="*/ 590 w 802"/>
                  <a:gd name="T7" fmla="*/ 50 h 716"/>
                  <a:gd name="T8" fmla="*/ 620 w 802"/>
                  <a:gd name="T9" fmla="*/ 88 h 716"/>
                  <a:gd name="T10" fmla="*/ 620 w 802"/>
                  <a:gd name="T11" fmla="*/ 160 h 716"/>
                  <a:gd name="T12" fmla="*/ 560 w 802"/>
                  <a:gd name="T13" fmla="*/ 148 h 716"/>
                  <a:gd name="T14" fmla="*/ 560 w 802"/>
                  <a:gd name="T15" fmla="*/ 218 h 716"/>
                  <a:gd name="T16" fmla="*/ 548 w 802"/>
                  <a:gd name="T17" fmla="*/ 264 h 716"/>
                  <a:gd name="T18" fmla="*/ 548 w 802"/>
                  <a:gd name="T19" fmla="*/ 328 h 716"/>
                  <a:gd name="T20" fmla="*/ 560 w 802"/>
                  <a:gd name="T21" fmla="*/ 374 h 716"/>
                  <a:gd name="T22" fmla="*/ 560 w 802"/>
                  <a:gd name="T23" fmla="*/ 464 h 716"/>
                  <a:gd name="T24" fmla="*/ 516 w 802"/>
                  <a:gd name="T25" fmla="*/ 522 h 716"/>
                  <a:gd name="T26" fmla="*/ 516 w 802"/>
                  <a:gd name="T27" fmla="*/ 102 h 716"/>
                  <a:gd name="T28" fmla="*/ 488 w 802"/>
                  <a:gd name="T29" fmla="*/ 64 h 716"/>
                  <a:gd name="T30" fmla="*/ 488 w 802"/>
                  <a:gd name="T31" fmla="*/ 0 h 716"/>
                  <a:gd name="T32" fmla="*/ 358 w 802"/>
                  <a:gd name="T33" fmla="*/ 50 h 716"/>
                  <a:gd name="T34" fmla="*/ 358 w 802"/>
                  <a:gd name="T35" fmla="*/ 102 h 716"/>
                  <a:gd name="T36" fmla="*/ 326 w 802"/>
                  <a:gd name="T37" fmla="*/ 160 h 716"/>
                  <a:gd name="T38" fmla="*/ 296 w 802"/>
                  <a:gd name="T39" fmla="*/ 174 h 716"/>
                  <a:gd name="T40" fmla="*/ 284 w 802"/>
                  <a:gd name="T41" fmla="*/ 218 h 716"/>
                  <a:gd name="T42" fmla="*/ 284 w 802"/>
                  <a:gd name="T43" fmla="*/ 278 h 716"/>
                  <a:gd name="T44" fmla="*/ 296 w 802"/>
                  <a:gd name="T45" fmla="*/ 328 h 716"/>
                  <a:gd name="T46" fmla="*/ 296 w 802"/>
                  <a:gd name="T47" fmla="*/ 408 h 716"/>
                  <a:gd name="T48" fmla="*/ 284 w 802"/>
                  <a:gd name="T49" fmla="*/ 464 h 716"/>
                  <a:gd name="T50" fmla="*/ 252 w 802"/>
                  <a:gd name="T51" fmla="*/ 160 h 716"/>
                  <a:gd name="T52" fmla="*/ 224 w 802"/>
                  <a:gd name="T53" fmla="*/ 102 h 716"/>
                  <a:gd name="T54" fmla="*/ 224 w 802"/>
                  <a:gd name="T55" fmla="*/ 50 h 716"/>
                  <a:gd name="T56" fmla="*/ 94 w 802"/>
                  <a:gd name="T57" fmla="*/ 0 h 716"/>
                  <a:gd name="T58" fmla="*/ 94 w 802"/>
                  <a:gd name="T59" fmla="*/ 64 h 716"/>
                  <a:gd name="T60" fmla="*/ 62 w 802"/>
                  <a:gd name="T61" fmla="*/ 102 h 716"/>
                  <a:gd name="T62" fmla="*/ 62 w 802"/>
                  <a:gd name="T63" fmla="*/ 174 h 716"/>
                  <a:gd name="T64" fmla="*/ 20 w 802"/>
                  <a:gd name="T65" fmla="*/ 174 h 716"/>
                  <a:gd name="T66" fmla="*/ 20 w 802"/>
                  <a:gd name="T67" fmla="*/ 232 h 716"/>
                  <a:gd name="T68" fmla="*/ 34 w 802"/>
                  <a:gd name="T69" fmla="*/ 278 h 716"/>
                  <a:gd name="T70" fmla="*/ 34 w 802"/>
                  <a:gd name="T71" fmla="*/ 362 h 716"/>
                  <a:gd name="T72" fmla="*/ 20 w 802"/>
                  <a:gd name="T73" fmla="*/ 408 h 716"/>
                  <a:gd name="T74" fmla="*/ 20 w 802"/>
                  <a:gd name="T75" fmla="*/ 474 h 716"/>
                  <a:gd name="T76" fmla="*/ 802 w 802"/>
                  <a:gd name="T77" fmla="*/ 716 h 716"/>
                  <a:gd name="T78" fmla="*/ 590 w 802"/>
                  <a:gd name="T79" fmla="*/ 218 h 716"/>
                  <a:gd name="T80" fmla="*/ 590 w 802"/>
                  <a:gd name="T81" fmla="*/ 264 h 716"/>
                  <a:gd name="T82" fmla="*/ 590 w 802"/>
                  <a:gd name="T83" fmla="*/ 314 h 716"/>
                  <a:gd name="T84" fmla="*/ 590 w 802"/>
                  <a:gd name="T85" fmla="*/ 362 h 716"/>
                  <a:gd name="T86" fmla="*/ 590 w 802"/>
                  <a:gd name="T87" fmla="*/ 408 h 716"/>
                  <a:gd name="T88" fmla="*/ 590 w 802"/>
                  <a:gd name="T89" fmla="*/ 464 h 716"/>
                  <a:gd name="T90" fmla="*/ 590 w 802"/>
                  <a:gd name="T91" fmla="*/ 522 h 716"/>
                  <a:gd name="T92" fmla="*/ 326 w 802"/>
                  <a:gd name="T93" fmla="*/ 218 h 716"/>
                  <a:gd name="T94" fmla="*/ 326 w 802"/>
                  <a:gd name="T95" fmla="*/ 264 h 716"/>
                  <a:gd name="T96" fmla="*/ 326 w 802"/>
                  <a:gd name="T97" fmla="*/ 314 h 716"/>
                  <a:gd name="T98" fmla="*/ 326 w 802"/>
                  <a:gd name="T99" fmla="*/ 362 h 716"/>
                  <a:gd name="T100" fmla="*/ 326 w 802"/>
                  <a:gd name="T101" fmla="*/ 408 h 716"/>
                  <a:gd name="T102" fmla="*/ 326 w 802"/>
                  <a:gd name="T103" fmla="*/ 464 h 716"/>
                  <a:gd name="T104" fmla="*/ 326 w 802"/>
                  <a:gd name="T105" fmla="*/ 522 h 716"/>
                  <a:gd name="T106" fmla="*/ 62 w 802"/>
                  <a:gd name="T107" fmla="*/ 218 h 716"/>
                  <a:gd name="T108" fmla="*/ 62 w 802"/>
                  <a:gd name="T109" fmla="*/ 264 h 716"/>
                  <a:gd name="T110" fmla="*/ 62 w 802"/>
                  <a:gd name="T111" fmla="*/ 314 h 716"/>
                  <a:gd name="T112" fmla="*/ 62 w 802"/>
                  <a:gd name="T113" fmla="*/ 362 h 716"/>
                  <a:gd name="T114" fmla="*/ 62 w 802"/>
                  <a:gd name="T115" fmla="*/ 408 h 716"/>
                  <a:gd name="T116" fmla="*/ 62 w 802"/>
                  <a:gd name="T117" fmla="*/ 464 h 716"/>
                  <a:gd name="T118" fmla="*/ 62 w 802"/>
                  <a:gd name="T119" fmla="*/ 52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2" h="716">
                    <a:moveTo>
                      <a:pt x="780" y="522"/>
                    </a:moveTo>
                    <a:lnTo>
                      <a:pt x="780" y="160"/>
                    </a:lnTo>
                    <a:lnTo>
                      <a:pt x="750" y="160"/>
                    </a:lnTo>
                    <a:lnTo>
                      <a:pt x="750" y="124"/>
                    </a:lnTo>
                    <a:lnTo>
                      <a:pt x="780" y="124"/>
                    </a:lnTo>
                    <a:lnTo>
                      <a:pt x="780" y="102"/>
                    </a:lnTo>
                    <a:lnTo>
                      <a:pt x="750" y="102"/>
                    </a:lnTo>
                    <a:lnTo>
                      <a:pt x="750" y="88"/>
                    </a:lnTo>
                    <a:lnTo>
                      <a:pt x="780" y="88"/>
                    </a:lnTo>
                    <a:lnTo>
                      <a:pt x="780" y="64"/>
                    </a:lnTo>
                    <a:lnTo>
                      <a:pt x="750" y="64"/>
                    </a:lnTo>
                    <a:lnTo>
                      <a:pt x="750" y="50"/>
                    </a:lnTo>
                    <a:lnTo>
                      <a:pt x="780" y="50"/>
                    </a:lnTo>
                    <a:lnTo>
                      <a:pt x="780" y="26"/>
                    </a:lnTo>
                    <a:lnTo>
                      <a:pt x="750" y="26"/>
                    </a:lnTo>
                    <a:lnTo>
                      <a:pt x="750" y="0"/>
                    </a:lnTo>
                    <a:lnTo>
                      <a:pt x="620" y="0"/>
                    </a:lnTo>
                    <a:lnTo>
                      <a:pt x="620" y="26"/>
                    </a:lnTo>
                    <a:lnTo>
                      <a:pt x="590" y="26"/>
                    </a:lnTo>
                    <a:lnTo>
                      <a:pt x="590" y="50"/>
                    </a:lnTo>
                    <a:lnTo>
                      <a:pt x="620" y="50"/>
                    </a:lnTo>
                    <a:lnTo>
                      <a:pt x="620" y="64"/>
                    </a:lnTo>
                    <a:lnTo>
                      <a:pt x="590" y="64"/>
                    </a:lnTo>
                    <a:lnTo>
                      <a:pt x="590" y="88"/>
                    </a:lnTo>
                    <a:lnTo>
                      <a:pt x="620" y="88"/>
                    </a:lnTo>
                    <a:lnTo>
                      <a:pt x="620" y="102"/>
                    </a:lnTo>
                    <a:lnTo>
                      <a:pt x="590" y="102"/>
                    </a:lnTo>
                    <a:lnTo>
                      <a:pt x="590" y="124"/>
                    </a:lnTo>
                    <a:lnTo>
                      <a:pt x="620" y="124"/>
                    </a:lnTo>
                    <a:lnTo>
                      <a:pt x="620" y="160"/>
                    </a:lnTo>
                    <a:lnTo>
                      <a:pt x="590" y="160"/>
                    </a:lnTo>
                    <a:lnTo>
                      <a:pt x="590" y="174"/>
                    </a:lnTo>
                    <a:lnTo>
                      <a:pt x="566" y="174"/>
                    </a:lnTo>
                    <a:lnTo>
                      <a:pt x="566" y="148"/>
                    </a:lnTo>
                    <a:lnTo>
                      <a:pt x="560" y="148"/>
                    </a:lnTo>
                    <a:lnTo>
                      <a:pt x="560" y="174"/>
                    </a:lnTo>
                    <a:lnTo>
                      <a:pt x="548" y="174"/>
                    </a:lnTo>
                    <a:lnTo>
                      <a:pt x="548" y="190"/>
                    </a:lnTo>
                    <a:lnTo>
                      <a:pt x="560" y="190"/>
                    </a:lnTo>
                    <a:lnTo>
                      <a:pt x="560" y="218"/>
                    </a:lnTo>
                    <a:lnTo>
                      <a:pt x="548" y="218"/>
                    </a:lnTo>
                    <a:lnTo>
                      <a:pt x="548" y="232"/>
                    </a:lnTo>
                    <a:lnTo>
                      <a:pt x="560" y="232"/>
                    </a:lnTo>
                    <a:lnTo>
                      <a:pt x="560" y="264"/>
                    </a:lnTo>
                    <a:lnTo>
                      <a:pt x="548" y="264"/>
                    </a:lnTo>
                    <a:lnTo>
                      <a:pt x="548" y="278"/>
                    </a:lnTo>
                    <a:lnTo>
                      <a:pt x="560" y="278"/>
                    </a:lnTo>
                    <a:lnTo>
                      <a:pt x="560" y="314"/>
                    </a:lnTo>
                    <a:lnTo>
                      <a:pt x="548" y="314"/>
                    </a:lnTo>
                    <a:lnTo>
                      <a:pt x="548" y="328"/>
                    </a:lnTo>
                    <a:lnTo>
                      <a:pt x="560" y="328"/>
                    </a:lnTo>
                    <a:lnTo>
                      <a:pt x="560" y="362"/>
                    </a:lnTo>
                    <a:lnTo>
                      <a:pt x="548" y="362"/>
                    </a:lnTo>
                    <a:lnTo>
                      <a:pt x="548" y="374"/>
                    </a:lnTo>
                    <a:lnTo>
                      <a:pt x="560" y="374"/>
                    </a:lnTo>
                    <a:lnTo>
                      <a:pt x="560" y="408"/>
                    </a:lnTo>
                    <a:lnTo>
                      <a:pt x="548" y="408"/>
                    </a:lnTo>
                    <a:lnTo>
                      <a:pt x="548" y="426"/>
                    </a:lnTo>
                    <a:lnTo>
                      <a:pt x="560" y="426"/>
                    </a:lnTo>
                    <a:lnTo>
                      <a:pt x="560" y="464"/>
                    </a:lnTo>
                    <a:lnTo>
                      <a:pt x="548" y="464"/>
                    </a:lnTo>
                    <a:lnTo>
                      <a:pt x="548" y="474"/>
                    </a:lnTo>
                    <a:lnTo>
                      <a:pt x="560" y="474"/>
                    </a:lnTo>
                    <a:lnTo>
                      <a:pt x="560" y="522"/>
                    </a:lnTo>
                    <a:lnTo>
                      <a:pt x="516" y="522"/>
                    </a:lnTo>
                    <a:lnTo>
                      <a:pt x="516" y="160"/>
                    </a:lnTo>
                    <a:lnTo>
                      <a:pt x="488" y="160"/>
                    </a:lnTo>
                    <a:lnTo>
                      <a:pt x="488" y="124"/>
                    </a:lnTo>
                    <a:lnTo>
                      <a:pt x="516" y="124"/>
                    </a:lnTo>
                    <a:lnTo>
                      <a:pt x="516" y="102"/>
                    </a:lnTo>
                    <a:lnTo>
                      <a:pt x="488" y="102"/>
                    </a:lnTo>
                    <a:lnTo>
                      <a:pt x="488" y="88"/>
                    </a:lnTo>
                    <a:lnTo>
                      <a:pt x="516" y="88"/>
                    </a:lnTo>
                    <a:lnTo>
                      <a:pt x="516" y="64"/>
                    </a:lnTo>
                    <a:lnTo>
                      <a:pt x="488" y="64"/>
                    </a:lnTo>
                    <a:lnTo>
                      <a:pt x="488" y="50"/>
                    </a:lnTo>
                    <a:lnTo>
                      <a:pt x="516" y="50"/>
                    </a:lnTo>
                    <a:lnTo>
                      <a:pt x="516" y="26"/>
                    </a:lnTo>
                    <a:lnTo>
                      <a:pt x="488" y="26"/>
                    </a:lnTo>
                    <a:lnTo>
                      <a:pt x="488" y="0"/>
                    </a:lnTo>
                    <a:lnTo>
                      <a:pt x="358" y="0"/>
                    </a:lnTo>
                    <a:lnTo>
                      <a:pt x="358" y="26"/>
                    </a:lnTo>
                    <a:lnTo>
                      <a:pt x="326" y="26"/>
                    </a:lnTo>
                    <a:lnTo>
                      <a:pt x="326" y="50"/>
                    </a:lnTo>
                    <a:lnTo>
                      <a:pt x="358" y="50"/>
                    </a:lnTo>
                    <a:lnTo>
                      <a:pt x="358" y="64"/>
                    </a:lnTo>
                    <a:lnTo>
                      <a:pt x="326" y="64"/>
                    </a:lnTo>
                    <a:lnTo>
                      <a:pt x="326" y="88"/>
                    </a:lnTo>
                    <a:lnTo>
                      <a:pt x="358" y="88"/>
                    </a:lnTo>
                    <a:lnTo>
                      <a:pt x="358" y="102"/>
                    </a:lnTo>
                    <a:lnTo>
                      <a:pt x="326" y="102"/>
                    </a:lnTo>
                    <a:lnTo>
                      <a:pt x="326" y="124"/>
                    </a:lnTo>
                    <a:lnTo>
                      <a:pt x="358" y="124"/>
                    </a:lnTo>
                    <a:lnTo>
                      <a:pt x="358" y="160"/>
                    </a:lnTo>
                    <a:lnTo>
                      <a:pt x="326" y="160"/>
                    </a:lnTo>
                    <a:lnTo>
                      <a:pt x="326" y="174"/>
                    </a:lnTo>
                    <a:lnTo>
                      <a:pt x="304" y="174"/>
                    </a:lnTo>
                    <a:lnTo>
                      <a:pt x="304" y="148"/>
                    </a:lnTo>
                    <a:lnTo>
                      <a:pt x="296" y="148"/>
                    </a:lnTo>
                    <a:lnTo>
                      <a:pt x="296" y="174"/>
                    </a:lnTo>
                    <a:lnTo>
                      <a:pt x="284" y="174"/>
                    </a:lnTo>
                    <a:lnTo>
                      <a:pt x="284" y="190"/>
                    </a:lnTo>
                    <a:lnTo>
                      <a:pt x="296" y="190"/>
                    </a:lnTo>
                    <a:lnTo>
                      <a:pt x="296" y="218"/>
                    </a:lnTo>
                    <a:lnTo>
                      <a:pt x="284" y="218"/>
                    </a:lnTo>
                    <a:lnTo>
                      <a:pt x="284" y="232"/>
                    </a:lnTo>
                    <a:lnTo>
                      <a:pt x="296" y="232"/>
                    </a:lnTo>
                    <a:lnTo>
                      <a:pt x="296" y="264"/>
                    </a:lnTo>
                    <a:lnTo>
                      <a:pt x="284" y="264"/>
                    </a:lnTo>
                    <a:lnTo>
                      <a:pt x="284" y="278"/>
                    </a:lnTo>
                    <a:lnTo>
                      <a:pt x="296" y="278"/>
                    </a:lnTo>
                    <a:lnTo>
                      <a:pt x="296" y="314"/>
                    </a:lnTo>
                    <a:lnTo>
                      <a:pt x="284" y="314"/>
                    </a:lnTo>
                    <a:lnTo>
                      <a:pt x="284" y="328"/>
                    </a:lnTo>
                    <a:lnTo>
                      <a:pt x="296" y="328"/>
                    </a:lnTo>
                    <a:lnTo>
                      <a:pt x="296" y="362"/>
                    </a:lnTo>
                    <a:lnTo>
                      <a:pt x="284" y="362"/>
                    </a:lnTo>
                    <a:lnTo>
                      <a:pt x="284" y="374"/>
                    </a:lnTo>
                    <a:lnTo>
                      <a:pt x="296" y="374"/>
                    </a:lnTo>
                    <a:lnTo>
                      <a:pt x="296" y="408"/>
                    </a:lnTo>
                    <a:lnTo>
                      <a:pt x="284" y="408"/>
                    </a:lnTo>
                    <a:lnTo>
                      <a:pt x="284" y="426"/>
                    </a:lnTo>
                    <a:lnTo>
                      <a:pt x="296" y="426"/>
                    </a:lnTo>
                    <a:lnTo>
                      <a:pt x="296" y="464"/>
                    </a:lnTo>
                    <a:lnTo>
                      <a:pt x="284" y="464"/>
                    </a:lnTo>
                    <a:lnTo>
                      <a:pt x="284" y="474"/>
                    </a:lnTo>
                    <a:lnTo>
                      <a:pt x="296" y="474"/>
                    </a:lnTo>
                    <a:lnTo>
                      <a:pt x="296" y="522"/>
                    </a:lnTo>
                    <a:lnTo>
                      <a:pt x="252" y="522"/>
                    </a:lnTo>
                    <a:lnTo>
                      <a:pt x="252" y="160"/>
                    </a:lnTo>
                    <a:lnTo>
                      <a:pt x="224" y="160"/>
                    </a:lnTo>
                    <a:lnTo>
                      <a:pt x="224" y="124"/>
                    </a:lnTo>
                    <a:lnTo>
                      <a:pt x="252" y="124"/>
                    </a:lnTo>
                    <a:lnTo>
                      <a:pt x="252" y="102"/>
                    </a:lnTo>
                    <a:lnTo>
                      <a:pt x="224" y="102"/>
                    </a:lnTo>
                    <a:lnTo>
                      <a:pt x="224" y="88"/>
                    </a:lnTo>
                    <a:lnTo>
                      <a:pt x="252" y="88"/>
                    </a:lnTo>
                    <a:lnTo>
                      <a:pt x="252" y="64"/>
                    </a:lnTo>
                    <a:lnTo>
                      <a:pt x="224" y="64"/>
                    </a:lnTo>
                    <a:lnTo>
                      <a:pt x="224" y="50"/>
                    </a:lnTo>
                    <a:lnTo>
                      <a:pt x="252" y="50"/>
                    </a:lnTo>
                    <a:lnTo>
                      <a:pt x="252" y="26"/>
                    </a:lnTo>
                    <a:lnTo>
                      <a:pt x="224" y="26"/>
                    </a:lnTo>
                    <a:lnTo>
                      <a:pt x="224" y="0"/>
                    </a:lnTo>
                    <a:lnTo>
                      <a:pt x="94" y="0"/>
                    </a:lnTo>
                    <a:lnTo>
                      <a:pt x="94" y="26"/>
                    </a:lnTo>
                    <a:lnTo>
                      <a:pt x="62" y="26"/>
                    </a:lnTo>
                    <a:lnTo>
                      <a:pt x="62" y="50"/>
                    </a:lnTo>
                    <a:lnTo>
                      <a:pt x="94" y="50"/>
                    </a:lnTo>
                    <a:lnTo>
                      <a:pt x="94" y="64"/>
                    </a:lnTo>
                    <a:lnTo>
                      <a:pt x="62" y="64"/>
                    </a:lnTo>
                    <a:lnTo>
                      <a:pt x="62" y="88"/>
                    </a:lnTo>
                    <a:lnTo>
                      <a:pt x="94" y="88"/>
                    </a:lnTo>
                    <a:lnTo>
                      <a:pt x="94" y="102"/>
                    </a:lnTo>
                    <a:lnTo>
                      <a:pt x="62" y="102"/>
                    </a:lnTo>
                    <a:lnTo>
                      <a:pt x="62" y="124"/>
                    </a:lnTo>
                    <a:lnTo>
                      <a:pt x="94" y="124"/>
                    </a:lnTo>
                    <a:lnTo>
                      <a:pt x="94" y="160"/>
                    </a:lnTo>
                    <a:lnTo>
                      <a:pt x="62" y="160"/>
                    </a:lnTo>
                    <a:lnTo>
                      <a:pt x="62" y="174"/>
                    </a:lnTo>
                    <a:lnTo>
                      <a:pt x="40" y="174"/>
                    </a:lnTo>
                    <a:lnTo>
                      <a:pt x="40" y="148"/>
                    </a:lnTo>
                    <a:lnTo>
                      <a:pt x="34" y="148"/>
                    </a:lnTo>
                    <a:lnTo>
                      <a:pt x="34" y="174"/>
                    </a:lnTo>
                    <a:lnTo>
                      <a:pt x="20" y="174"/>
                    </a:lnTo>
                    <a:lnTo>
                      <a:pt x="20" y="190"/>
                    </a:lnTo>
                    <a:lnTo>
                      <a:pt x="34" y="190"/>
                    </a:lnTo>
                    <a:lnTo>
                      <a:pt x="34" y="218"/>
                    </a:lnTo>
                    <a:lnTo>
                      <a:pt x="20" y="218"/>
                    </a:lnTo>
                    <a:lnTo>
                      <a:pt x="20" y="232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20" y="264"/>
                    </a:lnTo>
                    <a:lnTo>
                      <a:pt x="20" y="278"/>
                    </a:lnTo>
                    <a:lnTo>
                      <a:pt x="34" y="278"/>
                    </a:lnTo>
                    <a:lnTo>
                      <a:pt x="34" y="314"/>
                    </a:lnTo>
                    <a:lnTo>
                      <a:pt x="20" y="314"/>
                    </a:lnTo>
                    <a:lnTo>
                      <a:pt x="20" y="328"/>
                    </a:lnTo>
                    <a:lnTo>
                      <a:pt x="34" y="328"/>
                    </a:lnTo>
                    <a:lnTo>
                      <a:pt x="34" y="362"/>
                    </a:lnTo>
                    <a:lnTo>
                      <a:pt x="20" y="362"/>
                    </a:lnTo>
                    <a:lnTo>
                      <a:pt x="20" y="374"/>
                    </a:lnTo>
                    <a:lnTo>
                      <a:pt x="34" y="374"/>
                    </a:lnTo>
                    <a:lnTo>
                      <a:pt x="34" y="408"/>
                    </a:lnTo>
                    <a:lnTo>
                      <a:pt x="20" y="408"/>
                    </a:lnTo>
                    <a:lnTo>
                      <a:pt x="20" y="426"/>
                    </a:lnTo>
                    <a:lnTo>
                      <a:pt x="34" y="426"/>
                    </a:lnTo>
                    <a:lnTo>
                      <a:pt x="34" y="464"/>
                    </a:lnTo>
                    <a:lnTo>
                      <a:pt x="20" y="464"/>
                    </a:lnTo>
                    <a:lnTo>
                      <a:pt x="20" y="474"/>
                    </a:lnTo>
                    <a:lnTo>
                      <a:pt x="34" y="474"/>
                    </a:lnTo>
                    <a:lnTo>
                      <a:pt x="34" y="522"/>
                    </a:lnTo>
                    <a:lnTo>
                      <a:pt x="0" y="522"/>
                    </a:lnTo>
                    <a:lnTo>
                      <a:pt x="0" y="716"/>
                    </a:lnTo>
                    <a:lnTo>
                      <a:pt x="802" y="716"/>
                    </a:lnTo>
                    <a:lnTo>
                      <a:pt x="802" y="522"/>
                    </a:lnTo>
                    <a:lnTo>
                      <a:pt x="780" y="522"/>
                    </a:lnTo>
                    <a:close/>
                    <a:moveTo>
                      <a:pt x="566" y="190"/>
                    </a:moveTo>
                    <a:lnTo>
                      <a:pt x="590" y="190"/>
                    </a:lnTo>
                    <a:lnTo>
                      <a:pt x="590" y="218"/>
                    </a:lnTo>
                    <a:lnTo>
                      <a:pt x="566" y="218"/>
                    </a:lnTo>
                    <a:lnTo>
                      <a:pt x="566" y="190"/>
                    </a:lnTo>
                    <a:close/>
                    <a:moveTo>
                      <a:pt x="566" y="232"/>
                    </a:moveTo>
                    <a:lnTo>
                      <a:pt x="590" y="232"/>
                    </a:lnTo>
                    <a:lnTo>
                      <a:pt x="590" y="264"/>
                    </a:lnTo>
                    <a:lnTo>
                      <a:pt x="566" y="264"/>
                    </a:lnTo>
                    <a:lnTo>
                      <a:pt x="566" y="232"/>
                    </a:lnTo>
                    <a:close/>
                    <a:moveTo>
                      <a:pt x="566" y="278"/>
                    </a:moveTo>
                    <a:lnTo>
                      <a:pt x="590" y="278"/>
                    </a:lnTo>
                    <a:lnTo>
                      <a:pt x="590" y="314"/>
                    </a:lnTo>
                    <a:lnTo>
                      <a:pt x="566" y="314"/>
                    </a:lnTo>
                    <a:lnTo>
                      <a:pt x="566" y="278"/>
                    </a:lnTo>
                    <a:close/>
                    <a:moveTo>
                      <a:pt x="566" y="328"/>
                    </a:moveTo>
                    <a:lnTo>
                      <a:pt x="590" y="328"/>
                    </a:lnTo>
                    <a:lnTo>
                      <a:pt x="590" y="362"/>
                    </a:lnTo>
                    <a:lnTo>
                      <a:pt x="566" y="362"/>
                    </a:lnTo>
                    <a:lnTo>
                      <a:pt x="566" y="328"/>
                    </a:lnTo>
                    <a:close/>
                    <a:moveTo>
                      <a:pt x="566" y="374"/>
                    </a:moveTo>
                    <a:lnTo>
                      <a:pt x="590" y="374"/>
                    </a:lnTo>
                    <a:lnTo>
                      <a:pt x="590" y="408"/>
                    </a:lnTo>
                    <a:lnTo>
                      <a:pt x="566" y="408"/>
                    </a:lnTo>
                    <a:lnTo>
                      <a:pt x="566" y="374"/>
                    </a:lnTo>
                    <a:close/>
                    <a:moveTo>
                      <a:pt x="566" y="426"/>
                    </a:moveTo>
                    <a:lnTo>
                      <a:pt x="590" y="426"/>
                    </a:lnTo>
                    <a:lnTo>
                      <a:pt x="590" y="464"/>
                    </a:lnTo>
                    <a:lnTo>
                      <a:pt x="566" y="464"/>
                    </a:lnTo>
                    <a:lnTo>
                      <a:pt x="566" y="426"/>
                    </a:lnTo>
                    <a:close/>
                    <a:moveTo>
                      <a:pt x="566" y="474"/>
                    </a:moveTo>
                    <a:lnTo>
                      <a:pt x="590" y="474"/>
                    </a:lnTo>
                    <a:lnTo>
                      <a:pt x="590" y="522"/>
                    </a:lnTo>
                    <a:lnTo>
                      <a:pt x="566" y="522"/>
                    </a:lnTo>
                    <a:lnTo>
                      <a:pt x="566" y="474"/>
                    </a:lnTo>
                    <a:close/>
                    <a:moveTo>
                      <a:pt x="304" y="190"/>
                    </a:moveTo>
                    <a:lnTo>
                      <a:pt x="326" y="190"/>
                    </a:lnTo>
                    <a:lnTo>
                      <a:pt x="326" y="218"/>
                    </a:lnTo>
                    <a:lnTo>
                      <a:pt x="304" y="218"/>
                    </a:lnTo>
                    <a:lnTo>
                      <a:pt x="304" y="190"/>
                    </a:lnTo>
                    <a:close/>
                    <a:moveTo>
                      <a:pt x="304" y="232"/>
                    </a:moveTo>
                    <a:lnTo>
                      <a:pt x="326" y="232"/>
                    </a:lnTo>
                    <a:lnTo>
                      <a:pt x="326" y="264"/>
                    </a:lnTo>
                    <a:lnTo>
                      <a:pt x="304" y="264"/>
                    </a:lnTo>
                    <a:lnTo>
                      <a:pt x="304" y="232"/>
                    </a:lnTo>
                    <a:close/>
                    <a:moveTo>
                      <a:pt x="304" y="278"/>
                    </a:moveTo>
                    <a:lnTo>
                      <a:pt x="326" y="278"/>
                    </a:lnTo>
                    <a:lnTo>
                      <a:pt x="326" y="314"/>
                    </a:lnTo>
                    <a:lnTo>
                      <a:pt x="304" y="314"/>
                    </a:lnTo>
                    <a:lnTo>
                      <a:pt x="304" y="278"/>
                    </a:lnTo>
                    <a:close/>
                    <a:moveTo>
                      <a:pt x="304" y="328"/>
                    </a:moveTo>
                    <a:lnTo>
                      <a:pt x="326" y="328"/>
                    </a:lnTo>
                    <a:lnTo>
                      <a:pt x="326" y="362"/>
                    </a:lnTo>
                    <a:lnTo>
                      <a:pt x="304" y="362"/>
                    </a:lnTo>
                    <a:lnTo>
                      <a:pt x="304" y="328"/>
                    </a:lnTo>
                    <a:close/>
                    <a:moveTo>
                      <a:pt x="304" y="374"/>
                    </a:moveTo>
                    <a:lnTo>
                      <a:pt x="326" y="374"/>
                    </a:lnTo>
                    <a:lnTo>
                      <a:pt x="326" y="408"/>
                    </a:lnTo>
                    <a:lnTo>
                      <a:pt x="304" y="408"/>
                    </a:lnTo>
                    <a:lnTo>
                      <a:pt x="304" y="374"/>
                    </a:lnTo>
                    <a:close/>
                    <a:moveTo>
                      <a:pt x="304" y="426"/>
                    </a:moveTo>
                    <a:lnTo>
                      <a:pt x="326" y="426"/>
                    </a:lnTo>
                    <a:lnTo>
                      <a:pt x="326" y="464"/>
                    </a:lnTo>
                    <a:lnTo>
                      <a:pt x="304" y="464"/>
                    </a:lnTo>
                    <a:lnTo>
                      <a:pt x="304" y="426"/>
                    </a:lnTo>
                    <a:close/>
                    <a:moveTo>
                      <a:pt x="304" y="474"/>
                    </a:moveTo>
                    <a:lnTo>
                      <a:pt x="326" y="474"/>
                    </a:lnTo>
                    <a:lnTo>
                      <a:pt x="326" y="522"/>
                    </a:lnTo>
                    <a:lnTo>
                      <a:pt x="304" y="522"/>
                    </a:lnTo>
                    <a:lnTo>
                      <a:pt x="304" y="474"/>
                    </a:lnTo>
                    <a:close/>
                    <a:moveTo>
                      <a:pt x="40" y="190"/>
                    </a:moveTo>
                    <a:lnTo>
                      <a:pt x="62" y="190"/>
                    </a:lnTo>
                    <a:lnTo>
                      <a:pt x="62" y="218"/>
                    </a:lnTo>
                    <a:lnTo>
                      <a:pt x="40" y="218"/>
                    </a:lnTo>
                    <a:lnTo>
                      <a:pt x="40" y="190"/>
                    </a:lnTo>
                    <a:close/>
                    <a:moveTo>
                      <a:pt x="40" y="232"/>
                    </a:moveTo>
                    <a:lnTo>
                      <a:pt x="62" y="232"/>
                    </a:lnTo>
                    <a:lnTo>
                      <a:pt x="62" y="264"/>
                    </a:lnTo>
                    <a:lnTo>
                      <a:pt x="40" y="264"/>
                    </a:lnTo>
                    <a:lnTo>
                      <a:pt x="40" y="232"/>
                    </a:lnTo>
                    <a:close/>
                    <a:moveTo>
                      <a:pt x="40" y="278"/>
                    </a:moveTo>
                    <a:lnTo>
                      <a:pt x="62" y="278"/>
                    </a:lnTo>
                    <a:lnTo>
                      <a:pt x="62" y="314"/>
                    </a:lnTo>
                    <a:lnTo>
                      <a:pt x="40" y="314"/>
                    </a:lnTo>
                    <a:lnTo>
                      <a:pt x="40" y="278"/>
                    </a:lnTo>
                    <a:close/>
                    <a:moveTo>
                      <a:pt x="40" y="328"/>
                    </a:moveTo>
                    <a:lnTo>
                      <a:pt x="62" y="328"/>
                    </a:lnTo>
                    <a:lnTo>
                      <a:pt x="62" y="362"/>
                    </a:lnTo>
                    <a:lnTo>
                      <a:pt x="40" y="362"/>
                    </a:lnTo>
                    <a:lnTo>
                      <a:pt x="40" y="328"/>
                    </a:lnTo>
                    <a:close/>
                    <a:moveTo>
                      <a:pt x="40" y="374"/>
                    </a:moveTo>
                    <a:lnTo>
                      <a:pt x="62" y="374"/>
                    </a:lnTo>
                    <a:lnTo>
                      <a:pt x="62" y="408"/>
                    </a:lnTo>
                    <a:lnTo>
                      <a:pt x="40" y="408"/>
                    </a:lnTo>
                    <a:lnTo>
                      <a:pt x="40" y="374"/>
                    </a:lnTo>
                    <a:close/>
                    <a:moveTo>
                      <a:pt x="40" y="426"/>
                    </a:moveTo>
                    <a:lnTo>
                      <a:pt x="62" y="426"/>
                    </a:lnTo>
                    <a:lnTo>
                      <a:pt x="62" y="464"/>
                    </a:lnTo>
                    <a:lnTo>
                      <a:pt x="40" y="464"/>
                    </a:lnTo>
                    <a:lnTo>
                      <a:pt x="40" y="426"/>
                    </a:lnTo>
                    <a:close/>
                    <a:moveTo>
                      <a:pt x="40" y="474"/>
                    </a:moveTo>
                    <a:lnTo>
                      <a:pt x="62" y="474"/>
                    </a:lnTo>
                    <a:lnTo>
                      <a:pt x="62" y="522"/>
                    </a:lnTo>
                    <a:lnTo>
                      <a:pt x="40" y="522"/>
                    </a:lnTo>
                    <a:lnTo>
                      <a:pt x="40" y="47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3CDDDEE9-FDC7-458A-ADD7-B4464429882D}"/>
                </a:ext>
              </a:extLst>
            </p:cNvPr>
            <p:cNvGrpSpPr/>
            <p:nvPr/>
          </p:nvGrpSpPr>
          <p:grpSpPr>
            <a:xfrm>
              <a:off x="6864749" y="5494575"/>
              <a:ext cx="160476" cy="144931"/>
              <a:chOff x="10141598" y="3543688"/>
              <a:chExt cx="157159" cy="128810"/>
            </a:xfrm>
          </p:grpSpPr>
          <p:sp>
            <p:nvSpPr>
              <p:cNvPr id="272" name="Oval 271">
                <a:extLst>
                  <a:ext uri="{FF2B5EF4-FFF2-40B4-BE49-F238E27FC236}">
                    <a16:creationId xmlns:a16="http://schemas.microsoft.com/office/drawing/2014/main" id="{1C6493E2-0CA1-4A00-9E88-F9D40A23FE83}"/>
                  </a:ext>
                </a:extLst>
              </p:cNvPr>
              <p:cNvSpPr/>
              <p:nvPr/>
            </p:nvSpPr>
            <p:spPr bwMode="ltGray">
              <a:xfrm>
                <a:off x="10141598" y="3543688"/>
                <a:ext cx="157159" cy="128810"/>
              </a:xfrm>
              <a:prstGeom prst="ellipse">
                <a:avLst/>
              </a:prstGeom>
              <a:solidFill>
                <a:srgbClr val="933401"/>
              </a:solidFill>
              <a:ln w="38100">
                <a:solidFill>
                  <a:srgbClr val="9334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3" name="Freeform 7403">
                <a:extLst>
                  <a:ext uri="{FF2B5EF4-FFF2-40B4-BE49-F238E27FC236}">
                    <a16:creationId xmlns:a16="http://schemas.microsoft.com/office/drawing/2014/main" id="{7DB8F621-3ABC-4A4F-B0E4-209548338A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6663" y="3558609"/>
                <a:ext cx="118586" cy="86773"/>
              </a:xfrm>
              <a:custGeom>
                <a:avLst/>
                <a:gdLst>
                  <a:gd name="T0" fmla="*/ 780 w 802"/>
                  <a:gd name="T1" fmla="*/ 124 h 716"/>
                  <a:gd name="T2" fmla="*/ 780 w 802"/>
                  <a:gd name="T3" fmla="*/ 64 h 716"/>
                  <a:gd name="T4" fmla="*/ 750 w 802"/>
                  <a:gd name="T5" fmla="*/ 26 h 716"/>
                  <a:gd name="T6" fmla="*/ 590 w 802"/>
                  <a:gd name="T7" fmla="*/ 50 h 716"/>
                  <a:gd name="T8" fmla="*/ 620 w 802"/>
                  <a:gd name="T9" fmla="*/ 88 h 716"/>
                  <a:gd name="T10" fmla="*/ 620 w 802"/>
                  <a:gd name="T11" fmla="*/ 160 h 716"/>
                  <a:gd name="T12" fmla="*/ 560 w 802"/>
                  <a:gd name="T13" fmla="*/ 148 h 716"/>
                  <a:gd name="T14" fmla="*/ 560 w 802"/>
                  <a:gd name="T15" fmla="*/ 218 h 716"/>
                  <a:gd name="T16" fmla="*/ 548 w 802"/>
                  <a:gd name="T17" fmla="*/ 264 h 716"/>
                  <a:gd name="T18" fmla="*/ 548 w 802"/>
                  <a:gd name="T19" fmla="*/ 328 h 716"/>
                  <a:gd name="T20" fmla="*/ 560 w 802"/>
                  <a:gd name="T21" fmla="*/ 374 h 716"/>
                  <a:gd name="T22" fmla="*/ 560 w 802"/>
                  <a:gd name="T23" fmla="*/ 464 h 716"/>
                  <a:gd name="T24" fmla="*/ 516 w 802"/>
                  <a:gd name="T25" fmla="*/ 522 h 716"/>
                  <a:gd name="T26" fmla="*/ 516 w 802"/>
                  <a:gd name="T27" fmla="*/ 102 h 716"/>
                  <a:gd name="T28" fmla="*/ 488 w 802"/>
                  <a:gd name="T29" fmla="*/ 64 h 716"/>
                  <a:gd name="T30" fmla="*/ 488 w 802"/>
                  <a:gd name="T31" fmla="*/ 0 h 716"/>
                  <a:gd name="T32" fmla="*/ 358 w 802"/>
                  <a:gd name="T33" fmla="*/ 50 h 716"/>
                  <a:gd name="T34" fmla="*/ 358 w 802"/>
                  <a:gd name="T35" fmla="*/ 102 h 716"/>
                  <a:gd name="T36" fmla="*/ 326 w 802"/>
                  <a:gd name="T37" fmla="*/ 160 h 716"/>
                  <a:gd name="T38" fmla="*/ 296 w 802"/>
                  <a:gd name="T39" fmla="*/ 174 h 716"/>
                  <a:gd name="T40" fmla="*/ 284 w 802"/>
                  <a:gd name="T41" fmla="*/ 218 h 716"/>
                  <a:gd name="T42" fmla="*/ 284 w 802"/>
                  <a:gd name="T43" fmla="*/ 278 h 716"/>
                  <a:gd name="T44" fmla="*/ 296 w 802"/>
                  <a:gd name="T45" fmla="*/ 328 h 716"/>
                  <a:gd name="T46" fmla="*/ 296 w 802"/>
                  <a:gd name="T47" fmla="*/ 408 h 716"/>
                  <a:gd name="T48" fmla="*/ 284 w 802"/>
                  <a:gd name="T49" fmla="*/ 464 h 716"/>
                  <a:gd name="T50" fmla="*/ 252 w 802"/>
                  <a:gd name="T51" fmla="*/ 160 h 716"/>
                  <a:gd name="T52" fmla="*/ 224 w 802"/>
                  <a:gd name="T53" fmla="*/ 102 h 716"/>
                  <a:gd name="T54" fmla="*/ 224 w 802"/>
                  <a:gd name="T55" fmla="*/ 50 h 716"/>
                  <a:gd name="T56" fmla="*/ 94 w 802"/>
                  <a:gd name="T57" fmla="*/ 0 h 716"/>
                  <a:gd name="T58" fmla="*/ 94 w 802"/>
                  <a:gd name="T59" fmla="*/ 64 h 716"/>
                  <a:gd name="T60" fmla="*/ 62 w 802"/>
                  <a:gd name="T61" fmla="*/ 102 h 716"/>
                  <a:gd name="T62" fmla="*/ 62 w 802"/>
                  <a:gd name="T63" fmla="*/ 174 h 716"/>
                  <a:gd name="T64" fmla="*/ 20 w 802"/>
                  <a:gd name="T65" fmla="*/ 174 h 716"/>
                  <a:gd name="T66" fmla="*/ 20 w 802"/>
                  <a:gd name="T67" fmla="*/ 232 h 716"/>
                  <a:gd name="T68" fmla="*/ 34 w 802"/>
                  <a:gd name="T69" fmla="*/ 278 h 716"/>
                  <a:gd name="T70" fmla="*/ 34 w 802"/>
                  <a:gd name="T71" fmla="*/ 362 h 716"/>
                  <a:gd name="T72" fmla="*/ 20 w 802"/>
                  <a:gd name="T73" fmla="*/ 408 h 716"/>
                  <a:gd name="T74" fmla="*/ 20 w 802"/>
                  <a:gd name="T75" fmla="*/ 474 h 716"/>
                  <a:gd name="T76" fmla="*/ 802 w 802"/>
                  <a:gd name="T77" fmla="*/ 716 h 716"/>
                  <a:gd name="T78" fmla="*/ 590 w 802"/>
                  <a:gd name="T79" fmla="*/ 218 h 716"/>
                  <a:gd name="T80" fmla="*/ 590 w 802"/>
                  <a:gd name="T81" fmla="*/ 264 h 716"/>
                  <a:gd name="T82" fmla="*/ 590 w 802"/>
                  <a:gd name="T83" fmla="*/ 314 h 716"/>
                  <a:gd name="T84" fmla="*/ 590 w 802"/>
                  <a:gd name="T85" fmla="*/ 362 h 716"/>
                  <a:gd name="T86" fmla="*/ 590 w 802"/>
                  <a:gd name="T87" fmla="*/ 408 h 716"/>
                  <a:gd name="T88" fmla="*/ 590 w 802"/>
                  <a:gd name="T89" fmla="*/ 464 h 716"/>
                  <a:gd name="T90" fmla="*/ 590 w 802"/>
                  <a:gd name="T91" fmla="*/ 522 h 716"/>
                  <a:gd name="T92" fmla="*/ 326 w 802"/>
                  <a:gd name="T93" fmla="*/ 218 h 716"/>
                  <a:gd name="T94" fmla="*/ 326 w 802"/>
                  <a:gd name="T95" fmla="*/ 264 h 716"/>
                  <a:gd name="T96" fmla="*/ 326 w 802"/>
                  <a:gd name="T97" fmla="*/ 314 h 716"/>
                  <a:gd name="T98" fmla="*/ 326 w 802"/>
                  <a:gd name="T99" fmla="*/ 362 h 716"/>
                  <a:gd name="T100" fmla="*/ 326 w 802"/>
                  <a:gd name="T101" fmla="*/ 408 h 716"/>
                  <a:gd name="T102" fmla="*/ 326 w 802"/>
                  <a:gd name="T103" fmla="*/ 464 h 716"/>
                  <a:gd name="T104" fmla="*/ 326 w 802"/>
                  <a:gd name="T105" fmla="*/ 522 h 716"/>
                  <a:gd name="T106" fmla="*/ 62 w 802"/>
                  <a:gd name="T107" fmla="*/ 218 h 716"/>
                  <a:gd name="T108" fmla="*/ 62 w 802"/>
                  <a:gd name="T109" fmla="*/ 264 h 716"/>
                  <a:gd name="T110" fmla="*/ 62 w 802"/>
                  <a:gd name="T111" fmla="*/ 314 h 716"/>
                  <a:gd name="T112" fmla="*/ 62 w 802"/>
                  <a:gd name="T113" fmla="*/ 362 h 716"/>
                  <a:gd name="T114" fmla="*/ 62 w 802"/>
                  <a:gd name="T115" fmla="*/ 408 h 716"/>
                  <a:gd name="T116" fmla="*/ 62 w 802"/>
                  <a:gd name="T117" fmla="*/ 464 h 716"/>
                  <a:gd name="T118" fmla="*/ 62 w 802"/>
                  <a:gd name="T119" fmla="*/ 52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2" h="716">
                    <a:moveTo>
                      <a:pt x="780" y="522"/>
                    </a:moveTo>
                    <a:lnTo>
                      <a:pt x="780" y="160"/>
                    </a:lnTo>
                    <a:lnTo>
                      <a:pt x="750" y="160"/>
                    </a:lnTo>
                    <a:lnTo>
                      <a:pt x="750" y="124"/>
                    </a:lnTo>
                    <a:lnTo>
                      <a:pt x="780" y="124"/>
                    </a:lnTo>
                    <a:lnTo>
                      <a:pt x="780" y="102"/>
                    </a:lnTo>
                    <a:lnTo>
                      <a:pt x="750" y="102"/>
                    </a:lnTo>
                    <a:lnTo>
                      <a:pt x="750" y="88"/>
                    </a:lnTo>
                    <a:lnTo>
                      <a:pt x="780" y="88"/>
                    </a:lnTo>
                    <a:lnTo>
                      <a:pt x="780" y="64"/>
                    </a:lnTo>
                    <a:lnTo>
                      <a:pt x="750" y="64"/>
                    </a:lnTo>
                    <a:lnTo>
                      <a:pt x="750" y="50"/>
                    </a:lnTo>
                    <a:lnTo>
                      <a:pt x="780" y="50"/>
                    </a:lnTo>
                    <a:lnTo>
                      <a:pt x="780" y="26"/>
                    </a:lnTo>
                    <a:lnTo>
                      <a:pt x="750" y="26"/>
                    </a:lnTo>
                    <a:lnTo>
                      <a:pt x="750" y="0"/>
                    </a:lnTo>
                    <a:lnTo>
                      <a:pt x="620" y="0"/>
                    </a:lnTo>
                    <a:lnTo>
                      <a:pt x="620" y="26"/>
                    </a:lnTo>
                    <a:lnTo>
                      <a:pt x="590" y="26"/>
                    </a:lnTo>
                    <a:lnTo>
                      <a:pt x="590" y="50"/>
                    </a:lnTo>
                    <a:lnTo>
                      <a:pt x="620" y="50"/>
                    </a:lnTo>
                    <a:lnTo>
                      <a:pt x="620" y="64"/>
                    </a:lnTo>
                    <a:lnTo>
                      <a:pt x="590" y="64"/>
                    </a:lnTo>
                    <a:lnTo>
                      <a:pt x="590" y="88"/>
                    </a:lnTo>
                    <a:lnTo>
                      <a:pt x="620" y="88"/>
                    </a:lnTo>
                    <a:lnTo>
                      <a:pt x="620" y="102"/>
                    </a:lnTo>
                    <a:lnTo>
                      <a:pt x="590" y="102"/>
                    </a:lnTo>
                    <a:lnTo>
                      <a:pt x="590" y="124"/>
                    </a:lnTo>
                    <a:lnTo>
                      <a:pt x="620" y="124"/>
                    </a:lnTo>
                    <a:lnTo>
                      <a:pt x="620" y="160"/>
                    </a:lnTo>
                    <a:lnTo>
                      <a:pt x="590" y="160"/>
                    </a:lnTo>
                    <a:lnTo>
                      <a:pt x="590" y="174"/>
                    </a:lnTo>
                    <a:lnTo>
                      <a:pt x="566" y="174"/>
                    </a:lnTo>
                    <a:lnTo>
                      <a:pt x="566" y="148"/>
                    </a:lnTo>
                    <a:lnTo>
                      <a:pt x="560" y="148"/>
                    </a:lnTo>
                    <a:lnTo>
                      <a:pt x="560" y="174"/>
                    </a:lnTo>
                    <a:lnTo>
                      <a:pt x="548" y="174"/>
                    </a:lnTo>
                    <a:lnTo>
                      <a:pt x="548" y="190"/>
                    </a:lnTo>
                    <a:lnTo>
                      <a:pt x="560" y="190"/>
                    </a:lnTo>
                    <a:lnTo>
                      <a:pt x="560" y="218"/>
                    </a:lnTo>
                    <a:lnTo>
                      <a:pt x="548" y="218"/>
                    </a:lnTo>
                    <a:lnTo>
                      <a:pt x="548" y="232"/>
                    </a:lnTo>
                    <a:lnTo>
                      <a:pt x="560" y="232"/>
                    </a:lnTo>
                    <a:lnTo>
                      <a:pt x="560" y="264"/>
                    </a:lnTo>
                    <a:lnTo>
                      <a:pt x="548" y="264"/>
                    </a:lnTo>
                    <a:lnTo>
                      <a:pt x="548" y="278"/>
                    </a:lnTo>
                    <a:lnTo>
                      <a:pt x="560" y="278"/>
                    </a:lnTo>
                    <a:lnTo>
                      <a:pt x="560" y="314"/>
                    </a:lnTo>
                    <a:lnTo>
                      <a:pt x="548" y="314"/>
                    </a:lnTo>
                    <a:lnTo>
                      <a:pt x="548" y="328"/>
                    </a:lnTo>
                    <a:lnTo>
                      <a:pt x="560" y="328"/>
                    </a:lnTo>
                    <a:lnTo>
                      <a:pt x="560" y="362"/>
                    </a:lnTo>
                    <a:lnTo>
                      <a:pt x="548" y="362"/>
                    </a:lnTo>
                    <a:lnTo>
                      <a:pt x="548" y="374"/>
                    </a:lnTo>
                    <a:lnTo>
                      <a:pt x="560" y="374"/>
                    </a:lnTo>
                    <a:lnTo>
                      <a:pt x="560" y="408"/>
                    </a:lnTo>
                    <a:lnTo>
                      <a:pt x="548" y="408"/>
                    </a:lnTo>
                    <a:lnTo>
                      <a:pt x="548" y="426"/>
                    </a:lnTo>
                    <a:lnTo>
                      <a:pt x="560" y="426"/>
                    </a:lnTo>
                    <a:lnTo>
                      <a:pt x="560" y="464"/>
                    </a:lnTo>
                    <a:lnTo>
                      <a:pt x="548" y="464"/>
                    </a:lnTo>
                    <a:lnTo>
                      <a:pt x="548" y="474"/>
                    </a:lnTo>
                    <a:lnTo>
                      <a:pt x="560" y="474"/>
                    </a:lnTo>
                    <a:lnTo>
                      <a:pt x="560" y="522"/>
                    </a:lnTo>
                    <a:lnTo>
                      <a:pt x="516" y="522"/>
                    </a:lnTo>
                    <a:lnTo>
                      <a:pt x="516" y="160"/>
                    </a:lnTo>
                    <a:lnTo>
                      <a:pt x="488" y="160"/>
                    </a:lnTo>
                    <a:lnTo>
                      <a:pt x="488" y="124"/>
                    </a:lnTo>
                    <a:lnTo>
                      <a:pt x="516" y="124"/>
                    </a:lnTo>
                    <a:lnTo>
                      <a:pt x="516" y="102"/>
                    </a:lnTo>
                    <a:lnTo>
                      <a:pt x="488" y="102"/>
                    </a:lnTo>
                    <a:lnTo>
                      <a:pt x="488" y="88"/>
                    </a:lnTo>
                    <a:lnTo>
                      <a:pt x="516" y="88"/>
                    </a:lnTo>
                    <a:lnTo>
                      <a:pt x="516" y="64"/>
                    </a:lnTo>
                    <a:lnTo>
                      <a:pt x="488" y="64"/>
                    </a:lnTo>
                    <a:lnTo>
                      <a:pt x="488" y="50"/>
                    </a:lnTo>
                    <a:lnTo>
                      <a:pt x="516" y="50"/>
                    </a:lnTo>
                    <a:lnTo>
                      <a:pt x="516" y="26"/>
                    </a:lnTo>
                    <a:lnTo>
                      <a:pt x="488" y="26"/>
                    </a:lnTo>
                    <a:lnTo>
                      <a:pt x="488" y="0"/>
                    </a:lnTo>
                    <a:lnTo>
                      <a:pt x="358" y="0"/>
                    </a:lnTo>
                    <a:lnTo>
                      <a:pt x="358" y="26"/>
                    </a:lnTo>
                    <a:lnTo>
                      <a:pt x="326" y="26"/>
                    </a:lnTo>
                    <a:lnTo>
                      <a:pt x="326" y="50"/>
                    </a:lnTo>
                    <a:lnTo>
                      <a:pt x="358" y="50"/>
                    </a:lnTo>
                    <a:lnTo>
                      <a:pt x="358" y="64"/>
                    </a:lnTo>
                    <a:lnTo>
                      <a:pt x="326" y="64"/>
                    </a:lnTo>
                    <a:lnTo>
                      <a:pt x="326" y="88"/>
                    </a:lnTo>
                    <a:lnTo>
                      <a:pt x="358" y="88"/>
                    </a:lnTo>
                    <a:lnTo>
                      <a:pt x="358" y="102"/>
                    </a:lnTo>
                    <a:lnTo>
                      <a:pt x="326" y="102"/>
                    </a:lnTo>
                    <a:lnTo>
                      <a:pt x="326" y="124"/>
                    </a:lnTo>
                    <a:lnTo>
                      <a:pt x="358" y="124"/>
                    </a:lnTo>
                    <a:lnTo>
                      <a:pt x="358" y="160"/>
                    </a:lnTo>
                    <a:lnTo>
                      <a:pt x="326" y="160"/>
                    </a:lnTo>
                    <a:lnTo>
                      <a:pt x="326" y="174"/>
                    </a:lnTo>
                    <a:lnTo>
                      <a:pt x="304" y="174"/>
                    </a:lnTo>
                    <a:lnTo>
                      <a:pt x="304" y="148"/>
                    </a:lnTo>
                    <a:lnTo>
                      <a:pt x="296" y="148"/>
                    </a:lnTo>
                    <a:lnTo>
                      <a:pt x="296" y="174"/>
                    </a:lnTo>
                    <a:lnTo>
                      <a:pt x="284" y="174"/>
                    </a:lnTo>
                    <a:lnTo>
                      <a:pt x="284" y="190"/>
                    </a:lnTo>
                    <a:lnTo>
                      <a:pt x="296" y="190"/>
                    </a:lnTo>
                    <a:lnTo>
                      <a:pt x="296" y="218"/>
                    </a:lnTo>
                    <a:lnTo>
                      <a:pt x="284" y="218"/>
                    </a:lnTo>
                    <a:lnTo>
                      <a:pt x="284" y="232"/>
                    </a:lnTo>
                    <a:lnTo>
                      <a:pt x="296" y="232"/>
                    </a:lnTo>
                    <a:lnTo>
                      <a:pt x="296" y="264"/>
                    </a:lnTo>
                    <a:lnTo>
                      <a:pt x="284" y="264"/>
                    </a:lnTo>
                    <a:lnTo>
                      <a:pt x="284" y="278"/>
                    </a:lnTo>
                    <a:lnTo>
                      <a:pt x="296" y="278"/>
                    </a:lnTo>
                    <a:lnTo>
                      <a:pt x="296" y="314"/>
                    </a:lnTo>
                    <a:lnTo>
                      <a:pt x="284" y="314"/>
                    </a:lnTo>
                    <a:lnTo>
                      <a:pt x="284" y="328"/>
                    </a:lnTo>
                    <a:lnTo>
                      <a:pt x="296" y="328"/>
                    </a:lnTo>
                    <a:lnTo>
                      <a:pt x="296" y="362"/>
                    </a:lnTo>
                    <a:lnTo>
                      <a:pt x="284" y="362"/>
                    </a:lnTo>
                    <a:lnTo>
                      <a:pt x="284" y="374"/>
                    </a:lnTo>
                    <a:lnTo>
                      <a:pt x="296" y="374"/>
                    </a:lnTo>
                    <a:lnTo>
                      <a:pt x="296" y="408"/>
                    </a:lnTo>
                    <a:lnTo>
                      <a:pt x="284" y="408"/>
                    </a:lnTo>
                    <a:lnTo>
                      <a:pt x="284" y="426"/>
                    </a:lnTo>
                    <a:lnTo>
                      <a:pt x="296" y="426"/>
                    </a:lnTo>
                    <a:lnTo>
                      <a:pt x="296" y="464"/>
                    </a:lnTo>
                    <a:lnTo>
                      <a:pt x="284" y="464"/>
                    </a:lnTo>
                    <a:lnTo>
                      <a:pt x="284" y="474"/>
                    </a:lnTo>
                    <a:lnTo>
                      <a:pt x="296" y="474"/>
                    </a:lnTo>
                    <a:lnTo>
                      <a:pt x="296" y="522"/>
                    </a:lnTo>
                    <a:lnTo>
                      <a:pt x="252" y="522"/>
                    </a:lnTo>
                    <a:lnTo>
                      <a:pt x="252" y="160"/>
                    </a:lnTo>
                    <a:lnTo>
                      <a:pt x="224" y="160"/>
                    </a:lnTo>
                    <a:lnTo>
                      <a:pt x="224" y="124"/>
                    </a:lnTo>
                    <a:lnTo>
                      <a:pt x="252" y="124"/>
                    </a:lnTo>
                    <a:lnTo>
                      <a:pt x="252" y="102"/>
                    </a:lnTo>
                    <a:lnTo>
                      <a:pt x="224" y="102"/>
                    </a:lnTo>
                    <a:lnTo>
                      <a:pt x="224" y="88"/>
                    </a:lnTo>
                    <a:lnTo>
                      <a:pt x="252" y="88"/>
                    </a:lnTo>
                    <a:lnTo>
                      <a:pt x="252" y="64"/>
                    </a:lnTo>
                    <a:lnTo>
                      <a:pt x="224" y="64"/>
                    </a:lnTo>
                    <a:lnTo>
                      <a:pt x="224" y="50"/>
                    </a:lnTo>
                    <a:lnTo>
                      <a:pt x="252" y="50"/>
                    </a:lnTo>
                    <a:lnTo>
                      <a:pt x="252" y="26"/>
                    </a:lnTo>
                    <a:lnTo>
                      <a:pt x="224" y="26"/>
                    </a:lnTo>
                    <a:lnTo>
                      <a:pt x="224" y="0"/>
                    </a:lnTo>
                    <a:lnTo>
                      <a:pt x="94" y="0"/>
                    </a:lnTo>
                    <a:lnTo>
                      <a:pt x="94" y="26"/>
                    </a:lnTo>
                    <a:lnTo>
                      <a:pt x="62" y="26"/>
                    </a:lnTo>
                    <a:lnTo>
                      <a:pt x="62" y="50"/>
                    </a:lnTo>
                    <a:lnTo>
                      <a:pt x="94" y="50"/>
                    </a:lnTo>
                    <a:lnTo>
                      <a:pt x="94" y="64"/>
                    </a:lnTo>
                    <a:lnTo>
                      <a:pt x="62" y="64"/>
                    </a:lnTo>
                    <a:lnTo>
                      <a:pt x="62" y="88"/>
                    </a:lnTo>
                    <a:lnTo>
                      <a:pt x="94" y="88"/>
                    </a:lnTo>
                    <a:lnTo>
                      <a:pt x="94" y="102"/>
                    </a:lnTo>
                    <a:lnTo>
                      <a:pt x="62" y="102"/>
                    </a:lnTo>
                    <a:lnTo>
                      <a:pt x="62" y="124"/>
                    </a:lnTo>
                    <a:lnTo>
                      <a:pt x="94" y="124"/>
                    </a:lnTo>
                    <a:lnTo>
                      <a:pt x="94" y="160"/>
                    </a:lnTo>
                    <a:lnTo>
                      <a:pt x="62" y="160"/>
                    </a:lnTo>
                    <a:lnTo>
                      <a:pt x="62" y="174"/>
                    </a:lnTo>
                    <a:lnTo>
                      <a:pt x="40" y="174"/>
                    </a:lnTo>
                    <a:lnTo>
                      <a:pt x="40" y="148"/>
                    </a:lnTo>
                    <a:lnTo>
                      <a:pt x="34" y="148"/>
                    </a:lnTo>
                    <a:lnTo>
                      <a:pt x="34" y="174"/>
                    </a:lnTo>
                    <a:lnTo>
                      <a:pt x="20" y="174"/>
                    </a:lnTo>
                    <a:lnTo>
                      <a:pt x="20" y="190"/>
                    </a:lnTo>
                    <a:lnTo>
                      <a:pt x="34" y="190"/>
                    </a:lnTo>
                    <a:lnTo>
                      <a:pt x="34" y="218"/>
                    </a:lnTo>
                    <a:lnTo>
                      <a:pt x="20" y="218"/>
                    </a:lnTo>
                    <a:lnTo>
                      <a:pt x="20" y="232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20" y="264"/>
                    </a:lnTo>
                    <a:lnTo>
                      <a:pt x="20" y="278"/>
                    </a:lnTo>
                    <a:lnTo>
                      <a:pt x="34" y="278"/>
                    </a:lnTo>
                    <a:lnTo>
                      <a:pt x="34" y="314"/>
                    </a:lnTo>
                    <a:lnTo>
                      <a:pt x="20" y="314"/>
                    </a:lnTo>
                    <a:lnTo>
                      <a:pt x="20" y="328"/>
                    </a:lnTo>
                    <a:lnTo>
                      <a:pt x="34" y="328"/>
                    </a:lnTo>
                    <a:lnTo>
                      <a:pt x="34" y="362"/>
                    </a:lnTo>
                    <a:lnTo>
                      <a:pt x="20" y="362"/>
                    </a:lnTo>
                    <a:lnTo>
                      <a:pt x="20" y="374"/>
                    </a:lnTo>
                    <a:lnTo>
                      <a:pt x="34" y="374"/>
                    </a:lnTo>
                    <a:lnTo>
                      <a:pt x="34" y="408"/>
                    </a:lnTo>
                    <a:lnTo>
                      <a:pt x="20" y="408"/>
                    </a:lnTo>
                    <a:lnTo>
                      <a:pt x="20" y="426"/>
                    </a:lnTo>
                    <a:lnTo>
                      <a:pt x="34" y="426"/>
                    </a:lnTo>
                    <a:lnTo>
                      <a:pt x="34" y="464"/>
                    </a:lnTo>
                    <a:lnTo>
                      <a:pt x="20" y="464"/>
                    </a:lnTo>
                    <a:lnTo>
                      <a:pt x="20" y="474"/>
                    </a:lnTo>
                    <a:lnTo>
                      <a:pt x="34" y="474"/>
                    </a:lnTo>
                    <a:lnTo>
                      <a:pt x="34" y="522"/>
                    </a:lnTo>
                    <a:lnTo>
                      <a:pt x="0" y="522"/>
                    </a:lnTo>
                    <a:lnTo>
                      <a:pt x="0" y="716"/>
                    </a:lnTo>
                    <a:lnTo>
                      <a:pt x="802" y="716"/>
                    </a:lnTo>
                    <a:lnTo>
                      <a:pt x="802" y="522"/>
                    </a:lnTo>
                    <a:lnTo>
                      <a:pt x="780" y="522"/>
                    </a:lnTo>
                    <a:close/>
                    <a:moveTo>
                      <a:pt x="566" y="190"/>
                    </a:moveTo>
                    <a:lnTo>
                      <a:pt x="590" y="190"/>
                    </a:lnTo>
                    <a:lnTo>
                      <a:pt x="590" y="218"/>
                    </a:lnTo>
                    <a:lnTo>
                      <a:pt x="566" y="218"/>
                    </a:lnTo>
                    <a:lnTo>
                      <a:pt x="566" y="190"/>
                    </a:lnTo>
                    <a:close/>
                    <a:moveTo>
                      <a:pt x="566" y="232"/>
                    </a:moveTo>
                    <a:lnTo>
                      <a:pt x="590" y="232"/>
                    </a:lnTo>
                    <a:lnTo>
                      <a:pt x="590" y="264"/>
                    </a:lnTo>
                    <a:lnTo>
                      <a:pt x="566" y="264"/>
                    </a:lnTo>
                    <a:lnTo>
                      <a:pt x="566" y="232"/>
                    </a:lnTo>
                    <a:close/>
                    <a:moveTo>
                      <a:pt x="566" y="278"/>
                    </a:moveTo>
                    <a:lnTo>
                      <a:pt x="590" y="278"/>
                    </a:lnTo>
                    <a:lnTo>
                      <a:pt x="590" y="314"/>
                    </a:lnTo>
                    <a:lnTo>
                      <a:pt x="566" y="314"/>
                    </a:lnTo>
                    <a:lnTo>
                      <a:pt x="566" y="278"/>
                    </a:lnTo>
                    <a:close/>
                    <a:moveTo>
                      <a:pt x="566" y="328"/>
                    </a:moveTo>
                    <a:lnTo>
                      <a:pt x="590" y="328"/>
                    </a:lnTo>
                    <a:lnTo>
                      <a:pt x="590" y="362"/>
                    </a:lnTo>
                    <a:lnTo>
                      <a:pt x="566" y="362"/>
                    </a:lnTo>
                    <a:lnTo>
                      <a:pt x="566" y="328"/>
                    </a:lnTo>
                    <a:close/>
                    <a:moveTo>
                      <a:pt x="566" y="374"/>
                    </a:moveTo>
                    <a:lnTo>
                      <a:pt x="590" y="374"/>
                    </a:lnTo>
                    <a:lnTo>
                      <a:pt x="590" y="408"/>
                    </a:lnTo>
                    <a:lnTo>
                      <a:pt x="566" y="408"/>
                    </a:lnTo>
                    <a:lnTo>
                      <a:pt x="566" y="374"/>
                    </a:lnTo>
                    <a:close/>
                    <a:moveTo>
                      <a:pt x="566" y="426"/>
                    </a:moveTo>
                    <a:lnTo>
                      <a:pt x="590" y="426"/>
                    </a:lnTo>
                    <a:lnTo>
                      <a:pt x="590" y="464"/>
                    </a:lnTo>
                    <a:lnTo>
                      <a:pt x="566" y="464"/>
                    </a:lnTo>
                    <a:lnTo>
                      <a:pt x="566" y="426"/>
                    </a:lnTo>
                    <a:close/>
                    <a:moveTo>
                      <a:pt x="566" y="474"/>
                    </a:moveTo>
                    <a:lnTo>
                      <a:pt x="590" y="474"/>
                    </a:lnTo>
                    <a:lnTo>
                      <a:pt x="590" y="522"/>
                    </a:lnTo>
                    <a:lnTo>
                      <a:pt x="566" y="522"/>
                    </a:lnTo>
                    <a:lnTo>
                      <a:pt x="566" y="474"/>
                    </a:lnTo>
                    <a:close/>
                    <a:moveTo>
                      <a:pt x="304" y="190"/>
                    </a:moveTo>
                    <a:lnTo>
                      <a:pt x="326" y="190"/>
                    </a:lnTo>
                    <a:lnTo>
                      <a:pt x="326" y="218"/>
                    </a:lnTo>
                    <a:lnTo>
                      <a:pt x="304" y="218"/>
                    </a:lnTo>
                    <a:lnTo>
                      <a:pt x="304" y="190"/>
                    </a:lnTo>
                    <a:close/>
                    <a:moveTo>
                      <a:pt x="304" y="232"/>
                    </a:moveTo>
                    <a:lnTo>
                      <a:pt x="326" y="232"/>
                    </a:lnTo>
                    <a:lnTo>
                      <a:pt x="326" y="264"/>
                    </a:lnTo>
                    <a:lnTo>
                      <a:pt x="304" y="264"/>
                    </a:lnTo>
                    <a:lnTo>
                      <a:pt x="304" y="232"/>
                    </a:lnTo>
                    <a:close/>
                    <a:moveTo>
                      <a:pt x="304" y="278"/>
                    </a:moveTo>
                    <a:lnTo>
                      <a:pt x="326" y="278"/>
                    </a:lnTo>
                    <a:lnTo>
                      <a:pt x="326" y="314"/>
                    </a:lnTo>
                    <a:lnTo>
                      <a:pt x="304" y="314"/>
                    </a:lnTo>
                    <a:lnTo>
                      <a:pt x="304" y="278"/>
                    </a:lnTo>
                    <a:close/>
                    <a:moveTo>
                      <a:pt x="304" y="328"/>
                    </a:moveTo>
                    <a:lnTo>
                      <a:pt x="326" y="328"/>
                    </a:lnTo>
                    <a:lnTo>
                      <a:pt x="326" y="362"/>
                    </a:lnTo>
                    <a:lnTo>
                      <a:pt x="304" y="362"/>
                    </a:lnTo>
                    <a:lnTo>
                      <a:pt x="304" y="328"/>
                    </a:lnTo>
                    <a:close/>
                    <a:moveTo>
                      <a:pt x="304" y="374"/>
                    </a:moveTo>
                    <a:lnTo>
                      <a:pt x="326" y="374"/>
                    </a:lnTo>
                    <a:lnTo>
                      <a:pt x="326" y="408"/>
                    </a:lnTo>
                    <a:lnTo>
                      <a:pt x="304" y="408"/>
                    </a:lnTo>
                    <a:lnTo>
                      <a:pt x="304" y="374"/>
                    </a:lnTo>
                    <a:close/>
                    <a:moveTo>
                      <a:pt x="304" y="426"/>
                    </a:moveTo>
                    <a:lnTo>
                      <a:pt x="326" y="426"/>
                    </a:lnTo>
                    <a:lnTo>
                      <a:pt x="326" y="464"/>
                    </a:lnTo>
                    <a:lnTo>
                      <a:pt x="304" y="464"/>
                    </a:lnTo>
                    <a:lnTo>
                      <a:pt x="304" y="426"/>
                    </a:lnTo>
                    <a:close/>
                    <a:moveTo>
                      <a:pt x="304" y="474"/>
                    </a:moveTo>
                    <a:lnTo>
                      <a:pt x="326" y="474"/>
                    </a:lnTo>
                    <a:lnTo>
                      <a:pt x="326" y="522"/>
                    </a:lnTo>
                    <a:lnTo>
                      <a:pt x="304" y="522"/>
                    </a:lnTo>
                    <a:lnTo>
                      <a:pt x="304" y="474"/>
                    </a:lnTo>
                    <a:close/>
                    <a:moveTo>
                      <a:pt x="40" y="190"/>
                    </a:moveTo>
                    <a:lnTo>
                      <a:pt x="62" y="190"/>
                    </a:lnTo>
                    <a:lnTo>
                      <a:pt x="62" y="218"/>
                    </a:lnTo>
                    <a:lnTo>
                      <a:pt x="40" y="218"/>
                    </a:lnTo>
                    <a:lnTo>
                      <a:pt x="40" y="190"/>
                    </a:lnTo>
                    <a:close/>
                    <a:moveTo>
                      <a:pt x="40" y="232"/>
                    </a:moveTo>
                    <a:lnTo>
                      <a:pt x="62" y="232"/>
                    </a:lnTo>
                    <a:lnTo>
                      <a:pt x="62" y="264"/>
                    </a:lnTo>
                    <a:lnTo>
                      <a:pt x="40" y="264"/>
                    </a:lnTo>
                    <a:lnTo>
                      <a:pt x="40" y="232"/>
                    </a:lnTo>
                    <a:close/>
                    <a:moveTo>
                      <a:pt x="40" y="278"/>
                    </a:moveTo>
                    <a:lnTo>
                      <a:pt x="62" y="278"/>
                    </a:lnTo>
                    <a:lnTo>
                      <a:pt x="62" y="314"/>
                    </a:lnTo>
                    <a:lnTo>
                      <a:pt x="40" y="314"/>
                    </a:lnTo>
                    <a:lnTo>
                      <a:pt x="40" y="278"/>
                    </a:lnTo>
                    <a:close/>
                    <a:moveTo>
                      <a:pt x="40" y="328"/>
                    </a:moveTo>
                    <a:lnTo>
                      <a:pt x="62" y="328"/>
                    </a:lnTo>
                    <a:lnTo>
                      <a:pt x="62" y="362"/>
                    </a:lnTo>
                    <a:lnTo>
                      <a:pt x="40" y="362"/>
                    </a:lnTo>
                    <a:lnTo>
                      <a:pt x="40" y="328"/>
                    </a:lnTo>
                    <a:close/>
                    <a:moveTo>
                      <a:pt x="40" y="374"/>
                    </a:moveTo>
                    <a:lnTo>
                      <a:pt x="62" y="374"/>
                    </a:lnTo>
                    <a:lnTo>
                      <a:pt x="62" y="408"/>
                    </a:lnTo>
                    <a:lnTo>
                      <a:pt x="40" y="408"/>
                    </a:lnTo>
                    <a:lnTo>
                      <a:pt x="40" y="374"/>
                    </a:lnTo>
                    <a:close/>
                    <a:moveTo>
                      <a:pt x="40" y="426"/>
                    </a:moveTo>
                    <a:lnTo>
                      <a:pt x="62" y="426"/>
                    </a:lnTo>
                    <a:lnTo>
                      <a:pt x="62" y="464"/>
                    </a:lnTo>
                    <a:lnTo>
                      <a:pt x="40" y="464"/>
                    </a:lnTo>
                    <a:lnTo>
                      <a:pt x="40" y="426"/>
                    </a:lnTo>
                    <a:close/>
                    <a:moveTo>
                      <a:pt x="40" y="474"/>
                    </a:moveTo>
                    <a:lnTo>
                      <a:pt x="62" y="474"/>
                    </a:lnTo>
                    <a:lnTo>
                      <a:pt x="62" y="522"/>
                    </a:lnTo>
                    <a:lnTo>
                      <a:pt x="40" y="522"/>
                    </a:lnTo>
                    <a:lnTo>
                      <a:pt x="40" y="47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5A6FA079-4A26-43AC-868A-72C5BE7DA31F}"/>
                </a:ext>
              </a:extLst>
            </p:cNvPr>
            <p:cNvGrpSpPr/>
            <p:nvPr/>
          </p:nvGrpSpPr>
          <p:grpSpPr>
            <a:xfrm>
              <a:off x="7333755" y="5364511"/>
              <a:ext cx="160476" cy="144931"/>
              <a:chOff x="10141598" y="3543688"/>
              <a:chExt cx="157159" cy="128810"/>
            </a:xfrm>
          </p:grpSpPr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D17AD69F-83CD-434F-9E21-D9337A49A53D}"/>
                  </a:ext>
                </a:extLst>
              </p:cNvPr>
              <p:cNvSpPr/>
              <p:nvPr/>
            </p:nvSpPr>
            <p:spPr bwMode="ltGray">
              <a:xfrm>
                <a:off x="10141598" y="3543688"/>
                <a:ext cx="157159" cy="128810"/>
              </a:xfrm>
              <a:prstGeom prst="ellipse">
                <a:avLst/>
              </a:prstGeom>
              <a:solidFill>
                <a:srgbClr val="933401"/>
              </a:solidFill>
              <a:ln w="38100">
                <a:solidFill>
                  <a:srgbClr val="9334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71" name="Freeform 7403">
                <a:extLst>
                  <a:ext uri="{FF2B5EF4-FFF2-40B4-BE49-F238E27FC236}">
                    <a16:creationId xmlns:a16="http://schemas.microsoft.com/office/drawing/2014/main" id="{AB986412-92F5-4425-93F0-99F667FD06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6663" y="3558609"/>
                <a:ext cx="118586" cy="86773"/>
              </a:xfrm>
              <a:custGeom>
                <a:avLst/>
                <a:gdLst>
                  <a:gd name="T0" fmla="*/ 780 w 802"/>
                  <a:gd name="T1" fmla="*/ 124 h 716"/>
                  <a:gd name="T2" fmla="*/ 780 w 802"/>
                  <a:gd name="T3" fmla="*/ 64 h 716"/>
                  <a:gd name="T4" fmla="*/ 750 w 802"/>
                  <a:gd name="T5" fmla="*/ 26 h 716"/>
                  <a:gd name="T6" fmla="*/ 590 w 802"/>
                  <a:gd name="T7" fmla="*/ 50 h 716"/>
                  <a:gd name="T8" fmla="*/ 620 w 802"/>
                  <a:gd name="T9" fmla="*/ 88 h 716"/>
                  <a:gd name="T10" fmla="*/ 620 w 802"/>
                  <a:gd name="T11" fmla="*/ 160 h 716"/>
                  <a:gd name="T12" fmla="*/ 560 w 802"/>
                  <a:gd name="T13" fmla="*/ 148 h 716"/>
                  <a:gd name="T14" fmla="*/ 560 w 802"/>
                  <a:gd name="T15" fmla="*/ 218 h 716"/>
                  <a:gd name="T16" fmla="*/ 548 w 802"/>
                  <a:gd name="T17" fmla="*/ 264 h 716"/>
                  <a:gd name="T18" fmla="*/ 548 w 802"/>
                  <a:gd name="T19" fmla="*/ 328 h 716"/>
                  <a:gd name="T20" fmla="*/ 560 w 802"/>
                  <a:gd name="T21" fmla="*/ 374 h 716"/>
                  <a:gd name="T22" fmla="*/ 560 w 802"/>
                  <a:gd name="T23" fmla="*/ 464 h 716"/>
                  <a:gd name="T24" fmla="*/ 516 w 802"/>
                  <a:gd name="T25" fmla="*/ 522 h 716"/>
                  <a:gd name="T26" fmla="*/ 516 w 802"/>
                  <a:gd name="T27" fmla="*/ 102 h 716"/>
                  <a:gd name="T28" fmla="*/ 488 w 802"/>
                  <a:gd name="T29" fmla="*/ 64 h 716"/>
                  <a:gd name="T30" fmla="*/ 488 w 802"/>
                  <a:gd name="T31" fmla="*/ 0 h 716"/>
                  <a:gd name="T32" fmla="*/ 358 w 802"/>
                  <a:gd name="T33" fmla="*/ 50 h 716"/>
                  <a:gd name="T34" fmla="*/ 358 w 802"/>
                  <a:gd name="T35" fmla="*/ 102 h 716"/>
                  <a:gd name="T36" fmla="*/ 326 w 802"/>
                  <a:gd name="T37" fmla="*/ 160 h 716"/>
                  <a:gd name="T38" fmla="*/ 296 w 802"/>
                  <a:gd name="T39" fmla="*/ 174 h 716"/>
                  <a:gd name="T40" fmla="*/ 284 w 802"/>
                  <a:gd name="T41" fmla="*/ 218 h 716"/>
                  <a:gd name="T42" fmla="*/ 284 w 802"/>
                  <a:gd name="T43" fmla="*/ 278 h 716"/>
                  <a:gd name="T44" fmla="*/ 296 w 802"/>
                  <a:gd name="T45" fmla="*/ 328 h 716"/>
                  <a:gd name="T46" fmla="*/ 296 w 802"/>
                  <a:gd name="T47" fmla="*/ 408 h 716"/>
                  <a:gd name="T48" fmla="*/ 284 w 802"/>
                  <a:gd name="T49" fmla="*/ 464 h 716"/>
                  <a:gd name="T50" fmla="*/ 252 w 802"/>
                  <a:gd name="T51" fmla="*/ 160 h 716"/>
                  <a:gd name="T52" fmla="*/ 224 w 802"/>
                  <a:gd name="T53" fmla="*/ 102 h 716"/>
                  <a:gd name="T54" fmla="*/ 224 w 802"/>
                  <a:gd name="T55" fmla="*/ 50 h 716"/>
                  <a:gd name="T56" fmla="*/ 94 w 802"/>
                  <a:gd name="T57" fmla="*/ 0 h 716"/>
                  <a:gd name="T58" fmla="*/ 94 w 802"/>
                  <a:gd name="T59" fmla="*/ 64 h 716"/>
                  <a:gd name="T60" fmla="*/ 62 w 802"/>
                  <a:gd name="T61" fmla="*/ 102 h 716"/>
                  <a:gd name="T62" fmla="*/ 62 w 802"/>
                  <a:gd name="T63" fmla="*/ 174 h 716"/>
                  <a:gd name="T64" fmla="*/ 20 w 802"/>
                  <a:gd name="T65" fmla="*/ 174 h 716"/>
                  <a:gd name="T66" fmla="*/ 20 w 802"/>
                  <a:gd name="T67" fmla="*/ 232 h 716"/>
                  <a:gd name="T68" fmla="*/ 34 w 802"/>
                  <a:gd name="T69" fmla="*/ 278 h 716"/>
                  <a:gd name="T70" fmla="*/ 34 w 802"/>
                  <a:gd name="T71" fmla="*/ 362 h 716"/>
                  <a:gd name="T72" fmla="*/ 20 w 802"/>
                  <a:gd name="T73" fmla="*/ 408 h 716"/>
                  <a:gd name="T74" fmla="*/ 20 w 802"/>
                  <a:gd name="T75" fmla="*/ 474 h 716"/>
                  <a:gd name="T76" fmla="*/ 802 w 802"/>
                  <a:gd name="T77" fmla="*/ 716 h 716"/>
                  <a:gd name="T78" fmla="*/ 590 w 802"/>
                  <a:gd name="T79" fmla="*/ 218 h 716"/>
                  <a:gd name="T80" fmla="*/ 590 w 802"/>
                  <a:gd name="T81" fmla="*/ 264 h 716"/>
                  <a:gd name="T82" fmla="*/ 590 w 802"/>
                  <a:gd name="T83" fmla="*/ 314 h 716"/>
                  <a:gd name="T84" fmla="*/ 590 w 802"/>
                  <a:gd name="T85" fmla="*/ 362 h 716"/>
                  <a:gd name="T86" fmla="*/ 590 w 802"/>
                  <a:gd name="T87" fmla="*/ 408 h 716"/>
                  <a:gd name="T88" fmla="*/ 590 w 802"/>
                  <a:gd name="T89" fmla="*/ 464 h 716"/>
                  <a:gd name="T90" fmla="*/ 590 w 802"/>
                  <a:gd name="T91" fmla="*/ 522 h 716"/>
                  <a:gd name="T92" fmla="*/ 326 w 802"/>
                  <a:gd name="T93" fmla="*/ 218 h 716"/>
                  <a:gd name="T94" fmla="*/ 326 w 802"/>
                  <a:gd name="T95" fmla="*/ 264 h 716"/>
                  <a:gd name="T96" fmla="*/ 326 w 802"/>
                  <a:gd name="T97" fmla="*/ 314 h 716"/>
                  <a:gd name="T98" fmla="*/ 326 w 802"/>
                  <a:gd name="T99" fmla="*/ 362 h 716"/>
                  <a:gd name="T100" fmla="*/ 326 w 802"/>
                  <a:gd name="T101" fmla="*/ 408 h 716"/>
                  <a:gd name="T102" fmla="*/ 326 w 802"/>
                  <a:gd name="T103" fmla="*/ 464 h 716"/>
                  <a:gd name="T104" fmla="*/ 326 w 802"/>
                  <a:gd name="T105" fmla="*/ 522 h 716"/>
                  <a:gd name="T106" fmla="*/ 62 w 802"/>
                  <a:gd name="T107" fmla="*/ 218 h 716"/>
                  <a:gd name="T108" fmla="*/ 62 w 802"/>
                  <a:gd name="T109" fmla="*/ 264 h 716"/>
                  <a:gd name="T110" fmla="*/ 62 w 802"/>
                  <a:gd name="T111" fmla="*/ 314 h 716"/>
                  <a:gd name="T112" fmla="*/ 62 w 802"/>
                  <a:gd name="T113" fmla="*/ 362 h 716"/>
                  <a:gd name="T114" fmla="*/ 62 w 802"/>
                  <a:gd name="T115" fmla="*/ 408 h 716"/>
                  <a:gd name="T116" fmla="*/ 62 w 802"/>
                  <a:gd name="T117" fmla="*/ 464 h 716"/>
                  <a:gd name="T118" fmla="*/ 62 w 802"/>
                  <a:gd name="T119" fmla="*/ 52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2" h="716">
                    <a:moveTo>
                      <a:pt x="780" y="522"/>
                    </a:moveTo>
                    <a:lnTo>
                      <a:pt x="780" y="160"/>
                    </a:lnTo>
                    <a:lnTo>
                      <a:pt x="750" y="160"/>
                    </a:lnTo>
                    <a:lnTo>
                      <a:pt x="750" y="124"/>
                    </a:lnTo>
                    <a:lnTo>
                      <a:pt x="780" y="124"/>
                    </a:lnTo>
                    <a:lnTo>
                      <a:pt x="780" y="102"/>
                    </a:lnTo>
                    <a:lnTo>
                      <a:pt x="750" y="102"/>
                    </a:lnTo>
                    <a:lnTo>
                      <a:pt x="750" y="88"/>
                    </a:lnTo>
                    <a:lnTo>
                      <a:pt x="780" y="88"/>
                    </a:lnTo>
                    <a:lnTo>
                      <a:pt x="780" y="64"/>
                    </a:lnTo>
                    <a:lnTo>
                      <a:pt x="750" y="64"/>
                    </a:lnTo>
                    <a:lnTo>
                      <a:pt x="750" y="50"/>
                    </a:lnTo>
                    <a:lnTo>
                      <a:pt x="780" y="50"/>
                    </a:lnTo>
                    <a:lnTo>
                      <a:pt x="780" y="26"/>
                    </a:lnTo>
                    <a:lnTo>
                      <a:pt x="750" y="26"/>
                    </a:lnTo>
                    <a:lnTo>
                      <a:pt x="750" y="0"/>
                    </a:lnTo>
                    <a:lnTo>
                      <a:pt x="620" y="0"/>
                    </a:lnTo>
                    <a:lnTo>
                      <a:pt x="620" y="26"/>
                    </a:lnTo>
                    <a:lnTo>
                      <a:pt x="590" y="26"/>
                    </a:lnTo>
                    <a:lnTo>
                      <a:pt x="590" y="50"/>
                    </a:lnTo>
                    <a:lnTo>
                      <a:pt x="620" y="50"/>
                    </a:lnTo>
                    <a:lnTo>
                      <a:pt x="620" y="64"/>
                    </a:lnTo>
                    <a:lnTo>
                      <a:pt x="590" y="64"/>
                    </a:lnTo>
                    <a:lnTo>
                      <a:pt x="590" y="88"/>
                    </a:lnTo>
                    <a:lnTo>
                      <a:pt x="620" y="88"/>
                    </a:lnTo>
                    <a:lnTo>
                      <a:pt x="620" y="102"/>
                    </a:lnTo>
                    <a:lnTo>
                      <a:pt x="590" y="102"/>
                    </a:lnTo>
                    <a:lnTo>
                      <a:pt x="590" y="124"/>
                    </a:lnTo>
                    <a:lnTo>
                      <a:pt x="620" y="124"/>
                    </a:lnTo>
                    <a:lnTo>
                      <a:pt x="620" y="160"/>
                    </a:lnTo>
                    <a:lnTo>
                      <a:pt x="590" y="160"/>
                    </a:lnTo>
                    <a:lnTo>
                      <a:pt x="590" y="174"/>
                    </a:lnTo>
                    <a:lnTo>
                      <a:pt x="566" y="174"/>
                    </a:lnTo>
                    <a:lnTo>
                      <a:pt x="566" y="148"/>
                    </a:lnTo>
                    <a:lnTo>
                      <a:pt x="560" y="148"/>
                    </a:lnTo>
                    <a:lnTo>
                      <a:pt x="560" y="174"/>
                    </a:lnTo>
                    <a:lnTo>
                      <a:pt x="548" y="174"/>
                    </a:lnTo>
                    <a:lnTo>
                      <a:pt x="548" y="190"/>
                    </a:lnTo>
                    <a:lnTo>
                      <a:pt x="560" y="190"/>
                    </a:lnTo>
                    <a:lnTo>
                      <a:pt x="560" y="218"/>
                    </a:lnTo>
                    <a:lnTo>
                      <a:pt x="548" y="218"/>
                    </a:lnTo>
                    <a:lnTo>
                      <a:pt x="548" y="232"/>
                    </a:lnTo>
                    <a:lnTo>
                      <a:pt x="560" y="232"/>
                    </a:lnTo>
                    <a:lnTo>
                      <a:pt x="560" y="264"/>
                    </a:lnTo>
                    <a:lnTo>
                      <a:pt x="548" y="264"/>
                    </a:lnTo>
                    <a:lnTo>
                      <a:pt x="548" y="278"/>
                    </a:lnTo>
                    <a:lnTo>
                      <a:pt x="560" y="278"/>
                    </a:lnTo>
                    <a:lnTo>
                      <a:pt x="560" y="314"/>
                    </a:lnTo>
                    <a:lnTo>
                      <a:pt x="548" y="314"/>
                    </a:lnTo>
                    <a:lnTo>
                      <a:pt x="548" y="328"/>
                    </a:lnTo>
                    <a:lnTo>
                      <a:pt x="560" y="328"/>
                    </a:lnTo>
                    <a:lnTo>
                      <a:pt x="560" y="362"/>
                    </a:lnTo>
                    <a:lnTo>
                      <a:pt x="548" y="362"/>
                    </a:lnTo>
                    <a:lnTo>
                      <a:pt x="548" y="374"/>
                    </a:lnTo>
                    <a:lnTo>
                      <a:pt x="560" y="374"/>
                    </a:lnTo>
                    <a:lnTo>
                      <a:pt x="560" y="408"/>
                    </a:lnTo>
                    <a:lnTo>
                      <a:pt x="548" y="408"/>
                    </a:lnTo>
                    <a:lnTo>
                      <a:pt x="548" y="426"/>
                    </a:lnTo>
                    <a:lnTo>
                      <a:pt x="560" y="426"/>
                    </a:lnTo>
                    <a:lnTo>
                      <a:pt x="560" y="464"/>
                    </a:lnTo>
                    <a:lnTo>
                      <a:pt x="548" y="464"/>
                    </a:lnTo>
                    <a:lnTo>
                      <a:pt x="548" y="474"/>
                    </a:lnTo>
                    <a:lnTo>
                      <a:pt x="560" y="474"/>
                    </a:lnTo>
                    <a:lnTo>
                      <a:pt x="560" y="522"/>
                    </a:lnTo>
                    <a:lnTo>
                      <a:pt x="516" y="522"/>
                    </a:lnTo>
                    <a:lnTo>
                      <a:pt x="516" y="160"/>
                    </a:lnTo>
                    <a:lnTo>
                      <a:pt x="488" y="160"/>
                    </a:lnTo>
                    <a:lnTo>
                      <a:pt x="488" y="124"/>
                    </a:lnTo>
                    <a:lnTo>
                      <a:pt x="516" y="124"/>
                    </a:lnTo>
                    <a:lnTo>
                      <a:pt x="516" y="102"/>
                    </a:lnTo>
                    <a:lnTo>
                      <a:pt x="488" y="102"/>
                    </a:lnTo>
                    <a:lnTo>
                      <a:pt x="488" y="88"/>
                    </a:lnTo>
                    <a:lnTo>
                      <a:pt x="516" y="88"/>
                    </a:lnTo>
                    <a:lnTo>
                      <a:pt x="516" y="64"/>
                    </a:lnTo>
                    <a:lnTo>
                      <a:pt x="488" y="64"/>
                    </a:lnTo>
                    <a:lnTo>
                      <a:pt x="488" y="50"/>
                    </a:lnTo>
                    <a:lnTo>
                      <a:pt x="516" y="50"/>
                    </a:lnTo>
                    <a:lnTo>
                      <a:pt x="516" y="26"/>
                    </a:lnTo>
                    <a:lnTo>
                      <a:pt x="488" y="26"/>
                    </a:lnTo>
                    <a:lnTo>
                      <a:pt x="488" y="0"/>
                    </a:lnTo>
                    <a:lnTo>
                      <a:pt x="358" y="0"/>
                    </a:lnTo>
                    <a:lnTo>
                      <a:pt x="358" y="26"/>
                    </a:lnTo>
                    <a:lnTo>
                      <a:pt x="326" y="26"/>
                    </a:lnTo>
                    <a:lnTo>
                      <a:pt x="326" y="50"/>
                    </a:lnTo>
                    <a:lnTo>
                      <a:pt x="358" y="50"/>
                    </a:lnTo>
                    <a:lnTo>
                      <a:pt x="358" y="64"/>
                    </a:lnTo>
                    <a:lnTo>
                      <a:pt x="326" y="64"/>
                    </a:lnTo>
                    <a:lnTo>
                      <a:pt x="326" y="88"/>
                    </a:lnTo>
                    <a:lnTo>
                      <a:pt x="358" y="88"/>
                    </a:lnTo>
                    <a:lnTo>
                      <a:pt x="358" y="102"/>
                    </a:lnTo>
                    <a:lnTo>
                      <a:pt x="326" y="102"/>
                    </a:lnTo>
                    <a:lnTo>
                      <a:pt x="326" y="124"/>
                    </a:lnTo>
                    <a:lnTo>
                      <a:pt x="358" y="124"/>
                    </a:lnTo>
                    <a:lnTo>
                      <a:pt x="358" y="160"/>
                    </a:lnTo>
                    <a:lnTo>
                      <a:pt x="326" y="160"/>
                    </a:lnTo>
                    <a:lnTo>
                      <a:pt x="326" y="174"/>
                    </a:lnTo>
                    <a:lnTo>
                      <a:pt x="304" y="174"/>
                    </a:lnTo>
                    <a:lnTo>
                      <a:pt x="304" y="148"/>
                    </a:lnTo>
                    <a:lnTo>
                      <a:pt x="296" y="148"/>
                    </a:lnTo>
                    <a:lnTo>
                      <a:pt x="296" y="174"/>
                    </a:lnTo>
                    <a:lnTo>
                      <a:pt x="284" y="174"/>
                    </a:lnTo>
                    <a:lnTo>
                      <a:pt x="284" y="190"/>
                    </a:lnTo>
                    <a:lnTo>
                      <a:pt x="296" y="190"/>
                    </a:lnTo>
                    <a:lnTo>
                      <a:pt x="296" y="218"/>
                    </a:lnTo>
                    <a:lnTo>
                      <a:pt x="284" y="218"/>
                    </a:lnTo>
                    <a:lnTo>
                      <a:pt x="284" y="232"/>
                    </a:lnTo>
                    <a:lnTo>
                      <a:pt x="296" y="232"/>
                    </a:lnTo>
                    <a:lnTo>
                      <a:pt x="296" y="264"/>
                    </a:lnTo>
                    <a:lnTo>
                      <a:pt x="284" y="264"/>
                    </a:lnTo>
                    <a:lnTo>
                      <a:pt x="284" y="278"/>
                    </a:lnTo>
                    <a:lnTo>
                      <a:pt x="296" y="278"/>
                    </a:lnTo>
                    <a:lnTo>
                      <a:pt x="296" y="314"/>
                    </a:lnTo>
                    <a:lnTo>
                      <a:pt x="284" y="314"/>
                    </a:lnTo>
                    <a:lnTo>
                      <a:pt x="284" y="328"/>
                    </a:lnTo>
                    <a:lnTo>
                      <a:pt x="296" y="328"/>
                    </a:lnTo>
                    <a:lnTo>
                      <a:pt x="296" y="362"/>
                    </a:lnTo>
                    <a:lnTo>
                      <a:pt x="284" y="362"/>
                    </a:lnTo>
                    <a:lnTo>
                      <a:pt x="284" y="374"/>
                    </a:lnTo>
                    <a:lnTo>
                      <a:pt x="296" y="374"/>
                    </a:lnTo>
                    <a:lnTo>
                      <a:pt x="296" y="408"/>
                    </a:lnTo>
                    <a:lnTo>
                      <a:pt x="284" y="408"/>
                    </a:lnTo>
                    <a:lnTo>
                      <a:pt x="284" y="426"/>
                    </a:lnTo>
                    <a:lnTo>
                      <a:pt x="296" y="426"/>
                    </a:lnTo>
                    <a:lnTo>
                      <a:pt x="296" y="464"/>
                    </a:lnTo>
                    <a:lnTo>
                      <a:pt x="284" y="464"/>
                    </a:lnTo>
                    <a:lnTo>
                      <a:pt x="284" y="474"/>
                    </a:lnTo>
                    <a:lnTo>
                      <a:pt x="296" y="474"/>
                    </a:lnTo>
                    <a:lnTo>
                      <a:pt x="296" y="522"/>
                    </a:lnTo>
                    <a:lnTo>
                      <a:pt x="252" y="522"/>
                    </a:lnTo>
                    <a:lnTo>
                      <a:pt x="252" y="160"/>
                    </a:lnTo>
                    <a:lnTo>
                      <a:pt x="224" y="160"/>
                    </a:lnTo>
                    <a:lnTo>
                      <a:pt x="224" y="124"/>
                    </a:lnTo>
                    <a:lnTo>
                      <a:pt x="252" y="124"/>
                    </a:lnTo>
                    <a:lnTo>
                      <a:pt x="252" y="102"/>
                    </a:lnTo>
                    <a:lnTo>
                      <a:pt x="224" y="102"/>
                    </a:lnTo>
                    <a:lnTo>
                      <a:pt x="224" y="88"/>
                    </a:lnTo>
                    <a:lnTo>
                      <a:pt x="252" y="88"/>
                    </a:lnTo>
                    <a:lnTo>
                      <a:pt x="252" y="64"/>
                    </a:lnTo>
                    <a:lnTo>
                      <a:pt x="224" y="64"/>
                    </a:lnTo>
                    <a:lnTo>
                      <a:pt x="224" y="50"/>
                    </a:lnTo>
                    <a:lnTo>
                      <a:pt x="252" y="50"/>
                    </a:lnTo>
                    <a:lnTo>
                      <a:pt x="252" y="26"/>
                    </a:lnTo>
                    <a:lnTo>
                      <a:pt x="224" y="26"/>
                    </a:lnTo>
                    <a:lnTo>
                      <a:pt x="224" y="0"/>
                    </a:lnTo>
                    <a:lnTo>
                      <a:pt x="94" y="0"/>
                    </a:lnTo>
                    <a:lnTo>
                      <a:pt x="94" y="26"/>
                    </a:lnTo>
                    <a:lnTo>
                      <a:pt x="62" y="26"/>
                    </a:lnTo>
                    <a:lnTo>
                      <a:pt x="62" y="50"/>
                    </a:lnTo>
                    <a:lnTo>
                      <a:pt x="94" y="50"/>
                    </a:lnTo>
                    <a:lnTo>
                      <a:pt x="94" y="64"/>
                    </a:lnTo>
                    <a:lnTo>
                      <a:pt x="62" y="64"/>
                    </a:lnTo>
                    <a:lnTo>
                      <a:pt x="62" y="88"/>
                    </a:lnTo>
                    <a:lnTo>
                      <a:pt x="94" y="88"/>
                    </a:lnTo>
                    <a:lnTo>
                      <a:pt x="94" y="102"/>
                    </a:lnTo>
                    <a:lnTo>
                      <a:pt x="62" y="102"/>
                    </a:lnTo>
                    <a:lnTo>
                      <a:pt x="62" y="124"/>
                    </a:lnTo>
                    <a:lnTo>
                      <a:pt x="94" y="124"/>
                    </a:lnTo>
                    <a:lnTo>
                      <a:pt x="94" y="160"/>
                    </a:lnTo>
                    <a:lnTo>
                      <a:pt x="62" y="160"/>
                    </a:lnTo>
                    <a:lnTo>
                      <a:pt x="62" y="174"/>
                    </a:lnTo>
                    <a:lnTo>
                      <a:pt x="40" y="174"/>
                    </a:lnTo>
                    <a:lnTo>
                      <a:pt x="40" y="148"/>
                    </a:lnTo>
                    <a:lnTo>
                      <a:pt x="34" y="148"/>
                    </a:lnTo>
                    <a:lnTo>
                      <a:pt x="34" y="174"/>
                    </a:lnTo>
                    <a:lnTo>
                      <a:pt x="20" y="174"/>
                    </a:lnTo>
                    <a:lnTo>
                      <a:pt x="20" y="190"/>
                    </a:lnTo>
                    <a:lnTo>
                      <a:pt x="34" y="190"/>
                    </a:lnTo>
                    <a:lnTo>
                      <a:pt x="34" y="218"/>
                    </a:lnTo>
                    <a:lnTo>
                      <a:pt x="20" y="218"/>
                    </a:lnTo>
                    <a:lnTo>
                      <a:pt x="20" y="232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20" y="264"/>
                    </a:lnTo>
                    <a:lnTo>
                      <a:pt x="20" y="278"/>
                    </a:lnTo>
                    <a:lnTo>
                      <a:pt x="34" y="278"/>
                    </a:lnTo>
                    <a:lnTo>
                      <a:pt x="34" y="314"/>
                    </a:lnTo>
                    <a:lnTo>
                      <a:pt x="20" y="314"/>
                    </a:lnTo>
                    <a:lnTo>
                      <a:pt x="20" y="328"/>
                    </a:lnTo>
                    <a:lnTo>
                      <a:pt x="34" y="328"/>
                    </a:lnTo>
                    <a:lnTo>
                      <a:pt x="34" y="362"/>
                    </a:lnTo>
                    <a:lnTo>
                      <a:pt x="20" y="362"/>
                    </a:lnTo>
                    <a:lnTo>
                      <a:pt x="20" y="374"/>
                    </a:lnTo>
                    <a:lnTo>
                      <a:pt x="34" y="374"/>
                    </a:lnTo>
                    <a:lnTo>
                      <a:pt x="34" y="408"/>
                    </a:lnTo>
                    <a:lnTo>
                      <a:pt x="20" y="408"/>
                    </a:lnTo>
                    <a:lnTo>
                      <a:pt x="20" y="426"/>
                    </a:lnTo>
                    <a:lnTo>
                      <a:pt x="34" y="426"/>
                    </a:lnTo>
                    <a:lnTo>
                      <a:pt x="34" y="464"/>
                    </a:lnTo>
                    <a:lnTo>
                      <a:pt x="20" y="464"/>
                    </a:lnTo>
                    <a:lnTo>
                      <a:pt x="20" y="474"/>
                    </a:lnTo>
                    <a:lnTo>
                      <a:pt x="34" y="474"/>
                    </a:lnTo>
                    <a:lnTo>
                      <a:pt x="34" y="522"/>
                    </a:lnTo>
                    <a:lnTo>
                      <a:pt x="0" y="522"/>
                    </a:lnTo>
                    <a:lnTo>
                      <a:pt x="0" y="716"/>
                    </a:lnTo>
                    <a:lnTo>
                      <a:pt x="802" y="716"/>
                    </a:lnTo>
                    <a:lnTo>
                      <a:pt x="802" y="522"/>
                    </a:lnTo>
                    <a:lnTo>
                      <a:pt x="780" y="522"/>
                    </a:lnTo>
                    <a:close/>
                    <a:moveTo>
                      <a:pt x="566" y="190"/>
                    </a:moveTo>
                    <a:lnTo>
                      <a:pt x="590" y="190"/>
                    </a:lnTo>
                    <a:lnTo>
                      <a:pt x="590" y="218"/>
                    </a:lnTo>
                    <a:lnTo>
                      <a:pt x="566" y="218"/>
                    </a:lnTo>
                    <a:lnTo>
                      <a:pt x="566" y="190"/>
                    </a:lnTo>
                    <a:close/>
                    <a:moveTo>
                      <a:pt x="566" y="232"/>
                    </a:moveTo>
                    <a:lnTo>
                      <a:pt x="590" y="232"/>
                    </a:lnTo>
                    <a:lnTo>
                      <a:pt x="590" y="264"/>
                    </a:lnTo>
                    <a:lnTo>
                      <a:pt x="566" y="264"/>
                    </a:lnTo>
                    <a:lnTo>
                      <a:pt x="566" y="232"/>
                    </a:lnTo>
                    <a:close/>
                    <a:moveTo>
                      <a:pt x="566" y="278"/>
                    </a:moveTo>
                    <a:lnTo>
                      <a:pt x="590" y="278"/>
                    </a:lnTo>
                    <a:lnTo>
                      <a:pt x="590" y="314"/>
                    </a:lnTo>
                    <a:lnTo>
                      <a:pt x="566" y="314"/>
                    </a:lnTo>
                    <a:lnTo>
                      <a:pt x="566" y="278"/>
                    </a:lnTo>
                    <a:close/>
                    <a:moveTo>
                      <a:pt x="566" y="328"/>
                    </a:moveTo>
                    <a:lnTo>
                      <a:pt x="590" y="328"/>
                    </a:lnTo>
                    <a:lnTo>
                      <a:pt x="590" y="362"/>
                    </a:lnTo>
                    <a:lnTo>
                      <a:pt x="566" y="362"/>
                    </a:lnTo>
                    <a:lnTo>
                      <a:pt x="566" y="328"/>
                    </a:lnTo>
                    <a:close/>
                    <a:moveTo>
                      <a:pt x="566" y="374"/>
                    </a:moveTo>
                    <a:lnTo>
                      <a:pt x="590" y="374"/>
                    </a:lnTo>
                    <a:lnTo>
                      <a:pt x="590" y="408"/>
                    </a:lnTo>
                    <a:lnTo>
                      <a:pt x="566" y="408"/>
                    </a:lnTo>
                    <a:lnTo>
                      <a:pt x="566" y="374"/>
                    </a:lnTo>
                    <a:close/>
                    <a:moveTo>
                      <a:pt x="566" y="426"/>
                    </a:moveTo>
                    <a:lnTo>
                      <a:pt x="590" y="426"/>
                    </a:lnTo>
                    <a:lnTo>
                      <a:pt x="590" y="464"/>
                    </a:lnTo>
                    <a:lnTo>
                      <a:pt x="566" y="464"/>
                    </a:lnTo>
                    <a:lnTo>
                      <a:pt x="566" y="426"/>
                    </a:lnTo>
                    <a:close/>
                    <a:moveTo>
                      <a:pt x="566" y="474"/>
                    </a:moveTo>
                    <a:lnTo>
                      <a:pt x="590" y="474"/>
                    </a:lnTo>
                    <a:lnTo>
                      <a:pt x="590" y="522"/>
                    </a:lnTo>
                    <a:lnTo>
                      <a:pt x="566" y="522"/>
                    </a:lnTo>
                    <a:lnTo>
                      <a:pt x="566" y="474"/>
                    </a:lnTo>
                    <a:close/>
                    <a:moveTo>
                      <a:pt x="304" y="190"/>
                    </a:moveTo>
                    <a:lnTo>
                      <a:pt x="326" y="190"/>
                    </a:lnTo>
                    <a:lnTo>
                      <a:pt x="326" y="218"/>
                    </a:lnTo>
                    <a:lnTo>
                      <a:pt x="304" y="218"/>
                    </a:lnTo>
                    <a:lnTo>
                      <a:pt x="304" y="190"/>
                    </a:lnTo>
                    <a:close/>
                    <a:moveTo>
                      <a:pt x="304" y="232"/>
                    </a:moveTo>
                    <a:lnTo>
                      <a:pt x="326" y="232"/>
                    </a:lnTo>
                    <a:lnTo>
                      <a:pt x="326" y="264"/>
                    </a:lnTo>
                    <a:lnTo>
                      <a:pt x="304" y="264"/>
                    </a:lnTo>
                    <a:lnTo>
                      <a:pt x="304" y="232"/>
                    </a:lnTo>
                    <a:close/>
                    <a:moveTo>
                      <a:pt x="304" y="278"/>
                    </a:moveTo>
                    <a:lnTo>
                      <a:pt x="326" y="278"/>
                    </a:lnTo>
                    <a:lnTo>
                      <a:pt x="326" y="314"/>
                    </a:lnTo>
                    <a:lnTo>
                      <a:pt x="304" y="314"/>
                    </a:lnTo>
                    <a:lnTo>
                      <a:pt x="304" y="278"/>
                    </a:lnTo>
                    <a:close/>
                    <a:moveTo>
                      <a:pt x="304" y="328"/>
                    </a:moveTo>
                    <a:lnTo>
                      <a:pt x="326" y="328"/>
                    </a:lnTo>
                    <a:lnTo>
                      <a:pt x="326" y="362"/>
                    </a:lnTo>
                    <a:lnTo>
                      <a:pt x="304" y="362"/>
                    </a:lnTo>
                    <a:lnTo>
                      <a:pt x="304" y="328"/>
                    </a:lnTo>
                    <a:close/>
                    <a:moveTo>
                      <a:pt x="304" y="374"/>
                    </a:moveTo>
                    <a:lnTo>
                      <a:pt x="326" y="374"/>
                    </a:lnTo>
                    <a:lnTo>
                      <a:pt x="326" y="408"/>
                    </a:lnTo>
                    <a:lnTo>
                      <a:pt x="304" y="408"/>
                    </a:lnTo>
                    <a:lnTo>
                      <a:pt x="304" y="374"/>
                    </a:lnTo>
                    <a:close/>
                    <a:moveTo>
                      <a:pt x="304" y="426"/>
                    </a:moveTo>
                    <a:lnTo>
                      <a:pt x="326" y="426"/>
                    </a:lnTo>
                    <a:lnTo>
                      <a:pt x="326" y="464"/>
                    </a:lnTo>
                    <a:lnTo>
                      <a:pt x="304" y="464"/>
                    </a:lnTo>
                    <a:lnTo>
                      <a:pt x="304" y="426"/>
                    </a:lnTo>
                    <a:close/>
                    <a:moveTo>
                      <a:pt x="304" y="474"/>
                    </a:moveTo>
                    <a:lnTo>
                      <a:pt x="326" y="474"/>
                    </a:lnTo>
                    <a:lnTo>
                      <a:pt x="326" y="522"/>
                    </a:lnTo>
                    <a:lnTo>
                      <a:pt x="304" y="522"/>
                    </a:lnTo>
                    <a:lnTo>
                      <a:pt x="304" y="474"/>
                    </a:lnTo>
                    <a:close/>
                    <a:moveTo>
                      <a:pt x="40" y="190"/>
                    </a:moveTo>
                    <a:lnTo>
                      <a:pt x="62" y="190"/>
                    </a:lnTo>
                    <a:lnTo>
                      <a:pt x="62" y="218"/>
                    </a:lnTo>
                    <a:lnTo>
                      <a:pt x="40" y="218"/>
                    </a:lnTo>
                    <a:lnTo>
                      <a:pt x="40" y="190"/>
                    </a:lnTo>
                    <a:close/>
                    <a:moveTo>
                      <a:pt x="40" y="232"/>
                    </a:moveTo>
                    <a:lnTo>
                      <a:pt x="62" y="232"/>
                    </a:lnTo>
                    <a:lnTo>
                      <a:pt x="62" y="264"/>
                    </a:lnTo>
                    <a:lnTo>
                      <a:pt x="40" y="264"/>
                    </a:lnTo>
                    <a:lnTo>
                      <a:pt x="40" y="232"/>
                    </a:lnTo>
                    <a:close/>
                    <a:moveTo>
                      <a:pt x="40" y="278"/>
                    </a:moveTo>
                    <a:lnTo>
                      <a:pt x="62" y="278"/>
                    </a:lnTo>
                    <a:lnTo>
                      <a:pt x="62" y="314"/>
                    </a:lnTo>
                    <a:lnTo>
                      <a:pt x="40" y="314"/>
                    </a:lnTo>
                    <a:lnTo>
                      <a:pt x="40" y="278"/>
                    </a:lnTo>
                    <a:close/>
                    <a:moveTo>
                      <a:pt x="40" y="328"/>
                    </a:moveTo>
                    <a:lnTo>
                      <a:pt x="62" y="328"/>
                    </a:lnTo>
                    <a:lnTo>
                      <a:pt x="62" y="362"/>
                    </a:lnTo>
                    <a:lnTo>
                      <a:pt x="40" y="362"/>
                    </a:lnTo>
                    <a:lnTo>
                      <a:pt x="40" y="328"/>
                    </a:lnTo>
                    <a:close/>
                    <a:moveTo>
                      <a:pt x="40" y="374"/>
                    </a:moveTo>
                    <a:lnTo>
                      <a:pt x="62" y="374"/>
                    </a:lnTo>
                    <a:lnTo>
                      <a:pt x="62" y="408"/>
                    </a:lnTo>
                    <a:lnTo>
                      <a:pt x="40" y="408"/>
                    </a:lnTo>
                    <a:lnTo>
                      <a:pt x="40" y="374"/>
                    </a:lnTo>
                    <a:close/>
                    <a:moveTo>
                      <a:pt x="40" y="426"/>
                    </a:moveTo>
                    <a:lnTo>
                      <a:pt x="62" y="426"/>
                    </a:lnTo>
                    <a:lnTo>
                      <a:pt x="62" y="464"/>
                    </a:lnTo>
                    <a:lnTo>
                      <a:pt x="40" y="464"/>
                    </a:lnTo>
                    <a:lnTo>
                      <a:pt x="40" y="426"/>
                    </a:lnTo>
                    <a:close/>
                    <a:moveTo>
                      <a:pt x="40" y="474"/>
                    </a:moveTo>
                    <a:lnTo>
                      <a:pt x="62" y="474"/>
                    </a:lnTo>
                    <a:lnTo>
                      <a:pt x="62" y="522"/>
                    </a:lnTo>
                    <a:lnTo>
                      <a:pt x="40" y="522"/>
                    </a:lnTo>
                    <a:lnTo>
                      <a:pt x="40" y="47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720A18F0-7D8D-4306-94A3-0A031E956A90}"/>
                </a:ext>
              </a:extLst>
            </p:cNvPr>
            <p:cNvGrpSpPr/>
            <p:nvPr/>
          </p:nvGrpSpPr>
          <p:grpSpPr>
            <a:xfrm>
              <a:off x="6456138" y="5216196"/>
              <a:ext cx="160476" cy="144931"/>
              <a:chOff x="10141598" y="3543688"/>
              <a:chExt cx="157159" cy="128810"/>
            </a:xfrm>
          </p:grpSpPr>
          <p:sp>
            <p:nvSpPr>
              <p:cNvPr id="268" name="Oval 267">
                <a:extLst>
                  <a:ext uri="{FF2B5EF4-FFF2-40B4-BE49-F238E27FC236}">
                    <a16:creationId xmlns:a16="http://schemas.microsoft.com/office/drawing/2014/main" id="{2124CBC4-4016-44F1-8E9E-EDE16D7495A8}"/>
                  </a:ext>
                </a:extLst>
              </p:cNvPr>
              <p:cNvSpPr/>
              <p:nvPr/>
            </p:nvSpPr>
            <p:spPr bwMode="ltGray">
              <a:xfrm>
                <a:off x="10141598" y="3543688"/>
                <a:ext cx="157159" cy="128810"/>
              </a:xfrm>
              <a:prstGeom prst="ellipse">
                <a:avLst/>
              </a:prstGeom>
              <a:solidFill>
                <a:srgbClr val="933401"/>
              </a:solidFill>
              <a:ln w="38100">
                <a:solidFill>
                  <a:srgbClr val="9334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9" name="Freeform 7403">
                <a:extLst>
                  <a:ext uri="{FF2B5EF4-FFF2-40B4-BE49-F238E27FC236}">
                    <a16:creationId xmlns:a16="http://schemas.microsoft.com/office/drawing/2014/main" id="{7C62CBA8-8428-44BE-875B-C2B9255188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6663" y="3558609"/>
                <a:ext cx="118586" cy="86773"/>
              </a:xfrm>
              <a:custGeom>
                <a:avLst/>
                <a:gdLst>
                  <a:gd name="T0" fmla="*/ 780 w 802"/>
                  <a:gd name="T1" fmla="*/ 124 h 716"/>
                  <a:gd name="T2" fmla="*/ 780 w 802"/>
                  <a:gd name="T3" fmla="*/ 64 h 716"/>
                  <a:gd name="T4" fmla="*/ 750 w 802"/>
                  <a:gd name="T5" fmla="*/ 26 h 716"/>
                  <a:gd name="T6" fmla="*/ 590 w 802"/>
                  <a:gd name="T7" fmla="*/ 50 h 716"/>
                  <a:gd name="T8" fmla="*/ 620 w 802"/>
                  <a:gd name="T9" fmla="*/ 88 h 716"/>
                  <a:gd name="T10" fmla="*/ 620 w 802"/>
                  <a:gd name="T11" fmla="*/ 160 h 716"/>
                  <a:gd name="T12" fmla="*/ 560 w 802"/>
                  <a:gd name="T13" fmla="*/ 148 h 716"/>
                  <a:gd name="T14" fmla="*/ 560 w 802"/>
                  <a:gd name="T15" fmla="*/ 218 h 716"/>
                  <a:gd name="T16" fmla="*/ 548 w 802"/>
                  <a:gd name="T17" fmla="*/ 264 h 716"/>
                  <a:gd name="T18" fmla="*/ 548 w 802"/>
                  <a:gd name="T19" fmla="*/ 328 h 716"/>
                  <a:gd name="T20" fmla="*/ 560 w 802"/>
                  <a:gd name="T21" fmla="*/ 374 h 716"/>
                  <a:gd name="T22" fmla="*/ 560 w 802"/>
                  <a:gd name="T23" fmla="*/ 464 h 716"/>
                  <a:gd name="T24" fmla="*/ 516 w 802"/>
                  <a:gd name="T25" fmla="*/ 522 h 716"/>
                  <a:gd name="T26" fmla="*/ 516 w 802"/>
                  <a:gd name="T27" fmla="*/ 102 h 716"/>
                  <a:gd name="T28" fmla="*/ 488 w 802"/>
                  <a:gd name="T29" fmla="*/ 64 h 716"/>
                  <a:gd name="T30" fmla="*/ 488 w 802"/>
                  <a:gd name="T31" fmla="*/ 0 h 716"/>
                  <a:gd name="T32" fmla="*/ 358 w 802"/>
                  <a:gd name="T33" fmla="*/ 50 h 716"/>
                  <a:gd name="T34" fmla="*/ 358 w 802"/>
                  <a:gd name="T35" fmla="*/ 102 h 716"/>
                  <a:gd name="T36" fmla="*/ 326 w 802"/>
                  <a:gd name="T37" fmla="*/ 160 h 716"/>
                  <a:gd name="T38" fmla="*/ 296 w 802"/>
                  <a:gd name="T39" fmla="*/ 174 h 716"/>
                  <a:gd name="T40" fmla="*/ 284 w 802"/>
                  <a:gd name="T41" fmla="*/ 218 h 716"/>
                  <a:gd name="T42" fmla="*/ 284 w 802"/>
                  <a:gd name="T43" fmla="*/ 278 h 716"/>
                  <a:gd name="T44" fmla="*/ 296 w 802"/>
                  <a:gd name="T45" fmla="*/ 328 h 716"/>
                  <a:gd name="T46" fmla="*/ 296 w 802"/>
                  <a:gd name="T47" fmla="*/ 408 h 716"/>
                  <a:gd name="T48" fmla="*/ 284 w 802"/>
                  <a:gd name="T49" fmla="*/ 464 h 716"/>
                  <a:gd name="T50" fmla="*/ 252 w 802"/>
                  <a:gd name="T51" fmla="*/ 160 h 716"/>
                  <a:gd name="T52" fmla="*/ 224 w 802"/>
                  <a:gd name="T53" fmla="*/ 102 h 716"/>
                  <a:gd name="T54" fmla="*/ 224 w 802"/>
                  <a:gd name="T55" fmla="*/ 50 h 716"/>
                  <a:gd name="T56" fmla="*/ 94 w 802"/>
                  <a:gd name="T57" fmla="*/ 0 h 716"/>
                  <a:gd name="T58" fmla="*/ 94 w 802"/>
                  <a:gd name="T59" fmla="*/ 64 h 716"/>
                  <a:gd name="T60" fmla="*/ 62 w 802"/>
                  <a:gd name="T61" fmla="*/ 102 h 716"/>
                  <a:gd name="T62" fmla="*/ 62 w 802"/>
                  <a:gd name="T63" fmla="*/ 174 h 716"/>
                  <a:gd name="T64" fmla="*/ 20 w 802"/>
                  <a:gd name="T65" fmla="*/ 174 h 716"/>
                  <a:gd name="T66" fmla="*/ 20 w 802"/>
                  <a:gd name="T67" fmla="*/ 232 h 716"/>
                  <a:gd name="T68" fmla="*/ 34 w 802"/>
                  <a:gd name="T69" fmla="*/ 278 h 716"/>
                  <a:gd name="T70" fmla="*/ 34 w 802"/>
                  <a:gd name="T71" fmla="*/ 362 h 716"/>
                  <a:gd name="T72" fmla="*/ 20 w 802"/>
                  <a:gd name="T73" fmla="*/ 408 h 716"/>
                  <a:gd name="T74" fmla="*/ 20 w 802"/>
                  <a:gd name="T75" fmla="*/ 474 h 716"/>
                  <a:gd name="T76" fmla="*/ 802 w 802"/>
                  <a:gd name="T77" fmla="*/ 716 h 716"/>
                  <a:gd name="T78" fmla="*/ 590 w 802"/>
                  <a:gd name="T79" fmla="*/ 218 h 716"/>
                  <a:gd name="T80" fmla="*/ 590 w 802"/>
                  <a:gd name="T81" fmla="*/ 264 h 716"/>
                  <a:gd name="T82" fmla="*/ 590 w 802"/>
                  <a:gd name="T83" fmla="*/ 314 h 716"/>
                  <a:gd name="T84" fmla="*/ 590 w 802"/>
                  <a:gd name="T85" fmla="*/ 362 h 716"/>
                  <a:gd name="T86" fmla="*/ 590 w 802"/>
                  <a:gd name="T87" fmla="*/ 408 h 716"/>
                  <a:gd name="T88" fmla="*/ 590 w 802"/>
                  <a:gd name="T89" fmla="*/ 464 h 716"/>
                  <a:gd name="T90" fmla="*/ 590 w 802"/>
                  <a:gd name="T91" fmla="*/ 522 h 716"/>
                  <a:gd name="T92" fmla="*/ 326 w 802"/>
                  <a:gd name="T93" fmla="*/ 218 h 716"/>
                  <a:gd name="T94" fmla="*/ 326 w 802"/>
                  <a:gd name="T95" fmla="*/ 264 h 716"/>
                  <a:gd name="T96" fmla="*/ 326 w 802"/>
                  <a:gd name="T97" fmla="*/ 314 h 716"/>
                  <a:gd name="T98" fmla="*/ 326 w 802"/>
                  <a:gd name="T99" fmla="*/ 362 h 716"/>
                  <a:gd name="T100" fmla="*/ 326 w 802"/>
                  <a:gd name="T101" fmla="*/ 408 h 716"/>
                  <a:gd name="T102" fmla="*/ 326 w 802"/>
                  <a:gd name="T103" fmla="*/ 464 h 716"/>
                  <a:gd name="T104" fmla="*/ 326 w 802"/>
                  <a:gd name="T105" fmla="*/ 522 h 716"/>
                  <a:gd name="T106" fmla="*/ 62 w 802"/>
                  <a:gd name="T107" fmla="*/ 218 h 716"/>
                  <a:gd name="T108" fmla="*/ 62 w 802"/>
                  <a:gd name="T109" fmla="*/ 264 h 716"/>
                  <a:gd name="T110" fmla="*/ 62 w 802"/>
                  <a:gd name="T111" fmla="*/ 314 h 716"/>
                  <a:gd name="T112" fmla="*/ 62 w 802"/>
                  <a:gd name="T113" fmla="*/ 362 h 716"/>
                  <a:gd name="T114" fmla="*/ 62 w 802"/>
                  <a:gd name="T115" fmla="*/ 408 h 716"/>
                  <a:gd name="T116" fmla="*/ 62 w 802"/>
                  <a:gd name="T117" fmla="*/ 464 h 716"/>
                  <a:gd name="T118" fmla="*/ 62 w 802"/>
                  <a:gd name="T119" fmla="*/ 52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2" h="716">
                    <a:moveTo>
                      <a:pt x="780" y="522"/>
                    </a:moveTo>
                    <a:lnTo>
                      <a:pt x="780" y="160"/>
                    </a:lnTo>
                    <a:lnTo>
                      <a:pt x="750" y="160"/>
                    </a:lnTo>
                    <a:lnTo>
                      <a:pt x="750" y="124"/>
                    </a:lnTo>
                    <a:lnTo>
                      <a:pt x="780" y="124"/>
                    </a:lnTo>
                    <a:lnTo>
                      <a:pt x="780" y="102"/>
                    </a:lnTo>
                    <a:lnTo>
                      <a:pt x="750" y="102"/>
                    </a:lnTo>
                    <a:lnTo>
                      <a:pt x="750" y="88"/>
                    </a:lnTo>
                    <a:lnTo>
                      <a:pt x="780" y="88"/>
                    </a:lnTo>
                    <a:lnTo>
                      <a:pt x="780" y="64"/>
                    </a:lnTo>
                    <a:lnTo>
                      <a:pt x="750" y="64"/>
                    </a:lnTo>
                    <a:lnTo>
                      <a:pt x="750" y="50"/>
                    </a:lnTo>
                    <a:lnTo>
                      <a:pt x="780" y="50"/>
                    </a:lnTo>
                    <a:lnTo>
                      <a:pt x="780" y="26"/>
                    </a:lnTo>
                    <a:lnTo>
                      <a:pt x="750" y="26"/>
                    </a:lnTo>
                    <a:lnTo>
                      <a:pt x="750" y="0"/>
                    </a:lnTo>
                    <a:lnTo>
                      <a:pt x="620" y="0"/>
                    </a:lnTo>
                    <a:lnTo>
                      <a:pt x="620" y="26"/>
                    </a:lnTo>
                    <a:lnTo>
                      <a:pt x="590" y="26"/>
                    </a:lnTo>
                    <a:lnTo>
                      <a:pt x="590" y="50"/>
                    </a:lnTo>
                    <a:lnTo>
                      <a:pt x="620" y="50"/>
                    </a:lnTo>
                    <a:lnTo>
                      <a:pt x="620" y="64"/>
                    </a:lnTo>
                    <a:lnTo>
                      <a:pt x="590" y="64"/>
                    </a:lnTo>
                    <a:lnTo>
                      <a:pt x="590" y="88"/>
                    </a:lnTo>
                    <a:lnTo>
                      <a:pt x="620" y="88"/>
                    </a:lnTo>
                    <a:lnTo>
                      <a:pt x="620" y="102"/>
                    </a:lnTo>
                    <a:lnTo>
                      <a:pt x="590" y="102"/>
                    </a:lnTo>
                    <a:lnTo>
                      <a:pt x="590" y="124"/>
                    </a:lnTo>
                    <a:lnTo>
                      <a:pt x="620" y="124"/>
                    </a:lnTo>
                    <a:lnTo>
                      <a:pt x="620" y="160"/>
                    </a:lnTo>
                    <a:lnTo>
                      <a:pt x="590" y="160"/>
                    </a:lnTo>
                    <a:lnTo>
                      <a:pt x="590" y="174"/>
                    </a:lnTo>
                    <a:lnTo>
                      <a:pt x="566" y="174"/>
                    </a:lnTo>
                    <a:lnTo>
                      <a:pt x="566" y="148"/>
                    </a:lnTo>
                    <a:lnTo>
                      <a:pt x="560" y="148"/>
                    </a:lnTo>
                    <a:lnTo>
                      <a:pt x="560" y="174"/>
                    </a:lnTo>
                    <a:lnTo>
                      <a:pt x="548" y="174"/>
                    </a:lnTo>
                    <a:lnTo>
                      <a:pt x="548" y="190"/>
                    </a:lnTo>
                    <a:lnTo>
                      <a:pt x="560" y="190"/>
                    </a:lnTo>
                    <a:lnTo>
                      <a:pt x="560" y="218"/>
                    </a:lnTo>
                    <a:lnTo>
                      <a:pt x="548" y="218"/>
                    </a:lnTo>
                    <a:lnTo>
                      <a:pt x="548" y="232"/>
                    </a:lnTo>
                    <a:lnTo>
                      <a:pt x="560" y="232"/>
                    </a:lnTo>
                    <a:lnTo>
                      <a:pt x="560" y="264"/>
                    </a:lnTo>
                    <a:lnTo>
                      <a:pt x="548" y="264"/>
                    </a:lnTo>
                    <a:lnTo>
                      <a:pt x="548" y="278"/>
                    </a:lnTo>
                    <a:lnTo>
                      <a:pt x="560" y="278"/>
                    </a:lnTo>
                    <a:lnTo>
                      <a:pt x="560" y="314"/>
                    </a:lnTo>
                    <a:lnTo>
                      <a:pt x="548" y="314"/>
                    </a:lnTo>
                    <a:lnTo>
                      <a:pt x="548" y="328"/>
                    </a:lnTo>
                    <a:lnTo>
                      <a:pt x="560" y="328"/>
                    </a:lnTo>
                    <a:lnTo>
                      <a:pt x="560" y="362"/>
                    </a:lnTo>
                    <a:lnTo>
                      <a:pt x="548" y="362"/>
                    </a:lnTo>
                    <a:lnTo>
                      <a:pt x="548" y="374"/>
                    </a:lnTo>
                    <a:lnTo>
                      <a:pt x="560" y="374"/>
                    </a:lnTo>
                    <a:lnTo>
                      <a:pt x="560" y="408"/>
                    </a:lnTo>
                    <a:lnTo>
                      <a:pt x="548" y="408"/>
                    </a:lnTo>
                    <a:lnTo>
                      <a:pt x="548" y="426"/>
                    </a:lnTo>
                    <a:lnTo>
                      <a:pt x="560" y="426"/>
                    </a:lnTo>
                    <a:lnTo>
                      <a:pt x="560" y="464"/>
                    </a:lnTo>
                    <a:lnTo>
                      <a:pt x="548" y="464"/>
                    </a:lnTo>
                    <a:lnTo>
                      <a:pt x="548" y="474"/>
                    </a:lnTo>
                    <a:lnTo>
                      <a:pt x="560" y="474"/>
                    </a:lnTo>
                    <a:lnTo>
                      <a:pt x="560" y="522"/>
                    </a:lnTo>
                    <a:lnTo>
                      <a:pt x="516" y="522"/>
                    </a:lnTo>
                    <a:lnTo>
                      <a:pt x="516" y="160"/>
                    </a:lnTo>
                    <a:lnTo>
                      <a:pt x="488" y="160"/>
                    </a:lnTo>
                    <a:lnTo>
                      <a:pt x="488" y="124"/>
                    </a:lnTo>
                    <a:lnTo>
                      <a:pt x="516" y="124"/>
                    </a:lnTo>
                    <a:lnTo>
                      <a:pt x="516" y="102"/>
                    </a:lnTo>
                    <a:lnTo>
                      <a:pt x="488" y="102"/>
                    </a:lnTo>
                    <a:lnTo>
                      <a:pt x="488" y="88"/>
                    </a:lnTo>
                    <a:lnTo>
                      <a:pt x="516" y="88"/>
                    </a:lnTo>
                    <a:lnTo>
                      <a:pt x="516" y="64"/>
                    </a:lnTo>
                    <a:lnTo>
                      <a:pt x="488" y="64"/>
                    </a:lnTo>
                    <a:lnTo>
                      <a:pt x="488" y="50"/>
                    </a:lnTo>
                    <a:lnTo>
                      <a:pt x="516" y="50"/>
                    </a:lnTo>
                    <a:lnTo>
                      <a:pt x="516" y="26"/>
                    </a:lnTo>
                    <a:lnTo>
                      <a:pt x="488" y="26"/>
                    </a:lnTo>
                    <a:lnTo>
                      <a:pt x="488" y="0"/>
                    </a:lnTo>
                    <a:lnTo>
                      <a:pt x="358" y="0"/>
                    </a:lnTo>
                    <a:lnTo>
                      <a:pt x="358" y="26"/>
                    </a:lnTo>
                    <a:lnTo>
                      <a:pt x="326" y="26"/>
                    </a:lnTo>
                    <a:lnTo>
                      <a:pt x="326" y="50"/>
                    </a:lnTo>
                    <a:lnTo>
                      <a:pt x="358" y="50"/>
                    </a:lnTo>
                    <a:lnTo>
                      <a:pt x="358" y="64"/>
                    </a:lnTo>
                    <a:lnTo>
                      <a:pt x="326" y="64"/>
                    </a:lnTo>
                    <a:lnTo>
                      <a:pt x="326" y="88"/>
                    </a:lnTo>
                    <a:lnTo>
                      <a:pt x="358" y="88"/>
                    </a:lnTo>
                    <a:lnTo>
                      <a:pt x="358" y="102"/>
                    </a:lnTo>
                    <a:lnTo>
                      <a:pt x="326" y="102"/>
                    </a:lnTo>
                    <a:lnTo>
                      <a:pt x="326" y="124"/>
                    </a:lnTo>
                    <a:lnTo>
                      <a:pt x="358" y="124"/>
                    </a:lnTo>
                    <a:lnTo>
                      <a:pt x="358" y="160"/>
                    </a:lnTo>
                    <a:lnTo>
                      <a:pt x="326" y="160"/>
                    </a:lnTo>
                    <a:lnTo>
                      <a:pt x="326" y="174"/>
                    </a:lnTo>
                    <a:lnTo>
                      <a:pt x="304" y="174"/>
                    </a:lnTo>
                    <a:lnTo>
                      <a:pt x="304" y="148"/>
                    </a:lnTo>
                    <a:lnTo>
                      <a:pt x="296" y="148"/>
                    </a:lnTo>
                    <a:lnTo>
                      <a:pt x="296" y="174"/>
                    </a:lnTo>
                    <a:lnTo>
                      <a:pt x="284" y="174"/>
                    </a:lnTo>
                    <a:lnTo>
                      <a:pt x="284" y="190"/>
                    </a:lnTo>
                    <a:lnTo>
                      <a:pt x="296" y="190"/>
                    </a:lnTo>
                    <a:lnTo>
                      <a:pt x="296" y="218"/>
                    </a:lnTo>
                    <a:lnTo>
                      <a:pt x="284" y="218"/>
                    </a:lnTo>
                    <a:lnTo>
                      <a:pt x="284" y="232"/>
                    </a:lnTo>
                    <a:lnTo>
                      <a:pt x="296" y="232"/>
                    </a:lnTo>
                    <a:lnTo>
                      <a:pt x="296" y="264"/>
                    </a:lnTo>
                    <a:lnTo>
                      <a:pt x="284" y="264"/>
                    </a:lnTo>
                    <a:lnTo>
                      <a:pt x="284" y="278"/>
                    </a:lnTo>
                    <a:lnTo>
                      <a:pt x="296" y="278"/>
                    </a:lnTo>
                    <a:lnTo>
                      <a:pt x="296" y="314"/>
                    </a:lnTo>
                    <a:lnTo>
                      <a:pt x="284" y="314"/>
                    </a:lnTo>
                    <a:lnTo>
                      <a:pt x="284" y="328"/>
                    </a:lnTo>
                    <a:lnTo>
                      <a:pt x="296" y="328"/>
                    </a:lnTo>
                    <a:lnTo>
                      <a:pt x="296" y="362"/>
                    </a:lnTo>
                    <a:lnTo>
                      <a:pt x="284" y="362"/>
                    </a:lnTo>
                    <a:lnTo>
                      <a:pt x="284" y="374"/>
                    </a:lnTo>
                    <a:lnTo>
                      <a:pt x="296" y="374"/>
                    </a:lnTo>
                    <a:lnTo>
                      <a:pt x="296" y="408"/>
                    </a:lnTo>
                    <a:lnTo>
                      <a:pt x="284" y="408"/>
                    </a:lnTo>
                    <a:lnTo>
                      <a:pt x="284" y="426"/>
                    </a:lnTo>
                    <a:lnTo>
                      <a:pt x="296" y="426"/>
                    </a:lnTo>
                    <a:lnTo>
                      <a:pt x="296" y="464"/>
                    </a:lnTo>
                    <a:lnTo>
                      <a:pt x="284" y="464"/>
                    </a:lnTo>
                    <a:lnTo>
                      <a:pt x="284" y="474"/>
                    </a:lnTo>
                    <a:lnTo>
                      <a:pt x="296" y="474"/>
                    </a:lnTo>
                    <a:lnTo>
                      <a:pt x="296" y="522"/>
                    </a:lnTo>
                    <a:lnTo>
                      <a:pt x="252" y="522"/>
                    </a:lnTo>
                    <a:lnTo>
                      <a:pt x="252" y="160"/>
                    </a:lnTo>
                    <a:lnTo>
                      <a:pt x="224" y="160"/>
                    </a:lnTo>
                    <a:lnTo>
                      <a:pt x="224" y="124"/>
                    </a:lnTo>
                    <a:lnTo>
                      <a:pt x="252" y="124"/>
                    </a:lnTo>
                    <a:lnTo>
                      <a:pt x="252" y="102"/>
                    </a:lnTo>
                    <a:lnTo>
                      <a:pt x="224" y="102"/>
                    </a:lnTo>
                    <a:lnTo>
                      <a:pt x="224" y="88"/>
                    </a:lnTo>
                    <a:lnTo>
                      <a:pt x="252" y="88"/>
                    </a:lnTo>
                    <a:lnTo>
                      <a:pt x="252" y="64"/>
                    </a:lnTo>
                    <a:lnTo>
                      <a:pt x="224" y="64"/>
                    </a:lnTo>
                    <a:lnTo>
                      <a:pt x="224" y="50"/>
                    </a:lnTo>
                    <a:lnTo>
                      <a:pt x="252" y="50"/>
                    </a:lnTo>
                    <a:lnTo>
                      <a:pt x="252" y="26"/>
                    </a:lnTo>
                    <a:lnTo>
                      <a:pt x="224" y="26"/>
                    </a:lnTo>
                    <a:lnTo>
                      <a:pt x="224" y="0"/>
                    </a:lnTo>
                    <a:lnTo>
                      <a:pt x="94" y="0"/>
                    </a:lnTo>
                    <a:lnTo>
                      <a:pt x="94" y="26"/>
                    </a:lnTo>
                    <a:lnTo>
                      <a:pt x="62" y="26"/>
                    </a:lnTo>
                    <a:lnTo>
                      <a:pt x="62" y="50"/>
                    </a:lnTo>
                    <a:lnTo>
                      <a:pt x="94" y="50"/>
                    </a:lnTo>
                    <a:lnTo>
                      <a:pt x="94" y="64"/>
                    </a:lnTo>
                    <a:lnTo>
                      <a:pt x="62" y="64"/>
                    </a:lnTo>
                    <a:lnTo>
                      <a:pt x="62" y="88"/>
                    </a:lnTo>
                    <a:lnTo>
                      <a:pt x="94" y="88"/>
                    </a:lnTo>
                    <a:lnTo>
                      <a:pt x="94" y="102"/>
                    </a:lnTo>
                    <a:lnTo>
                      <a:pt x="62" y="102"/>
                    </a:lnTo>
                    <a:lnTo>
                      <a:pt x="62" y="124"/>
                    </a:lnTo>
                    <a:lnTo>
                      <a:pt x="94" y="124"/>
                    </a:lnTo>
                    <a:lnTo>
                      <a:pt x="94" y="160"/>
                    </a:lnTo>
                    <a:lnTo>
                      <a:pt x="62" y="160"/>
                    </a:lnTo>
                    <a:lnTo>
                      <a:pt x="62" y="174"/>
                    </a:lnTo>
                    <a:lnTo>
                      <a:pt x="40" y="174"/>
                    </a:lnTo>
                    <a:lnTo>
                      <a:pt x="40" y="148"/>
                    </a:lnTo>
                    <a:lnTo>
                      <a:pt x="34" y="148"/>
                    </a:lnTo>
                    <a:lnTo>
                      <a:pt x="34" y="174"/>
                    </a:lnTo>
                    <a:lnTo>
                      <a:pt x="20" y="174"/>
                    </a:lnTo>
                    <a:lnTo>
                      <a:pt x="20" y="190"/>
                    </a:lnTo>
                    <a:lnTo>
                      <a:pt x="34" y="190"/>
                    </a:lnTo>
                    <a:lnTo>
                      <a:pt x="34" y="218"/>
                    </a:lnTo>
                    <a:lnTo>
                      <a:pt x="20" y="218"/>
                    </a:lnTo>
                    <a:lnTo>
                      <a:pt x="20" y="232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20" y="264"/>
                    </a:lnTo>
                    <a:lnTo>
                      <a:pt x="20" y="278"/>
                    </a:lnTo>
                    <a:lnTo>
                      <a:pt x="34" y="278"/>
                    </a:lnTo>
                    <a:lnTo>
                      <a:pt x="34" y="314"/>
                    </a:lnTo>
                    <a:lnTo>
                      <a:pt x="20" y="314"/>
                    </a:lnTo>
                    <a:lnTo>
                      <a:pt x="20" y="328"/>
                    </a:lnTo>
                    <a:lnTo>
                      <a:pt x="34" y="328"/>
                    </a:lnTo>
                    <a:lnTo>
                      <a:pt x="34" y="362"/>
                    </a:lnTo>
                    <a:lnTo>
                      <a:pt x="20" y="362"/>
                    </a:lnTo>
                    <a:lnTo>
                      <a:pt x="20" y="374"/>
                    </a:lnTo>
                    <a:lnTo>
                      <a:pt x="34" y="374"/>
                    </a:lnTo>
                    <a:lnTo>
                      <a:pt x="34" y="408"/>
                    </a:lnTo>
                    <a:lnTo>
                      <a:pt x="20" y="408"/>
                    </a:lnTo>
                    <a:lnTo>
                      <a:pt x="20" y="426"/>
                    </a:lnTo>
                    <a:lnTo>
                      <a:pt x="34" y="426"/>
                    </a:lnTo>
                    <a:lnTo>
                      <a:pt x="34" y="464"/>
                    </a:lnTo>
                    <a:lnTo>
                      <a:pt x="20" y="464"/>
                    </a:lnTo>
                    <a:lnTo>
                      <a:pt x="20" y="474"/>
                    </a:lnTo>
                    <a:lnTo>
                      <a:pt x="34" y="474"/>
                    </a:lnTo>
                    <a:lnTo>
                      <a:pt x="34" y="522"/>
                    </a:lnTo>
                    <a:lnTo>
                      <a:pt x="0" y="522"/>
                    </a:lnTo>
                    <a:lnTo>
                      <a:pt x="0" y="716"/>
                    </a:lnTo>
                    <a:lnTo>
                      <a:pt x="802" y="716"/>
                    </a:lnTo>
                    <a:lnTo>
                      <a:pt x="802" y="522"/>
                    </a:lnTo>
                    <a:lnTo>
                      <a:pt x="780" y="522"/>
                    </a:lnTo>
                    <a:close/>
                    <a:moveTo>
                      <a:pt x="566" y="190"/>
                    </a:moveTo>
                    <a:lnTo>
                      <a:pt x="590" y="190"/>
                    </a:lnTo>
                    <a:lnTo>
                      <a:pt x="590" y="218"/>
                    </a:lnTo>
                    <a:lnTo>
                      <a:pt x="566" y="218"/>
                    </a:lnTo>
                    <a:lnTo>
                      <a:pt x="566" y="190"/>
                    </a:lnTo>
                    <a:close/>
                    <a:moveTo>
                      <a:pt x="566" y="232"/>
                    </a:moveTo>
                    <a:lnTo>
                      <a:pt x="590" y="232"/>
                    </a:lnTo>
                    <a:lnTo>
                      <a:pt x="590" y="264"/>
                    </a:lnTo>
                    <a:lnTo>
                      <a:pt x="566" y="264"/>
                    </a:lnTo>
                    <a:lnTo>
                      <a:pt x="566" y="232"/>
                    </a:lnTo>
                    <a:close/>
                    <a:moveTo>
                      <a:pt x="566" y="278"/>
                    </a:moveTo>
                    <a:lnTo>
                      <a:pt x="590" y="278"/>
                    </a:lnTo>
                    <a:lnTo>
                      <a:pt x="590" y="314"/>
                    </a:lnTo>
                    <a:lnTo>
                      <a:pt x="566" y="314"/>
                    </a:lnTo>
                    <a:lnTo>
                      <a:pt x="566" y="278"/>
                    </a:lnTo>
                    <a:close/>
                    <a:moveTo>
                      <a:pt x="566" y="328"/>
                    </a:moveTo>
                    <a:lnTo>
                      <a:pt x="590" y="328"/>
                    </a:lnTo>
                    <a:lnTo>
                      <a:pt x="590" y="362"/>
                    </a:lnTo>
                    <a:lnTo>
                      <a:pt x="566" y="362"/>
                    </a:lnTo>
                    <a:lnTo>
                      <a:pt x="566" y="328"/>
                    </a:lnTo>
                    <a:close/>
                    <a:moveTo>
                      <a:pt x="566" y="374"/>
                    </a:moveTo>
                    <a:lnTo>
                      <a:pt x="590" y="374"/>
                    </a:lnTo>
                    <a:lnTo>
                      <a:pt x="590" y="408"/>
                    </a:lnTo>
                    <a:lnTo>
                      <a:pt x="566" y="408"/>
                    </a:lnTo>
                    <a:lnTo>
                      <a:pt x="566" y="374"/>
                    </a:lnTo>
                    <a:close/>
                    <a:moveTo>
                      <a:pt x="566" y="426"/>
                    </a:moveTo>
                    <a:lnTo>
                      <a:pt x="590" y="426"/>
                    </a:lnTo>
                    <a:lnTo>
                      <a:pt x="590" y="464"/>
                    </a:lnTo>
                    <a:lnTo>
                      <a:pt x="566" y="464"/>
                    </a:lnTo>
                    <a:lnTo>
                      <a:pt x="566" y="426"/>
                    </a:lnTo>
                    <a:close/>
                    <a:moveTo>
                      <a:pt x="566" y="474"/>
                    </a:moveTo>
                    <a:lnTo>
                      <a:pt x="590" y="474"/>
                    </a:lnTo>
                    <a:lnTo>
                      <a:pt x="590" y="522"/>
                    </a:lnTo>
                    <a:lnTo>
                      <a:pt x="566" y="522"/>
                    </a:lnTo>
                    <a:lnTo>
                      <a:pt x="566" y="474"/>
                    </a:lnTo>
                    <a:close/>
                    <a:moveTo>
                      <a:pt x="304" y="190"/>
                    </a:moveTo>
                    <a:lnTo>
                      <a:pt x="326" y="190"/>
                    </a:lnTo>
                    <a:lnTo>
                      <a:pt x="326" y="218"/>
                    </a:lnTo>
                    <a:lnTo>
                      <a:pt x="304" y="218"/>
                    </a:lnTo>
                    <a:lnTo>
                      <a:pt x="304" y="190"/>
                    </a:lnTo>
                    <a:close/>
                    <a:moveTo>
                      <a:pt x="304" y="232"/>
                    </a:moveTo>
                    <a:lnTo>
                      <a:pt x="326" y="232"/>
                    </a:lnTo>
                    <a:lnTo>
                      <a:pt x="326" y="264"/>
                    </a:lnTo>
                    <a:lnTo>
                      <a:pt x="304" y="264"/>
                    </a:lnTo>
                    <a:lnTo>
                      <a:pt x="304" y="232"/>
                    </a:lnTo>
                    <a:close/>
                    <a:moveTo>
                      <a:pt x="304" y="278"/>
                    </a:moveTo>
                    <a:lnTo>
                      <a:pt x="326" y="278"/>
                    </a:lnTo>
                    <a:lnTo>
                      <a:pt x="326" y="314"/>
                    </a:lnTo>
                    <a:lnTo>
                      <a:pt x="304" y="314"/>
                    </a:lnTo>
                    <a:lnTo>
                      <a:pt x="304" y="278"/>
                    </a:lnTo>
                    <a:close/>
                    <a:moveTo>
                      <a:pt x="304" y="328"/>
                    </a:moveTo>
                    <a:lnTo>
                      <a:pt x="326" y="328"/>
                    </a:lnTo>
                    <a:lnTo>
                      <a:pt x="326" y="362"/>
                    </a:lnTo>
                    <a:lnTo>
                      <a:pt x="304" y="362"/>
                    </a:lnTo>
                    <a:lnTo>
                      <a:pt x="304" y="328"/>
                    </a:lnTo>
                    <a:close/>
                    <a:moveTo>
                      <a:pt x="304" y="374"/>
                    </a:moveTo>
                    <a:lnTo>
                      <a:pt x="326" y="374"/>
                    </a:lnTo>
                    <a:lnTo>
                      <a:pt x="326" y="408"/>
                    </a:lnTo>
                    <a:lnTo>
                      <a:pt x="304" y="408"/>
                    </a:lnTo>
                    <a:lnTo>
                      <a:pt x="304" y="374"/>
                    </a:lnTo>
                    <a:close/>
                    <a:moveTo>
                      <a:pt x="304" y="426"/>
                    </a:moveTo>
                    <a:lnTo>
                      <a:pt x="326" y="426"/>
                    </a:lnTo>
                    <a:lnTo>
                      <a:pt x="326" y="464"/>
                    </a:lnTo>
                    <a:lnTo>
                      <a:pt x="304" y="464"/>
                    </a:lnTo>
                    <a:lnTo>
                      <a:pt x="304" y="426"/>
                    </a:lnTo>
                    <a:close/>
                    <a:moveTo>
                      <a:pt x="304" y="474"/>
                    </a:moveTo>
                    <a:lnTo>
                      <a:pt x="326" y="474"/>
                    </a:lnTo>
                    <a:lnTo>
                      <a:pt x="326" y="522"/>
                    </a:lnTo>
                    <a:lnTo>
                      <a:pt x="304" y="522"/>
                    </a:lnTo>
                    <a:lnTo>
                      <a:pt x="304" y="474"/>
                    </a:lnTo>
                    <a:close/>
                    <a:moveTo>
                      <a:pt x="40" y="190"/>
                    </a:moveTo>
                    <a:lnTo>
                      <a:pt x="62" y="190"/>
                    </a:lnTo>
                    <a:lnTo>
                      <a:pt x="62" y="218"/>
                    </a:lnTo>
                    <a:lnTo>
                      <a:pt x="40" y="218"/>
                    </a:lnTo>
                    <a:lnTo>
                      <a:pt x="40" y="190"/>
                    </a:lnTo>
                    <a:close/>
                    <a:moveTo>
                      <a:pt x="40" y="232"/>
                    </a:moveTo>
                    <a:lnTo>
                      <a:pt x="62" y="232"/>
                    </a:lnTo>
                    <a:lnTo>
                      <a:pt x="62" y="264"/>
                    </a:lnTo>
                    <a:lnTo>
                      <a:pt x="40" y="264"/>
                    </a:lnTo>
                    <a:lnTo>
                      <a:pt x="40" y="232"/>
                    </a:lnTo>
                    <a:close/>
                    <a:moveTo>
                      <a:pt x="40" y="278"/>
                    </a:moveTo>
                    <a:lnTo>
                      <a:pt x="62" y="278"/>
                    </a:lnTo>
                    <a:lnTo>
                      <a:pt x="62" y="314"/>
                    </a:lnTo>
                    <a:lnTo>
                      <a:pt x="40" y="314"/>
                    </a:lnTo>
                    <a:lnTo>
                      <a:pt x="40" y="278"/>
                    </a:lnTo>
                    <a:close/>
                    <a:moveTo>
                      <a:pt x="40" y="328"/>
                    </a:moveTo>
                    <a:lnTo>
                      <a:pt x="62" y="328"/>
                    </a:lnTo>
                    <a:lnTo>
                      <a:pt x="62" y="362"/>
                    </a:lnTo>
                    <a:lnTo>
                      <a:pt x="40" y="362"/>
                    </a:lnTo>
                    <a:lnTo>
                      <a:pt x="40" y="328"/>
                    </a:lnTo>
                    <a:close/>
                    <a:moveTo>
                      <a:pt x="40" y="374"/>
                    </a:moveTo>
                    <a:lnTo>
                      <a:pt x="62" y="374"/>
                    </a:lnTo>
                    <a:lnTo>
                      <a:pt x="62" y="408"/>
                    </a:lnTo>
                    <a:lnTo>
                      <a:pt x="40" y="408"/>
                    </a:lnTo>
                    <a:lnTo>
                      <a:pt x="40" y="374"/>
                    </a:lnTo>
                    <a:close/>
                    <a:moveTo>
                      <a:pt x="40" y="426"/>
                    </a:moveTo>
                    <a:lnTo>
                      <a:pt x="62" y="426"/>
                    </a:lnTo>
                    <a:lnTo>
                      <a:pt x="62" y="464"/>
                    </a:lnTo>
                    <a:lnTo>
                      <a:pt x="40" y="464"/>
                    </a:lnTo>
                    <a:lnTo>
                      <a:pt x="40" y="426"/>
                    </a:lnTo>
                    <a:close/>
                    <a:moveTo>
                      <a:pt x="40" y="474"/>
                    </a:moveTo>
                    <a:lnTo>
                      <a:pt x="62" y="474"/>
                    </a:lnTo>
                    <a:lnTo>
                      <a:pt x="62" y="522"/>
                    </a:lnTo>
                    <a:lnTo>
                      <a:pt x="40" y="522"/>
                    </a:lnTo>
                    <a:lnTo>
                      <a:pt x="40" y="47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7B5995CA-CD90-4967-A778-4DA9EFF9B177}"/>
                </a:ext>
              </a:extLst>
            </p:cNvPr>
            <p:cNvSpPr txBox="1"/>
            <p:nvPr/>
          </p:nvSpPr>
          <p:spPr>
            <a:xfrm>
              <a:off x="6728985" y="3092800"/>
              <a:ext cx="648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Gulbarga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7B742A99-ED19-41A3-843B-CC26C63B6164}"/>
                </a:ext>
              </a:extLst>
            </p:cNvPr>
            <p:cNvSpPr txBox="1"/>
            <p:nvPr/>
          </p:nvSpPr>
          <p:spPr>
            <a:xfrm>
              <a:off x="4694574" y="2997095"/>
              <a:ext cx="648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Bagalkot</a:t>
              </a: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33C4AD93-53F0-4568-BB78-5D95562E0690}"/>
                </a:ext>
              </a:extLst>
            </p:cNvPr>
            <p:cNvSpPr txBox="1"/>
            <p:nvPr/>
          </p:nvSpPr>
          <p:spPr>
            <a:xfrm>
              <a:off x="4156882" y="3489147"/>
              <a:ext cx="648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Belgaum</a:t>
              </a: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E22B6162-32E2-4120-A818-ECF29A2081E2}"/>
                </a:ext>
              </a:extLst>
            </p:cNvPr>
            <p:cNvSpPr txBox="1"/>
            <p:nvPr/>
          </p:nvSpPr>
          <p:spPr>
            <a:xfrm>
              <a:off x="4270123" y="4229939"/>
              <a:ext cx="612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Dharwad</a:t>
              </a: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B22487AC-B8C6-4933-AD59-FBF995D88D0F}"/>
                </a:ext>
              </a:extLst>
            </p:cNvPr>
            <p:cNvSpPr txBox="1"/>
            <p:nvPr/>
          </p:nvSpPr>
          <p:spPr>
            <a:xfrm>
              <a:off x="6737058" y="4350928"/>
              <a:ext cx="58370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Bellary</a:t>
              </a:r>
            </a:p>
          </p:txBody>
        </p:sp>
        <p:cxnSp>
          <p:nvCxnSpPr>
            <p:cNvPr id="164" name="Elbow Connector 640">
              <a:extLst>
                <a:ext uri="{FF2B5EF4-FFF2-40B4-BE49-F238E27FC236}">
                  <a16:creationId xmlns:a16="http://schemas.microsoft.com/office/drawing/2014/main" id="{6511BBF3-1E28-4F42-9236-2BD288F1C7C9}"/>
                </a:ext>
              </a:extLst>
            </p:cNvPr>
            <p:cNvCxnSpPr>
              <a:cxnSpLocks/>
              <a:stCxn id="139" idx="19"/>
              <a:endCxn id="160" idx="3"/>
            </p:cNvCxnSpPr>
            <p:nvPr/>
          </p:nvCxnSpPr>
          <p:spPr>
            <a:xfrm flipH="1" flipV="1">
              <a:off x="5342574" y="3089428"/>
              <a:ext cx="365214" cy="504985"/>
            </a:xfrm>
            <a:prstGeom prst="bentConnector5">
              <a:avLst>
                <a:gd name="adj1" fmla="val -1180"/>
                <a:gd name="adj2" fmla="val 67452"/>
                <a:gd name="adj3" fmla="val -12555"/>
              </a:avLst>
            </a:prstGeom>
            <a:ln w="12700" cap="sq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165" name="Straight Arrow Connector 164">
              <a:extLst>
                <a:ext uri="{FF2B5EF4-FFF2-40B4-BE49-F238E27FC236}">
                  <a16:creationId xmlns:a16="http://schemas.microsoft.com/office/drawing/2014/main" id="{3A3E42C4-092B-4B2C-B606-B22684E3129A}"/>
                </a:ext>
              </a:extLst>
            </p:cNvPr>
            <p:cNvCxnSpPr>
              <a:cxnSpLocks/>
              <a:stCxn id="93" idx="43"/>
              <a:endCxn id="161" idx="3"/>
            </p:cNvCxnSpPr>
            <p:nvPr/>
          </p:nvCxnSpPr>
          <p:spPr>
            <a:xfrm flipH="1">
              <a:off x="4804882" y="3577144"/>
              <a:ext cx="226426" cy="4336"/>
            </a:xfrm>
            <a:prstGeom prst="straightConnector1">
              <a:avLst/>
            </a:prstGeom>
            <a:ln w="12700" cap="sq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DD7E28B6-88F8-44B9-AE3E-911F8207F4B6}"/>
                </a:ext>
              </a:extLst>
            </p:cNvPr>
            <p:cNvSpPr txBox="1"/>
            <p:nvPr/>
          </p:nvSpPr>
          <p:spPr>
            <a:xfrm>
              <a:off x="6800473" y="3972892"/>
              <a:ext cx="58370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 err="1">
                  <a:cs typeface="Arial" panose="020B0604020202020204" pitchFamily="34" charset="0"/>
                </a:rPr>
                <a:t>Koppal</a:t>
              </a:r>
              <a:endParaRPr lang="en-GB" sz="1200" dirty="0">
                <a:cs typeface="Arial" panose="020B0604020202020204" pitchFamily="34" charset="0"/>
              </a:endParaRPr>
            </a:p>
          </p:txBody>
        </p:sp>
        <p:cxnSp>
          <p:nvCxnSpPr>
            <p:cNvPr id="167" name="Straight Arrow Connector 166">
              <a:extLst>
                <a:ext uri="{FF2B5EF4-FFF2-40B4-BE49-F238E27FC236}">
                  <a16:creationId xmlns:a16="http://schemas.microsoft.com/office/drawing/2014/main" id="{DE2F1B82-CACE-40AF-A701-A9735B280CEE}"/>
                </a:ext>
              </a:extLst>
            </p:cNvPr>
            <p:cNvCxnSpPr>
              <a:stCxn id="88" idx="41"/>
              <a:endCxn id="166" idx="1"/>
            </p:cNvCxnSpPr>
            <p:nvPr/>
          </p:nvCxnSpPr>
          <p:spPr>
            <a:xfrm>
              <a:off x="6310936" y="4057010"/>
              <a:ext cx="489537" cy="8215"/>
            </a:xfrm>
            <a:prstGeom prst="straightConnector1">
              <a:avLst/>
            </a:prstGeom>
            <a:ln w="12700" cap="sq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9F1711F4-2B64-4AD1-BEFB-3898D5AD4322}"/>
                </a:ext>
              </a:extLst>
            </p:cNvPr>
            <p:cNvSpPr txBox="1"/>
            <p:nvPr/>
          </p:nvSpPr>
          <p:spPr>
            <a:xfrm>
              <a:off x="4681027" y="5737139"/>
              <a:ext cx="70559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 err="1">
                  <a:cs typeface="Arial" panose="020B0604020202020204" pitchFamily="34" charset="0"/>
                </a:rPr>
                <a:t>Dakshina</a:t>
              </a:r>
              <a:r>
                <a:rPr lang="en-GB" sz="1200" dirty="0">
                  <a:cs typeface="Arial" panose="020B0604020202020204" pitchFamily="34" charset="0"/>
                </a:rPr>
                <a:t> Kannada</a:t>
              </a: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E97A3448-D7FE-4F07-854A-36032DF08027}"/>
                </a:ext>
              </a:extLst>
            </p:cNvPr>
            <p:cNvSpPr txBox="1"/>
            <p:nvPr/>
          </p:nvSpPr>
          <p:spPr>
            <a:xfrm>
              <a:off x="6511983" y="4637279"/>
              <a:ext cx="828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 err="1">
                  <a:cs typeface="Arial" panose="020B0604020202020204" pitchFamily="34" charset="0"/>
                </a:rPr>
                <a:t>Chitradurga</a:t>
              </a:r>
              <a:endParaRPr lang="en-GB" sz="1200" dirty="0">
                <a:cs typeface="Arial" panose="020B0604020202020204" pitchFamily="34" charset="0"/>
              </a:endParaRP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306C8E80-AC16-4933-8618-0D737A7F2FB5}"/>
                </a:ext>
              </a:extLst>
            </p:cNvPr>
            <p:cNvGrpSpPr/>
            <p:nvPr/>
          </p:nvGrpSpPr>
          <p:grpSpPr>
            <a:xfrm>
              <a:off x="6131464" y="4905198"/>
              <a:ext cx="160476" cy="144931"/>
              <a:chOff x="10141598" y="3543688"/>
              <a:chExt cx="157159" cy="128810"/>
            </a:xfrm>
          </p:grpSpPr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8CD9B258-ED5E-4607-8B88-B2203643BD92}"/>
                  </a:ext>
                </a:extLst>
              </p:cNvPr>
              <p:cNvSpPr/>
              <p:nvPr/>
            </p:nvSpPr>
            <p:spPr bwMode="ltGray">
              <a:xfrm>
                <a:off x="10141598" y="3543688"/>
                <a:ext cx="157159" cy="128810"/>
              </a:xfrm>
              <a:prstGeom prst="ellipse">
                <a:avLst/>
              </a:prstGeom>
              <a:solidFill>
                <a:srgbClr val="933401"/>
              </a:solidFill>
              <a:ln w="38100">
                <a:solidFill>
                  <a:srgbClr val="9334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7" name="Freeform 7403">
                <a:extLst>
                  <a:ext uri="{FF2B5EF4-FFF2-40B4-BE49-F238E27FC236}">
                    <a16:creationId xmlns:a16="http://schemas.microsoft.com/office/drawing/2014/main" id="{0D4DA196-621D-407B-9AAF-049EA52807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6663" y="3558609"/>
                <a:ext cx="118586" cy="86773"/>
              </a:xfrm>
              <a:custGeom>
                <a:avLst/>
                <a:gdLst>
                  <a:gd name="T0" fmla="*/ 780 w 802"/>
                  <a:gd name="T1" fmla="*/ 124 h 716"/>
                  <a:gd name="T2" fmla="*/ 780 w 802"/>
                  <a:gd name="T3" fmla="*/ 64 h 716"/>
                  <a:gd name="T4" fmla="*/ 750 w 802"/>
                  <a:gd name="T5" fmla="*/ 26 h 716"/>
                  <a:gd name="T6" fmla="*/ 590 w 802"/>
                  <a:gd name="T7" fmla="*/ 50 h 716"/>
                  <a:gd name="T8" fmla="*/ 620 w 802"/>
                  <a:gd name="T9" fmla="*/ 88 h 716"/>
                  <a:gd name="T10" fmla="*/ 620 w 802"/>
                  <a:gd name="T11" fmla="*/ 160 h 716"/>
                  <a:gd name="T12" fmla="*/ 560 w 802"/>
                  <a:gd name="T13" fmla="*/ 148 h 716"/>
                  <a:gd name="T14" fmla="*/ 560 w 802"/>
                  <a:gd name="T15" fmla="*/ 218 h 716"/>
                  <a:gd name="T16" fmla="*/ 548 w 802"/>
                  <a:gd name="T17" fmla="*/ 264 h 716"/>
                  <a:gd name="T18" fmla="*/ 548 w 802"/>
                  <a:gd name="T19" fmla="*/ 328 h 716"/>
                  <a:gd name="T20" fmla="*/ 560 w 802"/>
                  <a:gd name="T21" fmla="*/ 374 h 716"/>
                  <a:gd name="T22" fmla="*/ 560 w 802"/>
                  <a:gd name="T23" fmla="*/ 464 h 716"/>
                  <a:gd name="T24" fmla="*/ 516 w 802"/>
                  <a:gd name="T25" fmla="*/ 522 h 716"/>
                  <a:gd name="T26" fmla="*/ 516 w 802"/>
                  <a:gd name="T27" fmla="*/ 102 h 716"/>
                  <a:gd name="T28" fmla="*/ 488 w 802"/>
                  <a:gd name="T29" fmla="*/ 64 h 716"/>
                  <a:gd name="T30" fmla="*/ 488 w 802"/>
                  <a:gd name="T31" fmla="*/ 0 h 716"/>
                  <a:gd name="T32" fmla="*/ 358 w 802"/>
                  <a:gd name="T33" fmla="*/ 50 h 716"/>
                  <a:gd name="T34" fmla="*/ 358 w 802"/>
                  <a:gd name="T35" fmla="*/ 102 h 716"/>
                  <a:gd name="T36" fmla="*/ 326 w 802"/>
                  <a:gd name="T37" fmla="*/ 160 h 716"/>
                  <a:gd name="T38" fmla="*/ 296 w 802"/>
                  <a:gd name="T39" fmla="*/ 174 h 716"/>
                  <a:gd name="T40" fmla="*/ 284 w 802"/>
                  <a:gd name="T41" fmla="*/ 218 h 716"/>
                  <a:gd name="T42" fmla="*/ 284 w 802"/>
                  <a:gd name="T43" fmla="*/ 278 h 716"/>
                  <a:gd name="T44" fmla="*/ 296 w 802"/>
                  <a:gd name="T45" fmla="*/ 328 h 716"/>
                  <a:gd name="T46" fmla="*/ 296 w 802"/>
                  <a:gd name="T47" fmla="*/ 408 h 716"/>
                  <a:gd name="T48" fmla="*/ 284 w 802"/>
                  <a:gd name="T49" fmla="*/ 464 h 716"/>
                  <a:gd name="T50" fmla="*/ 252 w 802"/>
                  <a:gd name="T51" fmla="*/ 160 h 716"/>
                  <a:gd name="T52" fmla="*/ 224 w 802"/>
                  <a:gd name="T53" fmla="*/ 102 h 716"/>
                  <a:gd name="T54" fmla="*/ 224 w 802"/>
                  <a:gd name="T55" fmla="*/ 50 h 716"/>
                  <a:gd name="T56" fmla="*/ 94 w 802"/>
                  <a:gd name="T57" fmla="*/ 0 h 716"/>
                  <a:gd name="T58" fmla="*/ 94 w 802"/>
                  <a:gd name="T59" fmla="*/ 64 h 716"/>
                  <a:gd name="T60" fmla="*/ 62 w 802"/>
                  <a:gd name="T61" fmla="*/ 102 h 716"/>
                  <a:gd name="T62" fmla="*/ 62 w 802"/>
                  <a:gd name="T63" fmla="*/ 174 h 716"/>
                  <a:gd name="T64" fmla="*/ 20 w 802"/>
                  <a:gd name="T65" fmla="*/ 174 h 716"/>
                  <a:gd name="T66" fmla="*/ 20 w 802"/>
                  <a:gd name="T67" fmla="*/ 232 h 716"/>
                  <a:gd name="T68" fmla="*/ 34 w 802"/>
                  <a:gd name="T69" fmla="*/ 278 h 716"/>
                  <a:gd name="T70" fmla="*/ 34 w 802"/>
                  <a:gd name="T71" fmla="*/ 362 h 716"/>
                  <a:gd name="T72" fmla="*/ 20 w 802"/>
                  <a:gd name="T73" fmla="*/ 408 h 716"/>
                  <a:gd name="T74" fmla="*/ 20 w 802"/>
                  <a:gd name="T75" fmla="*/ 474 h 716"/>
                  <a:gd name="T76" fmla="*/ 802 w 802"/>
                  <a:gd name="T77" fmla="*/ 716 h 716"/>
                  <a:gd name="T78" fmla="*/ 590 w 802"/>
                  <a:gd name="T79" fmla="*/ 218 h 716"/>
                  <a:gd name="T80" fmla="*/ 590 w 802"/>
                  <a:gd name="T81" fmla="*/ 264 h 716"/>
                  <a:gd name="T82" fmla="*/ 590 w 802"/>
                  <a:gd name="T83" fmla="*/ 314 h 716"/>
                  <a:gd name="T84" fmla="*/ 590 w 802"/>
                  <a:gd name="T85" fmla="*/ 362 h 716"/>
                  <a:gd name="T86" fmla="*/ 590 w 802"/>
                  <a:gd name="T87" fmla="*/ 408 h 716"/>
                  <a:gd name="T88" fmla="*/ 590 w 802"/>
                  <a:gd name="T89" fmla="*/ 464 h 716"/>
                  <a:gd name="T90" fmla="*/ 590 w 802"/>
                  <a:gd name="T91" fmla="*/ 522 h 716"/>
                  <a:gd name="T92" fmla="*/ 326 w 802"/>
                  <a:gd name="T93" fmla="*/ 218 h 716"/>
                  <a:gd name="T94" fmla="*/ 326 w 802"/>
                  <a:gd name="T95" fmla="*/ 264 h 716"/>
                  <a:gd name="T96" fmla="*/ 326 w 802"/>
                  <a:gd name="T97" fmla="*/ 314 h 716"/>
                  <a:gd name="T98" fmla="*/ 326 w 802"/>
                  <a:gd name="T99" fmla="*/ 362 h 716"/>
                  <a:gd name="T100" fmla="*/ 326 w 802"/>
                  <a:gd name="T101" fmla="*/ 408 h 716"/>
                  <a:gd name="T102" fmla="*/ 326 w 802"/>
                  <a:gd name="T103" fmla="*/ 464 h 716"/>
                  <a:gd name="T104" fmla="*/ 326 w 802"/>
                  <a:gd name="T105" fmla="*/ 522 h 716"/>
                  <a:gd name="T106" fmla="*/ 62 w 802"/>
                  <a:gd name="T107" fmla="*/ 218 h 716"/>
                  <a:gd name="T108" fmla="*/ 62 w 802"/>
                  <a:gd name="T109" fmla="*/ 264 h 716"/>
                  <a:gd name="T110" fmla="*/ 62 w 802"/>
                  <a:gd name="T111" fmla="*/ 314 h 716"/>
                  <a:gd name="T112" fmla="*/ 62 w 802"/>
                  <a:gd name="T113" fmla="*/ 362 h 716"/>
                  <a:gd name="T114" fmla="*/ 62 w 802"/>
                  <a:gd name="T115" fmla="*/ 408 h 716"/>
                  <a:gd name="T116" fmla="*/ 62 w 802"/>
                  <a:gd name="T117" fmla="*/ 464 h 716"/>
                  <a:gd name="T118" fmla="*/ 62 w 802"/>
                  <a:gd name="T119" fmla="*/ 522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2" h="716">
                    <a:moveTo>
                      <a:pt x="780" y="522"/>
                    </a:moveTo>
                    <a:lnTo>
                      <a:pt x="780" y="160"/>
                    </a:lnTo>
                    <a:lnTo>
                      <a:pt x="750" y="160"/>
                    </a:lnTo>
                    <a:lnTo>
                      <a:pt x="750" y="124"/>
                    </a:lnTo>
                    <a:lnTo>
                      <a:pt x="780" y="124"/>
                    </a:lnTo>
                    <a:lnTo>
                      <a:pt x="780" y="102"/>
                    </a:lnTo>
                    <a:lnTo>
                      <a:pt x="750" y="102"/>
                    </a:lnTo>
                    <a:lnTo>
                      <a:pt x="750" y="88"/>
                    </a:lnTo>
                    <a:lnTo>
                      <a:pt x="780" y="88"/>
                    </a:lnTo>
                    <a:lnTo>
                      <a:pt x="780" y="64"/>
                    </a:lnTo>
                    <a:lnTo>
                      <a:pt x="750" y="64"/>
                    </a:lnTo>
                    <a:lnTo>
                      <a:pt x="750" y="50"/>
                    </a:lnTo>
                    <a:lnTo>
                      <a:pt x="780" y="50"/>
                    </a:lnTo>
                    <a:lnTo>
                      <a:pt x="780" y="26"/>
                    </a:lnTo>
                    <a:lnTo>
                      <a:pt x="750" y="26"/>
                    </a:lnTo>
                    <a:lnTo>
                      <a:pt x="750" y="0"/>
                    </a:lnTo>
                    <a:lnTo>
                      <a:pt x="620" y="0"/>
                    </a:lnTo>
                    <a:lnTo>
                      <a:pt x="620" y="26"/>
                    </a:lnTo>
                    <a:lnTo>
                      <a:pt x="590" y="26"/>
                    </a:lnTo>
                    <a:lnTo>
                      <a:pt x="590" y="50"/>
                    </a:lnTo>
                    <a:lnTo>
                      <a:pt x="620" y="50"/>
                    </a:lnTo>
                    <a:lnTo>
                      <a:pt x="620" y="64"/>
                    </a:lnTo>
                    <a:lnTo>
                      <a:pt x="590" y="64"/>
                    </a:lnTo>
                    <a:lnTo>
                      <a:pt x="590" y="88"/>
                    </a:lnTo>
                    <a:lnTo>
                      <a:pt x="620" y="88"/>
                    </a:lnTo>
                    <a:lnTo>
                      <a:pt x="620" y="102"/>
                    </a:lnTo>
                    <a:lnTo>
                      <a:pt x="590" y="102"/>
                    </a:lnTo>
                    <a:lnTo>
                      <a:pt x="590" y="124"/>
                    </a:lnTo>
                    <a:lnTo>
                      <a:pt x="620" y="124"/>
                    </a:lnTo>
                    <a:lnTo>
                      <a:pt x="620" y="160"/>
                    </a:lnTo>
                    <a:lnTo>
                      <a:pt x="590" y="160"/>
                    </a:lnTo>
                    <a:lnTo>
                      <a:pt x="590" y="174"/>
                    </a:lnTo>
                    <a:lnTo>
                      <a:pt x="566" y="174"/>
                    </a:lnTo>
                    <a:lnTo>
                      <a:pt x="566" y="148"/>
                    </a:lnTo>
                    <a:lnTo>
                      <a:pt x="560" y="148"/>
                    </a:lnTo>
                    <a:lnTo>
                      <a:pt x="560" y="174"/>
                    </a:lnTo>
                    <a:lnTo>
                      <a:pt x="548" y="174"/>
                    </a:lnTo>
                    <a:lnTo>
                      <a:pt x="548" y="190"/>
                    </a:lnTo>
                    <a:lnTo>
                      <a:pt x="560" y="190"/>
                    </a:lnTo>
                    <a:lnTo>
                      <a:pt x="560" y="218"/>
                    </a:lnTo>
                    <a:lnTo>
                      <a:pt x="548" y="218"/>
                    </a:lnTo>
                    <a:lnTo>
                      <a:pt x="548" y="232"/>
                    </a:lnTo>
                    <a:lnTo>
                      <a:pt x="560" y="232"/>
                    </a:lnTo>
                    <a:lnTo>
                      <a:pt x="560" y="264"/>
                    </a:lnTo>
                    <a:lnTo>
                      <a:pt x="548" y="264"/>
                    </a:lnTo>
                    <a:lnTo>
                      <a:pt x="548" y="278"/>
                    </a:lnTo>
                    <a:lnTo>
                      <a:pt x="560" y="278"/>
                    </a:lnTo>
                    <a:lnTo>
                      <a:pt x="560" y="314"/>
                    </a:lnTo>
                    <a:lnTo>
                      <a:pt x="548" y="314"/>
                    </a:lnTo>
                    <a:lnTo>
                      <a:pt x="548" y="328"/>
                    </a:lnTo>
                    <a:lnTo>
                      <a:pt x="560" y="328"/>
                    </a:lnTo>
                    <a:lnTo>
                      <a:pt x="560" y="362"/>
                    </a:lnTo>
                    <a:lnTo>
                      <a:pt x="548" y="362"/>
                    </a:lnTo>
                    <a:lnTo>
                      <a:pt x="548" y="374"/>
                    </a:lnTo>
                    <a:lnTo>
                      <a:pt x="560" y="374"/>
                    </a:lnTo>
                    <a:lnTo>
                      <a:pt x="560" y="408"/>
                    </a:lnTo>
                    <a:lnTo>
                      <a:pt x="548" y="408"/>
                    </a:lnTo>
                    <a:lnTo>
                      <a:pt x="548" y="426"/>
                    </a:lnTo>
                    <a:lnTo>
                      <a:pt x="560" y="426"/>
                    </a:lnTo>
                    <a:lnTo>
                      <a:pt x="560" y="464"/>
                    </a:lnTo>
                    <a:lnTo>
                      <a:pt x="548" y="464"/>
                    </a:lnTo>
                    <a:lnTo>
                      <a:pt x="548" y="474"/>
                    </a:lnTo>
                    <a:lnTo>
                      <a:pt x="560" y="474"/>
                    </a:lnTo>
                    <a:lnTo>
                      <a:pt x="560" y="522"/>
                    </a:lnTo>
                    <a:lnTo>
                      <a:pt x="516" y="522"/>
                    </a:lnTo>
                    <a:lnTo>
                      <a:pt x="516" y="160"/>
                    </a:lnTo>
                    <a:lnTo>
                      <a:pt x="488" y="160"/>
                    </a:lnTo>
                    <a:lnTo>
                      <a:pt x="488" y="124"/>
                    </a:lnTo>
                    <a:lnTo>
                      <a:pt x="516" y="124"/>
                    </a:lnTo>
                    <a:lnTo>
                      <a:pt x="516" y="102"/>
                    </a:lnTo>
                    <a:lnTo>
                      <a:pt x="488" y="102"/>
                    </a:lnTo>
                    <a:lnTo>
                      <a:pt x="488" y="88"/>
                    </a:lnTo>
                    <a:lnTo>
                      <a:pt x="516" y="88"/>
                    </a:lnTo>
                    <a:lnTo>
                      <a:pt x="516" y="64"/>
                    </a:lnTo>
                    <a:lnTo>
                      <a:pt x="488" y="64"/>
                    </a:lnTo>
                    <a:lnTo>
                      <a:pt x="488" y="50"/>
                    </a:lnTo>
                    <a:lnTo>
                      <a:pt x="516" y="50"/>
                    </a:lnTo>
                    <a:lnTo>
                      <a:pt x="516" y="26"/>
                    </a:lnTo>
                    <a:lnTo>
                      <a:pt x="488" y="26"/>
                    </a:lnTo>
                    <a:lnTo>
                      <a:pt x="488" y="0"/>
                    </a:lnTo>
                    <a:lnTo>
                      <a:pt x="358" y="0"/>
                    </a:lnTo>
                    <a:lnTo>
                      <a:pt x="358" y="26"/>
                    </a:lnTo>
                    <a:lnTo>
                      <a:pt x="326" y="26"/>
                    </a:lnTo>
                    <a:lnTo>
                      <a:pt x="326" y="50"/>
                    </a:lnTo>
                    <a:lnTo>
                      <a:pt x="358" y="50"/>
                    </a:lnTo>
                    <a:lnTo>
                      <a:pt x="358" y="64"/>
                    </a:lnTo>
                    <a:lnTo>
                      <a:pt x="326" y="64"/>
                    </a:lnTo>
                    <a:lnTo>
                      <a:pt x="326" y="88"/>
                    </a:lnTo>
                    <a:lnTo>
                      <a:pt x="358" y="88"/>
                    </a:lnTo>
                    <a:lnTo>
                      <a:pt x="358" y="102"/>
                    </a:lnTo>
                    <a:lnTo>
                      <a:pt x="326" y="102"/>
                    </a:lnTo>
                    <a:lnTo>
                      <a:pt x="326" y="124"/>
                    </a:lnTo>
                    <a:lnTo>
                      <a:pt x="358" y="124"/>
                    </a:lnTo>
                    <a:lnTo>
                      <a:pt x="358" y="160"/>
                    </a:lnTo>
                    <a:lnTo>
                      <a:pt x="326" y="160"/>
                    </a:lnTo>
                    <a:lnTo>
                      <a:pt x="326" y="174"/>
                    </a:lnTo>
                    <a:lnTo>
                      <a:pt x="304" y="174"/>
                    </a:lnTo>
                    <a:lnTo>
                      <a:pt x="304" y="148"/>
                    </a:lnTo>
                    <a:lnTo>
                      <a:pt x="296" y="148"/>
                    </a:lnTo>
                    <a:lnTo>
                      <a:pt x="296" y="174"/>
                    </a:lnTo>
                    <a:lnTo>
                      <a:pt x="284" y="174"/>
                    </a:lnTo>
                    <a:lnTo>
                      <a:pt x="284" y="190"/>
                    </a:lnTo>
                    <a:lnTo>
                      <a:pt x="296" y="190"/>
                    </a:lnTo>
                    <a:lnTo>
                      <a:pt x="296" y="218"/>
                    </a:lnTo>
                    <a:lnTo>
                      <a:pt x="284" y="218"/>
                    </a:lnTo>
                    <a:lnTo>
                      <a:pt x="284" y="232"/>
                    </a:lnTo>
                    <a:lnTo>
                      <a:pt x="296" y="232"/>
                    </a:lnTo>
                    <a:lnTo>
                      <a:pt x="296" y="264"/>
                    </a:lnTo>
                    <a:lnTo>
                      <a:pt x="284" y="264"/>
                    </a:lnTo>
                    <a:lnTo>
                      <a:pt x="284" y="278"/>
                    </a:lnTo>
                    <a:lnTo>
                      <a:pt x="296" y="278"/>
                    </a:lnTo>
                    <a:lnTo>
                      <a:pt x="296" y="314"/>
                    </a:lnTo>
                    <a:lnTo>
                      <a:pt x="284" y="314"/>
                    </a:lnTo>
                    <a:lnTo>
                      <a:pt x="284" y="328"/>
                    </a:lnTo>
                    <a:lnTo>
                      <a:pt x="296" y="328"/>
                    </a:lnTo>
                    <a:lnTo>
                      <a:pt x="296" y="362"/>
                    </a:lnTo>
                    <a:lnTo>
                      <a:pt x="284" y="362"/>
                    </a:lnTo>
                    <a:lnTo>
                      <a:pt x="284" y="374"/>
                    </a:lnTo>
                    <a:lnTo>
                      <a:pt x="296" y="374"/>
                    </a:lnTo>
                    <a:lnTo>
                      <a:pt x="296" y="408"/>
                    </a:lnTo>
                    <a:lnTo>
                      <a:pt x="284" y="408"/>
                    </a:lnTo>
                    <a:lnTo>
                      <a:pt x="284" y="426"/>
                    </a:lnTo>
                    <a:lnTo>
                      <a:pt x="296" y="426"/>
                    </a:lnTo>
                    <a:lnTo>
                      <a:pt x="296" y="464"/>
                    </a:lnTo>
                    <a:lnTo>
                      <a:pt x="284" y="464"/>
                    </a:lnTo>
                    <a:lnTo>
                      <a:pt x="284" y="474"/>
                    </a:lnTo>
                    <a:lnTo>
                      <a:pt x="296" y="474"/>
                    </a:lnTo>
                    <a:lnTo>
                      <a:pt x="296" y="522"/>
                    </a:lnTo>
                    <a:lnTo>
                      <a:pt x="252" y="522"/>
                    </a:lnTo>
                    <a:lnTo>
                      <a:pt x="252" y="160"/>
                    </a:lnTo>
                    <a:lnTo>
                      <a:pt x="224" y="160"/>
                    </a:lnTo>
                    <a:lnTo>
                      <a:pt x="224" y="124"/>
                    </a:lnTo>
                    <a:lnTo>
                      <a:pt x="252" y="124"/>
                    </a:lnTo>
                    <a:lnTo>
                      <a:pt x="252" y="102"/>
                    </a:lnTo>
                    <a:lnTo>
                      <a:pt x="224" y="102"/>
                    </a:lnTo>
                    <a:lnTo>
                      <a:pt x="224" y="88"/>
                    </a:lnTo>
                    <a:lnTo>
                      <a:pt x="252" y="88"/>
                    </a:lnTo>
                    <a:lnTo>
                      <a:pt x="252" y="64"/>
                    </a:lnTo>
                    <a:lnTo>
                      <a:pt x="224" y="64"/>
                    </a:lnTo>
                    <a:lnTo>
                      <a:pt x="224" y="50"/>
                    </a:lnTo>
                    <a:lnTo>
                      <a:pt x="252" y="50"/>
                    </a:lnTo>
                    <a:lnTo>
                      <a:pt x="252" y="26"/>
                    </a:lnTo>
                    <a:lnTo>
                      <a:pt x="224" y="26"/>
                    </a:lnTo>
                    <a:lnTo>
                      <a:pt x="224" y="0"/>
                    </a:lnTo>
                    <a:lnTo>
                      <a:pt x="94" y="0"/>
                    </a:lnTo>
                    <a:lnTo>
                      <a:pt x="94" y="26"/>
                    </a:lnTo>
                    <a:lnTo>
                      <a:pt x="62" y="26"/>
                    </a:lnTo>
                    <a:lnTo>
                      <a:pt x="62" y="50"/>
                    </a:lnTo>
                    <a:lnTo>
                      <a:pt x="94" y="50"/>
                    </a:lnTo>
                    <a:lnTo>
                      <a:pt x="94" y="64"/>
                    </a:lnTo>
                    <a:lnTo>
                      <a:pt x="62" y="64"/>
                    </a:lnTo>
                    <a:lnTo>
                      <a:pt x="62" y="88"/>
                    </a:lnTo>
                    <a:lnTo>
                      <a:pt x="94" y="88"/>
                    </a:lnTo>
                    <a:lnTo>
                      <a:pt x="94" y="102"/>
                    </a:lnTo>
                    <a:lnTo>
                      <a:pt x="62" y="102"/>
                    </a:lnTo>
                    <a:lnTo>
                      <a:pt x="62" y="124"/>
                    </a:lnTo>
                    <a:lnTo>
                      <a:pt x="94" y="124"/>
                    </a:lnTo>
                    <a:lnTo>
                      <a:pt x="94" y="160"/>
                    </a:lnTo>
                    <a:lnTo>
                      <a:pt x="62" y="160"/>
                    </a:lnTo>
                    <a:lnTo>
                      <a:pt x="62" y="174"/>
                    </a:lnTo>
                    <a:lnTo>
                      <a:pt x="40" y="174"/>
                    </a:lnTo>
                    <a:lnTo>
                      <a:pt x="40" y="148"/>
                    </a:lnTo>
                    <a:lnTo>
                      <a:pt x="34" y="148"/>
                    </a:lnTo>
                    <a:lnTo>
                      <a:pt x="34" y="174"/>
                    </a:lnTo>
                    <a:lnTo>
                      <a:pt x="20" y="174"/>
                    </a:lnTo>
                    <a:lnTo>
                      <a:pt x="20" y="190"/>
                    </a:lnTo>
                    <a:lnTo>
                      <a:pt x="34" y="190"/>
                    </a:lnTo>
                    <a:lnTo>
                      <a:pt x="34" y="218"/>
                    </a:lnTo>
                    <a:lnTo>
                      <a:pt x="20" y="218"/>
                    </a:lnTo>
                    <a:lnTo>
                      <a:pt x="20" y="232"/>
                    </a:lnTo>
                    <a:lnTo>
                      <a:pt x="34" y="232"/>
                    </a:lnTo>
                    <a:lnTo>
                      <a:pt x="34" y="264"/>
                    </a:lnTo>
                    <a:lnTo>
                      <a:pt x="20" y="264"/>
                    </a:lnTo>
                    <a:lnTo>
                      <a:pt x="20" y="278"/>
                    </a:lnTo>
                    <a:lnTo>
                      <a:pt x="34" y="278"/>
                    </a:lnTo>
                    <a:lnTo>
                      <a:pt x="34" y="314"/>
                    </a:lnTo>
                    <a:lnTo>
                      <a:pt x="20" y="314"/>
                    </a:lnTo>
                    <a:lnTo>
                      <a:pt x="20" y="328"/>
                    </a:lnTo>
                    <a:lnTo>
                      <a:pt x="34" y="328"/>
                    </a:lnTo>
                    <a:lnTo>
                      <a:pt x="34" y="362"/>
                    </a:lnTo>
                    <a:lnTo>
                      <a:pt x="20" y="362"/>
                    </a:lnTo>
                    <a:lnTo>
                      <a:pt x="20" y="374"/>
                    </a:lnTo>
                    <a:lnTo>
                      <a:pt x="34" y="374"/>
                    </a:lnTo>
                    <a:lnTo>
                      <a:pt x="34" y="408"/>
                    </a:lnTo>
                    <a:lnTo>
                      <a:pt x="20" y="408"/>
                    </a:lnTo>
                    <a:lnTo>
                      <a:pt x="20" y="426"/>
                    </a:lnTo>
                    <a:lnTo>
                      <a:pt x="34" y="426"/>
                    </a:lnTo>
                    <a:lnTo>
                      <a:pt x="34" y="464"/>
                    </a:lnTo>
                    <a:lnTo>
                      <a:pt x="20" y="464"/>
                    </a:lnTo>
                    <a:lnTo>
                      <a:pt x="20" y="474"/>
                    </a:lnTo>
                    <a:lnTo>
                      <a:pt x="34" y="474"/>
                    </a:lnTo>
                    <a:lnTo>
                      <a:pt x="34" y="522"/>
                    </a:lnTo>
                    <a:lnTo>
                      <a:pt x="0" y="522"/>
                    </a:lnTo>
                    <a:lnTo>
                      <a:pt x="0" y="716"/>
                    </a:lnTo>
                    <a:lnTo>
                      <a:pt x="802" y="716"/>
                    </a:lnTo>
                    <a:lnTo>
                      <a:pt x="802" y="522"/>
                    </a:lnTo>
                    <a:lnTo>
                      <a:pt x="780" y="522"/>
                    </a:lnTo>
                    <a:close/>
                    <a:moveTo>
                      <a:pt x="566" y="190"/>
                    </a:moveTo>
                    <a:lnTo>
                      <a:pt x="590" y="190"/>
                    </a:lnTo>
                    <a:lnTo>
                      <a:pt x="590" y="218"/>
                    </a:lnTo>
                    <a:lnTo>
                      <a:pt x="566" y="218"/>
                    </a:lnTo>
                    <a:lnTo>
                      <a:pt x="566" y="190"/>
                    </a:lnTo>
                    <a:close/>
                    <a:moveTo>
                      <a:pt x="566" y="232"/>
                    </a:moveTo>
                    <a:lnTo>
                      <a:pt x="590" y="232"/>
                    </a:lnTo>
                    <a:lnTo>
                      <a:pt x="590" y="264"/>
                    </a:lnTo>
                    <a:lnTo>
                      <a:pt x="566" y="264"/>
                    </a:lnTo>
                    <a:lnTo>
                      <a:pt x="566" y="232"/>
                    </a:lnTo>
                    <a:close/>
                    <a:moveTo>
                      <a:pt x="566" y="278"/>
                    </a:moveTo>
                    <a:lnTo>
                      <a:pt x="590" y="278"/>
                    </a:lnTo>
                    <a:lnTo>
                      <a:pt x="590" y="314"/>
                    </a:lnTo>
                    <a:lnTo>
                      <a:pt x="566" y="314"/>
                    </a:lnTo>
                    <a:lnTo>
                      <a:pt x="566" y="278"/>
                    </a:lnTo>
                    <a:close/>
                    <a:moveTo>
                      <a:pt x="566" y="328"/>
                    </a:moveTo>
                    <a:lnTo>
                      <a:pt x="590" y="328"/>
                    </a:lnTo>
                    <a:lnTo>
                      <a:pt x="590" y="362"/>
                    </a:lnTo>
                    <a:lnTo>
                      <a:pt x="566" y="362"/>
                    </a:lnTo>
                    <a:lnTo>
                      <a:pt x="566" y="328"/>
                    </a:lnTo>
                    <a:close/>
                    <a:moveTo>
                      <a:pt x="566" y="374"/>
                    </a:moveTo>
                    <a:lnTo>
                      <a:pt x="590" y="374"/>
                    </a:lnTo>
                    <a:lnTo>
                      <a:pt x="590" y="408"/>
                    </a:lnTo>
                    <a:lnTo>
                      <a:pt x="566" y="408"/>
                    </a:lnTo>
                    <a:lnTo>
                      <a:pt x="566" y="374"/>
                    </a:lnTo>
                    <a:close/>
                    <a:moveTo>
                      <a:pt x="566" y="426"/>
                    </a:moveTo>
                    <a:lnTo>
                      <a:pt x="590" y="426"/>
                    </a:lnTo>
                    <a:lnTo>
                      <a:pt x="590" y="464"/>
                    </a:lnTo>
                    <a:lnTo>
                      <a:pt x="566" y="464"/>
                    </a:lnTo>
                    <a:lnTo>
                      <a:pt x="566" y="426"/>
                    </a:lnTo>
                    <a:close/>
                    <a:moveTo>
                      <a:pt x="566" y="474"/>
                    </a:moveTo>
                    <a:lnTo>
                      <a:pt x="590" y="474"/>
                    </a:lnTo>
                    <a:lnTo>
                      <a:pt x="590" y="522"/>
                    </a:lnTo>
                    <a:lnTo>
                      <a:pt x="566" y="522"/>
                    </a:lnTo>
                    <a:lnTo>
                      <a:pt x="566" y="474"/>
                    </a:lnTo>
                    <a:close/>
                    <a:moveTo>
                      <a:pt x="304" y="190"/>
                    </a:moveTo>
                    <a:lnTo>
                      <a:pt x="326" y="190"/>
                    </a:lnTo>
                    <a:lnTo>
                      <a:pt x="326" y="218"/>
                    </a:lnTo>
                    <a:lnTo>
                      <a:pt x="304" y="218"/>
                    </a:lnTo>
                    <a:lnTo>
                      <a:pt x="304" y="190"/>
                    </a:lnTo>
                    <a:close/>
                    <a:moveTo>
                      <a:pt x="304" y="232"/>
                    </a:moveTo>
                    <a:lnTo>
                      <a:pt x="326" y="232"/>
                    </a:lnTo>
                    <a:lnTo>
                      <a:pt x="326" y="264"/>
                    </a:lnTo>
                    <a:lnTo>
                      <a:pt x="304" y="264"/>
                    </a:lnTo>
                    <a:lnTo>
                      <a:pt x="304" y="232"/>
                    </a:lnTo>
                    <a:close/>
                    <a:moveTo>
                      <a:pt x="304" y="278"/>
                    </a:moveTo>
                    <a:lnTo>
                      <a:pt x="326" y="278"/>
                    </a:lnTo>
                    <a:lnTo>
                      <a:pt x="326" y="314"/>
                    </a:lnTo>
                    <a:lnTo>
                      <a:pt x="304" y="314"/>
                    </a:lnTo>
                    <a:lnTo>
                      <a:pt x="304" y="278"/>
                    </a:lnTo>
                    <a:close/>
                    <a:moveTo>
                      <a:pt x="304" y="328"/>
                    </a:moveTo>
                    <a:lnTo>
                      <a:pt x="326" y="328"/>
                    </a:lnTo>
                    <a:lnTo>
                      <a:pt x="326" y="362"/>
                    </a:lnTo>
                    <a:lnTo>
                      <a:pt x="304" y="362"/>
                    </a:lnTo>
                    <a:lnTo>
                      <a:pt x="304" y="328"/>
                    </a:lnTo>
                    <a:close/>
                    <a:moveTo>
                      <a:pt x="304" y="374"/>
                    </a:moveTo>
                    <a:lnTo>
                      <a:pt x="326" y="374"/>
                    </a:lnTo>
                    <a:lnTo>
                      <a:pt x="326" y="408"/>
                    </a:lnTo>
                    <a:lnTo>
                      <a:pt x="304" y="408"/>
                    </a:lnTo>
                    <a:lnTo>
                      <a:pt x="304" y="374"/>
                    </a:lnTo>
                    <a:close/>
                    <a:moveTo>
                      <a:pt x="304" y="426"/>
                    </a:moveTo>
                    <a:lnTo>
                      <a:pt x="326" y="426"/>
                    </a:lnTo>
                    <a:lnTo>
                      <a:pt x="326" y="464"/>
                    </a:lnTo>
                    <a:lnTo>
                      <a:pt x="304" y="464"/>
                    </a:lnTo>
                    <a:lnTo>
                      <a:pt x="304" y="426"/>
                    </a:lnTo>
                    <a:close/>
                    <a:moveTo>
                      <a:pt x="304" y="474"/>
                    </a:moveTo>
                    <a:lnTo>
                      <a:pt x="326" y="474"/>
                    </a:lnTo>
                    <a:lnTo>
                      <a:pt x="326" y="522"/>
                    </a:lnTo>
                    <a:lnTo>
                      <a:pt x="304" y="522"/>
                    </a:lnTo>
                    <a:lnTo>
                      <a:pt x="304" y="474"/>
                    </a:lnTo>
                    <a:close/>
                    <a:moveTo>
                      <a:pt x="40" y="190"/>
                    </a:moveTo>
                    <a:lnTo>
                      <a:pt x="62" y="190"/>
                    </a:lnTo>
                    <a:lnTo>
                      <a:pt x="62" y="218"/>
                    </a:lnTo>
                    <a:lnTo>
                      <a:pt x="40" y="218"/>
                    </a:lnTo>
                    <a:lnTo>
                      <a:pt x="40" y="190"/>
                    </a:lnTo>
                    <a:close/>
                    <a:moveTo>
                      <a:pt x="40" y="232"/>
                    </a:moveTo>
                    <a:lnTo>
                      <a:pt x="62" y="232"/>
                    </a:lnTo>
                    <a:lnTo>
                      <a:pt x="62" y="264"/>
                    </a:lnTo>
                    <a:lnTo>
                      <a:pt x="40" y="264"/>
                    </a:lnTo>
                    <a:lnTo>
                      <a:pt x="40" y="232"/>
                    </a:lnTo>
                    <a:close/>
                    <a:moveTo>
                      <a:pt x="40" y="278"/>
                    </a:moveTo>
                    <a:lnTo>
                      <a:pt x="62" y="278"/>
                    </a:lnTo>
                    <a:lnTo>
                      <a:pt x="62" y="314"/>
                    </a:lnTo>
                    <a:lnTo>
                      <a:pt x="40" y="314"/>
                    </a:lnTo>
                    <a:lnTo>
                      <a:pt x="40" y="278"/>
                    </a:lnTo>
                    <a:close/>
                    <a:moveTo>
                      <a:pt x="40" y="328"/>
                    </a:moveTo>
                    <a:lnTo>
                      <a:pt x="62" y="328"/>
                    </a:lnTo>
                    <a:lnTo>
                      <a:pt x="62" y="362"/>
                    </a:lnTo>
                    <a:lnTo>
                      <a:pt x="40" y="362"/>
                    </a:lnTo>
                    <a:lnTo>
                      <a:pt x="40" y="328"/>
                    </a:lnTo>
                    <a:close/>
                    <a:moveTo>
                      <a:pt x="40" y="374"/>
                    </a:moveTo>
                    <a:lnTo>
                      <a:pt x="62" y="374"/>
                    </a:lnTo>
                    <a:lnTo>
                      <a:pt x="62" y="408"/>
                    </a:lnTo>
                    <a:lnTo>
                      <a:pt x="40" y="408"/>
                    </a:lnTo>
                    <a:lnTo>
                      <a:pt x="40" y="374"/>
                    </a:lnTo>
                    <a:close/>
                    <a:moveTo>
                      <a:pt x="40" y="426"/>
                    </a:moveTo>
                    <a:lnTo>
                      <a:pt x="62" y="426"/>
                    </a:lnTo>
                    <a:lnTo>
                      <a:pt x="62" y="464"/>
                    </a:lnTo>
                    <a:lnTo>
                      <a:pt x="40" y="464"/>
                    </a:lnTo>
                    <a:lnTo>
                      <a:pt x="40" y="426"/>
                    </a:lnTo>
                    <a:close/>
                    <a:moveTo>
                      <a:pt x="40" y="474"/>
                    </a:moveTo>
                    <a:lnTo>
                      <a:pt x="62" y="474"/>
                    </a:lnTo>
                    <a:lnTo>
                      <a:pt x="62" y="522"/>
                    </a:lnTo>
                    <a:lnTo>
                      <a:pt x="40" y="522"/>
                    </a:lnTo>
                    <a:lnTo>
                      <a:pt x="40" y="47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999333F9-8B66-4696-9D35-29E55171D498}"/>
                </a:ext>
              </a:extLst>
            </p:cNvPr>
            <p:cNvGrpSpPr/>
            <p:nvPr/>
          </p:nvGrpSpPr>
          <p:grpSpPr>
            <a:xfrm>
              <a:off x="6837606" y="5632038"/>
              <a:ext cx="156390" cy="147893"/>
              <a:chOff x="12500541" y="2739517"/>
              <a:chExt cx="157159" cy="128810"/>
            </a:xfrm>
          </p:grpSpPr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D6E20221-E8EA-4B81-93BD-C5A78DF8ED4C}"/>
                  </a:ext>
                </a:extLst>
              </p:cNvPr>
              <p:cNvSpPr/>
              <p:nvPr/>
            </p:nvSpPr>
            <p:spPr bwMode="ltGray">
              <a:xfrm>
                <a:off x="12500541" y="2739517"/>
                <a:ext cx="157159" cy="128810"/>
              </a:xfrm>
              <a:prstGeom prst="ellipse">
                <a:avLst/>
              </a:prstGeom>
              <a:solidFill>
                <a:srgbClr val="FFCF48"/>
              </a:solidFill>
              <a:ln w="3175">
                <a:solidFill>
                  <a:srgbClr val="FFCF4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5" name="Freeform 12">
                <a:extLst>
                  <a:ext uri="{FF2B5EF4-FFF2-40B4-BE49-F238E27FC236}">
                    <a16:creationId xmlns:a16="http://schemas.microsoft.com/office/drawing/2014/main" id="{3044DEFC-2DCA-4540-B04A-7E7597B8A0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25075" y="2770411"/>
                <a:ext cx="108972" cy="65230"/>
              </a:xfrm>
              <a:custGeom>
                <a:avLst/>
                <a:gdLst>
                  <a:gd name="T0" fmla="*/ 334 w 356"/>
                  <a:gd name="T1" fmla="*/ 12 h 260"/>
                  <a:gd name="T2" fmla="*/ 298 w 356"/>
                  <a:gd name="T3" fmla="*/ 12 h 260"/>
                  <a:gd name="T4" fmla="*/ 342 w 356"/>
                  <a:gd name="T5" fmla="*/ 132 h 260"/>
                  <a:gd name="T6" fmla="*/ 356 w 356"/>
                  <a:gd name="T7" fmla="*/ 260 h 260"/>
                  <a:gd name="T8" fmla="*/ 348 w 356"/>
                  <a:gd name="T9" fmla="*/ 140 h 260"/>
                  <a:gd name="T10" fmla="*/ 276 w 356"/>
                  <a:gd name="T11" fmla="*/ 150 h 260"/>
                  <a:gd name="T12" fmla="*/ 258 w 356"/>
                  <a:gd name="T13" fmla="*/ 66 h 260"/>
                  <a:gd name="T14" fmla="*/ 142 w 356"/>
                  <a:gd name="T15" fmla="*/ 100 h 260"/>
                  <a:gd name="T16" fmla="*/ 76 w 356"/>
                  <a:gd name="T17" fmla="*/ 64 h 260"/>
                  <a:gd name="T18" fmla="*/ 220 w 356"/>
                  <a:gd name="T19" fmla="*/ 218 h 260"/>
                  <a:gd name="T20" fmla="*/ 220 w 356"/>
                  <a:gd name="T21" fmla="*/ 240 h 260"/>
                  <a:gd name="T22" fmla="*/ 250 w 356"/>
                  <a:gd name="T23" fmla="*/ 188 h 260"/>
                  <a:gd name="T24" fmla="*/ 220 w 356"/>
                  <a:gd name="T25" fmla="*/ 188 h 260"/>
                  <a:gd name="T26" fmla="*/ 250 w 356"/>
                  <a:gd name="T27" fmla="*/ 180 h 260"/>
                  <a:gd name="T28" fmla="*/ 220 w 356"/>
                  <a:gd name="T29" fmla="*/ 126 h 260"/>
                  <a:gd name="T30" fmla="*/ 220 w 356"/>
                  <a:gd name="T31" fmla="*/ 150 h 260"/>
                  <a:gd name="T32" fmla="*/ 214 w 356"/>
                  <a:gd name="T33" fmla="*/ 218 h 260"/>
                  <a:gd name="T34" fmla="*/ 190 w 356"/>
                  <a:gd name="T35" fmla="*/ 218 h 260"/>
                  <a:gd name="T36" fmla="*/ 214 w 356"/>
                  <a:gd name="T37" fmla="*/ 210 h 260"/>
                  <a:gd name="T38" fmla="*/ 190 w 356"/>
                  <a:gd name="T39" fmla="*/ 156 h 260"/>
                  <a:gd name="T40" fmla="*/ 190 w 356"/>
                  <a:gd name="T41" fmla="*/ 180 h 260"/>
                  <a:gd name="T42" fmla="*/ 214 w 356"/>
                  <a:gd name="T43" fmla="*/ 126 h 260"/>
                  <a:gd name="T44" fmla="*/ 190 w 356"/>
                  <a:gd name="T45" fmla="*/ 126 h 260"/>
                  <a:gd name="T46" fmla="*/ 182 w 356"/>
                  <a:gd name="T47" fmla="*/ 240 h 260"/>
                  <a:gd name="T48" fmla="*/ 160 w 356"/>
                  <a:gd name="T49" fmla="*/ 188 h 260"/>
                  <a:gd name="T50" fmla="*/ 160 w 356"/>
                  <a:gd name="T51" fmla="*/ 210 h 260"/>
                  <a:gd name="T52" fmla="*/ 182 w 356"/>
                  <a:gd name="T53" fmla="*/ 156 h 260"/>
                  <a:gd name="T54" fmla="*/ 160 w 356"/>
                  <a:gd name="T55" fmla="*/ 156 h 260"/>
                  <a:gd name="T56" fmla="*/ 182 w 356"/>
                  <a:gd name="T57" fmla="*/ 150 h 260"/>
                  <a:gd name="T58" fmla="*/ 130 w 356"/>
                  <a:gd name="T59" fmla="*/ 218 h 260"/>
                  <a:gd name="T60" fmla="*/ 130 w 356"/>
                  <a:gd name="T61" fmla="*/ 240 h 260"/>
                  <a:gd name="T62" fmla="*/ 152 w 356"/>
                  <a:gd name="T63" fmla="*/ 188 h 260"/>
                  <a:gd name="T64" fmla="*/ 130 w 356"/>
                  <a:gd name="T65" fmla="*/ 188 h 260"/>
                  <a:gd name="T66" fmla="*/ 152 w 356"/>
                  <a:gd name="T67" fmla="*/ 180 h 260"/>
                  <a:gd name="T68" fmla="*/ 130 w 356"/>
                  <a:gd name="T69" fmla="*/ 126 h 260"/>
                  <a:gd name="T70" fmla="*/ 130 w 356"/>
                  <a:gd name="T71" fmla="*/ 150 h 260"/>
                  <a:gd name="T72" fmla="*/ 122 w 356"/>
                  <a:gd name="T73" fmla="*/ 218 h 260"/>
                  <a:gd name="T74" fmla="*/ 100 w 356"/>
                  <a:gd name="T75" fmla="*/ 218 h 260"/>
                  <a:gd name="T76" fmla="*/ 122 w 356"/>
                  <a:gd name="T77" fmla="*/ 210 h 260"/>
                  <a:gd name="T78" fmla="*/ 100 w 356"/>
                  <a:gd name="T79" fmla="*/ 156 h 260"/>
                  <a:gd name="T80" fmla="*/ 100 w 356"/>
                  <a:gd name="T81" fmla="*/ 180 h 260"/>
                  <a:gd name="T82" fmla="*/ 122 w 356"/>
                  <a:gd name="T83" fmla="*/ 126 h 260"/>
                  <a:gd name="T84" fmla="*/ 100 w 356"/>
                  <a:gd name="T85" fmla="*/ 126 h 260"/>
                  <a:gd name="T86" fmla="*/ 92 w 356"/>
                  <a:gd name="T87" fmla="*/ 240 h 260"/>
                  <a:gd name="T88" fmla="*/ 70 w 356"/>
                  <a:gd name="T89" fmla="*/ 188 h 260"/>
                  <a:gd name="T90" fmla="*/ 70 w 356"/>
                  <a:gd name="T91" fmla="*/ 210 h 260"/>
                  <a:gd name="T92" fmla="*/ 92 w 356"/>
                  <a:gd name="T93" fmla="*/ 156 h 260"/>
                  <a:gd name="T94" fmla="*/ 70 w 356"/>
                  <a:gd name="T95" fmla="*/ 156 h 260"/>
                  <a:gd name="T96" fmla="*/ 92 w 356"/>
                  <a:gd name="T97" fmla="*/ 150 h 260"/>
                  <a:gd name="T98" fmla="*/ 36 w 356"/>
                  <a:gd name="T99" fmla="*/ 218 h 260"/>
                  <a:gd name="T100" fmla="*/ 36 w 356"/>
                  <a:gd name="T101" fmla="*/ 240 h 260"/>
                  <a:gd name="T102" fmla="*/ 62 w 356"/>
                  <a:gd name="T103" fmla="*/ 188 h 260"/>
                  <a:gd name="T104" fmla="*/ 36 w 356"/>
                  <a:gd name="T105" fmla="*/ 188 h 260"/>
                  <a:gd name="T106" fmla="*/ 62 w 356"/>
                  <a:gd name="T107" fmla="*/ 180 h 260"/>
                  <a:gd name="T108" fmla="*/ 36 w 356"/>
                  <a:gd name="T109" fmla="*/ 126 h 260"/>
                  <a:gd name="T110" fmla="*/ 36 w 356"/>
                  <a:gd name="T111" fmla="*/ 15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6" h="260">
                    <a:moveTo>
                      <a:pt x="342" y="132"/>
                    </a:moveTo>
                    <a:lnTo>
                      <a:pt x="332" y="12"/>
                    </a:lnTo>
                    <a:lnTo>
                      <a:pt x="334" y="12"/>
                    </a:lnTo>
                    <a:lnTo>
                      <a:pt x="334" y="0"/>
                    </a:lnTo>
                    <a:lnTo>
                      <a:pt x="298" y="0"/>
                    </a:lnTo>
                    <a:lnTo>
                      <a:pt x="298" y="12"/>
                    </a:lnTo>
                    <a:lnTo>
                      <a:pt x="300" y="12"/>
                    </a:lnTo>
                    <a:lnTo>
                      <a:pt x="290" y="132"/>
                    </a:lnTo>
                    <a:lnTo>
                      <a:pt x="342" y="132"/>
                    </a:lnTo>
                    <a:close/>
                    <a:moveTo>
                      <a:pt x="0" y="102"/>
                    </a:moveTo>
                    <a:lnTo>
                      <a:pt x="0" y="260"/>
                    </a:lnTo>
                    <a:lnTo>
                      <a:pt x="356" y="260"/>
                    </a:lnTo>
                    <a:lnTo>
                      <a:pt x="356" y="150"/>
                    </a:lnTo>
                    <a:lnTo>
                      <a:pt x="348" y="150"/>
                    </a:lnTo>
                    <a:lnTo>
                      <a:pt x="348" y="140"/>
                    </a:lnTo>
                    <a:lnTo>
                      <a:pt x="284" y="140"/>
                    </a:lnTo>
                    <a:lnTo>
                      <a:pt x="284" y="150"/>
                    </a:lnTo>
                    <a:lnTo>
                      <a:pt x="276" y="150"/>
                    </a:lnTo>
                    <a:lnTo>
                      <a:pt x="276" y="106"/>
                    </a:lnTo>
                    <a:lnTo>
                      <a:pt x="264" y="106"/>
                    </a:lnTo>
                    <a:lnTo>
                      <a:pt x="258" y="66"/>
                    </a:lnTo>
                    <a:lnTo>
                      <a:pt x="204" y="102"/>
                    </a:lnTo>
                    <a:lnTo>
                      <a:pt x="198" y="66"/>
                    </a:lnTo>
                    <a:lnTo>
                      <a:pt x="142" y="100"/>
                    </a:lnTo>
                    <a:lnTo>
                      <a:pt x="138" y="64"/>
                    </a:lnTo>
                    <a:lnTo>
                      <a:pt x="82" y="100"/>
                    </a:lnTo>
                    <a:lnTo>
                      <a:pt x="76" y="64"/>
                    </a:lnTo>
                    <a:lnTo>
                      <a:pt x="12" y="102"/>
                    </a:lnTo>
                    <a:lnTo>
                      <a:pt x="0" y="102"/>
                    </a:lnTo>
                    <a:close/>
                    <a:moveTo>
                      <a:pt x="220" y="218"/>
                    </a:moveTo>
                    <a:lnTo>
                      <a:pt x="250" y="218"/>
                    </a:lnTo>
                    <a:lnTo>
                      <a:pt x="250" y="240"/>
                    </a:lnTo>
                    <a:lnTo>
                      <a:pt x="220" y="240"/>
                    </a:lnTo>
                    <a:lnTo>
                      <a:pt x="220" y="218"/>
                    </a:lnTo>
                    <a:close/>
                    <a:moveTo>
                      <a:pt x="220" y="188"/>
                    </a:moveTo>
                    <a:lnTo>
                      <a:pt x="250" y="188"/>
                    </a:lnTo>
                    <a:lnTo>
                      <a:pt x="250" y="210"/>
                    </a:lnTo>
                    <a:lnTo>
                      <a:pt x="220" y="210"/>
                    </a:lnTo>
                    <a:lnTo>
                      <a:pt x="220" y="188"/>
                    </a:lnTo>
                    <a:close/>
                    <a:moveTo>
                      <a:pt x="220" y="156"/>
                    </a:moveTo>
                    <a:lnTo>
                      <a:pt x="250" y="156"/>
                    </a:lnTo>
                    <a:lnTo>
                      <a:pt x="250" y="180"/>
                    </a:lnTo>
                    <a:lnTo>
                      <a:pt x="220" y="180"/>
                    </a:lnTo>
                    <a:lnTo>
                      <a:pt x="220" y="156"/>
                    </a:lnTo>
                    <a:close/>
                    <a:moveTo>
                      <a:pt x="220" y="126"/>
                    </a:moveTo>
                    <a:lnTo>
                      <a:pt x="250" y="126"/>
                    </a:lnTo>
                    <a:lnTo>
                      <a:pt x="250" y="150"/>
                    </a:lnTo>
                    <a:lnTo>
                      <a:pt x="220" y="150"/>
                    </a:lnTo>
                    <a:lnTo>
                      <a:pt x="220" y="126"/>
                    </a:lnTo>
                    <a:close/>
                    <a:moveTo>
                      <a:pt x="190" y="218"/>
                    </a:moveTo>
                    <a:lnTo>
                      <a:pt x="214" y="218"/>
                    </a:lnTo>
                    <a:lnTo>
                      <a:pt x="214" y="240"/>
                    </a:lnTo>
                    <a:lnTo>
                      <a:pt x="190" y="240"/>
                    </a:lnTo>
                    <a:lnTo>
                      <a:pt x="190" y="218"/>
                    </a:lnTo>
                    <a:close/>
                    <a:moveTo>
                      <a:pt x="190" y="188"/>
                    </a:moveTo>
                    <a:lnTo>
                      <a:pt x="214" y="188"/>
                    </a:lnTo>
                    <a:lnTo>
                      <a:pt x="214" y="210"/>
                    </a:lnTo>
                    <a:lnTo>
                      <a:pt x="190" y="210"/>
                    </a:lnTo>
                    <a:lnTo>
                      <a:pt x="190" y="188"/>
                    </a:lnTo>
                    <a:close/>
                    <a:moveTo>
                      <a:pt x="190" y="156"/>
                    </a:moveTo>
                    <a:lnTo>
                      <a:pt x="214" y="156"/>
                    </a:lnTo>
                    <a:lnTo>
                      <a:pt x="214" y="180"/>
                    </a:lnTo>
                    <a:lnTo>
                      <a:pt x="190" y="180"/>
                    </a:lnTo>
                    <a:lnTo>
                      <a:pt x="190" y="156"/>
                    </a:lnTo>
                    <a:close/>
                    <a:moveTo>
                      <a:pt x="190" y="126"/>
                    </a:moveTo>
                    <a:lnTo>
                      <a:pt x="214" y="126"/>
                    </a:lnTo>
                    <a:lnTo>
                      <a:pt x="214" y="150"/>
                    </a:lnTo>
                    <a:lnTo>
                      <a:pt x="190" y="150"/>
                    </a:lnTo>
                    <a:lnTo>
                      <a:pt x="190" y="126"/>
                    </a:lnTo>
                    <a:close/>
                    <a:moveTo>
                      <a:pt x="160" y="218"/>
                    </a:moveTo>
                    <a:lnTo>
                      <a:pt x="182" y="218"/>
                    </a:lnTo>
                    <a:lnTo>
                      <a:pt x="182" y="240"/>
                    </a:lnTo>
                    <a:lnTo>
                      <a:pt x="160" y="240"/>
                    </a:lnTo>
                    <a:lnTo>
                      <a:pt x="160" y="218"/>
                    </a:lnTo>
                    <a:close/>
                    <a:moveTo>
                      <a:pt x="160" y="188"/>
                    </a:moveTo>
                    <a:lnTo>
                      <a:pt x="182" y="188"/>
                    </a:lnTo>
                    <a:lnTo>
                      <a:pt x="182" y="210"/>
                    </a:lnTo>
                    <a:lnTo>
                      <a:pt x="160" y="210"/>
                    </a:lnTo>
                    <a:lnTo>
                      <a:pt x="160" y="188"/>
                    </a:lnTo>
                    <a:close/>
                    <a:moveTo>
                      <a:pt x="160" y="156"/>
                    </a:moveTo>
                    <a:lnTo>
                      <a:pt x="182" y="156"/>
                    </a:lnTo>
                    <a:lnTo>
                      <a:pt x="182" y="180"/>
                    </a:lnTo>
                    <a:lnTo>
                      <a:pt x="160" y="180"/>
                    </a:lnTo>
                    <a:lnTo>
                      <a:pt x="160" y="156"/>
                    </a:lnTo>
                    <a:close/>
                    <a:moveTo>
                      <a:pt x="160" y="126"/>
                    </a:moveTo>
                    <a:lnTo>
                      <a:pt x="182" y="126"/>
                    </a:lnTo>
                    <a:lnTo>
                      <a:pt x="182" y="150"/>
                    </a:lnTo>
                    <a:lnTo>
                      <a:pt x="160" y="150"/>
                    </a:lnTo>
                    <a:lnTo>
                      <a:pt x="160" y="126"/>
                    </a:lnTo>
                    <a:close/>
                    <a:moveTo>
                      <a:pt x="130" y="218"/>
                    </a:moveTo>
                    <a:lnTo>
                      <a:pt x="152" y="218"/>
                    </a:lnTo>
                    <a:lnTo>
                      <a:pt x="152" y="240"/>
                    </a:lnTo>
                    <a:lnTo>
                      <a:pt x="130" y="240"/>
                    </a:lnTo>
                    <a:lnTo>
                      <a:pt x="130" y="218"/>
                    </a:lnTo>
                    <a:close/>
                    <a:moveTo>
                      <a:pt x="130" y="188"/>
                    </a:moveTo>
                    <a:lnTo>
                      <a:pt x="152" y="188"/>
                    </a:lnTo>
                    <a:lnTo>
                      <a:pt x="152" y="210"/>
                    </a:lnTo>
                    <a:lnTo>
                      <a:pt x="130" y="210"/>
                    </a:lnTo>
                    <a:lnTo>
                      <a:pt x="130" y="188"/>
                    </a:lnTo>
                    <a:close/>
                    <a:moveTo>
                      <a:pt x="130" y="156"/>
                    </a:moveTo>
                    <a:lnTo>
                      <a:pt x="152" y="156"/>
                    </a:lnTo>
                    <a:lnTo>
                      <a:pt x="152" y="180"/>
                    </a:lnTo>
                    <a:lnTo>
                      <a:pt x="130" y="180"/>
                    </a:lnTo>
                    <a:lnTo>
                      <a:pt x="130" y="156"/>
                    </a:lnTo>
                    <a:close/>
                    <a:moveTo>
                      <a:pt x="130" y="126"/>
                    </a:moveTo>
                    <a:lnTo>
                      <a:pt x="152" y="126"/>
                    </a:lnTo>
                    <a:lnTo>
                      <a:pt x="152" y="150"/>
                    </a:lnTo>
                    <a:lnTo>
                      <a:pt x="130" y="150"/>
                    </a:lnTo>
                    <a:lnTo>
                      <a:pt x="130" y="126"/>
                    </a:lnTo>
                    <a:close/>
                    <a:moveTo>
                      <a:pt x="100" y="218"/>
                    </a:moveTo>
                    <a:lnTo>
                      <a:pt x="122" y="218"/>
                    </a:lnTo>
                    <a:lnTo>
                      <a:pt x="122" y="240"/>
                    </a:lnTo>
                    <a:lnTo>
                      <a:pt x="100" y="240"/>
                    </a:lnTo>
                    <a:lnTo>
                      <a:pt x="100" y="218"/>
                    </a:lnTo>
                    <a:close/>
                    <a:moveTo>
                      <a:pt x="100" y="188"/>
                    </a:moveTo>
                    <a:lnTo>
                      <a:pt x="122" y="188"/>
                    </a:lnTo>
                    <a:lnTo>
                      <a:pt x="122" y="210"/>
                    </a:lnTo>
                    <a:lnTo>
                      <a:pt x="100" y="210"/>
                    </a:lnTo>
                    <a:lnTo>
                      <a:pt x="100" y="188"/>
                    </a:lnTo>
                    <a:close/>
                    <a:moveTo>
                      <a:pt x="100" y="156"/>
                    </a:moveTo>
                    <a:lnTo>
                      <a:pt x="122" y="156"/>
                    </a:lnTo>
                    <a:lnTo>
                      <a:pt x="122" y="180"/>
                    </a:lnTo>
                    <a:lnTo>
                      <a:pt x="100" y="180"/>
                    </a:lnTo>
                    <a:lnTo>
                      <a:pt x="100" y="156"/>
                    </a:lnTo>
                    <a:close/>
                    <a:moveTo>
                      <a:pt x="100" y="126"/>
                    </a:moveTo>
                    <a:lnTo>
                      <a:pt x="122" y="126"/>
                    </a:lnTo>
                    <a:lnTo>
                      <a:pt x="122" y="150"/>
                    </a:lnTo>
                    <a:lnTo>
                      <a:pt x="100" y="150"/>
                    </a:lnTo>
                    <a:lnTo>
                      <a:pt x="100" y="126"/>
                    </a:lnTo>
                    <a:close/>
                    <a:moveTo>
                      <a:pt x="70" y="218"/>
                    </a:moveTo>
                    <a:lnTo>
                      <a:pt x="92" y="218"/>
                    </a:lnTo>
                    <a:lnTo>
                      <a:pt x="92" y="240"/>
                    </a:lnTo>
                    <a:lnTo>
                      <a:pt x="70" y="240"/>
                    </a:lnTo>
                    <a:lnTo>
                      <a:pt x="70" y="218"/>
                    </a:lnTo>
                    <a:close/>
                    <a:moveTo>
                      <a:pt x="70" y="188"/>
                    </a:moveTo>
                    <a:lnTo>
                      <a:pt x="92" y="188"/>
                    </a:lnTo>
                    <a:lnTo>
                      <a:pt x="92" y="210"/>
                    </a:lnTo>
                    <a:lnTo>
                      <a:pt x="70" y="210"/>
                    </a:lnTo>
                    <a:lnTo>
                      <a:pt x="70" y="188"/>
                    </a:lnTo>
                    <a:close/>
                    <a:moveTo>
                      <a:pt x="70" y="156"/>
                    </a:moveTo>
                    <a:lnTo>
                      <a:pt x="92" y="156"/>
                    </a:lnTo>
                    <a:lnTo>
                      <a:pt x="92" y="180"/>
                    </a:lnTo>
                    <a:lnTo>
                      <a:pt x="70" y="180"/>
                    </a:lnTo>
                    <a:lnTo>
                      <a:pt x="70" y="156"/>
                    </a:lnTo>
                    <a:close/>
                    <a:moveTo>
                      <a:pt x="70" y="126"/>
                    </a:moveTo>
                    <a:lnTo>
                      <a:pt x="92" y="126"/>
                    </a:lnTo>
                    <a:lnTo>
                      <a:pt x="92" y="150"/>
                    </a:lnTo>
                    <a:lnTo>
                      <a:pt x="70" y="150"/>
                    </a:lnTo>
                    <a:lnTo>
                      <a:pt x="70" y="126"/>
                    </a:lnTo>
                    <a:close/>
                    <a:moveTo>
                      <a:pt x="36" y="218"/>
                    </a:moveTo>
                    <a:lnTo>
                      <a:pt x="62" y="218"/>
                    </a:lnTo>
                    <a:lnTo>
                      <a:pt x="62" y="240"/>
                    </a:lnTo>
                    <a:lnTo>
                      <a:pt x="36" y="240"/>
                    </a:lnTo>
                    <a:lnTo>
                      <a:pt x="36" y="218"/>
                    </a:lnTo>
                    <a:close/>
                    <a:moveTo>
                      <a:pt x="36" y="188"/>
                    </a:moveTo>
                    <a:lnTo>
                      <a:pt x="62" y="188"/>
                    </a:lnTo>
                    <a:lnTo>
                      <a:pt x="62" y="210"/>
                    </a:lnTo>
                    <a:lnTo>
                      <a:pt x="36" y="210"/>
                    </a:lnTo>
                    <a:lnTo>
                      <a:pt x="36" y="188"/>
                    </a:lnTo>
                    <a:close/>
                    <a:moveTo>
                      <a:pt x="36" y="156"/>
                    </a:moveTo>
                    <a:lnTo>
                      <a:pt x="62" y="156"/>
                    </a:lnTo>
                    <a:lnTo>
                      <a:pt x="62" y="180"/>
                    </a:lnTo>
                    <a:lnTo>
                      <a:pt x="36" y="180"/>
                    </a:lnTo>
                    <a:lnTo>
                      <a:pt x="36" y="156"/>
                    </a:lnTo>
                    <a:close/>
                    <a:moveTo>
                      <a:pt x="36" y="126"/>
                    </a:moveTo>
                    <a:lnTo>
                      <a:pt x="62" y="126"/>
                    </a:lnTo>
                    <a:lnTo>
                      <a:pt x="62" y="150"/>
                    </a:lnTo>
                    <a:lnTo>
                      <a:pt x="36" y="150"/>
                    </a:lnTo>
                    <a:lnTo>
                      <a:pt x="36" y="12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1AED31B7-310B-410D-8AC5-3609ACB1582E}"/>
                </a:ext>
              </a:extLst>
            </p:cNvPr>
            <p:cNvSpPr txBox="1"/>
            <p:nvPr/>
          </p:nvSpPr>
          <p:spPr>
            <a:xfrm>
              <a:off x="7506995" y="5661753"/>
              <a:ext cx="396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Kolar</a:t>
              </a: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41DC1EF2-5516-4DE9-9C3B-FBA9BD21C165}"/>
                </a:ext>
              </a:extLst>
            </p:cNvPr>
            <p:cNvSpPr txBox="1"/>
            <p:nvPr/>
          </p:nvSpPr>
          <p:spPr>
            <a:xfrm>
              <a:off x="7298570" y="5864465"/>
              <a:ext cx="720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Bengaluru</a:t>
              </a:r>
            </a:p>
          </p:txBody>
        </p:sp>
        <p:cxnSp>
          <p:nvCxnSpPr>
            <p:cNvPr id="174" name="Elbow Connector 651">
              <a:extLst>
                <a:ext uri="{FF2B5EF4-FFF2-40B4-BE49-F238E27FC236}">
                  <a16:creationId xmlns:a16="http://schemas.microsoft.com/office/drawing/2014/main" id="{71EB636A-1659-4288-B4EE-DE10076268E8}"/>
                </a:ext>
              </a:extLst>
            </p:cNvPr>
            <p:cNvCxnSpPr>
              <a:stCxn id="125" idx="54"/>
              <a:endCxn id="173" idx="1"/>
            </p:cNvCxnSpPr>
            <p:nvPr/>
          </p:nvCxnSpPr>
          <p:spPr>
            <a:xfrm>
              <a:off x="7014443" y="5825814"/>
              <a:ext cx="284127" cy="130984"/>
            </a:xfrm>
            <a:prstGeom prst="bentConnector3">
              <a:avLst>
                <a:gd name="adj1" fmla="val 50000"/>
              </a:avLst>
            </a:prstGeom>
            <a:ln w="12700" cap="sq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45EADFF5-96F1-400F-993E-6D988F32FDDD}"/>
                </a:ext>
              </a:extLst>
            </p:cNvPr>
            <p:cNvSpPr txBox="1"/>
            <p:nvPr/>
          </p:nvSpPr>
          <p:spPr>
            <a:xfrm>
              <a:off x="5724669" y="6189186"/>
              <a:ext cx="504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Mysuru</a:t>
              </a:r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47609FEF-8DB3-4C3A-BB4D-14868D85B64D}"/>
                </a:ext>
              </a:extLst>
            </p:cNvPr>
            <p:cNvGrpSpPr/>
            <p:nvPr/>
          </p:nvGrpSpPr>
          <p:grpSpPr>
            <a:xfrm>
              <a:off x="6076416" y="5928270"/>
              <a:ext cx="156390" cy="147893"/>
              <a:chOff x="12500541" y="2739517"/>
              <a:chExt cx="157159" cy="128810"/>
            </a:xfrm>
          </p:grpSpPr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6D4D873F-CA70-4335-BD6D-F69AA828BBF5}"/>
                  </a:ext>
                </a:extLst>
              </p:cNvPr>
              <p:cNvSpPr/>
              <p:nvPr/>
            </p:nvSpPr>
            <p:spPr bwMode="ltGray">
              <a:xfrm>
                <a:off x="12500541" y="2739517"/>
                <a:ext cx="157159" cy="128810"/>
              </a:xfrm>
              <a:prstGeom prst="ellipse">
                <a:avLst/>
              </a:prstGeom>
              <a:solidFill>
                <a:srgbClr val="FFCF48"/>
              </a:solidFill>
              <a:ln w="3175">
                <a:solidFill>
                  <a:srgbClr val="FFCF4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3" name="Freeform 12">
                <a:extLst>
                  <a:ext uri="{FF2B5EF4-FFF2-40B4-BE49-F238E27FC236}">
                    <a16:creationId xmlns:a16="http://schemas.microsoft.com/office/drawing/2014/main" id="{A8D841B8-660F-41BC-B140-6C556123C8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25075" y="2770411"/>
                <a:ext cx="108972" cy="65230"/>
              </a:xfrm>
              <a:custGeom>
                <a:avLst/>
                <a:gdLst>
                  <a:gd name="T0" fmla="*/ 334 w 356"/>
                  <a:gd name="T1" fmla="*/ 12 h 260"/>
                  <a:gd name="T2" fmla="*/ 298 w 356"/>
                  <a:gd name="T3" fmla="*/ 12 h 260"/>
                  <a:gd name="T4" fmla="*/ 342 w 356"/>
                  <a:gd name="T5" fmla="*/ 132 h 260"/>
                  <a:gd name="T6" fmla="*/ 356 w 356"/>
                  <a:gd name="T7" fmla="*/ 260 h 260"/>
                  <a:gd name="T8" fmla="*/ 348 w 356"/>
                  <a:gd name="T9" fmla="*/ 140 h 260"/>
                  <a:gd name="T10" fmla="*/ 276 w 356"/>
                  <a:gd name="T11" fmla="*/ 150 h 260"/>
                  <a:gd name="T12" fmla="*/ 258 w 356"/>
                  <a:gd name="T13" fmla="*/ 66 h 260"/>
                  <a:gd name="T14" fmla="*/ 142 w 356"/>
                  <a:gd name="T15" fmla="*/ 100 h 260"/>
                  <a:gd name="T16" fmla="*/ 76 w 356"/>
                  <a:gd name="T17" fmla="*/ 64 h 260"/>
                  <a:gd name="T18" fmla="*/ 220 w 356"/>
                  <a:gd name="T19" fmla="*/ 218 h 260"/>
                  <a:gd name="T20" fmla="*/ 220 w 356"/>
                  <a:gd name="T21" fmla="*/ 240 h 260"/>
                  <a:gd name="T22" fmla="*/ 250 w 356"/>
                  <a:gd name="T23" fmla="*/ 188 h 260"/>
                  <a:gd name="T24" fmla="*/ 220 w 356"/>
                  <a:gd name="T25" fmla="*/ 188 h 260"/>
                  <a:gd name="T26" fmla="*/ 250 w 356"/>
                  <a:gd name="T27" fmla="*/ 180 h 260"/>
                  <a:gd name="T28" fmla="*/ 220 w 356"/>
                  <a:gd name="T29" fmla="*/ 126 h 260"/>
                  <a:gd name="T30" fmla="*/ 220 w 356"/>
                  <a:gd name="T31" fmla="*/ 150 h 260"/>
                  <a:gd name="T32" fmla="*/ 214 w 356"/>
                  <a:gd name="T33" fmla="*/ 218 h 260"/>
                  <a:gd name="T34" fmla="*/ 190 w 356"/>
                  <a:gd name="T35" fmla="*/ 218 h 260"/>
                  <a:gd name="T36" fmla="*/ 214 w 356"/>
                  <a:gd name="T37" fmla="*/ 210 h 260"/>
                  <a:gd name="T38" fmla="*/ 190 w 356"/>
                  <a:gd name="T39" fmla="*/ 156 h 260"/>
                  <a:gd name="T40" fmla="*/ 190 w 356"/>
                  <a:gd name="T41" fmla="*/ 180 h 260"/>
                  <a:gd name="T42" fmla="*/ 214 w 356"/>
                  <a:gd name="T43" fmla="*/ 126 h 260"/>
                  <a:gd name="T44" fmla="*/ 190 w 356"/>
                  <a:gd name="T45" fmla="*/ 126 h 260"/>
                  <a:gd name="T46" fmla="*/ 182 w 356"/>
                  <a:gd name="T47" fmla="*/ 240 h 260"/>
                  <a:gd name="T48" fmla="*/ 160 w 356"/>
                  <a:gd name="T49" fmla="*/ 188 h 260"/>
                  <a:gd name="T50" fmla="*/ 160 w 356"/>
                  <a:gd name="T51" fmla="*/ 210 h 260"/>
                  <a:gd name="T52" fmla="*/ 182 w 356"/>
                  <a:gd name="T53" fmla="*/ 156 h 260"/>
                  <a:gd name="T54" fmla="*/ 160 w 356"/>
                  <a:gd name="T55" fmla="*/ 156 h 260"/>
                  <a:gd name="T56" fmla="*/ 182 w 356"/>
                  <a:gd name="T57" fmla="*/ 150 h 260"/>
                  <a:gd name="T58" fmla="*/ 130 w 356"/>
                  <a:gd name="T59" fmla="*/ 218 h 260"/>
                  <a:gd name="T60" fmla="*/ 130 w 356"/>
                  <a:gd name="T61" fmla="*/ 240 h 260"/>
                  <a:gd name="T62" fmla="*/ 152 w 356"/>
                  <a:gd name="T63" fmla="*/ 188 h 260"/>
                  <a:gd name="T64" fmla="*/ 130 w 356"/>
                  <a:gd name="T65" fmla="*/ 188 h 260"/>
                  <a:gd name="T66" fmla="*/ 152 w 356"/>
                  <a:gd name="T67" fmla="*/ 180 h 260"/>
                  <a:gd name="T68" fmla="*/ 130 w 356"/>
                  <a:gd name="T69" fmla="*/ 126 h 260"/>
                  <a:gd name="T70" fmla="*/ 130 w 356"/>
                  <a:gd name="T71" fmla="*/ 150 h 260"/>
                  <a:gd name="T72" fmla="*/ 122 w 356"/>
                  <a:gd name="T73" fmla="*/ 218 h 260"/>
                  <a:gd name="T74" fmla="*/ 100 w 356"/>
                  <a:gd name="T75" fmla="*/ 218 h 260"/>
                  <a:gd name="T76" fmla="*/ 122 w 356"/>
                  <a:gd name="T77" fmla="*/ 210 h 260"/>
                  <a:gd name="T78" fmla="*/ 100 w 356"/>
                  <a:gd name="T79" fmla="*/ 156 h 260"/>
                  <a:gd name="T80" fmla="*/ 100 w 356"/>
                  <a:gd name="T81" fmla="*/ 180 h 260"/>
                  <a:gd name="T82" fmla="*/ 122 w 356"/>
                  <a:gd name="T83" fmla="*/ 126 h 260"/>
                  <a:gd name="T84" fmla="*/ 100 w 356"/>
                  <a:gd name="T85" fmla="*/ 126 h 260"/>
                  <a:gd name="T86" fmla="*/ 92 w 356"/>
                  <a:gd name="T87" fmla="*/ 240 h 260"/>
                  <a:gd name="T88" fmla="*/ 70 w 356"/>
                  <a:gd name="T89" fmla="*/ 188 h 260"/>
                  <a:gd name="T90" fmla="*/ 70 w 356"/>
                  <a:gd name="T91" fmla="*/ 210 h 260"/>
                  <a:gd name="T92" fmla="*/ 92 w 356"/>
                  <a:gd name="T93" fmla="*/ 156 h 260"/>
                  <a:gd name="T94" fmla="*/ 70 w 356"/>
                  <a:gd name="T95" fmla="*/ 156 h 260"/>
                  <a:gd name="T96" fmla="*/ 92 w 356"/>
                  <a:gd name="T97" fmla="*/ 150 h 260"/>
                  <a:gd name="T98" fmla="*/ 36 w 356"/>
                  <a:gd name="T99" fmla="*/ 218 h 260"/>
                  <a:gd name="T100" fmla="*/ 36 w 356"/>
                  <a:gd name="T101" fmla="*/ 240 h 260"/>
                  <a:gd name="T102" fmla="*/ 62 w 356"/>
                  <a:gd name="T103" fmla="*/ 188 h 260"/>
                  <a:gd name="T104" fmla="*/ 36 w 356"/>
                  <a:gd name="T105" fmla="*/ 188 h 260"/>
                  <a:gd name="T106" fmla="*/ 62 w 356"/>
                  <a:gd name="T107" fmla="*/ 180 h 260"/>
                  <a:gd name="T108" fmla="*/ 36 w 356"/>
                  <a:gd name="T109" fmla="*/ 126 h 260"/>
                  <a:gd name="T110" fmla="*/ 36 w 356"/>
                  <a:gd name="T111" fmla="*/ 15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6" h="260">
                    <a:moveTo>
                      <a:pt x="342" y="132"/>
                    </a:moveTo>
                    <a:lnTo>
                      <a:pt x="332" y="12"/>
                    </a:lnTo>
                    <a:lnTo>
                      <a:pt x="334" y="12"/>
                    </a:lnTo>
                    <a:lnTo>
                      <a:pt x="334" y="0"/>
                    </a:lnTo>
                    <a:lnTo>
                      <a:pt x="298" y="0"/>
                    </a:lnTo>
                    <a:lnTo>
                      <a:pt x="298" y="12"/>
                    </a:lnTo>
                    <a:lnTo>
                      <a:pt x="300" y="12"/>
                    </a:lnTo>
                    <a:lnTo>
                      <a:pt x="290" y="132"/>
                    </a:lnTo>
                    <a:lnTo>
                      <a:pt x="342" y="132"/>
                    </a:lnTo>
                    <a:close/>
                    <a:moveTo>
                      <a:pt x="0" y="102"/>
                    </a:moveTo>
                    <a:lnTo>
                      <a:pt x="0" y="260"/>
                    </a:lnTo>
                    <a:lnTo>
                      <a:pt x="356" y="260"/>
                    </a:lnTo>
                    <a:lnTo>
                      <a:pt x="356" y="150"/>
                    </a:lnTo>
                    <a:lnTo>
                      <a:pt x="348" y="150"/>
                    </a:lnTo>
                    <a:lnTo>
                      <a:pt x="348" y="140"/>
                    </a:lnTo>
                    <a:lnTo>
                      <a:pt x="284" y="140"/>
                    </a:lnTo>
                    <a:lnTo>
                      <a:pt x="284" y="150"/>
                    </a:lnTo>
                    <a:lnTo>
                      <a:pt x="276" y="150"/>
                    </a:lnTo>
                    <a:lnTo>
                      <a:pt x="276" y="106"/>
                    </a:lnTo>
                    <a:lnTo>
                      <a:pt x="264" y="106"/>
                    </a:lnTo>
                    <a:lnTo>
                      <a:pt x="258" y="66"/>
                    </a:lnTo>
                    <a:lnTo>
                      <a:pt x="204" y="102"/>
                    </a:lnTo>
                    <a:lnTo>
                      <a:pt x="198" y="66"/>
                    </a:lnTo>
                    <a:lnTo>
                      <a:pt x="142" y="100"/>
                    </a:lnTo>
                    <a:lnTo>
                      <a:pt x="138" y="64"/>
                    </a:lnTo>
                    <a:lnTo>
                      <a:pt x="82" y="100"/>
                    </a:lnTo>
                    <a:lnTo>
                      <a:pt x="76" y="64"/>
                    </a:lnTo>
                    <a:lnTo>
                      <a:pt x="12" y="102"/>
                    </a:lnTo>
                    <a:lnTo>
                      <a:pt x="0" y="102"/>
                    </a:lnTo>
                    <a:close/>
                    <a:moveTo>
                      <a:pt x="220" y="218"/>
                    </a:moveTo>
                    <a:lnTo>
                      <a:pt x="250" y="218"/>
                    </a:lnTo>
                    <a:lnTo>
                      <a:pt x="250" y="240"/>
                    </a:lnTo>
                    <a:lnTo>
                      <a:pt x="220" y="240"/>
                    </a:lnTo>
                    <a:lnTo>
                      <a:pt x="220" y="218"/>
                    </a:lnTo>
                    <a:close/>
                    <a:moveTo>
                      <a:pt x="220" y="188"/>
                    </a:moveTo>
                    <a:lnTo>
                      <a:pt x="250" y="188"/>
                    </a:lnTo>
                    <a:lnTo>
                      <a:pt x="250" y="210"/>
                    </a:lnTo>
                    <a:lnTo>
                      <a:pt x="220" y="210"/>
                    </a:lnTo>
                    <a:lnTo>
                      <a:pt x="220" y="188"/>
                    </a:lnTo>
                    <a:close/>
                    <a:moveTo>
                      <a:pt x="220" y="156"/>
                    </a:moveTo>
                    <a:lnTo>
                      <a:pt x="250" y="156"/>
                    </a:lnTo>
                    <a:lnTo>
                      <a:pt x="250" y="180"/>
                    </a:lnTo>
                    <a:lnTo>
                      <a:pt x="220" y="180"/>
                    </a:lnTo>
                    <a:lnTo>
                      <a:pt x="220" y="156"/>
                    </a:lnTo>
                    <a:close/>
                    <a:moveTo>
                      <a:pt x="220" y="126"/>
                    </a:moveTo>
                    <a:lnTo>
                      <a:pt x="250" y="126"/>
                    </a:lnTo>
                    <a:lnTo>
                      <a:pt x="250" y="150"/>
                    </a:lnTo>
                    <a:lnTo>
                      <a:pt x="220" y="150"/>
                    </a:lnTo>
                    <a:lnTo>
                      <a:pt x="220" y="126"/>
                    </a:lnTo>
                    <a:close/>
                    <a:moveTo>
                      <a:pt x="190" y="218"/>
                    </a:moveTo>
                    <a:lnTo>
                      <a:pt x="214" y="218"/>
                    </a:lnTo>
                    <a:lnTo>
                      <a:pt x="214" y="240"/>
                    </a:lnTo>
                    <a:lnTo>
                      <a:pt x="190" y="240"/>
                    </a:lnTo>
                    <a:lnTo>
                      <a:pt x="190" y="218"/>
                    </a:lnTo>
                    <a:close/>
                    <a:moveTo>
                      <a:pt x="190" y="188"/>
                    </a:moveTo>
                    <a:lnTo>
                      <a:pt x="214" y="188"/>
                    </a:lnTo>
                    <a:lnTo>
                      <a:pt x="214" y="210"/>
                    </a:lnTo>
                    <a:lnTo>
                      <a:pt x="190" y="210"/>
                    </a:lnTo>
                    <a:lnTo>
                      <a:pt x="190" y="188"/>
                    </a:lnTo>
                    <a:close/>
                    <a:moveTo>
                      <a:pt x="190" y="156"/>
                    </a:moveTo>
                    <a:lnTo>
                      <a:pt x="214" y="156"/>
                    </a:lnTo>
                    <a:lnTo>
                      <a:pt x="214" y="180"/>
                    </a:lnTo>
                    <a:lnTo>
                      <a:pt x="190" y="180"/>
                    </a:lnTo>
                    <a:lnTo>
                      <a:pt x="190" y="156"/>
                    </a:lnTo>
                    <a:close/>
                    <a:moveTo>
                      <a:pt x="190" y="126"/>
                    </a:moveTo>
                    <a:lnTo>
                      <a:pt x="214" y="126"/>
                    </a:lnTo>
                    <a:lnTo>
                      <a:pt x="214" y="150"/>
                    </a:lnTo>
                    <a:lnTo>
                      <a:pt x="190" y="150"/>
                    </a:lnTo>
                    <a:lnTo>
                      <a:pt x="190" y="126"/>
                    </a:lnTo>
                    <a:close/>
                    <a:moveTo>
                      <a:pt x="160" y="218"/>
                    </a:moveTo>
                    <a:lnTo>
                      <a:pt x="182" y="218"/>
                    </a:lnTo>
                    <a:lnTo>
                      <a:pt x="182" y="240"/>
                    </a:lnTo>
                    <a:lnTo>
                      <a:pt x="160" y="240"/>
                    </a:lnTo>
                    <a:lnTo>
                      <a:pt x="160" y="218"/>
                    </a:lnTo>
                    <a:close/>
                    <a:moveTo>
                      <a:pt x="160" y="188"/>
                    </a:moveTo>
                    <a:lnTo>
                      <a:pt x="182" y="188"/>
                    </a:lnTo>
                    <a:lnTo>
                      <a:pt x="182" y="210"/>
                    </a:lnTo>
                    <a:lnTo>
                      <a:pt x="160" y="210"/>
                    </a:lnTo>
                    <a:lnTo>
                      <a:pt x="160" y="188"/>
                    </a:lnTo>
                    <a:close/>
                    <a:moveTo>
                      <a:pt x="160" y="156"/>
                    </a:moveTo>
                    <a:lnTo>
                      <a:pt x="182" y="156"/>
                    </a:lnTo>
                    <a:lnTo>
                      <a:pt x="182" y="180"/>
                    </a:lnTo>
                    <a:lnTo>
                      <a:pt x="160" y="180"/>
                    </a:lnTo>
                    <a:lnTo>
                      <a:pt x="160" y="156"/>
                    </a:lnTo>
                    <a:close/>
                    <a:moveTo>
                      <a:pt x="160" y="126"/>
                    </a:moveTo>
                    <a:lnTo>
                      <a:pt x="182" y="126"/>
                    </a:lnTo>
                    <a:lnTo>
                      <a:pt x="182" y="150"/>
                    </a:lnTo>
                    <a:lnTo>
                      <a:pt x="160" y="150"/>
                    </a:lnTo>
                    <a:lnTo>
                      <a:pt x="160" y="126"/>
                    </a:lnTo>
                    <a:close/>
                    <a:moveTo>
                      <a:pt x="130" y="218"/>
                    </a:moveTo>
                    <a:lnTo>
                      <a:pt x="152" y="218"/>
                    </a:lnTo>
                    <a:lnTo>
                      <a:pt x="152" y="240"/>
                    </a:lnTo>
                    <a:lnTo>
                      <a:pt x="130" y="240"/>
                    </a:lnTo>
                    <a:lnTo>
                      <a:pt x="130" y="218"/>
                    </a:lnTo>
                    <a:close/>
                    <a:moveTo>
                      <a:pt x="130" y="188"/>
                    </a:moveTo>
                    <a:lnTo>
                      <a:pt x="152" y="188"/>
                    </a:lnTo>
                    <a:lnTo>
                      <a:pt x="152" y="210"/>
                    </a:lnTo>
                    <a:lnTo>
                      <a:pt x="130" y="210"/>
                    </a:lnTo>
                    <a:lnTo>
                      <a:pt x="130" y="188"/>
                    </a:lnTo>
                    <a:close/>
                    <a:moveTo>
                      <a:pt x="130" y="156"/>
                    </a:moveTo>
                    <a:lnTo>
                      <a:pt x="152" y="156"/>
                    </a:lnTo>
                    <a:lnTo>
                      <a:pt x="152" y="180"/>
                    </a:lnTo>
                    <a:lnTo>
                      <a:pt x="130" y="180"/>
                    </a:lnTo>
                    <a:lnTo>
                      <a:pt x="130" y="156"/>
                    </a:lnTo>
                    <a:close/>
                    <a:moveTo>
                      <a:pt x="130" y="126"/>
                    </a:moveTo>
                    <a:lnTo>
                      <a:pt x="152" y="126"/>
                    </a:lnTo>
                    <a:lnTo>
                      <a:pt x="152" y="150"/>
                    </a:lnTo>
                    <a:lnTo>
                      <a:pt x="130" y="150"/>
                    </a:lnTo>
                    <a:lnTo>
                      <a:pt x="130" y="126"/>
                    </a:lnTo>
                    <a:close/>
                    <a:moveTo>
                      <a:pt x="100" y="218"/>
                    </a:moveTo>
                    <a:lnTo>
                      <a:pt x="122" y="218"/>
                    </a:lnTo>
                    <a:lnTo>
                      <a:pt x="122" y="240"/>
                    </a:lnTo>
                    <a:lnTo>
                      <a:pt x="100" y="240"/>
                    </a:lnTo>
                    <a:lnTo>
                      <a:pt x="100" y="218"/>
                    </a:lnTo>
                    <a:close/>
                    <a:moveTo>
                      <a:pt x="100" y="188"/>
                    </a:moveTo>
                    <a:lnTo>
                      <a:pt x="122" y="188"/>
                    </a:lnTo>
                    <a:lnTo>
                      <a:pt x="122" y="210"/>
                    </a:lnTo>
                    <a:lnTo>
                      <a:pt x="100" y="210"/>
                    </a:lnTo>
                    <a:lnTo>
                      <a:pt x="100" y="188"/>
                    </a:lnTo>
                    <a:close/>
                    <a:moveTo>
                      <a:pt x="100" y="156"/>
                    </a:moveTo>
                    <a:lnTo>
                      <a:pt x="122" y="156"/>
                    </a:lnTo>
                    <a:lnTo>
                      <a:pt x="122" y="180"/>
                    </a:lnTo>
                    <a:lnTo>
                      <a:pt x="100" y="180"/>
                    </a:lnTo>
                    <a:lnTo>
                      <a:pt x="100" y="156"/>
                    </a:lnTo>
                    <a:close/>
                    <a:moveTo>
                      <a:pt x="100" y="126"/>
                    </a:moveTo>
                    <a:lnTo>
                      <a:pt x="122" y="126"/>
                    </a:lnTo>
                    <a:lnTo>
                      <a:pt x="122" y="150"/>
                    </a:lnTo>
                    <a:lnTo>
                      <a:pt x="100" y="150"/>
                    </a:lnTo>
                    <a:lnTo>
                      <a:pt x="100" y="126"/>
                    </a:lnTo>
                    <a:close/>
                    <a:moveTo>
                      <a:pt x="70" y="218"/>
                    </a:moveTo>
                    <a:lnTo>
                      <a:pt x="92" y="218"/>
                    </a:lnTo>
                    <a:lnTo>
                      <a:pt x="92" y="240"/>
                    </a:lnTo>
                    <a:lnTo>
                      <a:pt x="70" y="240"/>
                    </a:lnTo>
                    <a:lnTo>
                      <a:pt x="70" y="218"/>
                    </a:lnTo>
                    <a:close/>
                    <a:moveTo>
                      <a:pt x="70" y="188"/>
                    </a:moveTo>
                    <a:lnTo>
                      <a:pt x="92" y="188"/>
                    </a:lnTo>
                    <a:lnTo>
                      <a:pt x="92" y="210"/>
                    </a:lnTo>
                    <a:lnTo>
                      <a:pt x="70" y="210"/>
                    </a:lnTo>
                    <a:lnTo>
                      <a:pt x="70" y="188"/>
                    </a:lnTo>
                    <a:close/>
                    <a:moveTo>
                      <a:pt x="70" y="156"/>
                    </a:moveTo>
                    <a:lnTo>
                      <a:pt x="92" y="156"/>
                    </a:lnTo>
                    <a:lnTo>
                      <a:pt x="92" y="180"/>
                    </a:lnTo>
                    <a:lnTo>
                      <a:pt x="70" y="180"/>
                    </a:lnTo>
                    <a:lnTo>
                      <a:pt x="70" y="156"/>
                    </a:lnTo>
                    <a:close/>
                    <a:moveTo>
                      <a:pt x="70" y="126"/>
                    </a:moveTo>
                    <a:lnTo>
                      <a:pt x="92" y="126"/>
                    </a:lnTo>
                    <a:lnTo>
                      <a:pt x="92" y="150"/>
                    </a:lnTo>
                    <a:lnTo>
                      <a:pt x="70" y="150"/>
                    </a:lnTo>
                    <a:lnTo>
                      <a:pt x="70" y="126"/>
                    </a:lnTo>
                    <a:close/>
                    <a:moveTo>
                      <a:pt x="36" y="218"/>
                    </a:moveTo>
                    <a:lnTo>
                      <a:pt x="62" y="218"/>
                    </a:lnTo>
                    <a:lnTo>
                      <a:pt x="62" y="240"/>
                    </a:lnTo>
                    <a:lnTo>
                      <a:pt x="36" y="240"/>
                    </a:lnTo>
                    <a:lnTo>
                      <a:pt x="36" y="218"/>
                    </a:lnTo>
                    <a:close/>
                    <a:moveTo>
                      <a:pt x="36" y="188"/>
                    </a:moveTo>
                    <a:lnTo>
                      <a:pt x="62" y="188"/>
                    </a:lnTo>
                    <a:lnTo>
                      <a:pt x="62" y="210"/>
                    </a:lnTo>
                    <a:lnTo>
                      <a:pt x="36" y="210"/>
                    </a:lnTo>
                    <a:lnTo>
                      <a:pt x="36" y="188"/>
                    </a:lnTo>
                    <a:close/>
                    <a:moveTo>
                      <a:pt x="36" y="156"/>
                    </a:moveTo>
                    <a:lnTo>
                      <a:pt x="62" y="156"/>
                    </a:lnTo>
                    <a:lnTo>
                      <a:pt x="62" y="180"/>
                    </a:lnTo>
                    <a:lnTo>
                      <a:pt x="36" y="180"/>
                    </a:lnTo>
                    <a:lnTo>
                      <a:pt x="36" y="156"/>
                    </a:lnTo>
                    <a:close/>
                    <a:moveTo>
                      <a:pt x="36" y="126"/>
                    </a:moveTo>
                    <a:lnTo>
                      <a:pt x="62" y="126"/>
                    </a:lnTo>
                    <a:lnTo>
                      <a:pt x="62" y="150"/>
                    </a:lnTo>
                    <a:lnTo>
                      <a:pt x="36" y="150"/>
                    </a:lnTo>
                    <a:lnTo>
                      <a:pt x="36" y="12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85CE61CF-26F6-49B0-8DC9-A0A910FF73E2}"/>
                </a:ext>
              </a:extLst>
            </p:cNvPr>
            <p:cNvGrpSpPr/>
            <p:nvPr/>
          </p:nvGrpSpPr>
          <p:grpSpPr>
            <a:xfrm>
              <a:off x="7265088" y="5519616"/>
              <a:ext cx="156390" cy="147893"/>
              <a:chOff x="12500541" y="2739517"/>
              <a:chExt cx="157159" cy="128810"/>
            </a:xfrm>
          </p:grpSpPr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F72CE634-7E19-43EA-BB92-3612129D6614}"/>
                  </a:ext>
                </a:extLst>
              </p:cNvPr>
              <p:cNvSpPr/>
              <p:nvPr/>
            </p:nvSpPr>
            <p:spPr bwMode="ltGray">
              <a:xfrm>
                <a:off x="12500541" y="2739517"/>
                <a:ext cx="157159" cy="128810"/>
              </a:xfrm>
              <a:prstGeom prst="ellipse">
                <a:avLst/>
              </a:prstGeom>
              <a:solidFill>
                <a:srgbClr val="FFCF48"/>
              </a:solidFill>
              <a:ln w="3175">
                <a:solidFill>
                  <a:srgbClr val="FFCF4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61" name="Freeform 12">
                <a:extLst>
                  <a:ext uri="{FF2B5EF4-FFF2-40B4-BE49-F238E27FC236}">
                    <a16:creationId xmlns:a16="http://schemas.microsoft.com/office/drawing/2014/main" id="{83B2A20B-3322-4AEA-A861-B4D8966B51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25075" y="2770411"/>
                <a:ext cx="108972" cy="65230"/>
              </a:xfrm>
              <a:custGeom>
                <a:avLst/>
                <a:gdLst>
                  <a:gd name="T0" fmla="*/ 334 w 356"/>
                  <a:gd name="T1" fmla="*/ 12 h 260"/>
                  <a:gd name="T2" fmla="*/ 298 w 356"/>
                  <a:gd name="T3" fmla="*/ 12 h 260"/>
                  <a:gd name="T4" fmla="*/ 342 w 356"/>
                  <a:gd name="T5" fmla="*/ 132 h 260"/>
                  <a:gd name="T6" fmla="*/ 356 w 356"/>
                  <a:gd name="T7" fmla="*/ 260 h 260"/>
                  <a:gd name="T8" fmla="*/ 348 w 356"/>
                  <a:gd name="T9" fmla="*/ 140 h 260"/>
                  <a:gd name="T10" fmla="*/ 276 w 356"/>
                  <a:gd name="T11" fmla="*/ 150 h 260"/>
                  <a:gd name="T12" fmla="*/ 258 w 356"/>
                  <a:gd name="T13" fmla="*/ 66 h 260"/>
                  <a:gd name="T14" fmla="*/ 142 w 356"/>
                  <a:gd name="T15" fmla="*/ 100 h 260"/>
                  <a:gd name="T16" fmla="*/ 76 w 356"/>
                  <a:gd name="T17" fmla="*/ 64 h 260"/>
                  <a:gd name="T18" fmla="*/ 220 w 356"/>
                  <a:gd name="T19" fmla="*/ 218 h 260"/>
                  <a:gd name="T20" fmla="*/ 220 w 356"/>
                  <a:gd name="T21" fmla="*/ 240 h 260"/>
                  <a:gd name="T22" fmla="*/ 250 w 356"/>
                  <a:gd name="T23" fmla="*/ 188 h 260"/>
                  <a:gd name="T24" fmla="*/ 220 w 356"/>
                  <a:gd name="T25" fmla="*/ 188 h 260"/>
                  <a:gd name="T26" fmla="*/ 250 w 356"/>
                  <a:gd name="T27" fmla="*/ 180 h 260"/>
                  <a:gd name="T28" fmla="*/ 220 w 356"/>
                  <a:gd name="T29" fmla="*/ 126 h 260"/>
                  <a:gd name="T30" fmla="*/ 220 w 356"/>
                  <a:gd name="T31" fmla="*/ 150 h 260"/>
                  <a:gd name="T32" fmla="*/ 214 w 356"/>
                  <a:gd name="T33" fmla="*/ 218 h 260"/>
                  <a:gd name="T34" fmla="*/ 190 w 356"/>
                  <a:gd name="T35" fmla="*/ 218 h 260"/>
                  <a:gd name="T36" fmla="*/ 214 w 356"/>
                  <a:gd name="T37" fmla="*/ 210 h 260"/>
                  <a:gd name="T38" fmla="*/ 190 w 356"/>
                  <a:gd name="T39" fmla="*/ 156 h 260"/>
                  <a:gd name="T40" fmla="*/ 190 w 356"/>
                  <a:gd name="T41" fmla="*/ 180 h 260"/>
                  <a:gd name="T42" fmla="*/ 214 w 356"/>
                  <a:gd name="T43" fmla="*/ 126 h 260"/>
                  <a:gd name="T44" fmla="*/ 190 w 356"/>
                  <a:gd name="T45" fmla="*/ 126 h 260"/>
                  <a:gd name="T46" fmla="*/ 182 w 356"/>
                  <a:gd name="T47" fmla="*/ 240 h 260"/>
                  <a:gd name="T48" fmla="*/ 160 w 356"/>
                  <a:gd name="T49" fmla="*/ 188 h 260"/>
                  <a:gd name="T50" fmla="*/ 160 w 356"/>
                  <a:gd name="T51" fmla="*/ 210 h 260"/>
                  <a:gd name="T52" fmla="*/ 182 w 356"/>
                  <a:gd name="T53" fmla="*/ 156 h 260"/>
                  <a:gd name="T54" fmla="*/ 160 w 356"/>
                  <a:gd name="T55" fmla="*/ 156 h 260"/>
                  <a:gd name="T56" fmla="*/ 182 w 356"/>
                  <a:gd name="T57" fmla="*/ 150 h 260"/>
                  <a:gd name="T58" fmla="*/ 130 w 356"/>
                  <a:gd name="T59" fmla="*/ 218 h 260"/>
                  <a:gd name="T60" fmla="*/ 130 w 356"/>
                  <a:gd name="T61" fmla="*/ 240 h 260"/>
                  <a:gd name="T62" fmla="*/ 152 w 356"/>
                  <a:gd name="T63" fmla="*/ 188 h 260"/>
                  <a:gd name="T64" fmla="*/ 130 w 356"/>
                  <a:gd name="T65" fmla="*/ 188 h 260"/>
                  <a:gd name="T66" fmla="*/ 152 w 356"/>
                  <a:gd name="T67" fmla="*/ 180 h 260"/>
                  <a:gd name="T68" fmla="*/ 130 w 356"/>
                  <a:gd name="T69" fmla="*/ 126 h 260"/>
                  <a:gd name="T70" fmla="*/ 130 w 356"/>
                  <a:gd name="T71" fmla="*/ 150 h 260"/>
                  <a:gd name="T72" fmla="*/ 122 w 356"/>
                  <a:gd name="T73" fmla="*/ 218 h 260"/>
                  <a:gd name="T74" fmla="*/ 100 w 356"/>
                  <a:gd name="T75" fmla="*/ 218 h 260"/>
                  <a:gd name="T76" fmla="*/ 122 w 356"/>
                  <a:gd name="T77" fmla="*/ 210 h 260"/>
                  <a:gd name="T78" fmla="*/ 100 w 356"/>
                  <a:gd name="T79" fmla="*/ 156 h 260"/>
                  <a:gd name="T80" fmla="*/ 100 w 356"/>
                  <a:gd name="T81" fmla="*/ 180 h 260"/>
                  <a:gd name="T82" fmla="*/ 122 w 356"/>
                  <a:gd name="T83" fmla="*/ 126 h 260"/>
                  <a:gd name="T84" fmla="*/ 100 w 356"/>
                  <a:gd name="T85" fmla="*/ 126 h 260"/>
                  <a:gd name="T86" fmla="*/ 92 w 356"/>
                  <a:gd name="T87" fmla="*/ 240 h 260"/>
                  <a:gd name="T88" fmla="*/ 70 w 356"/>
                  <a:gd name="T89" fmla="*/ 188 h 260"/>
                  <a:gd name="T90" fmla="*/ 70 w 356"/>
                  <a:gd name="T91" fmla="*/ 210 h 260"/>
                  <a:gd name="T92" fmla="*/ 92 w 356"/>
                  <a:gd name="T93" fmla="*/ 156 h 260"/>
                  <a:gd name="T94" fmla="*/ 70 w 356"/>
                  <a:gd name="T95" fmla="*/ 156 h 260"/>
                  <a:gd name="T96" fmla="*/ 92 w 356"/>
                  <a:gd name="T97" fmla="*/ 150 h 260"/>
                  <a:gd name="T98" fmla="*/ 36 w 356"/>
                  <a:gd name="T99" fmla="*/ 218 h 260"/>
                  <a:gd name="T100" fmla="*/ 36 w 356"/>
                  <a:gd name="T101" fmla="*/ 240 h 260"/>
                  <a:gd name="T102" fmla="*/ 62 w 356"/>
                  <a:gd name="T103" fmla="*/ 188 h 260"/>
                  <a:gd name="T104" fmla="*/ 36 w 356"/>
                  <a:gd name="T105" fmla="*/ 188 h 260"/>
                  <a:gd name="T106" fmla="*/ 62 w 356"/>
                  <a:gd name="T107" fmla="*/ 180 h 260"/>
                  <a:gd name="T108" fmla="*/ 36 w 356"/>
                  <a:gd name="T109" fmla="*/ 126 h 260"/>
                  <a:gd name="T110" fmla="*/ 36 w 356"/>
                  <a:gd name="T111" fmla="*/ 15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6" h="260">
                    <a:moveTo>
                      <a:pt x="342" y="132"/>
                    </a:moveTo>
                    <a:lnTo>
                      <a:pt x="332" y="12"/>
                    </a:lnTo>
                    <a:lnTo>
                      <a:pt x="334" y="12"/>
                    </a:lnTo>
                    <a:lnTo>
                      <a:pt x="334" y="0"/>
                    </a:lnTo>
                    <a:lnTo>
                      <a:pt x="298" y="0"/>
                    </a:lnTo>
                    <a:lnTo>
                      <a:pt x="298" y="12"/>
                    </a:lnTo>
                    <a:lnTo>
                      <a:pt x="300" y="12"/>
                    </a:lnTo>
                    <a:lnTo>
                      <a:pt x="290" y="132"/>
                    </a:lnTo>
                    <a:lnTo>
                      <a:pt x="342" y="132"/>
                    </a:lnTo>
                    <a:close/>
                    <a:moveTo>
                      <a:pt x="0" y="102"/>
                    </a:moveTo>
                    <a:lnTo>
                      <a:pt x="0" y="260"/>
                    </a:lnTo>
                    <a:lnTo>
                      <a:pt x="356" y="260"/>
                    </a:lnTo>
                    <a:lnTo>
                      <a:pt x="356" y="150"/>
                    </a:lnTo>
                    <a:lnTo>
                      <a:pt x="348" y="150"/>
                    </a:lnTo>
                    <a:lnTo>
                      <a:pt x="348" y="140"/>
                    </a:lnTo>
                    <a:lnTo>
                      <a:pt x="284" y="140"/>
                    </a:lnTo>
                    <a:lnTo>
                      <a:pt x="284" y="150"/>
                    </a:lnTo>
                    <a:lnTo>
                      <a:pt x="276" y="150"/>
                    </a:lnTo>
                    <a:lnTo>
                      <a:pt x="276" y="106"/>
                    </a:lnTo>
                    <a:lnTo>
                      <a:pt x="264" y="106"/>
                    </a:lnTo>
                    <a:lnTo>
                      <a:pt x="258" y="66"/>
                    </a:lnTo>
                    <a:lnTo>
                      <a:pt x="204" y="102"/>
                    </a:lnTo>
                    <a:lnTo>
                      <a:pt x="198" y="66"/>
                    </a:lnTo>
                    <a:lnTo>
                      <a:pt x="142" y="100"/>
                    </a:lnTo>
                    <a:lnTo>
                      <a:pt x="138" y="64"/>
                    </a:lnTo>
                    <a:lnTo>
                      <a:pt x="82" y="100"/>
                    </a:lnTo>
                    <a:lnTo>
                      <a:pt x="76" y="64"/>
                    </a:lnTo>
                    <a:lnTo>
                      <a:pt x="12" y="102"/>
                    </a:lnTo>
                    <a:lnTo>
                      <a:pt x="0" y="102"/>
                    </a:lnTo>
                    <a:close/>
                    <a:moveTo>
                      <a:pt x="220" y="218"/>
                    </a:moveTo>
                    <a:lnTo>
                      <a:pt x="250" y="218"/>
                    </a:lnTo>
                    <a:lnTo>
                      <a:pt x="250" y="240"/>
                    </a:lnTo>
                    <a:lnTo>
                      <a:pt x="220" y="240"/>
                    </a:lnTo>
                    <a:lnTo>
                      <a:pt x="220" y="218"/>
                    </a:lnTo>
                    <a:close/>
                    <a:moveTo>
                      <a:pt x="220" y="188"/>
                    </a:moveTo>
                    <a:lnTo>
                      <a:pt x="250" y="188"/>
                    </a:lnTo>
                    <a:lnTo>
                      <a:pt x="250" y="210"/>
                    </a:lnTo>
                    <a:lnTo>
                      <a:pt x="220" y="210"/>
                    </a:lnTo>
                    <a:lnTo>
                      <a:pt x="220" y="188"/>
                    </a:lnTo>
                    <a:close/>
                    <a:moveTo>
                      <a:pt x="220" y="156"/>
                    </a:moveTo>
                    <a:lnTo>
                      <a:pt x="250" y="156"/>
                    </a:lnTo>
                    <a:lnTo>
                      <a:pt x="250" y="180"/>
                    </a:lnTo>
                    <a:lnTo>
                      <a:pt x="220" y="180"/>
                    </a:lnTo>
                    <a:lnTo>
                      <a:pt x="220" y="156"/>
                    </a:lnTo>
                    <a:close/>
                    <a:moveTo>
                      <a:pt x="220" y="126"/>
                    </a:moveTo>
                    <a:lnTo>
                      <a:pt x="250" y="126"/>
                    </a:lnTo>
                    <a:lnTo>
                      <a:pt x="250" y="150"/>
                    </a:lnTo>
                    <a:lnTo>
                      <a:pt x="220" y="150"/>
                    </a:lnTo>
                    <a:lnTo>
                      <a:pt x="220" y="126"/>
                    </a:lnTo>
                    <a:close/>
                    <a:moveTo>
                      <a:pt x="190" y="218"/>
                    </a:moveTo>
                    <a:lnTo>
                      <a:pt x="214" y="218"/>
                    </a:lnTo>
                    <a:lnTo>
                      <a:pt x="214" y="240"/>
                    </a:lnTo>
                    <a:lnTo>
                      <a:pt x="190" y="240"/>
                    </a:lnTo>
                    <a:lnTo>
                      <a:pt x="190" y="218"/>
                    </a:lnTo>
                    <a:close/>
                    <a:moveTo>
                      <a:pt x="190" y="188"/>
                    </a:moveTo>
                    <a:lnTo>
                      <a:pt x="214" y="188"/>
                    </a:lnTo>
                    <a:lnTo>
                      <a:pt x="214" y="210"/>
                    </a:lnTo>
                    <a:lnTo>
                      <a:pt x="190" y="210"/>
                    </a:lnTo>
                    <a:lnTo>
                      <a:pt x="190" y="188"/>
                    </a:lnTo>
                    <a:close/>
                    <a:moveTo>
                      <a:pt x="190" y="156"/>
                    </a:moveTo>
                    <a:lnTo>
                      <a:pt x="214" y="156"/>
                    </a:lnTo>
                    <a:lnTo>
                      <a:pt x="214" y="180"/>
                    </a:lnTo>
                    <a:lnTo>
                      <a:pt x="190" y="180"/>
                    </a:lnTo>
                    <a:lnTo>
                      <a:pt x="190" y="156"/>
                    </a:lnTo>
                    <a:close/>
                    <a:moveTo>
                      <a:pt x="190" y="126"/>
                    </a:moveTo>
                    <a:lnTo>
                      <a:pt x="214" y="126"/>
                    </a:lnTo>
                    <a:lnTo>
                      <a:pt x="214" y="150"/>
                    </a:lnTo>
                    <a:lnTo>
                      <a:pt x="190" y="150"/>
                    </a:lnTo>
                    <a:lnTo>
                      <a:pt x="190" y="126"/>
                    </a:lnTo>
                    <a:close/>
                    <a:moveTo>
                      <a:pt x="160" y="218"/>
                    </a:moveTo>
                    <a:lnTo>
                      <a:pt x="182" y="218"/>
                    </a:lnTo>
                    <a:lnTo>
                      <a:pt x="182" y="240"/>
                    </a:lnTo>
                    <a:lnTo>
                      <a:pt x="160" y="240"/>
                    </a:lnTo>
                    <a:lnTo>
                      <a:pt x="160" y="218"/>
                    </a:lnTo>
                    <a:close/>
                    <a:moveTo>
                      <a:pt x="160" y="188"/>
                    </a:moveTo>
                    <a:lnTo>
                      <a:pt x="182" y="188"/>
                    </a:lnTo>
                    <a:lnTo>
                      <a:pt x="182" y="210"/>
                    </a:lnTo>
                    <a:lnTo>
                      <a:pt x="160" y="210"/>
                    </a:lnTo>
                    <a:lnTo>
                      <a:pt x="160" y="188"/>
                    </a:lnTo>
                    <a:close/>
                    <a:moveTo>
                      <a:pt x="160" y="156"/>
                    </a:moveTo>
                    <a:lnTo>
                      <a:pt x="182" y="156"/>
                    </a:lnTo>
                    <a:lnTo>
                      <a:pt x="182" y="180"/>
                    </a:lnTo>
                    <a:lnTo>
                      <a:pt x="160" y="180"/>
                    </a:lnTo>
                    <a:lnTo>
                      <a:pt x="160" y="156"/>
                    </a:lnTo>
                    <a:close/>
                    <a:moveTo>
                      <a:pt x="160" y="126"/>
                    </a:moveTo>
                    <a:lnTo>
                      <a:pt x="182" y="126"/>
                    </a:lnTo>
                    <a:lnTo>
                      <a:pt x="182" y="150"/>
                    </a:lnTo>
                    <a:lnTo>
                      <a:pt x="160" y="150"/>
                    </a:lnTo>
                    <a:lnTo>
                      <a:pt x="160" y="126"/>
                    </a:lnTo>
                    <a:close/>
                    <a:moveTo>
                      <a:pt x="130" y="218"/>
                    </a:moveTo>
                    <a:lnTo>
                      <a:pt x="152" y="218"/>
                    </a:lnTo>
                    <a:lnTo>
                      <a:pt x="152" y="240"/>
                    </a:lnTo>
                    <a:lnTo>
                      <a:pt x="130" y="240"/>
                    </a:lnTo>
                    <a:lnTo>
                      <a:pt x="130" y="218"/>
                    </a:lnTo>
                    <a:close/>
                    <a:moveTo>
                      <a:pt x="130" y="188"/>
                    </a:moveTo>
                    <a:lnTo>
                      <a:pt x="152" y="188"/>
                    </a:lnTo>
                    <a:lnTo>
                      <a:pt x="152" y="210"/>
                    </a:lnTo>
                    <a:lnTo>
                      <a:pt x="130" y="210"/>
                    </a:lnTo>
                    <a:lnTo>
                      <a:pt x="130" y="188"/>
                    </a:lnTo>
                    <a:close/>
                    <a:moveTo>
                      <a:pt x="130" y="156"/>
                    </a:moveTo>
                    <a:lnTo>
                      <a:pt x="152" y="156"/>
                    </a:lnTo>
                    <a:lnTo>
                      <a:pt x="152" y="180"/>
                    </a:lnTo>
                    <a:lnTo>
                      <a:pt x="130" y="180"/>
                    </a:lnTo>
                    <a:lnTo>
                      <a:pt x="130" y="156"/>
                    </a:lnTo>
                    <a:close/>
                    <a:moveTo>
                      <a:pt x="130" y="126"/>
                    </a:moveTo>
                    <a:lnTo>
                      <a:pt x="152" y="126"/>
                    </a:lnTo>
                    <a:lnTo>
                      <a:pt x="152" y="150"/>
                    </a:lnTo>
                    <a:lnTo>
                      <a:pt x="130" y="150"/>
                    </a:lnTo>
                    <a:lnTo>
                      <a:pt x="130" y="126"/>
                    </a:lnTo>
                    <a:close/>
                    <a:moveTo>
                      <a:pt x="100" y="218"/>
                    </a:moveTo>
                    <a:lnTo>
                      <a:pt x="122" y="218"/>
                    </a:lnTo>
                    <a:lnTo>
                      <a:pt x="122" y="240"/>
                    </a:lnTo>
                    <a:lnTo>
                      <a:pt x="100" y="240"/>
                    </a:lnTo>
                    <a:lnTo>
                      <a:pt x="100" y="218"/>
                    </a:lnTo>
                    <a:close/>
                    <a:moveTo>
                      <a:pt x="100" y="188"/>
                    </a:moveTo>
                    <a:lnTo>
                      <a:pt x="122" y="188"/>
                    </a:lnTo>
                    <a:lnTo>
                      <a:pt x="122" y="210"/>
                    </a:lnTo>
                    <a:lnTo>
                      <a:pt x="100" y="210"/>
                    </a:lnTo>
                    <a:lnTo>
                      <a:pt x="100" y="188"/>
                    </a:lnTo>
                    <a:close/>
                    <a:moveTo>
                      <a:pt x="100" y="156"/>
                    </a:moveTo>
                    <a:lnTo>
                      <a:pt x="122" y="156"/>
                    </a:lnTo>
                    <a:lnTo>
                      <a:pt x="122" y="180"/>
                    </a:lnTo>
                    <a:lnTo>
                      <a:pt x="100" y="180"/>
                    </a:lnTo>
                    <a:lnTo>
                      <a:pt x="100" y="156"/>
                    </a:lnTo>
                    <a:close/>
                    <a:moveTo>
                      <a:pt x="100" y="126"/>
                    </a:moveTo>
                    <a:lnTo>
                      <a:pt x="122" y="126"/>
                    </a:lnTo>
                    <a:lnTo>
                      <a:pt x="122" y="150"/>
                    </a:lnTo>
                    <a:lnTo>
                      <a:pt x="100" y="150"/>
                    </a:lnTo>
                    <a:lnTo>
                      <a:pt x="100" y="126"/>
                    </a:lnTo>
                    <a:close/>
                    <a:moveTo>
                      <a:pt x="70" y="218"/>
                    </a:moveTo>
                    <a:lnTo>
                      <a:pt x="92" y="218"/>
                    </a:lnTo>
                    <a:lnTo>
                      <a:pt x="92" y="240"/>
                    </a:lnTo>
                    <a:lnTo>
                      <a:pt x="70" y="240"/>
                    </a:lnTo>
                    <a:lnTo>
                      <a:pt x="70" y="218"/>
                    </a:lnTo>
                    <a:close/>
                    <a:moveTo>
                      <a:pt x="70" y="188"/>
                    </a:moveTo>
                    <a:lnTo>
                      <a:pt x="92" y="188"/>
                    </a:lnTo>
                    <a:lnTo>
                      <a:pt x="92" y="210"/>
                    </a:lnTo>
                    <a:lnTo>
                      <a:pt x="70" y="210"/>
                    </a:lnTo>
                    <a:lnTo>
                      <a:pt x="70" y="188"/>
                    </a:lnTo>
                    <a:close/>
                    <a:moveTo>
                      <a:pt x="70" y="156"/>
                    </a:moveTo>
                    <a:lnTo>
                      <a:pt x="92" y="156"/>
                    </a:lnTo>
                    <a:lnTo>
                      <a:pt x="92" y="180"/>
                    </a:lnTo>
                    <a:lnTo>
                      <a:pt x="70" y="180"/>
                    </a:lnTo>
                    <a:lnTo>
                      <a:pt x="70" y="156"/>
                    </a:lnTo>
                    <a:close/>
                    <a:moveTo>
                      <a:pt x="70" y="126"/>
                    </a:moveTo>
                    <a:lnTo>
                      <a:pt x="92" y="126"/>
                    </a:lnTo>
                    <a:lnTo>
                      <a:pt x="92" y="150"/>
                    </a:lnTo>
                    <a:lnTo>
                      <a:pt x="70" y="150"/>
                    </a:lnTo>
                    <a:lnTo>
                      <a:pt x="70" y="126"/>
                    </a:lnTo>
                    <a:close/>
                    <a:moveTo>
                      <a:pt x="36" y="218"/>
                    </a:moveTo>
                    <a:lnTo>
                      <a:pt x="62" y="218"/>
                    </a:lnTo>
                    <a:lnTo>
                      <a:pt x="62" y="240"/>
                    </a:lnTo>
                    <a:lnTo>
                      <a:pt x="36" y="240"/>
                    </a:lnTo>
                    <a:lnTo>
                      <a:pt x="36" y="218"/>
                    </a:lnTo>
                    <a:close/>
                    <a:moveTo>
                      <a:pt x="36" y="188"/>
                    </a:moveTo>
                    <a:lnTo>
                      <a:pt x="62" y="188"/>
                    </a:lnTo>
                    <a:lnTo>
                      <a:pt x="62" y="210"/>
                    </a:lnTo>
                    <a:lnTo>
                      <a:pt x="36" y="210"/>
                    </a:lnTo>
                    <a:lnTo>
                      <a:pt x="36" y="188"/>
                    </a:lnTo>
                    <a:close/>
                    <a:moveTo>
                      <a:pt x="36" y="156"/>
                    </a:moveTo>
                    <a:lnTo>
                      <a:pt x="62" y="156"/>
                    </a:lnTo>
                    <a:lnTo>
                      <a:pt x="62" y="180"/>
                    </a:lnTo>
                    <a:lnTo>
                      <a:pt x="36" y="180"/>
                    </a:lnTo>
                    <a:lnTo>
                      <a:pt x="36" y="156"/>
                    </a:lnTo>
                    <a:close/>
                    <a:moveTo>
                      <a:pt x="36" y="126"/>
                    </a:moveTo>
                    <a:lnTo>
                      <a:pt x="62" y="126"/>
                    </a:lnTo>
                    <a:lnTo>
                      <a:pt x="62" y="150"/>
                    </a:lnTo>
                    <a:lnTo>
                      <a:pt x="36" y="150"/>
                    </a:lnTo>
                    <a:lnTo>
                      <a:pt x="36" y="12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3C234418-AD6A-4452-93C2-869A0EC89709}"/>
                </a:ext>
              </a:extLst>
            </p:cNvPr>
            <p:cNvGrpSpPr/>
            <p:nvPr/>
          </p:nvGrpSpPr>
          <p:grpSpPr>
            <a:xfrm>
              <a:off x="6327426" y="5375551"/>
              <a:ext cx="156390" cy="147893"/>
              <a:chOff x="12500541" y="2739517"/>
              <a:chExt cx="157159" cy="128810"/>
            </a:xfrm>
          </p:grpSpPr>
          <p:sp>
            <p:nvSpPr>
              <p:cNvPr id="258" name="Oval 257">
                <a:extLst>
                  <a:ext uri="{FF2B5EF4-FFF2-40B4-BE49-F238E27FC236}">
                    <a16:creationId xmlns:a16="http://schemas.microsoft.com/office/drawing/2014/main" id="{828E559D-B22F-4C94-B8B3-72DE05A3D587}"/>
                  </a:ext>
                </a:extLst>
              </p:cNvPr>
              <p:cNvSpPr/>
              <p:nvPr/>
            </p:nvSpPr>
            <p:spPr bwMode="ltGray">
              <a:xfrm>
                <a:off x="12500541" y="2739517"/>
                <a:ext cx="157159" cy="128810"/>
              </a:xfrm>
              <a:prstGeom prst="ellipse">
                <a:avLst/>
              </a:prstGeom>
              <a:solidFill>
                <a:srgbClr val="FFCF48"/>
              </a:solidFill>
              <a:ln w="3175">
                <a:solidFill>
                  <a:srgbClr val="FFCF4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59" name="Freeform 12">
                <a:extLst>
                  <a:ext uri="{FF2B5EF4-FFF2-40B4-BE49-F238E27FC236}">
                    <a16:creationId xmlns:a16="http://schemas.microsoft.com/office/drawing/2014/main" id="{F2E8AA35-A783-4227-889E-74D07436CD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25075" y="2770411"/>
                <a:ext cx="108972" cy="65230"/>
              </a:xfrm>
              <a:custGeom>
                <a:avLst/>
                <a:gdLst>
                  <a:gd name="T0" fmla="*/ 334 w 356"/>
                  <a:gd name="T1" fmla="*/ 12 h 260"/>
                  <a:gd name="T2" fmla="*/ 298 w 356"/>
                  <a:gd name="T3" fmla="*/ 12 h 260"/>
                  <a:gd name="T4" fmla="*/ 342 w 356"/>
                  <a:gd name="T5" fmla="*/ 132 h 260"/>
                  <a:gd name="T6" fmla="*/ 356 w 356"/>
                  <a:gd name="T7" fmla="*/ 260 h 260"/>
                  <a:gd name="T8" fmla="*/ 348 w 356"/>
                  <a:gd name="T9" fmla="*/ 140 h 260"/>
                  <a:gd name="T10" fmla="*/ 276 w 356"/>
                  <a:gd name="T11" fmla="*/ 150 h 260"/>
                  <a:gd name="T12" fmla="*/ 258 w 356"/>
                  <a:gd name="T13" fmla="*/ 66 h 260"/>
                  <a:gd name="T14" fmla="*/ 142 w 356"/>
                  <a:gd name="T15" fmla="*/ 100 h 260"/>
                  <a:gd name="T16" fmla="*/ 76 w 356"/>
                  <a:gd name="T17" fmla="*/ 64 h 260"/>
                  <a:gd name="T18" fmla="*/ 220 w 356"/>
                  <a:gd name="T19" fmla="*/ 218 h 260"/>
                  <a:gd name="T20" fmla="*/ 220 w 356"/>
                  <a:gd name="T21" fmla="*/ 240 h 260"/>
                  <a:gd name="T22" fmla="*/ 250 w 356"/>
                  <a:gd name="T23" fmla="*/ 188 h 260"/>
                  <a:gd name="T24" fmla="*/ 220 w 356"/>
                  <a:gd name="T25" fmla="*/ 188 h 260"/>
                  <a:gd name="T26" fmla="*/ 250 w 356"/>
                  <a:gd name="T27" fmla="*/ 180 h 260"/>
                  <a:gd name="T28" fmla="*/ 220 w 356"/>
                  <a:gd name="T29" fmla="*/ 126 h 260"/>
                  <a:gd name="T30" fmla="*/ 220 w 356"/>
                  <a:gd name="T31" fmla="*/ 150 h 260"/>
                  <a:gd name="T32" fmla="*/ 214 w 356"/>
                  <a:gd name="T33" fmla="*/ 218 h 260"/>
                  <a:gd name="T34" fmla="*/ 190 w 356"/>
                  <a:gd name="T35" fmla="*/ 218 h 260"/>
                  <a:gd name="T36" fmla="*/ 214 w 356"/>
                  <a:gd name="T37" fmla="*/ 210 h 260"/>
                  <a:gd name="T38" fmla="*/ 190 w 356"/>
                  <a:gd name="T39" fmla="*/ 156 h 260"/>
                  <a:gd name="T40" fmla="*/ 190 w 356"/>
                  <a:gd name="T41" fmla="*/ 180 h 260"/>
                  <a:gd name="T42" fmla="*/ 214 w 356"/>
                  <a:gd name="T43" fmla="*/ 126 h 260"/>
                  <a:gd name="T44" fmla="*/ 190 w 356"/>
                  <a:gd name="T45" fmla="*/ 126 h 260"/>
                  <a:gd name="T46" fmla="*/ 182 w 356"/>
                  <a:gd name="T47" fmla="*/ 240 h 260"/>
                  <a:gd name="T48" fmla="*/ 160 w 356"/>
                  <a:gd name="T49" fmla="*/ 188 h 260"/>
                  <a:gd name="T50" fmla="*/ 160 w 356"/>
                  <a:gd name="T51" fmla="*/ 210 h 260"/>
                  <a:gd name="T52" fmla="*/ 182 w 356"/>
                  <a:gd name="T53" fmla="*/ 156 h 260"/>
                  <a:gd name="T54" fmla="*/ 160 w 356"/>
                  <a:gd name="T55" fmla="*/ 156 h 260"/>
                  <a:gd name="T56" fmla="*/ 182 w 356"/>
                  <a:gd name="T57" fmla="*/ 150 h 260"/>
                  <a:gd name="T58" fmla="*/ 130 w 356"/>
                  <a:gd name="T59" fmla="*/ 218 h 260"/>
                  <a:gd name="T60" fmla="*/ 130 w 356"/>
                  <a:gd name="T61" fmla="*/ 240 h 260"/>
                  <a:gd name="T62" fmla="*/ 152 w 356"/>
                  <a:gd name="T63" fmla="*/ 188 h 260"/>
                  <a:gd name="T64" fmla="*/ 130 w 356"/>
                  <a:gd name="T65" fmla="*/ 188 h 260"/>
                  <a:gd name="T66" fmla="*/ 152 w 356"/>
                  <a:gd name="T67" fmla="*/ 180 h 260"/>
                  <a:gd name="T68" fmla="*/ 130 w 356"/>
                  <a:gd name="T69" fmla="*/ 126 h 260"/>
                  <a:gd name="T70" fmla="*/ 130 w 356"/>
                  <a:gd name="T71" fmla="*/ 150 h 260"/>
                  <a:gd name="T72" fmla="*/ 122 w 356"/>
                  <a:gd name="T73" fmla="*/ 218 h 260"/>
                  <a:gd name="T74" fmla="*/ 100 w 356"/>
                  <a:gd name="T75" fmla="*/ 218 h 260"/>
                  <a:gd name="T76" fmla="*/ 122 w 356"/>
                  <a:gd name="T77" fmla="*/ 210 h 260"/>
                  <a:gd name="T78" fmla="*/ 100 w 356"/>
                  <a:gd name="T79" fmla="*/ 156 h 260"/>
                  <a:gd name="T80" fmla="*/ 100 w 356"/>
                  <a:gd name="T81" fmla="*/ 180 h 260"/>
                  <a:gd name="T82" fmla="*/ 122 w 356"/>
                  <a:gd name="T83" fmla="*/ 126 h 260"/>
                  <a:gd name="T84" fmla="*/ 100 w 356"/>
                  <a:gd name="T85" fmla="*/ 126 h 260"/>
                  <a:gd name="T86" fmla="*/ 92 w 356"/>
                  <a:gd name="T87" fmla="*/ 240 h 260"/>
                  <a:gd name="T88" fmla="*/ 70 w 356"/>
                  <a:gd name="T89" fmla="*/ 188 h 260"/>
                  <a:gd name="T90" fmla="*/ 70 w 356"/>
                  <a:gd name="T91" fmla="*/ 210 h 260"/>
                  <a:gd name="T92" fmla="*/ 92 w 356"/>
                  <a:gd name="T93" fmla="*/ 156 h 260"/>
                  <a:gd name="T94" fmla="*/ 70 w 356"/>
                  <a:gd name="T95" fmla="*/ 156 h 260"/>
                  <a:gd name="T96" fmla="*/ 92 w 356"/>
                  <a:gd name="T97" fmla="*/ 150 h 260"/>
                  <a:gd name="T98" fmla="*/ 36 w 356"/>
                  <a:gd name="T99" fmla="*/ 218 h 260"/>
                  <a:gd name="T100" fmla="*/ 36 w 356"/>
                  <a:gd name="T101" fmla="*/ 240 h 260"/>
                  <a:gd name="T102" fmla="*/ 62 w 356"/>
                  <a:gd name="T103" fmla="*/ 188 h 260"/>
                  <a:gd name="T104" fmla="*/ 36 w 356"/>
                  <a:gd name="T105" fmla="*/ 188 h 260"/>
                  <a:gd name="T106" fmla="*/ 62 w 356"/>
                  <a:gd name="T107" fmla="*/ 180 h 260"/>
                  <a:gd name="T108" fmla="*/ 36 w 356"/>
                  <a:gd name="T109" fmla="*/ 126 h 260"/>
                  <a:gd name="T110" fmla="*/ 36 w 356"/>
                  <a:gd name="T111" fmla="*/ 15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6" h="260">
                    <a:moveTo>
                      <a:pt x="342" y="132"/>
                    </a:moveTo>
                    <a:lnTo>
                      <a:pt x="332" y="12"/>
                    </a:lnTo>
                    <a:lnTo>
                      <a:pt x="334" y="12"/>
                    </a:lnTo>
                    <a:lnTo>
                      <a:pt x="334" y="0"/>
                    </a:lnTo>
                    <a:lnTo>
                      <a:pt x="298" y="0"/>
                    </a:lnTo>
                    <a:lnTo>
                      <a:pt x="298" y="12"/>
                    </a:lnTo>
                    <a:lnTo>
                      <a:pt x="300" y="12"/>
                    </a:lnTo>
                    <a:lnTo>
                      <a:pt x="290" y="132"/>
                    </a:lnTo>
                    <a:lnTo>
                      <a:pt x="342" y="132"/>
                    </a:lnTo>
                    <a:close/>
                    <a:moveTo>
                      <a:pt x="0" y="102"/>
                    </a:moveTo>
                    <a:lnTo>
                      <a:pt x="0" y="260"/>
                    </a:lnTo>
                    <a:lnTo>
                      <a:pt x="356" y="260"/>
                    </a:lnTo>
                    <a:lnTo>
                      <a:pt x="356" y="150"/>
                    </a:lnTo>
                    <a:lnTo>
                      <a:pt x="348" y="150"/>
                    </a:lnTo>
                    <a:lnTo>
                      <a:pt x="348" y="140"/>
                    </a:lnTo>
                    <a:lnTo>
                      <a:pt x="284" y="140"/>
                    </a:lnTo>
                    <a:lnTo>
                      <a:pt x="284" y="150"/>
                    </a:lnTo>
                    <a:lnTo>
                      <a:pt x="276" y="150"/>
                    </a:lnTo>
                    <a:lnTo>
                      <a:pt x="276" y="106"/>
                    </a:lnTo>
                    <a:lnTo>
                      <a:pt x="264" y="106"/>
                    </a:lnTo>
                    <a:lnTo>
                      <a:pt x="258" y="66"/>
                    </a:lnTo>
                    <a:lnTo>
                      <a:pt x="204" y="102"/>
                    </a:lnTo>
                    <a:lnTo>
                      <a:pt x="198" y="66"/>
                    </a:lnTo>
                    <a:lnTo>
                      <a:pt x="142" y="100"/>
                    </a:lnTo>
                    <a:lnTo>
                      <a:pt x="138" y="64"/>
                    </a:lnTo>
                    <a:lnTo>
                      <a:pt x="82" y="100"/>
                    </a:lnTo>
                    <a:lnTo>
                      <a:pt x="76" y="64"/>
                    </a:lnTo>
                    <a:lnTo>
                      <a:pt x="12" y="102"/>
                    </a:lnTo>
                    <a:lnTo>
                      <a:pt x="0" y="102"/>
                    </a:lnTo>
                    <a:close/>
                    <a:moveTo>
                      <a:pt x="220" y="218"/>
                    </a:moveTo>
                    <a:lnTo>
                      <a:pt x="250" y="218"/>
                    </a:lnTo>
                    <a:lnTo>
                      <a:pt x="250" y="240"/>
                    </a:lnTo>
                    <a:lnTo>
                      <a:pt x="220" y="240"/>
                    </a:lnTo>
                    <a:lnTo>
                      <a:pt x="220" y="218"/>
                    </a:lnTo>
                    <a:close/>
                    <a:moveTo>
                      <a:pt x="220" y="188"/>
                    </a:moveTo>
                    <a:lnTo>
                      <a:pt x="250" y="188"/>
                    </a:lnTo>
                    <a:lnTo>
                      <a:pt x="250" y="210"/>
                    </a:lnTo>
                    <a:lnTo>
                      <a:pt x="220" y="210"/>
                    </a:lnTo>
                    <a:lnTo>
                      <a:pt x="220" y="188"/>
                    </a:lnTo>
                    <a:close/>
                    <a:moveTo>
                      <a:pt x="220" y="156"/>
                    </a:moveTo>
                    <a:lnTo>
                      <a:pt x="250" y="156"/>
                    </a:lnTo>
                    <a:lnTo>
                      <a:pt x="250" y="180"/>
                    </a:lnTo>
                    <a:lnTo>
                      <a:pt x="220" y="180"/>
                    </a:lnTo>
                    <a:lnTo>
                      <a:pt x="220" y="156"/>
                    </a:lnTo>
                    <a:close/>
                    <a:moveTo>
                      <a:pt x="220" y="126"/>
                    </a:moveTo>
                    <a:lnTo>
                      <a:pt x="250" y="126"/>
                    </a:lnTo>
                    <a:lnTo>
                      <a:pt x="250" y="150"/>
                    </a:lnTo>
                    <a:lnTo>
                      <a:pt x="220" y="150"/>
                    </a:lnTo>
                    <a:lnTo>
                      <a:pt x="220" y="126"/>
                    </a:lnTo>
                    <a:close/>
                    <a:moveTo>
                      <a:pt x="190" y="218"/>
                    </a:moveTo>
                    <a:lnTo>
                      <a:pt x="214" y="218"/>
                    </a:lnTo>
                    <a:lnTo>
                      <a:pt x="214" y="240"/>
                    </a:lnTo>
                    <a:lnTo>
                      <a:pt x="190" y="240"/>
                    </a:lnTo>
                    <a:lnTo>
                      <a:pt x="190" y="218"/>
                    </a:lnTo>
                    <a:close/>
                    <a:moveTo>
                      <a:pt x="190" y="188"/>
                    </a:moveTo>
                    <a:lnTo>
                      <a:pt x="214" y="188"/>
                    </a:lnTo>
                    <a:lnTo>
                      <a:pt x="214" y="210"/>
                    </a:lnTo>
                    <a:lnTo>
                      <a:pt x="190" y="210"/>
                    </a:lnTo>
                    <a:lnTo>
                      <a:pt x="190" y="188"/>
                    </a:lnTo>
                    <a:close/>
                    <a:moveTo>
                      <a:pt x="190" y="156"/>
                    </a:moveTo>
                    <a:lnTo>
                      <a:pt x="214" y="156"/>
                    </a:lnTo>
                    <a:lnTo>
                      <a:pt x="214" y="180"/>
                    </a:lnTo>
                    <a:lnTo>
                      <a:pt x="190" y="180"/>
                    </a:lnTo>
                    <a:lnTo>
                      <a:pt x="190" y="156"/>
                    </a:lnTo>
                    <a:close/>
                    <a:moveTo>
                      <a:pt x="190" y="126"/>
                    </a:moveTo>
                    <a:lnTo>
                      <a:pt x="214" y="126"/>
                    </a:lnTo>
                    <a:lnTo>
                      <a:pt x="214" y="150"/>
                    </a:lnTo>
                    <a:lnTo>
                      <a:pt x="190" y="150"/>
                    </a:lnTo>
                    <a:lnTo>
                      <a:pt x="190" y="126"/>
                    </a:lnTo>
                    <a:close/>
                    <a:moveTo>
                      <a:pt x="160" y="218"/>
                    </a:moveTo>
                    <a:lnTo>
                      <a:pt x="182" y="218"/>
                    </a:lnTo>
                    <a:lnTo>
                      <a:pt x="182" y="240"/>
                    </a:lnTo>
                    <a:lnTo>
                      <a:pt x="160" y="240"/>
                    </a:lnTo>
                    <a:lnTo>
                      <a:pt x="160" y="218"/>
                    </a:lnTo>
                    <a:close/>
                    <a:moveTo>
                      <a:pt x="160" y="188"/>
                    </a:moveTo>
                    <a:lnTo>
                      <a:pt x="182" y="188"/>
                    </a:lnTo>
                    <a:lnTo>
                      <a:pt x="182" y="210"/>
                    </a:lnTo>
                    <a:lnTo>
                      <a:pt x="160" y="210"/>
                    </a:lnTo>
                    <a:lnTo>
                      <a:pt x="160" y="188"/>
                    </a:lnTo>
                    <a:close/>
                    <a:moveTo>
                      <a:pt x="160" y="156"/>
                    </a:moveTo>
                    <a:lnTo>
                      <a:pt x="182" y="156"/>
                    </a:lnTo>
                    <a:lnTo>
                      <a:pt x="182" y="180"/>
                    </a:lnTo>
                    <a:lnTo>
                      <a:pt x="160" y="180"/>
                    </a:lnTo>
                    <a:lnTo>
                      <a:pt x="160" y="156"/>
                    </a:lnTo>
                    <a:close/>
                    <a:moveTo>
                      <a:pt x="160" y="126"/>
                    </a:moveTo>
                    <a:lnTo>
                      <a:pt x="182" y="126"/>
                    </a:lnTo>
                    <a:lnTo>
                      <a:pt x="182" y="150"/>
                    </a:lnTo>
                    <a:lnTo>
                      <a:pt x="160" y="150"/>
                    </a:lnTo>
                    <a:lnTo>
                      <a:pt x="160" y="126"/>
                    </a:lnTo>
                    <a:close/>
                    <a:moveTo>
                      <a:pt x="130" y="218"/>
                    </a:moveTo>
                    <a:lnTo>
                      <a:pt x="152" y="218"/>
                    </a:lnTo>
                    <a:lnTo>
                      <a:pt x="152" y="240"/>
                    </a:lnTo>
                    <a:lnTo>
                      <a:pt x="130" y="240"/>
                    </a:lnTo>
                    <a:lnTo>
                      <a:pt x="130" y="218"/>
                    </a:lnTo>
                    <a:close/>
                    <a:moveTo>
                      <a:pt x="130" y="188"/>
                    </a:moveTo>
                    <a:lnTo>
                      <a:pt x="152" y="188"/>
                    </a:lnTo>
                    <a:lnTo>
                      <a:pt x="152" y="210"/>
                    </a:lnTo>
                    <a:lnTo>
                      <a:pt x="130" y="210"/>
                    </a:lnTo>
                    <a:lnTo>
                      <a:pt x="130" y="188"/>
                    </a:lnTo>
                    <a:close/>
                    <a:moveTo>
                      <a:pt x="130" y="156"/>
                    </a:moveTo>
                    <a:lnTo>
                      <a:pt x="152" y="156"/>
                    </a:lnTo>
                    <a:lnTo>
                      <a:pt x="152" y="180"/>
                    </a:lnTo>
                    <a:lnTo>
                      <a:pt x="130" y="180"/>
                    </a:lnTo>
                    <a:lnTo>
                      <a:pt x="130" y="156"/>
                    </a:lnTo>
                    <a:close/>
                    <a:moveTo>
                      <a:pt x="130" y="126"/>
                    </a:moveTo>
                    <a:lnTo>
                      <a:pt x="152" y="126"/>
                    </a:lnTo>
                    <a:lnTo>
                      <a:pt x="152" y="150"/>
                    </a:lnTo>
                    <a:lnTo>
                      <a:pt x="130" y="150"/>
                    </a:lnTo>
                    <a:lnTo>
                      <a:pt x="130" y="126"/>
                    </a:lnTo>
                    <a:close/>
                    <a:moveTo>
                      <a:pt x="100" y="218"/>
                    </a:moveTo>
                    <a:lnTo>
                      <a:pt x="122" y="218"/>
                    </a:lnTo>
                    <a:lnTo>
                      <a:pt x="122" y="240"/>
                    </a:lnTo>
                    <a:lnTo>
                      <a:pt x="100" y="240"/>
                    </a:lnTo>
                    <a:lnTo>
                      <a:pt x="100" y="218"/>
                    </a:lnTo>
                    <a:close/>
                    <a:moveTo>
                      <a:pt x="100" y="188"/>
                    </a:moveTo>
                    <a:lnTo>
                      <a:pt x="122" y="188"/>
                    </a:lnTo>
                    <a:lnTo>
                      <a:pt x="122" y="210"/>
                    </a:lnTo>
                    <a:lnTo>
                      <a:pt x="100" y="210"/>
                    </a:lnTo>
                    <a:lnTo>
                      <a:pt x="100" y="188"/>
                    </a:lnTo>
                    <a:close/>
                    <a:moveTo>
                      <a:pt x="100" y="156"/>
                    </a:moveTo>
                    <a:lnTo>
                      <a:pt x="122" y="156"/>
                    </a:lnTo>
                    <a:lnTo>
                      <a:pt x="122" y="180"/>
                    </a:lnTo>
                    <a:lnTo>
                      <a:pt x="100" y="180"/>
                    </a:lnTo>
                    <a:lnTo>
                      <a:pt x="100" y="156"/>
                    </a:lnTo>
                    <a:close/>
                    <a:moveTo>
                      <a:pt x="100" y="126"/>
                    </a:moveTo>
                    <a:lnTo>
                      <a:pt x="122" y="126"/>
                    </a:lnTo>
                    <a:lnTo>
                      <a:pt x="122" y="150"/>
                    </a:lnTo>
                    <a:lnTo>
                      <a:pt x="100" y="150"/>
                    </a:lnTo>
                    <a:lnTo>
                      <a:pt x="100" y="126"/>
                    </a:lnTo>
                    <a:close/>
                    <a:moveTo>
                      <a:pt x="70" y="218"/>
                    </a:moveTo>
                    <a:lnTo>
                      <a:pt x="92" y="218"/>
                    </a:lnTo>
                    <a:lnTo>
                      <a:pt x="92" y="240"/>
                    </a:lnTo>
                    <a:lnTo>
                      <a:pt x="70" y="240"/>
                    </a:lnTo>
                    <a:lnTo>
                      <a:pt x="70" y="218"/>
                    </a:lnTo>
                    <a:close/>
                    <a:moveTo>
                      <a:pt x="70" y="188"/>
                    </a:moveTo>
                    <a:lnTo>
                      <a:pt x="92" y="188"/>
                    </a:lnTo>
                    <a:lnTo>
                      <a:pt x="92" y="210"/>
                    </a:lnTo>
                    <a:lnTo>
                      <a:pt x="70" y="210"/>
                    </a:lnTo>
                    <a:lnTo>
                      <a:pt x="70" y="188"/>
                    </a:lnTo>
                    <a:close/>
                    <a:moveTo>
                      <a:pt x="70" y="156"/>
                    </a:moveTo>
                    <a:lnTo>
                      <a:pt x="92" y="156"/>
                    </a:lnTo>
                    <a:lnTo>
                      <a:pt x="92" y="180"/>
                    </a:lnTo>
                    <a:lnTo>
                      <a:pt x="70" y="180"/>
                    </a:lnTo>
                    <a:lnTo>
                      <a:pt x="70" y="156"/>
                    </a:lnTo>
                    <a:close/>
                    <a:moveTo>
                      <a:pt x="70" y="126"/>
                    </a:moveTo>
                    <a:lnTo>
                      <a:pt x="92" y="126"/>
                    </a:lnTo>
                    <a:lnTo>
                      <a:pt x="92" y="150"/>
                    </a:lnTo>
                    <a:lnTo>
                      <a:pt x="70" y="150"/>
                    </a:lnTo>
                    <a:lnTo>
                      <a:pt x="70" y="126"/>
                    </a:lnTo>
                    <a:close/>
                    <a:moveTo>
                      <a:pt x="36" y="218"/>
                    </a:moveTo>
                    <a:lnTo>
                      <a:pt x="62" y="218"/>
                    </a:lnTo>
                    <a:lnTo>
                      <a:pt x="62" y="240"/>
                    </a:lnTo>
                    <a:lnTo>
                      <a:pt x="36" y="240"/>
                    </a:lnTo>
                    <a:lnTo>
                      <a:pt x="36" y="218"/>
                    </a:lnTo>
                    <a:close/>
                    <a:moveTo>
                      <a:pt x="36" y="188"/>
                    </a:moveTo>
                    <a:lnTo>
                      <a:pt x="62" y="188"/>
                    </a:lnTo>
                    <a:lnTo>
                      <a:pt x="62" y="210"/>
                    </a:lnTo>
                    <a:lnTo>
                      <a:pt x="36" y="210"/>
                    </a:lnTo>
                    <a:lnTo>
                      <a:pt x="36" y="188"/>
                    </a:lnTo>
                    <a:close/>
                    <a:moveTo>
                      <a:pt x="36" y="156"/>
                    </a:moveTo>
                    <a:lnTo>
                      <a:pt x="62" y="156"/>
                    </a:lnTo>
                    <a:lnTo>
                      <a:pt x="62" y="180"/>
                    </a:lnTo>
                    <a:lnTo>
                      <a:pt x="36" y="180"/>
                    </a:lnTo>
                    <a:lnTo>
                      <a:pt x="36" y="156"/>
                    </a:lnTo>
                    <a:close/>
                    <a:moveTo>
                      <a:pt x="36" y="126"/>
                    </a:moveTo>
                    <a:lnTo>
                      <a:pt x="62" y="126"/>
                    </a:lnTo>
                    <a:lnTo>
                      <a:pt x="62" y="150"/>
                    </a:lnTo>
                    <a:lnTo>
                      <a:pt x="36" y="150"/>
                    </a:lnTo>
                    <a:lnTo>
                      <a:pt x="36" y="12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8525D7FA-0235-4FFE-9739-97ACEC3E4ECB}"/>
                </a:ext>
              </a:extLst>
            </p:cNvPr>
            <p:cNvSpPr txBox="1"/>
            <p:nvPr/>
          </p:nvSpPr>
          <p:spPr>
            <a:xfrm>
              <a:off x="6691627" y="5103286"/>
              <a:ext cx="540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 err="1">
                  <a:cs typeface="Arial" panose="020B0604020202020204" pitchFamily="34" charset="0"/>
                </a:rPr>
                <a:t>Tumkur</a:t>
              </a:r>
              <a:endParaRPr lang="en-GB" sz="1200" dirty="0">
                <a:cs typeface="Arial" panose="020B0604020202020204" pitchFamily="34" charset="0"/>
              </a:endParaRP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37BD89D0-84D3-441B-85F4-751835F95540}"/>
                </a:ext>
              </a:extLst>
            </p:cNvPr>
            <p:cNvSpPr txBox="1"/>
            <p:nvPr/>
          </p:nvSpPr>
          <p:spPr>
            <a:xfrm>
              <a:off x="4579068" y="5213635"/>
              <a:ext cx="70559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Udupi</a:t>
              </a:r>
            </a:p>
          </p:txBody>
        </p:sp>
        <p:grpSp>
          <p:nvGrpSpPr>
            <p:cNvPr id="181" name="Group 180">
              <a:extLst>
                <a:ext uri="{FF2B5EF4-FFF2-40B4-BE49-F238E27FC236}">
                  <a16:creationId xmlns:a16="http://schemas.microsoft.com/office/drawing/2014/main" id="{C4B35A6D-F811-4136-BB95-2AEB6FFCE20D}"/>
                </a:ext>
              </a:extLst>
            </p:cNvPr>
            <p:cNvGrpSpPr/>
            <p:nvPr/>
          </p:nvGrpSpPr>
          <p:grpSpPr>
            <a:xfrm>
              <a:off x="5327647" y="5260239"/>
              <a:ext cx="156390" cy="147893"/>
              <a:chOff x="12500541" y="2739517"/>
              <a:chExt cx="157159" cy="128810"/>
            </a:xfrm>
          </p:grpSpPr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9638681B-C087-42E9-A424-A3DB62FFD1DE}"/>
                  </a:ext>
                </a:extLst>
              </p:cNvPr>
              <p:cNvSpPr/>
              <p:nvPr/>
            </p:nvSpPr>
            <p:spPr bwMode="ltGray">
              <a:xfrm>
                <a:off x="12500541" y="2739517"/>
                <a:ext cx="157159" cy="128810"/>
              </a:xfrm>
              <a:prstGeom prst="ellipse">
                <a:avLst/>
              </a:prstGeom>
              <a:solidFill>
                <a:srgbClr val="FFCF48"/>
              </a:solidFill>
              <a:ln w="3175">
                <a:solidFill>
                  <a:srgbClr val="FFCF4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57" name="Freeform 12">
                <a:extLst>
                  <a:ext uri="{FF2B5EF4-FFF2-40B4-BE49-F238E27FC236}">
                    <a16:creationId xmlns:a16="http://schemas.microsoft.com/office/drawing/2014/main" id="{BBAAAABE-0759-47A5-9B21-3F5D1F1483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25075" y="2770411"/>
                <a:ext cx="108972" cy="65230"/>
              </a:xfrm>
              <a:custGeom>
                <a:avLst/>
                <a:gdLst>
                  <a:gd name="T0" fmla="*/ 334 w 356"/>
                  <a:gd name="T1" fmla="*/ 12 h 260"/>
                  <a:gd name="T2" fmla="*/ 298 w 356"/>
                  <a:gd name="T3" fmla="*/ 12 h 260"/>
                  <a:gd name="T4" fmla="*/ 342 w 356"/>
                  <a:gd name="T5" fmla="*/ 132 h 260"/>
                  <a:gd name="T6" fmla="*/ 356 w 356"/>
                  <a:gd name="T7" fmla="*/ 260 h 260"/>
                  <a:gd name="T8" fmla="*/ 348 w 356"/>
                  <a:gd name="T9" fmla="*/ 140 h 260"/>
                  <a:gd name="T10" fmla="*/ 276 w 356"/>
                  <a:gd name="T11" fmla="*/ 150 h 260"/>
                  <a:gd name="T12" fmla="*/ 258 w 356"/>
                  <a:gd name="T13" fmla="*/ 66 h 260"/>
                  <a:gd name="T14" fmla="*/ 142 w 356"/>
                  <a:gd name="T15" fmla="*/ 100 h 260"/>
                  <a:gd name="T16" fmla="*/ 76 w 356"/>
                  <a:gd name="T17" fmla="*/ 64 h 260"/>
                  <a:gd name="T18" fmla="*/ 220 w 356"/>
                  <a:gd name="T19" fmla="*/ 218 h 260"/>
                  <a:gd name="T20" fmla="*/ 220 w 356"/>
                  <a:gd name="T21" fmla="*/ 240 h 260"/>
                  <a:gd name="T22" fmla="*/ 250 w 356"/>
                  <a:gd name="T23" fmla="*/ 188 h 260"/>
                  <a:gd name="T24" fmla="*/ 220 w 356"/>
                  <a:gd name="T25" fmla="*/ 188 h 260"/>
                  <a:gd name="T26" fmla="*/ 250 w 356"/>
                  <a:gd name="T27" fmla="*/ 180 h 260"/>
                  <a:gd name="T28" fmla="*/ 220 w 356"/>
                  <a:gd name="T29" fmla="*/ 126 h 260"/>
                  <a:gd name="T30" fmla="*/ 220 w 356"/>
                  <a:gd name="T31" fmla="*/ 150 h 260"/>
                  <a:gd name="T32" fmla="*/ 214 w 356"/>
                  <a:gd name="T33" fmla="*/ 218 h 260"/>
                  <a:gd name="T34" fmla="*/ 190 w 356"/>
                  <a:gd name="T35" fmla="*/ 218 h 260"/>
                  <a:gd name="T36" fmla="*/ 214 w 356"/>
                  <a:gd name="T37" fmla="*/ 210 h 260"/>
                  <a:gd name="T38" fmla="*/ 190 w 356"/>
                  <a:gd name="T39" fmla="*/ 156 h 260"/>
                  <a:gd name="T40" fmla="*/ 190 w 356"/>
                  <a:gd name="T41" fmla="*/ 180 h 260"/>
                  <a:gd name="T42" fmla="*/ 214 w 356"/>
                  <a:gd name="T43" fmla="*/ 126 h 260"/>
                  <a:gd name="T44" fmla="*/ 190 w 356"/>
                  <a:gd name="T45" fmla="*/ 126 h 260"/>
                  <a:gd name="T46" fmla="*/ 182 w 356"/>
                  <a:gd name="T47" fmla="*/ 240 h 260"/>
                  <a:gd name="T48" fmla="*/ 160 w 356"/>
                  <a:gd name="T49" fmla="*/ 188 h 260"/>
                  <a:gd name="T50" fmla="*/ 160 w 356"/>
                  <a:gd name="T51" fmla="*/ 210 h 260"/>
                  <a:gd name="T52" fmla="*/ 182 w 356"/>
                  <a:gd name="T53" fmla="*/ 156 h 260"/>
                  <a:gd name="T54" fmla="*/ 160 w 356"/>
                  <a:gd name="T55" fmla="*/ 156 h 260"/>
                  <a:gd name="T56" fmla="*/ 182 w 356"/>
                  <a:gd name="T57" fmla="*/ 150 h 260"/>
                  <a:gd name="T58" fmla="*/ 130 w 356"/>
                  <a:gd name="T59" fmla="*/ 218 h 260"/>
                  <a:gd name="T60" fmla="*/ 130 w 356"/>
                  <a:gd name="T61" fmla="*/ 240 h 260"/>
                  <a:gd name="T62" fmla="*/ 152 w 356"/>
                  <a:gd name="T63" fmla="*/ 188 h 260"/>
                  <a:gd name="T64" fmla="*/ 130 w 356"/>
                  <a:gd name="T65" fmla="*/ 188 h 260"/>
                  <a:gd name="T66" fmla="*/ 152 w 356"/>
                  <a:gd name="T67" fmla="*/ 180 h 260"/>
                  <a:gd name="T68" fmla="*/ 130 w 356"/>
                  <a:gd name="T69" fmla="*/ 126 h 260"/>
                  <a:gd name="T70" fmla="*/ 130 w 356"/>
                  <a:gd name="T71" fmla="*/ 150 h 260"/>
                  <a:gd name="T72" fmla="*/ 122 w 356"/>
                  <a:gd name="T73" fmla="*/ 218 h 260"/>
                  <a:gd name="T74" fmla="*/ 100 w 356"/>
                  <a:gd name="T75" fmla="*/ 218 h 260"/>
                  <a:gd name="T76" fmla="*/ 122 w 356"/>
                  <a:gd name="T77" fmla="*/ 210 h 260"/>
                  <a:gd name="T78" fmla="*/ 100 w 356"/>
                  <a:gd name="T79" fmla="*/ 156 h 260"/>
                  <a:gd name="T80" fmla="*/ 100 w 356"/>
                  <a:gd name="T81" fmla="*/ 180 h 260"/>
                  <a:gd name="T82" fmla="*/ 122 w 356"/>
                  <a:gd name="T83" fmla="*/ 126 h 260"/>
                  <a:gd name="T84" fmla="*/ 100 w 356"/>
                  <a:gd name="T85" fmla="*/ 126 h 260"/>
                  <a:gd name="T86" fmla="*/ 92 w 356"/>
                  <a:gd name="T87" fmla="*/ 240 h 260"/>
                  <a:gd name="T88" fmla="*/ 70 w 356"/>
                  <a:gd name="T89" fmla="*/ 188 h 260"/>
                  <a:gd name="T90" fmla="*/ 70 w 356"/>
                  <a:gd name="T91" fmla="*/ 210 h 260"/>
                  <a:gd name="T92" fmla="*/ 92 w 356"/>
                  <a:gd name="T93" fmla="*/ 156 h 260"/>
                  <a:gd name="T94" fmla="*/ 70 w 356"/>
                  <a:gd name="T95" fmla="*/ 156 h 260"/>
                  <a:gd name="T96" fmla="*/ 92 w 356"/>
                  <a:gd name="T97" fmla="*/ 150 h 260"/>
                  <a:gd name="T98" fmla="*/ 36 w 356"/>
                  <a:gd name="T99" fmla="*/ 218 h 260"/>
                  <a:gd name="T100" fmla="*/ 36 w 356"/>
                  <a:gd name="T101" fmla="*/ 240 h 260"/>
                  <a:gd name="T102" fmla="*/ 62 w 356"/>
                  <a:gd name="T103" fmla="*/ 188 h 260"/>
                  <a:gd name="T104" fmla="*/ 36 w 356"/>
                  <a:gd name="T105" fmla="*/ 188 h 260"/>
                  <a:gd name="T106" fmla="*/ 62 w 356"/>
                  <a:gd name="T107" fmla="*/ 180 h 260"/>
                  <a:gd name="T108" fmla="*/ 36 w 356"/>
                  <a:gd name="T109" fmla="*/ 126 h 260"/>
                  <a:gd name="T110" fmla="*/ 36 w 356"/>
                  <a:gd name="T111" fmla="*/ 15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6" h="260">
                    <a:moveTo>
                      <a:pt x="342" y="132"/>
                    </a:moveTo>
                    <a:lnTo>
                      <a:pt x="332" y="12"/>
                    </a:lnTo>
                    <a:lnTo>
                      <a:pt x="334" y="12"/>
                    </a:lnTo>
                    <a:lnTo>
                      <a:pt x="334" y="0"/>
                    </a:lnTo>
                    <a:lnTo>
                      <a:pt x="298" y="0"/>
                    </a:lnTo>
                    <a:lnTo>
                      <a:pt x="298" y="12"/>
                    </a:lnTo>
                    <a:lnTo>
                      <a:pt x="300" y="12"/>
                    </a:lnTo>
                    <a:lnTo>
                      <a:pt x="290" y="132"/>
                    </a:lnTo>
                    <a:lnTo>
                      <a:pt x="342" y="132"/>
                    </a:lnTo>
                    <a:close/>
                    <a:moveTo>
                      <a:pt x="0" y="102"/>
                    </a:moveTo>
                    <a:lnTo>
                      <a:pt x="0" y="260"/>
                    </a:lnTo>
                    <a:lnTo>
                      <a:pt x="356" y="260"/>
                    </a:lnTo>
                    <a:lnTo>
                      <a:pt x="356" y="150"/>
                    </a:lnTo>
                    <a:lnTo>
                      <a:pt x="348" y="150"/>
                    </a:lnTo>
                    <a:lnTo>
                      <a:pt x="348" y="140"/>
                    </a:lnTo>
                    <a:lnTo>
                      <a:pt x="284" y="140"/>
                    </a:lnTo>
                    <a:lnTo>
                      <a:pt x="284" y="150"/>
                    </a:lnTo>
                    <a:lnTo>
                      <a:pt x="276" y="150"/>
                    </a:lnTo>
                    <a:lnTo>
                      <a:pt x="276" y="106"/>
                    </a:lnTo>
                    <a:lnTo>
                      <a:pt x="264" y="106"/>
                    </a:lnTo>
                    <a:lnTo>
                      <a:pt x="258" y="66"/>
                    </a:lnTo>
                    <a:lnTo>
                      <a:pt x="204" y="102"/>
                    </a:lnTo>
                    <a:lnTo>
                      <a:pt x="198" y="66"/>
                    </a:lnTo>
                    <a:lnTo>
                      <a:pt x="142" y="100"/>
                    </a:lnTo>
                    <a:lnTo>
                      <a:pt x="138" y="64"/>
                    </a:lnTo>
                    <a:lnTo>
                      <a:pt x="82" y="100"/>
                    </a:lnTo>
                    <a:lnTo>
                      <a:pt x="76" y="64"/>
                    </a:lnTo>
                    <a:lnTo>
                      <a:pt x="12" y="102"/>
                    </a:lnTo>
                    <a:lnTo>
                      <a:pt x="0" y="102"/>
                    </a:lnTo>
                    <a:close/>
                    <a:moveTo>
                      <a:pt x="220" y="218"/>
                    </a:moveTo>
                    <a:lnTo>
                      <a:pt x="250" y="218"/>
                    </a:lnTo>
                    <a:lnTo>
                      <a:pt x="250" y="240"/>
                    </a:lnTo>
                    <a:lnTo>
                      <a:pt x="220" y="240"/>
                    </a:lnTo>
                    <a:lnTo>
                      <a:pt x="220" y="218"/>
                    </a:lnTo>
                    <a:close/>
                    <a:moveTo>
                      <a:pt x="220" y="188"/>
                    </a:moveTo>
                    <a:lnTo>
                      <a:pt x="250" y="188"/>
                    </a:lnTo>
                    <a:lnTo>
                      <a:pt x="250" y="210"/>
                    </a:lnTo>
                    <a:lnTo>
                      <a:pt x="220" y="210"/>
                    </a:lnTo>
                    <a:lnTo>
                      <a:pt x="220" y="188"/>
                    </a:lnTo>
                    <a:close/>
                    <a:moveTo>
                      <a:pt x="220" y="156"/>
                    </a:moveTo>
                    <a:lnTo>
                      <a:pt x="250" y="156"/>
                    </a:lnTo>
                    <a:lnTo>
                      <a:pt x="250" y="180"/>
                    </a:lnTo>
                    <a:lnTo>
                      <a:pt x="220" y="180"/>
                    </a:lnTo>
                    <a:lnTo>
                      <a:pt x="220" y="156"/>
                    </a:lnTo>
                    <a:close/>
                    <a:moveTo>
                      <a:pt x="220" y="126"/>
                    </a:moveTo>
                    <a:lnTo>
                      <a:pt x="250" y="126"/>
                    </a:lnTo>
                    <a:lnTo>
                      <a:pt x="250" y="150"/>
                    </a:lnTo>
                    <a:lnTo>
                      <a:pt x="220" y="150"/>
                    </a:lnTo>
                    <a:lnTo>
                      <a:pt x="220" y="126"/>
                    </a:lnTo>
                    <a:close/>
                    <a:moveTo>
                      <a:pt x="190" y="218"/>
                    </a:moveTo>
                    <a:lnTo>
                      <a:pt x="214" y="218"/>
                    </a:lnTo>
                    <a:lnTo>
                      <a:pt x="214" y="240"/>
                    </a:lnTo>
                    <a:lnTo>
                      <a:pt x="190" y="240"/>
                    </a:lnTo>
                    <a:lnTo>
                      <a:pt x="190" y="218"/>
                    </a:lnTo>
                    <a:close/>
                    <a:moveTo>
                      <a:pt x="190" y="188"/>
                    </a:moveTo>
                    <a:lnTo>
                      <a:pt x="214" y="188"/>
                    </a:lnTo>
                    <a:lnTo>
                      <a:pt x="214" y="210"/>
                    </a:lnTo>
                    <a:lnTo>
                      <a:pt x="190" y="210"/>
                    </a:lnTo>
                    <a:lnTo>
                      <a:pt x="190" y="188"/>
                    </a:lnTo>
                    <a:close/>
                    <a:moveTo>
                      <a:pt x="190" y="156"/>
                    </a:moveTo>
                    <a:lnTo>
                      <a:pt x="214" y="156"/>
                    </a:lnTo>
                    <a:lnTo>
                      <a:pt x="214" y="180"/>
                    </a:lnTo>
                    <a:lnTo>
                      <a:pt x="190" y="180"/>
                    </a:lnTo>
                    <a:lnTo>
                      <a:pt x="190" y="156"/>
                    </a:lnTo>
                    <a:close/>
                    <a:moveTo>
                      <a:pt x="190" y="126"/>
                    </a:moveTo>
                    <a:lnTo>
                      <a:pt x="214" y="126"/>
                    </a:lnTo>
                    <a:lnTo>
                      <a:pt x="214" y="150"/>
                    </a:lnTo>
                    <a:lnTo>
                      <a:pt x="190" y="150"/>
                    </a:lnTo>
                    <a:lnTo>
                      <a:pt x="190" y="126"/>
                    </a:lnTo>
                    <a:close/>
                    <a:moveTo>
                      <a:pt x="160" y="218"/>
                    </a:moveTo>
                    <a:lnTo>
                      <a:pt x="182" y="218"/>
                    </a:lnTo>
                    <a:lnTo>
                      <a:pt x="182" y="240"/>
                    </a:lnTo>
                    <a:lnTo>
                      <a:pt x="160" y="240"/>
                    </a:lnTo>
                    <a:lnTo>
                      <a:pt x="160" y="218"/>
                    </a:lnTo>
                    <a:close/>
                    <a:moveTo>
                      <a:pt x="160" y="188"/>
                    </a:moveTo>
                    <a:lnTo>
                      <a:pt x="182" y="188"/>
                    </a:lnTo>
                    <a:lnTo>
                      <a:pt x="182" y="210"/>
                    </a:lnTo>
                    <a:lnTo>
                      <a:pt x="160" y="210"/>
                    </a:lnTo>
                    <a:lnTo>
                      <a:pt x="160" y="188"/>
                    </a:lnTo>
                    <a:close/>
                    <a:moveTo>
                      <a:pt x="160" y="156"/>
                    </a:moveTo>
                    <a:lnTo>
                      <a:pt x="182" y="156"/>
                    </a:lnTo>
                    <a:lnTo>
                      <a:pt x="182" y="180"/>
                    </a:lnTo>
                    <a:lnTo>
                      <a:pt x="160" y="180"/>
                    </a:lnTo>
                    <a:lnTo>
                      <a:pt x="160" y="156"/>
                    </a:lnTo>
                    <a:close/>
                    <a:moveTo>
                      <a:pt x="160" y="126"/>
                    </a:moveTo>
                    <a:lnTo>
                      <a:pt x="182" y="126"/>
                    </a:lnTo>
                    <a:lnTo>
                      <a:pt x="182" y="150"/>
                    </a:lnTo>
                    <a:lnTo>
                      <a:pt x="160" y="150"/>
                    </a:lnTo>
                    <a:lnTo>
                      <a:pt x="160" y="126"/>
                    </a:lnTo>
                    <a:close/>
                    <a:moveTo>
                      <a:pt x="130" y="218"/>
                    </a:moveTo>
                    <a:lnTo>
                      <a:pt x="152" y="218"/>
                    </a:lnTo>
                    <a:lnTo>
                      <a:pt x="152" y="240"/>
                    </a:lnTo>
                    <a:lnTo>
                      <a:pt x="130" y="240"/>
                    </a:lnTo>
                    <a:lnTo>
                      <a:pt x="130" y="218"/>
                    </a:lnTo>
                    <a:close/>
                    <a:moveTo>
                      <a:pt x="130" y="188"/>
                    </a:moveTo>
                    <a:lnTo>
                      <a:pt x="152" y="188"/>
                    </a:lnTo>
                    <a:lnTo>
                      <a:pt x="152" y="210"/>
                    </a:lnTo>
                    <a:lnTo>
                      <a:pt x="130" y="210"/>
                    </a:lnTo>
                    <a:lnTo>
                      <a:pt x="130" y="188"/>
                    </a:lnTo>
                    <a:close/>
                    <a:moveTo>
                      <a:pt x="130" y="156"/>
                    </a:moveTo>
                    <a:lnTo>
                      <a:pt x="152" y="156"/>
                    </a:lnTo>
                    <a:lnTo>
                      <a:pt x="152" y="180"/>
                    </a:lnTo>
                    <a:lnTo>
                      <a:pt x="130" y="180"/>
                    </a:lnTo>
                    <a:lnTo>
                      <a:pt x="130" y="156"/>
                    </a:lnTo>
                    <a:close/>
                    <a:moveTo>
                      <a:pt x="130" y="126"/>
                    </a:moveTo>
                    <a:lnTo>
                      <a:pt x="152" y="126"/>
                    </a:lnTo>
                    <a:lnTo>
                      <a:pt x="152" y="150"/>
                    </a:lnTo>
                    <a:lnTo>
                      <a:pt x="130" y="150"/>
                    </a:lnTo>
                    <a:lnTo>
                      <a:pt x="130" y="126"/>
                    </a:lnTo>
                    <a:close/>
                    <a:moveTo>
                      <a:pt x="100" y="218"/>
                    </a:moveTo>
                    <a:lnTo>
                      <a:pt x="122" y="218"/>
                    </a:lnTo>
                    <a:lnTo>
                      <a:pt x="122" y="240"/>
                    </a:lnTo>
                    <a:lnTo>
                      <a:pt x="100" y="240"/>
                    </a:lnTo>
                    <a:lnTo>
                      <a:pt x="100" y="218"/>
                    </a:lnTo>
                    <a:close/>
                    <a:moveTo>
                      <a:pt x="100" y="188"/>
                    </a:moveTo>
                    <a:lnTo>
                      <a:pt x="122" y="188"/>
                    </a:lnTo>
                    <a:lnTo>
                      <a:pt x="122" y="210"/>
                    </a:lnTo>
                    <a:lnTo>
                      <a:pt x="100" y="210"/>
                    </a:lnTo>
                    <a:lnTo>
                      <a:pt x="100" y="188"/>
                    </a:lnTo>
                    <a:close/>
                    <a:moveTo>
                      <a:pt x="100" y="156"/>
                    </a:moveTo>
                    <a:lnTo>
                      <a:pt x="122" y="156"/>
                    </a:lnTo>
                    <a:lnTo>
                      <a:pt x="122" y="180"/>
                    </a:lnTo>
                    <a:lnTo>
                      <a:pt x="100" y="180"/>
                    </a:lnTo>
                    <a:lnTo>
                      <a:pt x="100" y="156"/>
                    </a:lnTo>
                    <a:close/>
                    <a:moveTo>
                      <a:pt x="100" y="126"/>
                    </a:moveTo>
                    <a:lnTo>
                      <a:pt x="122" y="126"/>
                    </a:lnTo>
                    <a:lnTo>
                      <a:pt x="122" y="150"/>
                    </a:lnTo>
                    <a:lnTo>
                      <a:pt x="100" y="150"/>
                    </a:lnTo>
                    <a:lnTo>
                      <a:pt x="100" y="126"/>
                    </a:lnTo>
                    <a:close/>
                    <a:moveTo>
                      <a:pt x="70" y="218"/>
                    </a:moveTo>
                    <a:lnTo>
                      <a:pt x="92" y="218"/>
                    </a:lnTo>
                    <a:lnTo>
                      <a:pt x="92" y="240"/>
                    </a:lnTo>
                    <a:lnTo>
                      <a:pt x="70" y="240"/>
                    </a:lnTo>
                    <a:lnTo>
                      <a:pt x="70" y="218"/>
                    </a:lnTo>
                    <a:close/>
                    <a:moveTo>
                      <a:pt x="70" y="188"/>
                    </a:moveTo>
                    <a:lnTo>
                      <a:pt x="92" y="188"/>
                    </a:lnTo>
                    <a:lnTo>
                      <a:pt x="92" y="210"/>
                    </a:lnTo>
                    <a:lnTo>
                      <a:pt x="70" y="210"/>
                    </a:lnTo>
                    <a:lnTo>
                      <a:pt x="70" y="188"/>
                    </a:lnTo>
                    <a:close/>
                    <a:moveTo>
                      <a:pt x="70" y="156"/>
                    </a:moveTo>
                    <a:lnTo>
                      <a:pt x="92" y="156"/>
                    </a:lnTo>
                    <a:lnTo>
                      <a:pt x="92" y="180"/>
                    </a:lnTo>
                    <a:lnTo>
                      <a:pt x="70" y="180"/>
                    </a:lnTo>
                    <a:lnTo>
                      <a:pt x="70" y="156"/>
                    </a:lnTo>
                    <a:close/>
                    <a:moveTo>
                      <a:pt x="70" y="126"/>
                    </a:moveTo>
                    <a:lnTo>
                      <a:pt x="92" y="126"/>
                    </a:lnTo>
                    <a:lnTo>
                      <a:pt x="92" y="150"/>
                    </a:lnTo>
                    <a:lnTo>
                      <a:pt x="70" y="150"/>
                    </a:lnTo>
                    <a:lnTo>
                      <a:pt x="70" y="126"/>
                    </a:lnTo>
                    <a:close/>
                    <a:moveTo>
                      <a:pt x="36" y="218"/>
                    </a:moveTo>
                    <a:lnTo>
                      <a:pt x="62" y="218"/>
                    </a:lnTo>
                    <a:lnTo>
                      <a:pt x="62" y="240"/>
                    </a:lnTo>
                    <a:lnTo>
                      <a:pt x="36" y="240"/>
                    </a:lnTo>
                    <a:lnTo>
                      <a:pt x="36" y="218"/>
                    </a:lnTo>
                    <a:close/>
                    <a:moveTo>
                      <a:pt x="36" y="188"/>
                    </a:moveTo>
                    <a:lnTo>
                      <a:pt x="62" y="188"/>
                    </a:lnTo>
                    <a:lnTo>
                      <a:pt x="62" y="210"/>
                    </a:lnTo>
                    <a:lnTo>
                      <a:pt x="36" y="210"/>
                    </a:lnTo>
                    <a:lnTo>
                      <a:pt x="36" y="188"/>
                    </a:lnTo>
                    <a:close/>
                    <a:moveTo>
                      <a:pt x="36" y="156"/>
                    </a:moveTo>
                    <a:lnTo>
                      <a:pt x="62" y="156"/>
                    </a:lnTo>
                    <a:lnTo>
                      <a:pt x="62" y="180"/>
                    </a:lnTo>
                    <a:lnTo>
                      <a:pt x="36" y="180"/>
                    </a:lnTo>
                    <a:lnTo>
                      <a:pt x="36" y="156"/>
                    </a:lnTo>
                    <a:close/>
                    <a:moveTo>
                      <a:pt x="36" y="126"/>
                    </a:moveTo>
                    <a:lnTo>
                      <a:pt x="62" y="126"/>
                    </a:lnTo>
                    <a:lnTo>
                      <a:pt x="62" y="150"/>
                    </a:lnTo>
                    <a:lnTo>
                      <a:pt x="36" y="150"/>
                    </a:lnTo>
                    <a:lnTo>
                      <a:pt x="36" y="12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26546879-B573-471E-A632-049154614394}"/>
                </a:ext>
              </a:extLst>
            </p:cNvPr>
            <p:cNvGrpSpPr/>
            <p:nvPr/>
          </p:nvGrpSpPr>
          <p:grpSpPr>
            <a:xfrm>
              <a:off x="6043992" y="4378642"/>
              <a:ext cx="156390" cy="147893"/>
              <a:chOff x="12500541" y="2739517"/>
              <a:chExt cx="157159" cy="128810"/>
            </a:xfrm>
          </p:grpSpPr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F21ECA08-8A77-4BFB-AC63-7B6B20259E56}"/>
                  </a:ext>
                </a:extLst>
              </p:cNvPr>
              <p:cNvSpPr/>
              <p:nvPr/>
            </p:nvSpPr>
            <p:spPr bwMode="ltGray">
              <a:xfrm>
                <a:off x="12500541" y="2739517"/>
                <a:ext cx="157159" cy="128810"/>
              </a:xfrm>
              <a:prstGeom prst="ellipse">
                <a:avLst/>
              </a:prstGeom>
              <a:solidFill>
                <a:srgbClr val="FFCF48"/>
              </a:solidFill>
              <a:ln w="3175">
                <a:solidFill>
                  <a:srgbClr val="FFCF4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55" name="Freeform 12">
                <a:extLst>
                  <a:ext uri="{FF2B5EF4-FFF2-40B4-BE49-F238E27FC236}">
                    <a16:creationId xmlns:a16="http://schemas.microsoft.com/office/drawing/2014/main" id="{5F7A6D22-E79C-451D-9D96-68EF7027DB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25075" y="2770411"/>
                <a:ext cx="108972" cy="65230"/>
              </a:xfrm>
              <a:custGeom>
                <a:avLst/>
                <a:gdLst>
                  <a:gd name="T0" fmla="*/ 334 w 356"/>
                  <a:gd name="T1" fmla="*/ 12 h 260"/>
                  <a:gd name="T2" fmla="*/ 298 w 356"/>
                  <a:gd name="T3" fmla="*/ 12 h 260"/>
                  <a:gd name="T4" fmla="*/ 342 w 356"/>
                  <a:gd name="T5" fmla="*/ 132 h 260"/>
                  <a:gd name="T6" fmla="*/ 356 w 356"/>
                  <a:gd name="T7" fmla="*/ 260 h 260"/>
                  <a:gd name="T8" fmla="*/ 348 w 356"/>
                  <a:gd name="T9" fmla="*/ 140 h 260"/>
                  <a:gd name="T10" fmla="*/ 276 w 356"/>
                  <a:gd name="T11" fmla="*/ 150 h 260"/>
                  <a:gd name="T12" fmla="*/ 258 w 356"/>
                  <a:gd name="T13" fmla="*/ 66 h 260"/>
                  <a:gd name="T14" fmla="*/ 142 w 356"/>
                  <a:gd name="T15" fmla="*/ 100 h 260"/>
                  <a:gd name="T16" fmla="*/ 76 w 356"/>
                  <a:gd name="T17" fmla="*/ 64 h 260"/>
                  <a:gd name="T18" fmla="*/ 220 w 356"/>
                  <a:gd name="T19" fmla="*/ 218 h 260"/>
                  <a:gd name="T20" fmla="*/ 220 w 356"/>
                  <a:gd name="T21" fmla="*/ 240 h 260"/>
                  <a:gd name="T22" fmla="*/ 250 w 356"/>
                  <a:gd name="T23" fmla="*/ 188 h 260"/>
                  <a:gd name="T24" fmla="*/ 220 w 356"/>
                  <a:gd name="T25" fmla="*/ 188 h 260"/>
                  <a:gd name="T26" fmla="*/ 250 w 356"/>
                  <a:gd name="T27" fmla="*/ 180 h 260"/>
                  <a:gd name="T28" fmla="*/ 220 w 356"/>
                  <a:gd name="T29" fmla="*/ 126 h 260"/>
                  <a:gd name="T30" fmla="*/ 220 w 356"/>
                  <a:gd name="T31" fmla="*/ 150 h 260"/>
                  <a:gd name="T32" fmla="*/ 214 w 356"/>
                  <a:gd name="T33" fmla="*/ 218 h 260"/>
                  <a:gd name="T34" fmla="*/ 190 w 356"/>
                  <a:gd name="T35" fmla="*/ 218 h 260"/>
                  <a:gd name="T36" fmla="*/ 214 w 356"/>
                  <a:gd name="T37" fmla="*/ 210 h 260"/>
                  <a:gd name="T38" fmla="*/ 190 w 356"/>
                  <a:gd name="T39" fmla="*/ 156 h 260"/>
                  <a:gd name="T40" fmla="*/ 190 w 356"/>
                  <a:gd name="T41" fmla="*/ 180 h 260"/>
                  <a:gd name="T42" fmla="*/ 214 w 356"/>
                  <a:gd name="T43" fmla="*/ 126 h 260"/>
                  <a:gd name="T44" fmla="*/ 190 w 356"/>
                  <a:gd name="T45" fmla="*/ 126 h 260"/>
                  <a:gd name="T46" fmla="*/ 182 w 356"/>
                  <a:gd name="T47" fmla="*/ 240 h 260"/>
                  <a:gd name="T48" fmla="*/ 160 w 356"/>
                  <a:gd name="T49" fmla="*/ 188 h 260"/>
                  <a:gd name="T50" fmla="*/ 160 w 356"/>
                  <a:gd name="T51" fmla="*/ 210 h 260"/>
                  <a:gd name="T52" fmla="*/ 182 w 356"/>
                  <a:gd name="T53" fmla="*/ 156 h 260"/>
                  <a:gd name="T54" fmla="*/ 160 w 356"/>
                  <a:gd name="T55" fmla="*/ 156 h 260"/>
                  <a:gd name="T56" fmla="*/ 182 w 356"/>
                  <a:gd name="T57" fmla="*/ 150 h 260"/>
                  <a:gd name="T58" fmla="*/ 130 w 356"/>
                  <a:gd name="T59" fmla="*/ 218 h 260"/>
                  <a:gd name="T60" fmla="*/ 130 w 356"/>
                  <a:gd name="T61" fmla="*/ 240 h 260"/>
                  <a:gd name="T62" fmla="*/ 152 w 356"/>
                  <a:gd name="T63" fmla="*/ 188 h 260"/>
                  <a:gd name="T64" fmla="*/ 130 w 356"/>
                  <a:gd name="T65" fmla="*/ 188 h 260"/>
                  <a:gd name="T66" fmla="*/ 152 w 356"/>
                  <a:gd name="T67" fmla="*/ 180 h 260"/>
                  <a:gd name="T68" fmla="*/ 130 w 356"/>
                  <a:gd name="T69" fmla="*/ 126 h 260"/>
                  <a:gd name="T70" fmla="*/ 130 w 356"/>
                  <a:gd name="T71" fmla="*/ 150 h 260"/>
                  <a:gd name="T72" fmla="*/ 122 w 356"/>
                  <a:gd name="T73" fmla="*/ 218 h 260"/>
                  <a:gd name="T74" fmla="*/ 100 w 356"/>
                  <a:gd name="T75" fmla="*/ 218 h 260"/>
                  <a:gd name="T76" fmla="*/ 122 w 356"/>
                  <a:gd name="T77" fmla="*/ 210 h 260"/>
                  <a:gd name="T78" fmla="*/ 100 w 356"/>
                  <a:gd name="T79" fmla="*/ 156 h 260"/>
                  <a:gd name="T80" fmla="*/ 100 w 356"/>
                  <a:gd name="T81" fmla="*/ 180 h 260"/>
                  <a:gd name="T82" fmla="*/ 122 w 356"/>
                  <a:gd name="T83" fmla="*/ 126 h 260"/>
                  <a:gd name="T84" fmla="*/ 100 w 356"/>
                  <a:gd name="T85" fmla="*/ 126 h 260"/>
                  <a:gd name="T86" fmla="*/ 92 w 356"/>
                  <a:gd name="T87" fmla="*/ 240 h 260"/>
                  <a:gd name="T88" fmla="*/ 70 w 356"/>
                  <a:gd name="T89" fmla="*/ 188 h 260"/>
                  <a:gd name="T90" fmla="*/ 70 w 356"/>
                  <a:gd name="T91" fmla="*/ 210 h 260"/>
                  <a:gd name="T92" fmla="*/ 92 w 356"/>
                  <a:gd name="T93" fmla="*/ 156 h 260"/>
                  <a:gd name="T94" fmla="*/ 70 w 356"/>
                  <a:gd name="T95" fmla="*/ 156 h 260"/>
                  <a:gd name="T96" fmla="*/ 92 w 356"/>
                  <a:gd name="T97" fmla="*/ 150 h 260"/>
                  <a:gd name="T98" fmla="*/ 36 w 356"/>
                  <a:gd name="T99" fmla="*/ 218 h 260"/>
                  <a:gd name="T100" fmla="*/ 36 w 356"/>
                  <a:gd name="T101" fmla="*/ 240 h 260"/>
                  <a:gd name="T102" fmla="*/ 62 w 356"/>
                  <a:gd name="T103" fmla="*/ 188 h 260"/>
                  <a:gd name="T104" fmla="*/ 36 w 356"/>
                  <a:gd name="T105" fmla="*/ 188 h 260"/>
                  <a:gd name="T106" fmla="*/ 62 w 356"/>
                  <a:gd name="T107" fmla="*/ 180 h 260"/>
                  <a:gd name="T108" fmla="*/ 36 w 356"/>
                  <a:gd name="T109" fmla="*/ 126 h 260"/>
                  <a:gd name="T110" fmla="*/ 36 w 356"/>
                  <a:gd name="T111" fmla="*/ 15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6" h="260">
                    <a:moveTo>
                      <a:pt x="342" y="132"/>
                    </a:moveTo>
                    <a:lnTo>
                      <a:pt x="332" y="12"/>
                    </a:lnTo>
                    <a:lnTo>
                      <a:pt x="334" y="12"/>
                    </a:lnTo>
                    <a:lnTo>
                      <a:pt x="334" y="0"/>
                    </a:lnTo>
                    <a:lnTo>
                      <a:pt x="298" y="0"/>
                    </a:lnTo>
                    <a:lnTo>
                      <a:pt x="298" y="12"/>
                    </a:lnTo>
                    <a:lnTo>
                      <a:pt x="300" y="12"/>
                    </a:lnTo>
                    <a:lnTo>
                      <a:pt x="290" y="132"/>
                    </a:lnTo>
                    <a:lnTo>
                      <a:pt x="342" y="132"/>
                    </a:lnTo>
                    <a:close/>
                    <a:moveTo>
                      <a:pt x="0" y="102"/>
                    </a:moveTo>
                    <a:lnTo>
                      <a:pt x="0" y="260"/>
                    </a:lnTo>
                    <a:lnTo>
                      <a:pt x="356" y="260"/>
                    </a:lnTo>
                    <a:lnTo>
                      <a:pt x="356" y="150"/>
                    </a:lnTo>
                    <a:lnTo>
                      <a:pt x="348" y="150"/>
                    </a:lnTo>
                    <a:lnTo>
                      <a:pt x="348" y="140"/>
                    </a:lnTo>
                    <a:lnTo>
                      <a:pt x="284" y="140"/>
                    </a:lnTo>
                    <a:lnTo>
                      <a:pt x="284" y="150"/>
                    </a:lnTo>
                    <a:lnTo>
                      <a:pt x="276" y="150"/>
                    </a:lnTo>
                    <a:lnTo>
                      <a:pt x="276" y="106"/>
                    </a:lnTo>
                    <a:lnTo>
                      <a:pt x="264" y="106"/>
                    </a:lnTo>
                    <a:lnTo>
                      <a:pt x="258" y="66"/>
                    </a:lnTo>
                    <a:lnTo>
                      <a:pt x="204" y="102"/>
                    </a:lnTo>
                    <a:lnTo>
                      <a:pt x="198" y="66"/>
                    </a:lnTo>
                    <a:lnTo>
                      <a:pt x="142" y="100"/>
                    </a:lnTo>
                    <a:lnTo>
                      <a:pt x="138" y="64"/>
                    </a:lnTo>
                    <a:lnTo>
                      <a:pt x="82" y="100"/>
                    </a:lnTo>
                    <a:lnTo>
                      <a:pt x="76" y="64"/>
                    </a:lnTo>
                    <a:lnTo>
                      <a:pt x="12" y="102"/>
                    </a:lnTo>
                    <a:lnTo>
                      <a:pt x="0" y="102"/>
                    </a:lnTo>
                    <a:close/>
                    <a:moveTo>
                      <a:pt x="220" y="218"/>
                    </a:moveTo>
                    <a:lnTo>
                      <a:pt x="250" y="218"/>
                    </a:lnTo>
                    <a:lnTo>
                      <a:pt x="250" y="240"/>
                    </a:lnTo>
                    <a:lnTo>
                      <a:pt x="220" y="240"/>
                    </a:lnTo>
                    <a:lnTo>
                      <a:pt x="220" y="218"/>
                    </a:lnTo>
                    <a:close/>
                    <a:moveTo>
                      <a:pt x="220" y="188"/>
                    </a:moveTo>
                    <a:lnTo>
                      <a:pt x="250" y="188"/>
                    </a:lnTo>
                    <a:lnTo>
                      <a:pt x="250" y="210"/>
                    </a:lnTo>
                    <a:lnTo>
                      <a:pt x="220" y="210"/>
                    </a:lnTo>
                    <a:lnTo>
                      <a:pt x="220" y="188"/>
                    </a:lnTo>
                    <a:close/>
                    <a:moveTo>
                      <a:pt x="220" y="156"/>
                    </a:moveTo>
                    <a:lnTo>
                      <a:pt x="250" y="156"/>
                    </a:lnTo>
                    <a:lnTo>
                      <a:pt x="250" y="180"/>
                    </a:lnTo>
                    <a:lnTo>
                      <a:pt x="220" y="180"/>
                    </a:lnTo>
                    <a:lnTo>
                      <a:pt x="220" y="156"/>
                    </a:lnTo>
                    <a:close/>
                    <a:moveTo>
                      <a:pt x="220" y="126"/>
                    </a:moveTo>
                    <a:lnTo>
                      <a:pt x="250" y="126"/>
                    </a:lnTo>
                    <a:lnTo>
                      <a:pt x="250" y="150"/>
                    </a:lnTo>
                    <a:lnTo>
                      <a:pt x="220" y="150"/>
                    </a:lnTo>
                    <a:lnTo>
                      <a:pt x="220" y="126"/>
                    </a:lnTo>
                    <a:close/>
                    <a:moveTo>
                      <a:pt x="190" y="218"/>
                    </a:moveTo>
                    <a:lnTo>
                      <a:pt x="214" y="218"/>
                    </a:lnTo>
                    <a:lnTo>
                      <a:pt x="214" y="240"/>
                    </a:lnTo>
                    <a:lnTo>
                      <a:pt x="190" y="240"/>
                    </a:lnTo>
                    <a:lnTo>
                      <a:pt x="190" y="218"/>
                    </a:lnTo>
                    <a:close/>
                    <a:moveTo>
                      <a:pt x="190" y="188"/>
                    </a:moveTo>
                    <a:lnTo>
                      <a:pt x="214" y="188"/>
                    </a:lnTo>
                    <a:lnTo>
                      <a:pt x="214" y="210"/>
                    </a:lnTo>
                    <a:lnTo>
                      <a:pt x="190" y="210"/>
                    </a:lnTo>
                    <a:lnTo>
                      <a:pt x="190" y="188"/>
                    </a:lnTo>
                    <a:close/>
                    <a:moveTo>
                      <a:pt x="190" y="156"/>
                    </a:moveTo>
                    <a:lnTo>
                      <a:pt x="214" y="156"/>
                    </a:lnTo>
                    <a:lnTo>
                      <a:pt x="214" y="180"/>
                    </a:lnTo>
                    <a:lnTo>
                      <a:pt x="190" y="180"/>
                    </a:lnTo>
                    <a:lnTo>
                      <a:pt x="190" y="156"/>
                    </a:lnTo>
                    <a:close/>
                    <a:moveTo>
                      <a:pt x="190" y="126"/>
                    </a:moveTo>
                    <a:lnTo>
                      <a:pt x="214" y="126"/>
                    </a:lnTo>
                    <a:lnTo>
                      <a:pt x="214" y="150"/>
                    </a:lnTo>
                    <a:lnTo>
                      <a:pt x="190" y="150"/>
                    </a:lnTo>
                    <a:lnTo>
                      <a:pt x="190" y="126"/>
                    </a:lnTo>
                    <a:close/>
                    <a:moveTo>
                      <a:pt x="160" y="218"/>
                    </a:moveTo>
                    <a:lnTo>
                      <a:pt x="182" y="218"/>
                    </a:lnTo>
                    <a:lnTo>
                      <a:pt x="182" y="240"/>
                    </a:lnTo>
                    <a:lnTo>
                      <a:pt x="160" y="240"/>
                    </a:lnTo>
                    <a:lnTo>
                      <a:pt x="160" y="218"/>
                    </a:lnTo>
                    <a:close/>
                    <a:moveTo>
                      <a:pt x="160" y="188"/>
                    </a:moveTo>
                    <a:lnTo>
                      <a:pt x="182" y="188"/>
                    </a:lnTo>
                    <a:lnTo>
                      <a:pt x="182" y="210"/>
                    </a:lnTo>
                    <a:lnTo>
                      <a:pt x="160" y="210"/>
                    </a:lnTo>
                    <a:lnTo>
                      <a:pt x="160" y="188"/>
                    </a:lnTo>
                    <a:close/>
                    <a:moveTo>
                      <a:pt x="160" y="156"/>
                    </a:moveTo>
                    <a:lnTo>
                      <a:pt x="182" y="156"/>
                    </a:lnTo>
                    <a:lnTo>
                      <a:pt x="182" y="180"/>
                    </a:lnTo>
                    <a:lnTo>
                      <a:pt x="160" y="180"/>
                    </a:lnTo>
                    <a:lnTo>
                      <a:pt x="160" y="156"/>
                    </a:lnTo>
                    <a:close/>
                    <a:moveTo>
                      <a:pt x="160" y="126"/>
                    </a:moveTo>
                    <a:lnTo>
                      <a:pt x="182" y="126"/>
                    </a:lnTo>
                    <a:lnTo>
                      <a:pt x="182" y="150"/>
                    </a:lnTo>
                    <a:lnTo>
                      <a:pt x="160" y="150"/>
                    </a:lnTo>
                    <a:lnTo>
                      <a:pt x="160" y="126"/>
                    </a:lnTo>
                    <a:close/>
                    <a:moveTo>
                      <a:pt x="130" y="218"/>
                    </a:moveTo>
                    <a:lnTo>
                      <a:pt x="152" y="218"/>
                    </a:lnTo>
                    <a:lnTo>
                      <a:pt x="152" y="240"/>
                    </a:lnTo>
                    <a:lnTo>
                      <a:pt x="130" y="240"/>
                    </a:lnTo>
                    <a:lnTo>
                      <a:pt x="130" y="218"/>
                    </a:lnTo>
                    <a:close/>
                    <a:moveTo>
                      <a:pt x="130" y="188"/>
                    </a:moveTo>
                    <a:lnTo>
                      <a:pt x="152" y="188"/>
                    </a:lnTo>
                    <a:lnTo>
                      <a:pt x="152" y="210"/>
                    </a:lnTo>
                    <a:lnTo>
                      <a:pt x="130" y="210"/>
                    </a:lnTo>
                    <a:lnTo>
                      <a:pt x="130" y="188"/>
                    </a:lnTo>
                    <a:close/>
                    <a:moveTo>
                      <a:pt x="130" y="156"/>
                    </a:moveTo>
                    <a:lnTo>
                      <a:pt x="152" y="156"/>
                    </a:lnTo>
                    <a:lnTo>
                      <a:pt x="152" y="180"/>
                    </a:lnTo>
                    <a:lnTo>
                      <a:pt x="130" y="180"/>
                    </a:lnTo>
                    <a:lnTo>
                      <a:pt x="130" y="156"/>
                    </a:lnTo>
                    <a:close/>
                    <a:moveTo>
                      <a:pt x="130" y="126"/>
                    </a:moveTo>
                    <a:lnTo>
                      <a:pt x="152" y="126"/>
                    </a:lnTo>
                    <a:lnTo>
                      <a:pt x="152" y="150"/>
                    </a:lnTo>
                    <a:lnTo>
                      <a:pt x="130" y="150"/>
                    </a:lnTo>
                    <a:lnTo>
                      <a:pt x="130" y="126"/>
                    </a:lnTo>
                    <a:close/>
                    <a:moveTo>
                      <a:pt x="100" y="218"/>
                    </a:moveTo>
                    <a:lnTo>
                      <a:pt x="122" y="218"/>
                    </a:lnTo>
                    <a:lnTo>
                      <a:pt x="122" y="240"/>
                    </a:lnTo>
                    <a:lnTo>
                      <a:pt x="100" y="240"/>
                    </a:lnTo>
                    <a:lnTo>
                      <a:pt x="100" y="218"/>
                    </a:lnTo>
                    <a:close/>
                    <a:moveTo>
                      <a:pt x="100" y="188"/>
                    </a:moveTo>
                    <a:lnTo>
                      <a:pt x="122" y="188"/>
                    </a:lnTo>
                    <a:lnTo>
                      <a:pt x="122" y="210"/>
                    </a:lnTo>
                    <a:lnTo>
                      <a:pt x="100" y="210"/>
                    </a:lnTo>
                    <a:lnTo>
                      <a:pt x="100" y="188"/>
                    </a:lnTo>
                    <a:close/>
                    <a:moveTo>
                      <a:pt x="100" y="156"/>
                    </a:moveTo>
                    <a:lnTo>
                      <a:pt x="122" y="156"/>
                    </a:lnTo>
                    <a:lnTo>
                      <a:pt x="122" y="180"/>
                    </a:lnTo>
                    <a:lnTo>
                      <a:pt x="100" y="180"/>
                    </a:lnTo>
                    <a:lnTo>
                      <a:pt x="100" y="156"/>
                    </a:lnTo>
                    <a:close/>
                    <a:moveTo>
                      <a:pt x="100" y="126"/>
                    </a:moveTo>
                    <a:lnTo>
                      <a:pt x="122" y="126"/>
                    </a:lnTo>
                    <a:lnTo>
                      <a:pt x="122" y="150"/>
                    </a:lnTo>
                    <a:lnTo>
                      <a:pt x="100" y="150"/>
                    </a:lnTo>
                    <a:lnTo>
                      <a:pt x="100" y="126"/>
                    </a:lnTo>
                    <a:close/>
                    <a:moveTo>
                      <a:pt x="70" y="218"/>
                    </a:moveTo>
                    <a:lnTo>
                      <a:pt x="92" y="218"/>
                    </a:lnTo>
                    <a:lnTo>
                      <a:pt x="92" y="240"/>
                    </a:lnTo>
                    <a:lnTo>
                      <a:pt x="70" y="240"/>
                    </a:lnTo>
                    <a:lnTo>
                      <a:pt x="70" y="218"/>
                    </a:lnTo>
                    <a:close/>
                    <a:moveTo>
                      <a:pt x="70" y="188"/>
                    </a:moveTo>
                    <a:lnTo>
                      <a:pt x="92" y="188"/>
                    </a:lnTo>
                    <a:lnTo>
                      <a:pt x="92" y="210"/>
                    </a:lnTo>
                    <a:lnTo>
                      <a:pt x="70" y="210"/>
                    </a:lnTo>
                    <a:lnTo>
                      <a:pt x="70" y="188"/>
                    </a:lnTo>
                    <a:close/>
                    <a:moveTo>
                      <a:pt x="70" y="156"/>
                    </a:moveTo>
                    <a:lnTo>
                      <a:pt x="92" y="156"/>
                    </a:lnTo>
                    <a:lnTo>
                      <a:pt x="92" y="180"/>
                    </a:lnTo>
                    <a:lnTo>
                      <a:pt x="70" y="180"/>
                    </a:lnTo>
                    <a:lnTo>
                      <a:pt x="70" y="156"/>
                    </a:lnTo>
                    <a:close/>
                    <a:moveTo>
                      <a:pt x="70" y="126"/>
                    </a:moveTo>
                    <a:lnTo>
                      <a:pt x="92" y="126"/>
                    </a:lnTo>
                    <a:lnTo>
                      <a:pt x="92" y="150"/>
                    </a:lnTo>
                    <a:lnTo>
                      <a:pt x="70" y="150"/>
                    </a:lnTo>
                    <a:lnTo>
                      <a:pt x="70" y="126"/>
                    </a:lnTo>
                    <a:close/>
                    <a:moveTo>
                      <a:pt x="36" y="218"/>
                    </a:moveTo>
                    <a:lnTo>
                      <a:pt x="62" y="218"/>
                    </a:lnTo>
                    <a:lnTo>
                      <a:pt x="62" y="240"/>
                    </a:lnTo>
                    <a:lnTo>
                      <a:pt x="36" y="240"/>
                    </a:lnTo>
                    <a:lnTo>
                      <a:pt x="36" y="218"/>
                    </a:lnTo>
                    <a:close/>
                    <a:moveTo>
                      <a:pt x="36" y="188"/>
                    </a:moveTo>
                    <a:lnTo>
                      <a:pt x="62" y="188"/>
                    </a:lnTo>
                    <a:lnTo>
                      <a:pt x="62" y="210"/>
                    </a:lnTo>
                    <a:lnTo>
                      <a:pt x="36" y="210"/>
                    </a:lnTo>
                    <a:lnTo>
                      <a:pt x="36" y="188"/>
                    </a:lnTo>
                    <a:close/>
                    <a:moveTo>
                      <a:pt x="36" y="156"/>
                    </a:moveTo>
                    <a:lnTo>
                      <a:pt x="62" y="156"/>
                    </a:lnTo>
                    <a:lnTo>
                      <a:pt x="62" y="180"/>
                    </a:lnTo>
                    <a:lnTo>
                      <a:pt x="36" y="180"/>
                    </a:lnTo>
                    <a:lnTo>
                      <a:pt x="36" y="156"/>
                    </a:lnTo>
                    <a:close/>
                    <a:moveTo>
                      <a:pt x="36" y="126"/>
                    </a:moveTo>
                    <a:lnTo>
                      <a:pt x="62" y="126"/>
                    </a:lnTo>
                    <a:lnTo>
                      <a:pt x="62" y="150"/>
                    </a:lnTo>
                    <a:lnTo>
                      <a:pt x="36" y="150"/>
                    </a:lnTo>
                    <a:lnTo>
                      <a:pt x="36" y="12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59BF16B2-8C6E-4AE0-88DD-F4EBF4DB7832}"/>
                </a:ext>
              </a:extLst>
            </p:cNvPr>
            <p:cNvGrpSpPr/>
            <p:nvPr/>
          </p:nvGrpSpPr>
          <p:grpSpPr>
            <a:xfrm>
              <a:off x="7001174" y="5656607"/>
              <a:ext cx="168455" cy="162849"/>
              <a:chOff x="11410893" y="1080134"/>
              <a:chExt cx="156960" cy="128647"/>
            </a:xfrm>
          </p:grpSpPr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6EF94488-FAC1-4817-AD5D-17D2994AF2EF}"/>
                  </a:ext>
                </a:extLst>
              </p:cNvPr>
              <p:cNvSpPr/>
              <p:nvPr/>
            </p:nvSpPr>
            <p:spPr bwMode="ltGray">
              <a:xfrm>
                <a:off x="11410893" y="1080134"/>
                <a:ext cx="156960" cy="128647"/>
              </a:xfrm>
              <a:prstGeom prst="ellipse">
                <a:avLst/>
              </a:prstGeom>
              <a:solidFill>
                <a:srgbClr val="E0301E"/>
              </a:solidFill>
              <a:ln w="3175">
                <a:solidFill>
                  <a:srgbClr val="E36A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53" name="Freeform 4869">
                <a:extLst>
                  <a:ext uri="{FF2B5EF4-FFF2-40B4-BE49-F238E27FC236}">
                    <a16:creationId xmlns:a16="http://schemas.microsoft.com/office/drawing/2014/main" id="{B348B6BC-9433-472B-9B84-8767713ED6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3387" y="1107308"/>
                <a:ext cx="91972" cy="75382"/>
              </a:xfrm>
              <a:custGeom>
                <a:avLst/>
                <a:gdLst>
                  <a:gd name="T0" fmla="*/ 122 w 296"/>
                  <a:gd name="T1" fmla="*/ 20 h 296"/>
                  <a:gd name="T2" fmla="*/ 98 w 296"/>
                  <a:gd name="T3" fmla="*/ 4 h 296"/>
                  <a:gd name="T4" fmla="*/ 58 w 296"/>
                  <a:gd name="T5" fmla="*/ 0 h 296"/>
                  <a:gd name="T6" fmla="*/ 20 w 296"/>
                  <a:gd name="T7" fmla="*/ 20 h 296"/>
                  <a:gd name="T8" fmla="*/ 6 w 296"/>
                  <a:gd name="T9" fmla="*/ 44 h 296"/>
                  <a:gd name="T10" fmla="*/ 2 w 296"/>
                  <a:gd name="T11" fmla="*/ 86 h 296"/>
                  <a:gd name="T12" fmla="*/ 20 w 296"/>
                  <a:gd name="T13" fmla="*/ 122 h 296"/>
                  <a:gd name="T14" fmla="*/ 174 w 296"/>
                  <a:gd name="T15" fmla="*/ 276 h 296"/>
                  <a:gd name="T16" fmla="*/ 210 w 296"/>
                  <a:gd name="T17" fmla="*/ 296 h 296"/>
                  <a:gd name="T18" fmla="*/ 252 w 296"/>
                  <a:gd name="T19" fmla="*/ 292 h 296"/>
                  <a:gd name="T20" fmla="*/ 276 w 296"/>
                  <a:gd name="T21" fmla="*/ 276 h 296"/>
                  <a:gd name="T22" fmla="*/ 296 w 296"/>
                  <a:gd name="T23" fmla="*/ 238 h 296"/>
                  <a:gd name="T24" fmla="*/ 292 w 296"/>
                  <a:gd name="T25" fmla="*/ 198 h 296"/>
                  <a:gd name="T26" fmla="*/ 276 w 296"/>
                  <a:gd name="T27" fmla="*/ 174 h 296"/>
                  <a:gd name="T28" fmla="*/ 36 w 296"/>
                  <a:gd name="T29" fmla="*/ 108 h 296"/>
                  <a:gd name="T30" fmla="*/ 20 w 296"/>
                  <a:gd name="T31" fmla="*/ 82 h 296"/>
                  <a:gd name="T32" fmla="*/ 24 w 296"/>
                  <a:gd name="T33" fmla="*/ 52 h 296"/>
                  <a:gd name="T34" fmla="*/ 36 w 296"/>
                  <a:gd name="T35" fmla="*/ 34 h 296"/>
                  <a:gd name="T36" fmla="*/ 58 w 296"/>
                  <a:gd name="T37" fmla="*/ 22 h 296"/>
                  <a:gd name="T38" fmla="*/ 62 w 296"/>
                  <a:gd name="T39" fmla="*/ 22 h 296"/>
                  <a:gd name="T40" fmla="*/ 52 w 296"/>
                  <a:gd name="T41" fmla="*/ 40 h 296"/>
                  <a:gd name="T42" fmla="*/ 58 w 296"/>
                  <a:gd name="T43" fmla="*/ 54 h 296"/>
                  <a:gd name="T44" fmla="*/ 72 w 296"/>
                  <a:gd name="T45" fmla="*/ 60 h 296"/>
                  <a:gd name="T46" fmla="*/ 90 w 296"/>
                  <a:gd name="T47" fmla="*/ 48 h 296"/>
                  <a:gd name="T48" fmla="*/ 90 w 296"/>
                  <a:gd name="T49" fmla="*/ 32 h 296"/>
                  <a:gd name="T50" fmla="*/ 76 w 296"/>
                  <a:gd name="T51" fmla="*/ 20 h 296"/>
                  <a:gd name="T52" fmla="*/ 94 w 296"/>
                  <a:gd name="T53" fmla="*/ 24 h 296"/>
                  <a:gd name="T54" fmla="*/ 170 w 296"/>
                  <a:gd name="T55" fmla="*/ 98 h 296"/>
                  <a:gd name="T56" fmla="*/ 262 w 296"/>
                  <a:gd name="T57" fmla="*/ 262 h 296"/>
                  <a:gd name="T58" fmla="*/ 236 w 296"/>
                  <a:gd name="T59" fmla="*/ 278 h 296"/>
                  <a:gd name="T60" fmla="*/ 224 w 296"/>
                  <a:gd name="T61" fmla="*/ 278 h 296"/>
                  <a:gd name="T62" fmla="*/ 204 w 296"/>
                  <a:gd name="T63" fmla="*/ 274 h 296"/>
                  <a:gd name="T64" fmla="*/ 186 w 296"/>
                  <a:gd name="T65" fmla="*/ 262 h 296"/>
                  <a:gd name="T66" fmla="*/ 184 w 296"/>
                  <a:gd name="T67" fmla="*/ 252 h 296"/>
                  <a:gd name="T68" fmla="*/ 190 w 296"/>
                  <a:gd name="T69" fmla="*/ 246 h 296"/>
                  <a:gd name="T70" fmla="*/ 200 w 296"/>
                  <a:gd name="T71" fmla="*/ 248 h 296"/>
                  <a:gd name="T72" fmla="*/ 212 w 296"/>
                  <a:gd name="T73" fmla="*/ 256 h 296"/>
                  <a:gd name="T74" fmla="*/ 224 w 296"/>
                  <a:gd name="T75" fmla="*/ 258 h 296"/>
                  <a:gd name="T76" fmla="*/ 238 w 296"/>
                  <a:gd name="T77" fmla="*/ 256 h 296"/>
                  <a:gd name="T78" fmla="*/ 248 w 296"/>
                  <a:gd name="T79" fmla="*/ 248 h 296"/>
                  <a:gd name="T80" fmla="*/ 260 w 296"/>
                  <a:gd name="T81" fmla="*/ 246 h 296"/>
                  <a:gd name="T82" fmla="*/ 264 w 296"/>
                  <a:gd name="T83" fmla="*/ 252 h 296"/>
                  <a:gd name="T84" fmla="*/ 262 w 296"/>
                  <a:gd name="T85" fmla="*/ 26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6" h="296">
                    <a:moveTo>
                      <a:pt x="276" y="174"/>
                    </a:moveTo>
                    <a:lnTo>
                      <a:pt x="200" y="98"/>
                    </a:lnTo>
                    <a:lnTo>
                      <a:pt x="122" y="20"/>
                    </a:lnTo>
                    <a:lnTo>
                      <a:pt x="122" y="20"/>
                    </a:lnTo>
                    <a:lnTo>
                      <a:pt x="112" y="12"/>
                    </a:lnTo>
                    <a:lnTo>
                      <a:pt x="98" y="4"/>
                    </a:lnTo>
                    <a:lnTo>
                      <a:pt x="86" y="0"/>
                    </a:lnTo>
                    <a:lnTo>
                      <a:pt x="72" y="0"/>
                    </a:lnTo>
                    <a:lnTo>
                      <a:pt x="58" y="0"/>
                    </a:lnTo>
                    <a:lnTo>
                      <a:pt x="44" y="4"/>
                    </a:lnTo>
                    <a:lnTo>
                      <a:pt x="32" y="1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2" y="32"/>
                    </a:lnTo>
                    <a:lnTo>
                      <a:pt x="6" y="44"/>
                    </a:lnTo>
                    <a:lnTo>
                      <a:pt x="2" y="58"/>
                    </a:lnTo>
                    <a:lnTo>
                      <a:pt x="0" y="72"/>
                    </a:lnTo>
                    <a:lnTo>
                      <a:pt x="2" y="86"/>
                    </a:lnTo>
                    <a:lnTo>
                      <a:pt x="6" y="98"/>
                    </a:lnTo>
                    <a:lnTo>
                      <a:pt x="12" y="112"/>
                    </a:lnTo>
                    <a:lnTo>
                      <a:pt x="20" y="122"/>
                    </a:lnTo>
                    <a:lnTo>
                      <a:pt x="98" y="198"/>
                    </a:lnTo>
                    <a:lnTo>
                      <a:pt x="174" y="276"/>
                    </a:lnTo>
                    <a:lnTo>
                      <a:pt x="174" y="276"/>
                    </a:lnTo>
                    <a:lnTo>
                      <a:pt x="184" y="284"/>
                    </a:lnTo>
                    <a:lnTo>
                      <a:pt x="198" y="292"/>
                    </a:lnTo>
                    <a:lnTo>
                      <a:pt x="210" y="296"/>
                    </a:lnTo>
                    <a:lnTo>
                      <a:pt x="224" y="296"/>
                    </a:lnTo>
                    <a:lnTo>
                      <a:pt x="238" y="296"/>
                    </a:lnTo>
                    <a:lnTo>
                      <a:pt x="252" y="292"/>
                    </a:lnTo>
                    <a:lnTo>
                      <a:pt x="264" y="284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84" y="264"/>
                    </a:lnTo>
                    <a:lnTo>
                      <a:pt x="292" y="252"/>
                    </a:lnTo>
                    <a:lnTo>
                      <a:pt x="296" y="238"/>
                    </a:lnTo>
                    <a:lnTo>
                      <a:pt x="296" y="224"/>
                    </a:lnTo>
                    <a:lnTo>
                      <a:pt x="296" y="210"/>
                    </a:lnTo>
                    <a:lnTo>
                      <a:pt x="292" y="198"/>
                    </a:lnTo>
                    <a:lnTo>
                      <a:pt x="284" y="184"/>
                    </a:lnTo>
                    <a:lnTo>
                      <a:pt x="276" y="174"/>
                    </a:lnTo>
                    <a:lnTo>
                      <a:pt x="276" y="174"/>
                    </a:lnTo>
                    <a:close/>
                    <a:moveTo>
                      <a:pt x="98" y="170"/>
                    </a:moveTo>
                    <a:lnTo>
                      <a:pt x="36" y="108"/>
                    </a:lnTo>
                    <a:lnTo>
                      <a:pt x="36" y="108"/>
                    </a:lnTo>
                    <a:lnTo>
                      <a:pt x="28" y="100"/>
                    </a:lnTo>
                    <a:lnTo>
                      <a:pt x="24" y="92"/>
                    </a:lnTo>
                    <a:lnTo>
                      <a:pt x="20" y="82"/>
                    </a:lnTo>
                    <a:lnTo>
                      <a:pt x="20" y="72"/>
                    </a:lnTo>
                    <a:lnTo>
                      <a:pt x="20" y="62"/>
                    </a:lnTo>
                    <a:lnTo>
                      <a:pt x="24" y="52"/>
                    </a:lnTo>
                    <a:lnTo>
                      <a:pt x="28" y="4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2" y="28"/>
                    </a:lnTo>
                    <a:lnTo>
                      <a:pt x="50" y="24"/>
                    </a:lnTo>
                    <a:lnTo>
                      <a:pt x="58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2" y="22"/>
                    </a:lnTo>
                    <a:lnTo>
                      <a:pt x="56" y="26"/>
                    </a:lnTo>
                    <a:lnTo>
                      <a:pt x="54" y="32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4" y="48"/>
                    </a:lnTo>
                    <a:lnTo>
                      <a:pt x="58" y="54"/>
                    </a:lnTo>
                    <a:lnTo>
                      <a:pt x="64" y="58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80" y="58"/>
                    </a:lnTo>
                    <a:lnTo>
                      <a:pt x="86" y="54"/>
                    </a:lnTo>
                    <a:lnTo>
                      <a:pt x="90" y="48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8" y="26"/>
                    </a:lnTo>
                    <a:lnTo>
                      <a:pt x="82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4" y="22"/>
                    </a:lnTo>
                    <a:lnTo>
                      <a:pt x="94" y="24"/>
                    </a:lnTo>
                    <a:lnTo>
                      <a:pt x="102" y="28"/>
                    </a:lnTo>
                    <a:lnTo>
                      <a:pt x="108" y="34"/>
                    </a:lnTo>
                    <a:lnTo>
                      <a:pt x="170" y="98"/>
                    </a:lnTo>
                    <a:lnTo>
                      <a:pt x="98" y="170"/>
                    </a:lnTo>
                    <a:close/>
                    <a:moveTo>
                      <a:pt x="262" y="262"/>
                    </a:moveTo>
                    <a:lnTo>
                      <a:pt x="262" y="262"/>
                    </a:lnTo>
                    <a:lnTo>
                      <a:pt x="254" y="270"/>
                    </a:lnTo>
                    <a:lnTo>
                      <a:pt x="246" y="274"/>
                    </a:lnTo>
                    <a:lnTo>
                      <a:pt x="236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14" y="278"/>
                    </a:lnTo>
                    <a:lnTo>
                      <a:pt x="204" y="274"/>
                    </a:lnTo>
                    <a:lnTo>
                      <a:pt x="194" y="270"/>
                    </a:lnTo>
                    <a:lnTo>
                      <a:pt x="186" y="262"/>
                    </a:lnTo>
                    <a:lnTo>
                      <a:pt x="186" y="262"/>
                    </a:lnTo>
                    <a:lnTo>
                      <a:pt x="184" y="260"/>
                    </a:lnTo>
                    <a:lnTo>
                      <a:pt x="184" y="256"/>
                    </a:lnTo>
                    <a:lnTo>
                      <a:pt x="184" y="252"/>
                    </a:lnTo>
                    <a:lnTo>
                      <a:pt x="186" y="248"/>
                    </a:lnTo>
                    <a:lnTo>
                      <a:pt x="186" y="248"/>
                    </a:lnTo>
                    <a:lnTo>
                      <a:pt x="190" y="246"/>
                    </a:lnTo>
                    <a:lnTo>
                      <a:pt x="194" y="246"/>
                    </a:lnTo>
                    <a:lnTo>
                      <a:pt x="198" y="246"/>
                    </a:lnTo>
                    <a:lnTo>
                      <a:pt x="200" y="248"/>
                    </a:lnTo>
                    <a:lnTo>
                      <a:pt x="200" y="248"/>
                    </a:lnTo>
                    <a:lnTo>
                      <a:pt x="206" y="252"/>
                    </a:lnTo>
                    <a:lnTo>
                      <a:pt x="212" y="256"/>
                    </a:lnTo>
                    <a:lnTo>
                      <a:pt x="218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32" y="258"/>
                    </a:lnTo>
                    <a:lnTo>
                      <a:pt x="238" y="256"/>
                    </a:lnTo>
                    <a:lnTo>
                      <a:pt x="244" y="252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52" y="246"/>
                    </a:lnTo>
                    <a:lnTo>
                      <a:pt x="256" y="246"/>
                    </a:lnTo>
                    <a:lnTo>
                      <a:pt x="260" y="246"/>
                    </a:lnTo>
                    <a:lnTo>
                      <a:pt x="262" y="248"/>
                    </a:lnTo>
                    <a:lnTo>
                      <a:pt x="262" y="248"/>
                    </a:lnTo>
                    <a:lnTo>
                      <a:pt x="264" y="252"/>
                    </a:lnTo>
                    <a:lnTo>
                      <a:pt x="266" y="256"/>
                    </a:lnTo>
                    <a:lnTo>
                      <a:pt x="264" y="260"/>
                    </a:lnTo>
                    <a:lnTo>
                      <a:pt x="262" y="262"/>
                    </a:lnTo>
                    <a:lnTo>
                      <a:pt x="262" y="262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46C9FD31-C633-4F0E-B941-ACDC368495B2}"/>
                </a:ext>
              </a:extLst>
            </p:cNvPr>
            <p:cNvGrpSpPr/>
            <p:nvPr/>
          </p:nvGrpSpPr>
          <p:grpSpPr>
            <a:xfrm>
              <a:off x="6219082" y="6009826"/>
              <a:ext cx="168455" cy="162849"/>
              <a:chOff x="11410893" y="1080134"/>
              <a:chExt cx="156960" cy="128647"/>
            </a:xfrm>
          </p:grpSpPr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6915CB72-9B10-4C1E-A93F-27DF52212C18}"/>
                  </a:ext>
                </a:extLst>
              </p:cNvPr>
              <p:cNvSpPr/>
              <p:nvPr/>
            </p:nvSpPr>
            <p:spPr bwMode="ltGray">
              <a:xfrm>
                <a:off x="11410893" y="1080134"/>
                <a:ext cx="156960" cy="128647"/>
              </a:xfrm>
              <a:prstGeom prst="ellipse">
                <a:avLst/>
              </a:prstGeom>
              <a:solidFill>
                <a:srgbClr val="E0301E"/>
              </a:solidFill>
              <a:ln w="3175">
                <a:solidFill>
                  <a:srgbClr val="E36A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51" name="Freeform 4869">
                <a:extLst>
                  <a:ext uri="{FF2B5EF4-FFF2-40B4-BE49-F238E27FC236}">
                    <a16:creationId xmlns:a16="http://schemas.microsoft.com/office/drawing/2014/main" id="{3AEE42D0-96D8-4374-8AEA-86F5212BE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3387" y="1107308"/>
                <a:ext cx="91972" cy="75382"/>
              </a:xfrm>
              <a:custGeom>
                <a:avLst/>
                <a:gdLst>
                  <a:gd name="T0" fmla="*/ 122 w 296"/>
                  <a:gd name="T1" fmla="*/ 20 h 296"/>
                  <a:gd name="T2" fmla="*/ 98 w 296"/>
                  <a:gd name="T3" fmla="*/ 4 h 296"/>
                  <a:gd name="T4" fmla="*/ 58 w 296"/>
                  <a:gd name="T5" fmla="*/ 0 h 296"/>
                  <a:gd name="T6" fmla="*/ 20 w 296"/>
                  <a:gd name="T7" fmla="*/ 20 h 296"/>
                  <a:gd name="T8" fmla="*/ 6 w 296"/>
                  <a:gd name="T9" fmla="*/ 44 h 296"/>
                  <a:gd name="T10" fmla="*/ 2 w 296"/>
                  <a:gd name="T11" fmla="*/ 86 h 296"/>
                  <a:gd name="T12" fmla="*/ 20 w 296"/>
                  <a:gd name="T13" fmla="*/ 122 h 296"/>
                  <a:gd name="T14" fmla="*/ 174 w 296"/>
                  <a:gd name="T15" fmla="*/ 276 h 296"/>
                  <a:gd name="T16" fmla="*/ 210 w 296"/>
                  <a:gd name="T17" fmla="*/ 296 h 296"/>
                  <a:gd name="T18" fmla="*/ 252 w 296"/>
                  <a:gd name="T19" fmla="*/ 292 h 296"/>
                  <a:gd name="T20" fmla="*/ 276 w 296"/>
                  <a:gd name="T21" fmla="*/ 276 h 296"/>
                  <a:gd name="T22" fmla="*/ 296 w 296"/>
                  <a:gd name="T23" fmla="*/ 238 h 296"/>
                  <a:gd name="T24" fmla="*/ 292 w 296"/>
                  <a:gd name="T25" fmla="*/ 198 h 296"/>
                  <a:gd name="T26" fmla="*/ 276 w 296"/>
                  <a:gd name="T27" fmla="*/ 174 h 296"/>
                  <a:gd name="T28" fmla="*/ 36 w 296"/>
                  <a:gd name="T29" fmla="*/ 108 h 296"/>
                  <a:gd name="T30" fmla="*/ 20 w 296"/>
                  <a:gd name="T31" fmla="*/ 82 h 296"/>
                  <a:gd name="T32" fmla="*/ 24 w 296"/>
                  <a:gd name="T33" fmla="*/ 52 h 296"/>
                  <a:gd name="T34" fmla="*/ 36 w 296"/>
                  <a:gd name="T35" fmla="*/ 34 h 296"/>
                  <a:gd name="T36" fmla="*/ 58 w 296"/>
                  <a:gd name="T37" fmla="*/ 22 h 296"/>
                  <a:gd name="T38" fmla="*/ 62 w 296"/>
                  <a:gd name="T39" fmla="*/ 22 h 296"/>
                  <a:gd name="T40" fmla="*/ 52 w 296"/>
                  <a:gd name="T41" fmla="*/ 40 h 296"/>
                  <a:gd name="T42" fmla="*/ 58 w 296"/>
                  <a:gd name="T43" fmla="*/ 54 h 296"/>
                  <a:gd name="T44" fmla="*/ 72 w 296"/>
                  <a:gd name="T45" fmla="*/ 60 h 296"/>
                  <a:gd name="T46" fmla="*/ 90 w 296"/>
                  <a:gd name="T47" fmla="*/ 48 h 296"/>
                  <a:gd name="T48" fmla="*/ 90 w 296"/>
                  <a:gd name="T49" fmla="*/ 32 h 296"/>
                  <a:gd name="T50" fmla="*/ 76 w 296"/>
                  <a:gd name="T51" fmla="*/ 20 h 296"/>
                  <a:gd name="T52" fmla="*/ 94 w 296"/>
                  <a:gd name="T53" fmla="*/ 24 h 296"/>
                  <a:gd name="T54" fmla="*/ 170 w 296"/>
                  <a:gd name="T55" fmla="*/ 98 h 296"/>
                  <a:gd name="T56" fmla="*/ 262 w 296"/>
                  <a:gd name="T57" fmla="*/ 262 h 296"/>
                  <a:gd name="T58" fmla="*/ 236 w 296"/>
                  <a:gd name="T59" fmla="*/ 278 h 296"/>
                  <a:gd name="T60" fmla="*/ 224 w 296"/>
                  <a:gd name="T61" fmla="*/ 278 h 296"/>
                  <a:gd name="T62" fmla="*/ 204 w 296"/>
                  <a:gd name="T63" fmla="*/ 274 h 296"/>
                  <a:gd name="T64" fmla="*/ 186 w 296"/>
                  <a:gd name="T65" fmla="*/ 262 h 296"/>
                  <a:gd name="T66" fmla="*/ 184 w 296"/>
                  <a:gd name="T67" fmla="*/ 252 h 296"/>
                  <a:gd name="T68" fmla="*/ 190 w 296"/>
                  <a:gd name="T69" fmla="*/ 246 h 296"/>
                  <a:gd name="T70" fmla="*/ 200 w 296"/>
                  <a:gd name="T71" fmla="*/ 248 h 296"/>
                  <a:gd name="T72" fmla="*/ 212 w 296"/>
                  <a:gd name="T73" fmla="*/ 256 h 296"/>
                  <a:gd name="T74" fmla="*/ 224 w 296"/>
                  <a:gd name="T75" fmla="*/ 258 h 296"/>
                  <a:gd name="T76" fmla="*/ 238 w 296"/>
                  <a:gd name="T77" fmla="*/ 256 h 296"/>
                  <a:gd name="T78" fmla="*/ 248 w 296"/>
                  <a:gd name="T79" fmla="*/ 248 h 296"/>
                  <a:gd name="T80" fmla="*/ 260 w 296"/>
                  <a:gd name="T81" fmla="*/ 246 h 296"/>
                  <a:gd name="T82" fmla="*/ 264 w 296"/>
                  <a:gd name="T83" fmla="*/ 252 h 296"/>
                  <a:gd name="T84" fmla="*/ 262 w 296"/>
                  <a:gd name="T85" fmla="*/ 26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6" h="296">
                    <a:moveTo>
                      <a:pt x="276" y="174"/>
                    </a:moveTo>
                    <a:lnTo>
                      <a:pt x="200" y="98"/>
                    </a:lnTo>
                    <a:lnTo>
                      <a:pt x="122" y="20"/>
                    </a:lnTo>
                    <a:lnTo>
                      <a:pt x="122" y="20"/>
                    </a:lnTo>
                    <a:lnTo>
                      <a:pt x="112" y="12"/>
                    </a:lnTo>
                    <a:lnTo>
                      <a:pt x="98" y="4"/>
                    </a:lnTo>
                    <a:lnTo>
                      <a:pt x="86" y="0"/>
                    </a:lnTo>
                    <a:lnTo>
                      <a:pt x="72" y="0"/>
                    </a:lnTo>
                    <a:lnTo>
                      <a:pt x="58" y="0"/>
                    </a:lnTo>
                    <a:lnTo>
                      <a:pt x="44" y="4"/>
                    </a:lnTo>
                    <a:lnTo>
                      <a:pt x="32" y="1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2" y="32"/>
                    </a:lnTo>
                    <a:lnTo>
                      <a:pt x="6" y="44"/>
                    </a:lnTo>
                    <a:lnTo>
                      <a:pt x="2" y="58"/>
                    </a:lnTo>
                    <a:lnTo>
                      <a:pt x="0" y="72"/>
                    </a:lnTo>
                    <a:lnTo>
                      <a:pt x="2" y="86"/>
                    </a:lnTo>
                    <a:lnTo>
                      <a:pt x="6" y="98"/>
                    </a:lnTo>
                    <a:lnTo>
                      <a:pt x="12" y="112"/>
                    </a:lnTo>
                    <a:lnTo>
                      <a:pt x="20" y="122"/>
                    </a:lnTo>
                    <a:lnTo>
                      <a:pt x="98" y="198"/>
                    </a:lnTo>
                    <a:lnTo>
                      <a:pt x="174" y="276"/>
                    </a:lnTo>
                    <a:lnTo>
                      <a:pt x="174" y="276"/>
                    </a:lnTo>
                    <a:lnTo>
                      <a:pt x="184" y="284"/>
                    </a:lnTo>
                    <a:lnTo>
                      <a:pt x="198" y="292"/>
                    </a:lnTo>
                    <a:lnTo>
                      <a:pt x="210" y="296"/>
                    </a:lnTo>
                    <a:lnTo>
                      <a:pt x="224" y="296"/>
                    </a:lnTo>
                    <a:lnTo>
                      <a:pt x="238" y="296"/>
                    </a:lnTo>
                    <a:lnTo>
                      <a:pt x="252" y="292"/>
                    </a:lnTo>
                    <a:lnTo>
                      <a:pt x="264" y="284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84" y="264"/>
                    </a:lnTo>
                    <a:lnTo>
                      <a:pt x="292" y="252"/>
                    </a:lnTo>
                    <a:lnTo>
                      <a:pt x="296" y="238"/>
                    </a:lnTo>
                    <a:lnTo>
                      <a:pt x="296" y="224"/>
                    </a:lnTo>
                    <a:lnTo>
                      <a:pt x="296" y="210"/>
                    </a:lnTo>
                    <a:lnTo>
                      <a:pt x="292" y="198"/>
                    </a:lnTo>
                    <a:lnTo>
                      <a:pt x="284" y="184"/>
                    </a:lnTo>
                    <a:lnTo>
                      <a:pt x="276" y="174"/>
                    </a:lnTo>
                    <a:lnTo>
                      <a:pt x="276" y="174"/>
                    </a:lnTo>
                    <a:close/>
                    <a:moveTo>
                      <a:pt x="98" y="170"/>
                    </a:moveTo>
                    <a:lnTo>
                      <a:pt x="36" y="108"/>
                    </a:lnTo>
                    <a:lnTo>
                      <a:pt x="36" y="108"/>
                    </a:lnTo>
                    <a:lnTo>
                      <a:pt x="28" y="100"/>
                    </a:lnTo>
                    <a:lnTo>
                      <a:pt x="24" y="92"/>
                    </a:lnTo>
                    <a:lnTo>
                      <a:pt x="20" y="82"/>
                    </a:lnTo>
                    <a:lnTo>
                      <a:pt x="20" y="72"/>
                    </a:lnTo>
                    <a:lnTo>
                      <a:pt x="20" y="62"/>
                    </a:lnTo>
                    <a:lnTo>
                      <a:pt x="24" y="52"/>
                    </a:lnTo>
                    <a:lnTo>
                      <a:pt x="28" y="4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2" y="28"/>
                    </a:lnTo>
                    <a:lnTo>
                      <a:pt x="50" y="24"/>
                    </a:lnTo>
                    <a:lnTo>
                      <a:pt x="58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2" y="22"/>
                    </a:lnTo>
                    <a:lnTo>
                      <a:pt x="56" y="26"/>
                    </a:lnTo>
                    <a:lnTo>
                      <a:pt x="54" y="32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4" y="48"/>
                    </a:lnTo>
                    <a:lnTo>
                      <a:pt x="58" y="54"/>
                    </a:lnTo>
                    <a:lnTo>
                      <a:pt x="64" y="58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80" y="58"/>
                    </a:lnTo>
                    <a:lnTo>
                      <a:pt x="86" y="54"/>
                    </a:lnTo>
                    <a:lnTo>
                      <a:pt x="90" y="48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8" y="26"/>
                    </a:lnTo>
                    <a:lnTo>
                      <a:pt x="82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4" y="22"/>
                    </a:lnTo>
                    <a:lnTo>
                      <a:pt x="94" y="24"/>
                    </a:lnTo>
                    <a:lnTo>
                      <a:pt x="102" y="28"/>
                    </a:lnTo>
                    <a:lnTo>
                      <a:pt x="108" y="34"/>
                    </a:lnTo>
                    <a:lnTo>
                      <a:pt x="170" y="98"/>
                    </a:lnTo>
                    <a:lnTo>
                      <a:pt x="98" y="170"/>
                    </a:lnTo>
                    <a:close/>
                    <a:moveTo>
                      <a:pt x="262" y="262"/>
                    </a:moveTo>
                    <a:lnTo>
                      <a:pt x="262" y="262"/>
                    </a:lnTo>
                    <a:lnTo>
                      <a:pt x="254" y="270"/>
                    </a:lnTo>
                    <a:lnTo>
                      <a:pt x="246" y="274"/>
                    </a:lnTo>
                    <a:lnTo>
                      <a:pt x="236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14" y="278"/>
                    </a:lnTo>
                    <a:lnTo>
                      <a:pt x="204" y="274"/>
                    </a:lnTo>
                    <a:lnTo>
                      <a:pt x="194" y="270"/>
                    </a:lnTo>
                    <a:lnTo>
                      <a:pt x="186" y="262"/>
                    </a:lnTo>
                    <a:lnTo>
                      <a:pt x="186" y="262"/>
                    </a:lnTo>
                    <a:lnTo>
                      <a:pt x="184" y="260"/>
                    </a:lnTo>
                    <a:lnTo>
                      <a:pt x="184" y="256"/>
                    </a:lnTo>
                    <a:lnTo>
                      <a:pt x="184" y="252"/>
                    </a:lnTo>
                    <a:lnTo>
                      <a:pt x="186" y="248"/>
                    </a:lnTo>
                    <a:lnTo>
                      <a:pt x="186" y="248"/>
                    </a:lnTo>
                    <a:lnTo>
                      <a:pt x="190" y="246"/>
                    </a:lnTo>
                    <a:lnTo>
                      <a:pt x="194" y="246"/>
                    </a:lnTo>
                    <a:lnTo>
                      <a:pt x="198" y="246"/>
                    </a:lnTo>
                    <a:lnTo>
                      <a:pt x="200" y="248"/>
                    </a:lnTo>
                    <a:lnTo>
                      <a:pt x="200" y="248"/>
                    </a:lnTo>
                    <a:lnTo>
                      <a:pt x="206" y="252"/>
                    </a:lnTo>
                    <a:lnTo>
                      <a:pt x="212" y="256"/>
                    </a:lnTo>
                    <a:lnTo>
                      <a:pt x="218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32" y="258"/>
                    </a:lnTo>
                    <a:lnTo>
                      <a:pt x="238" y="256"/>
                    </a:lnTo>
                    <a:lnTo>
                      <a:pt x="244" y="252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52" y="246"/>
                    </a:lnTo>
                    <a:lnTo>
                      <a:pt x="256" y="246"/>
                    </a:lnTo>
                    <a:lnTo>
                      <a:pt x="260" y="246"/>
                    </a:lnTo>
                    <a:lnTo>
                      <a:pt x="262" y="248"/>
                    </a:lnTo>
                    <a:lnTo>
                      <a:pt x="262" y="248"/>
                    </a:lnTo>
                    <a:lnTo>
                      <a:pt x="264" y="252"/>
                    </a:lnTo>
                    <a:lnTo>
                      <a:pt x="266" y="256"/>
                    </a:lnTo>
                    <a:lnTo>
                      <a:pt x="264" y="260"/>
                    </a:lnTo>
                    <a:lnTo>
                      <a:pt x="262" y="262"/>
                    </a:lnTo>
                    <a:lnTo>
                      <a:pt x="262" y="262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9DCE7796-B5C2-4C7E-856F-C5FEF33ECBAD}"/>
                </a:ext>
              </a:extLst>
            </p:cNvPr>
            <p:cNvGrpSpPr/>
            <p:nvPr/>
          </p:nvGrpSpPr>
          <p:grpSpPr>
            <a:xfrm>
              <a:off x="7434683" y="5483812"/>
              <a:ext cx="168455" cy="162849"/>
              <a:chOff x="11410893" y="1080134"/>
              <a:chExt cx="156960" cy="128647"/>
            </a:xfrm>
          </p:grpSpPr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C3DAA2B6-89DE-400E-AE0A-EFA4C5CD29C1}"/>
                  </a:ext>
                </a:extLst>
              </p:cNvPr>
              <p:cNvSpPr/>
              <p:nvPr/>
            </p:nvSpPr>
            <p:spPr bwMode="ltGray">
              <a:xfrm>
                <a:off x="11410893" y="1080134"/>
                <a:ext cx="156960" cy="128647"/>
              </a:xfrm>
              <a:prstGeom prst="ellipse">
                <a:avLst/>
              </a:prstGeom>
              <a:solidFill>
                <a:srgbClr val="E0301E"/>
              </a:solidFill>
              <a:ln w="3175">
                <a:solidFill>
                  <a:srgbClr val="E36A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49" name="Freeform 4869">
                <a:extLst>
                  <a:ext uri="{FF2B5EF4-FFF2-40B4-BE49-F238E27FC236}">
                    <a16:creationId xmlns:a16="http://schemas.microsoft.com/office/drawing/2014/main" id="{80A61DF8-F70E-4C68-B369-88A17CEEE7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3387" y="1107308"/>
                <a:ext cx="91972" cy="75382"/>
              </a:xfrm>
              <a:custGeom>
                <a:avLst/>
                <a:gdLst>
                  <a:gd name="T0" fmla="*/ 122 w 296"/>
                  <a:gd name="T1" fmla="*/ 20 h 296"/>
                  <a:gd name="T2" fmla="*/ 98 w 296"/>
                  <a:gd name="T3" fmla="*/ 4 h 296"/>
                  <a:gd name="T4" fmla="*/ 58 w 296"/>
                  <a:gd name="T5" fmla="*/ 0 h 296"/>
                  <a:gd name="T6" fmla="*/ 20 w 296"/>
                  <a:gd name="T7" fmla="*/ 20 h 296"/>
                  <a:gd name="T8" fmla="*/ 6 w 296"/>
                  <a:gd name="T9" fmla="*/ 44 h 296"/>
                  <a:gd name="T10" fmla="*/ 2 w 296"/>
                  <a:gd name="T11" fmla="*/ 86 h 296"/>
                  <a:gd name="T12" fmla="*/ 20 w 296"/>
                  <a:gd name="T13" fmla="*/ 122 h 296"/>
                  <a:gd name="T14" fmla="*/ 174 w 296"/>
                  <a:gd name="T15" fmla="*/ 276 h 296"/>
                  <a:gd name="T16" fmla="*/ 210 w 296"/>
                  <a:gd name="T17" fmla="*/ 296 h 296"/>
                  <a:gd name="T18" fmla="*/ 252 w 296"/>
                  <a:gd name="T19" fmla="*/ 292 h 296"/>
                  <a:gd name="T20" fmla="*/ 276 w 296"/>
                  <a:gd name="T21" fmla="*/ 276 h 296"/>
                  <a:gd name="T22" fmla="*/ 296 w 296"/>
                  <a:gd name="T23" fmla="*/ 238 h 296"/>
                  <a:gd name="T24" fmla="*/ 292 w 296"/>
                  <a:gd name="T25" fmla="*/ 198 h 296"/>
                  <a:gd name="T26" fmla="*/ 276 w 296"/>
                  <a:gd name="T27" fmla="*/ 174 h 296"/>
                  <a:gd name="T28" fmla="*/ 36 w 296"/>
                  <a:gd name="T29" fmla="*/ 108 h 296"/>
                  <a:gd name="T30" fmla="*/ 20 w 296"/>
                  <a:gd name="T31" fmla="*/ 82 h 296"/>
                  <a:gd name="T32" fmla="*/ 24 w 296"/>
                  <a:gd name="T33" fmla="*/ 52 h 296"/>
                  <a:gd name="T34" fmla="*/ 36 w 296"/>
                  <a:gd name="T35" fmla="*/ 34 h 296"/>
                  <a:gd name="T36" fmla="*/ 58 w 296"/>
                  <a:gd name="T37" fmla="*/ 22 h 296"/>
                  <a:gd name="T38" fmla="*/ 62 w 296"/>
                  <a:gd name="T39" fmla="*/ 22 h 296"/>
                  <a:gd name="T40" fmla="*/ 52 w 296"/>
                  <a:gd name="T41" fmla="*/ 40 h 296"/>
                  <a:gd name="T42" fmla="*/ 58 w 296"/>
                  <a:gd name="T43" fmla="*/ 54 h 296"/>
                  <a:gd name="T44" fmla="*/ 72 w 296"/>
                  <a:gd name="T45" fmla="*/ 60 h 296"/>
                  <a:gd name="T46" fmla="*/ 90 w 296"/>
                  <a:gd name="T47" fmla="*/ 48 h 296"/>
                  <a:gd name="T48" fmla="*/ 90 w 296"/>
                  <a:gd name="T49" fmla="*/ 32 h 296"/>
                  <a:gd name="T50" fmla="*/ 76 w 296"/>
                  <a:gd name="T51" fmla="*/ 20 h 296"/>
                  <a:gd name="T52" fmla="*/ 94 w 296"/>
                  <a:gd name="T53" fmla="*/ 24 h 296"/>
                  <a:gd name="T54" fmla="*/ 170 w 296"/>
                  <a:gd name="T55" fmla="*/ 98 h 296"/>
                  <a:gd name="T56" fmla="*/ 262 w 296"/>
                  <a:gd name="T57" fmla="*/ 262 h 296"/>
                  <a:gd name="T58" fmla="*/ 236 w 296"/>
                  <a:gd name="T59" fmla="*/ 278 h 296"/>
                  <a:gd name="T60" fmla="*/ 224 w 296"/>
                  <a:gd name="T61" fmla="*/ 278 h 296"/>
                  <a:gd name="T62" fmla="*/ 204 w 296"/>
                  <a:gd name="T63" fmla="*/ 274 h 296"/>
                  <a:gd name="T64" fmla="*/ 186 w 296"/>
                  <a:gd name="T65" fmla="*/ 262 h 296"/>
                  <a:gd name="T66" fmla="*/ 184 w 296"/>
                  <a:gd name="T67" fmla="*/ 252 h 296"/>
                  <a:gd name="T68" fmla="*/ 190 w 296"/>
                  <a:gd name="T69" fmla="*/ 246 h 296"/>
                  <a:gd name="T70" fmla="*/ 200 w 296"/>
                  <a:gd name="T71" fmla="*/ 248 h 296"/>
                  <a:gd name="T72" fmla="*/ 212 w 296"/>
                  <a:gd name="T73" fmla="*/ 256 h 296"/>
                  <a:gd name="T74" fmla="*/ 224 w 296"/>
                  <a:gd name="T75" fmla="*/ 258 h 296"/>
                  <a:gd name="T76" fmla="*/ 238 w 296"/>
                  <a:gd name="T77" fmla="*/ 256 h 296"/>
                  <a:gd name="T78" fmla="*/ 248 w 296"/>
                  <a:gd name="T79" fmla="*/ 248 h 296"/>
                  <a:gd name="T80" fmla="*/ 260 w 296"/>
                  <a:gd name="T81" fmla="*/ 246 h 296"/>
                  <a:gd name="T82" fmla="*/ 264 w 296"/>
                  <a:gd name="T83" fmla="*/ 252 h 296"/>
                  <a:gd name="T84" fmla="*/ 262 w 296"/>
                  <a:gd name="T85" fmla="*/ 26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6" h="296">
                    <a:moveTo>
                      <a:pt x="276" y="174"/>
                    </a:moveTo>
                    <a:lnTo>
                      <a:pt x="200" y="98"/>
                    </a:lnTo>
                    <a:lnTo>
                      <a:pt x="122" y="20"/>
                    </a:lnTo>
                    <a:lnTo>
                      <a:pt x="122" y="20"/>
                    </a:lnTo>
                    <a:lnTo>
                      <a:pt x="112" y="12"/>
                    </a:lnTo>
                    <a:lnTo>
                      <a:pt x="98" y="4"/>
                    </a:lnTo>
                    <a:lnTo>
                      <a:pt x="86" y="0"/>
                    </a:lnTo>
                    <a:lnTo>
                      <a:pt x="72" y="0"/>
                    </a:lnTo>
                    <a:lnTo>
                      <a:pt x="58" y="0"/>
                    </a:lnTo>
                    <a:lnTo>
                      <a:pt x="44" y="4"/>
                    </a:lnTo>
                    <a:lnTo>
                      <a:pt x="32" y="1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2" y="32"/>
                    </a:lnTo>
                    <a:lnTo>
                      <a:pt x="6" y="44"/>
                    </a:lnTo>
                    <a:lnTo>
                      <a:pt x="2" y="58"/>
                    </a:lnTo>
                    <a:lnTo>
                      <a:pt x="0" y="72"/>
                    </a:lnTo>
                    <a:lnTo>
                      <a:pt x="2" y="86"/>
                    </a:lnTo>
                    <a:lnTo>
                      <a:pt x="6" y="98"/>
                    </a:lnTo>
                    <a:lnTo>
                      <a:pt x="12" y="112"/>
                    </a:lnTo>
                    <a:lnTo>
                      <a:pt x="20" y="122"/>
                    </a:lnTo>
                    <a:lnTo>
                      <a:pt x="98" y="198"/>
                    </a:lnTo>
                    <a:lnTo>
                      <a:pt x="174" y="276"/>
                    </a:lnTo>
                    <a:lnTo>
                      <a:pt x="174" y="276"/>
                    </a:lnTo>
                    <a:lnTo>
                      <a:pt x="184" y="284"/>
                    </a:lnTo>
                    <a:lnTo>
                      <a:pt x="198" y="292"/>
                    </a:lnTo>
                    <a:lnTo>
                      <a:pt x="210" y="296"/>
                    </a:lnTo>
                    <a:lnTo>
                      <a:pt x="224" y="296"/>
                    </a:lnTo>
                    <a:lnTo>
                      <a:pt x="238" y="296"/>
                    </a:lnTo>
                    <a:lnTo>
                      <a:pt x="252" y="292"/>
                    </a:lnTo>
                    <a:lnTo>
                      <a:pt x="264" y="284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84" y="264"/>
                    </a:lnTo>
                    <a:lnTo>
                      <a:pt x="292" y="252"/>
                    </a:lnTo>
                    <a:lnTo>
                      <a:pt x="296" y="238"/>
                    </a:lnTo>
                    <a:lnTo>
                      <a:pt x="296" y="224"/>
                    </a:lnTo>
                    <a:lnTo>
                      <a:pt x="296" y="210"/>
                    </a:lnTo>
                    <a:lnTo>
                      <a:pt x="292" y="198"/>
                    </a:lnTo>
                    <a:lnTo>
                      <a:pt x="284" y="184"/>
                    </a:lnTo>
                    <a:lnTo>
                      <a:pt x="276" y="174"/>
                    </a:lnTo>
                    <a:lnTo>
                      <a:pt x="276" y="174"/>
                    </a:lnTo>
                    <a:close/>
                    <a:moveTo>
                      <a:pt x="98" y="170"/>
                    </a:moveTo>
                    <a:lnTo>
                      <a:pt x="36" y="108"/>
                    </a:lnTo>
                    <a:lnTo>
                      <a:pt x="36" y="108"/>
                    </a:lnTo>
                    <a:lnTo>
                      <a:pt x="28" y="100"/>
                    </a:lnTo>
                    <a:lnTo>
                      <a:pt x="24" y="92"/>
                    </a:lnTo>
                    <a:lnTo>
                      <a:pt x="20" y="82"/>
                    </a:lnTo>
                    <a:lnTo>
                      <a:pt x="20" y="72"/>
                    </a:lnTo>
                    <a:lnTo>
                      <a:pt x="20" y="62"/>
                    </a:lnTo>
                    <a:lnTo>
                      <a:pt x="24" y="52"/>
                    </a:lnTo>
                    <a:lnTo>
                      <a:pt x="28" y="4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2" y="28"/>
                    </a:lnTo>
                    <a:lnTo>
                      <a:pt x="50" y="24"/>
                    </a:lnTo>
                    <a:lnTo>
                      <a:pt x="58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2" y="22"/>
                    </a:lnTo>
                    <a:lnTo>
                      <a:pt x="56" y="26"/>
                    </a:lnTo>
                    <a:lnTo>
                      <a:pt x="54" y="32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4" y="48"/>
                    </a:lnTo>
                    <a:lnTo>
                      <a:pt x="58" y="54"/>
                    </a:lnTo>
                    <a:lnTo>
                      <a:pt x="64" y="58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80" y="58"/>
                    </a:lnTo>
                    <a:lnTo>
                      <a:pt x="86" y="54"/>
                    </a:lnTo>
                    <a:lnTo>
                      <a:pt x="90" y="48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8" y="26"/>
                    </a:lnTo>
                    <a:lnTo>
                      <a:pt x="82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4" y="22"/>
                    </a:lnTo>
                    <a:lnTo>
                      <a:pt x="94" y="24"/>
                    </a:lnTo>
                    <a:lnTo>
                      <a:pt x="102" y="28"/>
                    </a:lnTo>
                    <a:lnTo>
                      <a:pt x="108" y="34"/>
                    </a:lnTo>
                    <a:lnTo>
                      <a:pt x="170" y="98"/>
                    </a:lnTo>
                    <a:lnTo>
                      <a:pt x="98" y="170"/>
                    </a:lnTo>
                    <a:close/>
                    <a:moveTo>
                      <a:pt x="262" y="262"/>
                    </a:moveTo>
                    <a:lnTo>
                      <a:pt x="262" y="262"/>
                    </a:lnTo>
                    <a:lnTo>
                      <a:pt x="254" y="270"/>
                    </a:lnTo>
                    <a:lnTo>
                      <a:pt x="246" y="274"/>
                    </a:lnTo>
                    <a:lnTo>
                      <a:pt x="236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14" y="278"/>
                    </a:lnTo>
                    <a:lnTo>
                      <a:pt x="204" y="274"/>
                    </a:lnTo>
                    <a:lnTo>
                      <a:pt x="194" y="270"/>
                    </a:lnTo>
                    <a:lnTo>
                      <a:pt x="186" y="262"/>
                    </a:lnTo>
                    <a:lnTo>
                      <a:pt x="186" y="262"/>
                    </a:lnTo>
                    <a:lnTo>
                      <a:pt x="184" y="260"/>
                    </a:lnTo>
                    <a:lnTo>
                      <a:pt x="184" y="256"/>
                    </a:lnTo>
                    <a:lnTo>
                      <a:pt x="184" y="252"/>
                    </a:lnTo>
                    <a:lnTo>
                      <a:pt x="186" y="248"/>
                    </a:lnTo>
                    <a:lnTo>
                      <a:pt x="186" y="248"/>
                    </a:lnTo>
                    <a:lnTo>
                      <a:pt x="190" y="246"/>
                    </a:lnTo>
                    <a:lnTo>
                      <a:pt x="194" y="246"/>
                    </a:lnTo>
                    <a:lnTo>
                      <a:pt x="198" y="246"/>
                    </a:lnTo>
                    <a:lnTo>
                      <a:pt x="200" y="248"/>
                    </a:lnTo>
                    <a:lnTo>
                      <a:pt x="200" y="248"/>
                    </a:lnTo>
                    <a:lnTo>
                      <a:pt x="206" y="252"/>
                    </a:lnTo>
                    <a:lnTo>
                      <a:pt x="212" y="256"/>
                    </a:lnTo>
                    <a:lnTo>
                      <a:pt x="218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32" y="258"/>
                    </a:lnTo>
                    <a:lnTo>
                      <a:pt x="238" y="256"/>
                    </a:lnTo>
                    <a:lnTo>
                      <a:pt x="244" y="252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52" y="246"/>
                    </a:lnTo>
                    <a:lnTo>
                      <a:pt x="256" y="246"/>
                    </a:lnTo>
                    <a:lnTo>
                      <a:pt x="260" y="246"/>
                    </a:lnTo>
                    <a:lnTo>
                      <a:pt x="262" y="248"/>
                    </a:lnTo>
                    <a:lnTo>
                      <a:pt x="262" y="248"/>
                    </a:lnTo>
                    <a:lnTo>
                      <a:pt x="264" y="252"/>
                    </a:lnTo>
                    <a:lnTo>
                      <a:pt x="266" y="256"/>
                    </a:lnTo>
                    <a:lnTo>
                      <a:pt x="264" y="260"/>
                    </a:lnTo>
                    <a:lnTo>
                      <a:pt x="262" y="262"/>
                    </a:lnTo>
                    <a:lnTo>
                      <a:pt x="262" y="262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7604A92F-BBAF-4651-8510-C79CF32B2D4C}"/>
                </a:ext>
              </a:extLst>
            </p:cNvPr>
            <p:cNvGrpSpPr/>
            <p:nvPr/>
          </p:nvGrpSpPr>
          <p:grpSpPr>
            <a:xfrm>
              <a:off x="5212032" y="5109751"/>
              <a:ext cx="168455" cy="162849"/>
              <a:chOff x="11410893" y="1080134"/>
              <a:chExt cx="156960" cy="128647"/>
            </a:xfrm>
          </p:grpSpPr>
          <p:sp>
            <p:nvSpPr>
              <p:cNvPr id="246" name="Oval 245">
                <a:extLst>
                  <a:ext uri="{FF2B5EF4-FFF2-40B4-BE49-F238E27FC236}">
                    <a16:creationId xmlns:a16="http://schemas.microsoft.com/office/drawing/2014/main" id="{B9B58DEE-4C77-49EF-BA47-21CAE78A0F34}"/>
                  </a:ext>
                </a:extLst>
              </p:cNvPr>
              <p:cNvSpPr/>
              <p:nvPr/>
            </p:nvSpPr>
            <p:spPr bwMode="ltGray">
              <a:xfrm>
                <a:off x="11410893" y="1080134"/>
                <a:ext cx="156960" cy="128647"/>
              </a:xfrm>
              <a:prstGeom prst="ellipse">
                <a:avLst/>
              </a:prstGeom>
              <a:solidFill>
                <a:srgbClr val="E0301E"/>
              </a:solidFill>
              <a:ln w="3175">
                <a:solidFill>
                  <a:srgbClr val="E36A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47" name="Freeform 4869">
                <a:extLst>
                  <a:ext uri="{FF2B5EF4-FFF2-40B4-BE49-F238E27FC236}">
                    <a16:creationId xmlns:a16="http://schemas.microsoft.com/office/drawing/2014/main" id="{8DF6CE33-296B-4CA7-BC1B-B16C3744FE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3387" y="1107308"/>
                <a:ext cx="91972" cy="75382"/>
              </a:xfrm>
              <a:custGeom>
                <a:avLst/>
                <a:gdLst>
                  <a:gd name="T0" fmla="*/ 122 w 296"/>
                  <a:gd name="T1" fmla="*/ 20 h 296"/>
                  <a:gd name="T2" fmla="*/ 98 w 296"/>
                  <a:gd name="T3" fmla="*/ 4 h 296"/>
                  <a:gd name="T4" fmla="*/ 58 w 296"/>
                  <a:gd name="T5" fmla="*/ 0 h 296"/>
                  <a:gd name="T6" fmla="*/ 20 w 296"/>
                  <a:gd name="T7" fmla="*/ 20 h 296"/>
                  <a:gd name="T8" fmla="*/ 6 w 296"/>
                  <a:gd name="T9" fmla="*/ 44 h 296"/>
                  <a:gd name="T10" fmla="*/ 2 w 296"/>
                  <a:gd name="T11" fmla="*/ 86 h 296"/>
                  <a:gd name="T12" fmla="*/ 20 w 296"/>
                  <a:gd name="T13" fmla="*/ 122 h 296"/>
                  <a:gd name="T14" fmla="*/ 174 w 296"/>
                  <a:gd name="T15" fmla="*/ 276 h 296"/>
                  <a:gd name="T16" fmla="*/ 210 w 296"/>
                  <a:gd name="T17" fmla="*/ 296 h 296"/>
                  <a:gd name="T18" fmla="*/ 252 w 296"/>
                  <a:gd name="T19" fmla="*/ 292 h 296"/>
                  <a:gd name="T20" fmla="*/ 276 w 296"/>
                  <a:gd name="T21" fmla="*/ 276 h 296"/>
                  <a:gd name="T22" fmla="*/ 296 w 296"/>
                  <a:gd name="T23" fmla="*/ 238 h 296"/>
                  <a:gd name="T24" fmla="*/ 292 w 296"/>
                  <a:gd name="T25" fmla="*/ 198 h 296"/>
                  <a:gd name="T26" fmla="*/ 276 w 296"/>
                  <a:gd name="T27" fmla="*/ 174 h 296"/>
                  <a:gd name="T28" fmla="*/ 36 w 296"/>
                  <a:gd name="T29" fmla="*/ 108 h 296"/>
                  <a:gd name="T30" fmla="*/ 20 w 296"/>
                  <a:gd name="T31" fmla="*/ 82 h 296"/>
                  <a:gd name="T32" fmla="*/ 24 w 296"/>
                  <a:gd name="T33" fmla="*/ 52 h 296"/>
                  <a:gd name="T34" fmla="*/ 36 w 296"/>
                  <a:gd name="T35" fmla="*/ 34 h 296"/>
                  <a:gd name="T36" fmla="*/ 58 w 296"/>
                  <a:gd name="T37" fmla="*/ 22 h 296"/>
                  <a:gd name="T38" fmla="*/ 62 w 296"/>
                  <a:gd name="T39" fmla="*/ 22 h 296"/>
                  <a:gd name="T40" fmla="*/ 52 w 296"/>
                  <a:gd name="T41" fmla="*/ 40 h 296"/>
                  <a:gd name="T42" fmla="*/ 58 w 296"/>
                  <a:gd name="T43" fmla="*/ 54 h 296"/>
                  <a:gd name="T44" fmla="*/ 72 w 296"/>
                  <a:gd name="T45" fmla="*/ 60 h 296"/>
                  <a:gd name="T46" fmla="*/ 90 w 296"/>
                  <a:gd name="T47" fmla="*/ 48 h 296"/>
                  <a:gd name="T48" fmla="*/ 90 w 296"/>
                  <a:gd name="T49" fmla="*/ 32 h 296"/>
                  <a:gd name="T50" fmla="*/ 76 w 296"/>
                  <a:gd name="T51" fmla="*/ 20 h 296"/>
                  <a:gd name="T52" fmla="*/ 94 w 296"/>
                  <a:gd name="T53" fmla="*/ 24 h 296"/>
                  <a:gd name="T54" fmla="*/ 170 w 296"/>
                  <a:gd name="T55" fmla="*/ 98 h 296"/>
                  <a:gd name="T56" fmla="*/ 262 w 296"/>
                  <a:gd name="T57" fmla="*/ 262 h 296"/>
                  <a:gd name="T58" fmla="*/ 236 w 296"/>
                  <a:gd name="T59" fmla="*/ 278 h 296"/>
                  <a:gd name="T60" fmla="*/ 224 w 296"/>
                  <a:gd name="T61" fmla="*/ 278 h 296"/>
                  <a:gd name="T62" fmla="*/ 204 w 296"/>
                  <a:gd name="T63" fmla="*/ 274 h 296"/>
                  <a:gd name="T64" fmla="*/ 186 w 296"/>
                  <a:gd name="T65" fmla="*/ 262 h 296"/>
                  <a:gd name="T66" fmla="*/ 184 w 296"/>
                  <a:gd name="T67" fmla="*/ 252 h 296"/>
                  <a:gd name="T68" fmla="*/ 190 w 296"/>
                  <a:gd name="T69" fmla="*/ 246 h 296"/>
                  <a:gd name="T70" fmla="*/ 200 w 296"/>
                  <a:gd name="T71" fmla="*/ 248 h 296"/>
                  <a:gd name="T72" fmla="*/ 212 w 296"/>
                  <a:gd name="T73" fmla="*/ 256 h 296"/>
                  <a:gd name="T74" fmla="*/ 224 w 296"/>
                  <a:gd name="T75" fmla="*/ 258 h 296"/>
                  <a:gd name="T76" fmla="*/ 238 w 296"/>
                  <a:gd name="T77" fmla="*/ 256 h 296"/>
                  <a:gd name="T78" fmla="*/ 248 w 296"/>
                  <a:gd name="T79" fmla="*/ 248 h 296"/>
                  <a:gd name="T80" fmla="*/ 260 w 296"/>
                  <a:gd name="T81" fmla="*/ 246 h 296"/>
                  <a:gd name="T82" fmla="*/ 264 w 296"/>
                  <a:gd name="T83" fmla="*/ 252 h 296"/>
                  <a:gd name="T84" fmla="*/ 262 w 296"/>
                  <a:gd name="T85" fmla="*/ 26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6" h="296">
                    <a:moveTo>
                      <a:pt x="276" y="174"/>
                    </a:moveTo>
                    <a:lnTo>
                      <a:pt x="200" y="98"/>
                    </a:lnTo>
                    <a:lnTo>
                      <a:pt x="122" y="20"/>
                    </a:lnTo>
                    <a:lnTo>
                      <a:pt x="122" y="20"/>
                    </a:lnTo>
                    <a:lnTo>
                      <a:pt x="112" y="12"/>
                    </a:lnTo>
                    <a:lnTo>
                      <a:pt x="98" y="4"/>
                    </a:lnTo>
                    <a:lnTo>
                      <a:pt x="86" y="0"/>
                    </a:lnTo>
                    <a:lnTo>
                      <a:pt x="72" y="0"/>
                    </a:lnTo>
                    <a:lnTo>
                      <a:pt x="58" y="0"/>
                    </a:lnTo>
                    <a:lnTo>
                      <a:pt x="44" y="4"/>
                    </a:lnTo>
                    <a:lnTo>
                      <a:pt x="32" y="1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2" y="32"/>
                    </a:lnTo>
                    <a:lnTo>
                      <a:pt x="6" y="44"/>
                    </a:lnTo>
                    <a:lnTo>
                      <a:pt x="2" y="58"/>
                    </a:lnTo>
                    <a:lnTo>
                      <a:pt x="0" y="72"/>
                    </a:lnTo>
                    <a:lnTo>
                      <a:pt x="2" y="86"/>
                    </a:lnTo>
                    <a:lnTo>
                      <a:pt x="6" y="98"/>
                    </a:lnTo>
                    <a:lnTo>
                      <a:pt x="12" y="112"/>
                    </a:lnTo>
                    <a:lnTo>
                      <a:pt x="20" y="122"/>
                    </a:lnTo>
                    <a:lnTo>
                      <a:pt x="98" y="198"/>
                    </a:lnTo>
                    <a:lnTo>
                      <a:pt x="174" y="276"/>
                    </a:lnTo>
                    <a:lnTo>
                      <a:pt x="174" y="276"/>
                    </a:lnTo>
                    <a:lnTo>
                      <a:pt x="184" y="284"/>
                    </a:lnTo>
                    <a:lnTo>
                      <a:pt x="198" y="292"/>
                    </a:lnTo>
                    <a:lnTo>
                      <a:pt x="210" y="296"/>
                    </a:lnTo>
                    <a:lnTo>
                      <a:pt x="224" y="296"/>
                    </a:lnTo>
                    <a:lnTo>
                      <a:pt x="238" y="296"/>
                    </a:lnTo>
                    <a:lnTo>
                      <a:pt x="252" y="292"/>
                    </a:lnTo>
                    <a:lnTo>
                      <a:pt x="264" y="284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84" y="264"/>
                    </a:lnTo>
                    <a:lnTo>
                      <a:pt x="292" y="252"/>
                    </a:lnTo>
                    <a:lnTo>
                      <a:pt x="296" y="238"/>
                    </a:lnTo>
                    <a:lnTo>
                      <a:pt x="296" y="224"/>
                    </a:lnTo>
                    <a:lnTo>
                      <a:pt x="296" y="210"/>
                    </a:lnTo>
                    <a:lnTo>
                      <a:pt x="292" y="198"/>
                    </a:lnTo>
                    <a:lnTo>
                      <a:pt x="284" y="184"/>
                    </a:lnTo>
                    <a:lnTo>
                      <a:pt x="276" y="174"/>
                    </a:lnTo>
                    <a:lnTo>
                      <a:pt x="276" y="174"/>
                    </a:lnTo>
                    <a:close/>
                    <a:moveTo>
                      <a:pt x="98" y="170"/>
                    </a:moveTo>
                    <a:lnTo>
                      <a:pt x="36" y="108"/>
                    </a:lnTo>
                    <a:lnTo>
                      <a:pt x="36" y="108"/>
                    </a:lnTo>
                    <a:lnTo>
                      <a:pt x="28" y="100"/>
                    </a:lnTo>
                    <a:lnTo>
                      <a:pt x="24" y="92"/>
                    </a:lnTo>
                    <a:lnTo>
                      <a:pt x="20" y="82"/>
                    </a:lnTo>
                    <a:lnTo>
                      <a:pt x="20" y="72"/>
                    </a:lnTo>
                    <a:lnTo>
                      <a:pt x="20" y="62"/>
                    </a:lnTo>
                    <a:lnTo>
                      <a:pt x="24" y="52"/>
                    </a:lnTo>
                    <a:lnTo>
                      <a:pt x="28" y="4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2" y="28"/>
                    </a:lnTo>
                    <a:lnTo>
                      <a:pt x="50" y="24"/>
                    </a:lnTo>
                    <a:lnTo>
                      <a:pt x="58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2" y="22"/>
                    </a:lnTo>
                    <a:lnTo>
                      <a:pt x="56" y="26"/>
                    </a:lnTo>
                    <a:lnTo>
                      <a:pt x="54" y="32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4" y="48"/>
                    </a:lnTo>
                    <a:lnTo>
                      <a:pt x="58" y="54"/>
                    </a:lnTo>
                    <a:lnTo>
                      <a:pt x="64" y="58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80" y="58"/>
                    </a:lnTo>
                    <a:lnTo>
                      <a:pt x="86" y="54"/>
                    </a:lnTo>
                    <a:lnTo>
                      <a:pt x="90" y="48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8" y="26"/>
                    </a:lnTo>
                    <a:lnTo>
                      <a:pt x="82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4" y="22"/>
                    </a:lnTo>
                    <a:lnTo>
                      <a:pt x="94" y="24"/>
                    </a:lnTo>
                    <a:lnTo>
                      <a:pt x="102" y="28"/>
                    </a:lnTo>
                    <a:lnTo>
                      <a:pt x="108" y="34"/>
                    </a:lnTo>
                    <a:lnTo>
                      <a:pt x="170" y="98"/>
                    </a:lnTo>
                    <a:lnTo>
                      <a:pt x="98" y="170"/>
                    </a:lnTo>
                    <a:close/>
                    <a:moveTo>
                      <a:pt x="262" y="262"/>
                    </a:moveTo>
                    <a:lnTo>
                      <a:pt x="262" y="262"/>
                    </a:lnTo>
                    <a:lnTo>
                      <a:pt x="254" y="270"/>
                    </a:lnTo>
                    <a:lnTo>
                      <a:pt x="246" y="274"/>
                    </a:lnTo>
                    <a:lnTo>
                      <a:pt x="236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14" y="278"/>
                    </a:lnTo>
                    <a:lnTo>
                      <a:pt x="204" y="274"/>
                    </a:lnTo>
                    <a:lnTo>
                      <a:pt x="194" y="270"/>
                    </a:lnTo>
                    <a:lnTo>
                      <a:pt x="186" y="262"/>
                    </a:lnTo>
                    <a:lnTo>
                      <a:pt x="186" y="262"/>
                    </a:lnTo>
                    <a:lnTo>
                      <a:pt x="184" y="260"/>
                    </a:lnTo>
                    <a:lnTo>
                      <a:pt x="184" y="256"/>
                    </a:lnTo>
                    <a:lnTo>
                      <a:pt x="184" y="252"/>
                    </a:lnTo>
                    <a:lnTo>
                      <a:pt x="186" y="248"/>
                    </a:lnTo>
                    <a:lnTo>
                      <a:pt x="186" y="248"/>
                    </a:lnTo>
                    <a:lnTo>
                      <a:pt x="190" y="246"/>
                    </a:lnTo>
                    <a:lnTo>
                      <a:pt x="194" y="246"/>
                    </a:lnTo>
                    <a:lnTo>
                      <a:pt x="198" y="246"/>
                    </a:lnTo>
                    <a:lnTo>
                      <a:pt x="200" y="248"/>
                    </a:lnTo>
                    <a:lnTo>
                      <a:pt x="200" y="248"/>
                    </a:lnTo>
                    <a:lnTo>
                      <a:pt x="206" y="252"/>
                    </a:lnTo>
                    <a:lnTo>
                      <a:pt x="212" y="256"/>
                    </a:lnTo>
                    <a:lnTo>
                      <a:pt x="218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32" y="258"/>
                    </a:lnTo>
                    <a:lnTo>
                      <a:pt x="238" y="256"/>
                    </a:lnTo>
                    <a:lnTo>
                      <a:pt x="244" y="252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52" y="246"/>
                    </a:lnTo>
                    <a:lnTo>
                      <a:pt x="256" y="246"/>
                    </a:lnTo>
                    <a:lnTo>
                      <a:pt x="260" y="246"/>
                    </a:lnTo>
                    <a:lnTo>
                      <a:pt x="262" y="248"/>
                    </a:lnTo>
                    <a:lnTo>
                      <a:pt x="262" y="248"/>
                    </a:lnTo>
                    <a:lnTo>
                      <a:pt x="264" y="252"/>
                    </a:lnTo>
                    <a:lnTo>
                      <a:pt x="266" y="256"/>
                    </a:lnTo>
                    <a:lnTo>
                      <a:pt x="264" y="260"/>
                    </a:lnTo>
                    <a:lnTo>
                      <a:pt x="262" y="262"/>
                    </a:lnTo>
                    <a:lnTo>
                      <a:pt x="262" y="262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FE85EFB8-A4B3-4469-9728-D096298A8582}"/>
                </a:ext>
              </a:extLst>
            </p:cNvPr>
            <p:cNvGrpSpPr/>
            <p:nvPr/>
          </p:nvGrpSpPr>
          <p:grpSpPr>
            <a:xfrm>
              <a:off x="5775448" y="5280667"/>
              <a:ext cx="168455" cy="162849"/>
              <a:chOff x="11410893" y="1080134"/>
              <a:chExt cx="156960" cy="128647"/>
            </a:xfrm>
          </p:grpSpPr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9C7E0AEB-3E54-45A0-9618-D5B71231A122}"/>
                  </a:ext>
                </a:extLst>
              </p:cNvPr>
              <p:cNvSpPr/>
              <p:nvPr/>
            </p:nvSpPr>
            <p:spPr bwMode="ltGray">
              <a:xfrm>
                <a:off x="11410893" y="1080134"/>
                <a:ext cx="156960" cy="128647"/>
              </a:xfrm>
              <a:prstGeom prst="ellipse">
                <a:avLst/>
              </a:prstGeom>
              <a:solidFill>
                <a:srgbClr val="E0301E"/>
              </a:solidFill>
              <a:ln w="3175">
                <a:solidFill>
                  <a:srgbClr val="E36A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45" name="Freeform 4869">
                <a:extLst>
                  <a:ext uri="{FF2B5EF4-FFF2-40B4-BE49-F238E27FC236}">
                    <a16:creationId xmlns:a16="http://schemas.microsoft.com/office/drawing/2014/main" id="{48F23F45-7A21-4B34-8DB3-D476B2903E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3387" y="1107308"/>
                <a:ext cx="91972" cy="75382"/>
              </a:xfrm>
              <a:custGeom>
                <a:avLst/>
                <a:gdLst>
                  <a:gd name="T0" fmla="*/ 122 w 296"/>
                  <a:gd name="T1" fmla="*/ 20 h 296"/>
                  <a:gd name="T2" fmla="*/ 98 w 296"/>
                  <a:gd name="T3" fmla="*/ 4 h 296"/>
                  <a:gd name="T4" fmla="*/ 58 w 296"/>
                  <a:gd name="T5" fmla="*/ 0 h 296"/>
                  <a:gd name="T6" fmla="*/ 20 w 296"/>
                  <a:gd name="T7" fmla="*/ 20 h 296"/>
                  <a:gd name="T8" fmla="*/ 6 w 296"/>
                  <a:gd name="T9" fmla="*/ 44 h 296"/>
                  <a:gd name="T10" fmla="*/ 2 w 296"/>
                  <a:gd name="T11" fmla="*/ 86 h 296"/>
                  <a:gd name="T12" fmla="*/ 20 w 296"/>
                  <a:gd name="T13" fmla="*/ 122 h 296"/>
                  <a:gd name="T14" fmla="*/ 174 w 296"/>
                  <a:gd name="T15" fmla="*/ 276 h 296"/>
                  <a:gd name="T16" fmla="*/ 210 w 296"/>
                  <a:gd name="T17" fmla="*/ 296 h 296"/>
                  <a:gd name="T18" fmla="*/ 252 w 296"/>
                  <a:gd name="T19" fmla="*/ 292 h 296"/>
                  <a:gd name="T20" fmla="*/ 276 w 296"/>
                  <a:gd name="T21" fmla="*/ 276 h 296"/>
                  <a:gd name="T22" fmla="*/ 296 w 296"/>
                  <a:gd name="T23" fmla="*/ 238 h 296"/>
                  <a:gd name="T24" fmla="*/ 292 w 296"/>
                  <a:gd name="T25" fmla="*/ 198 h 296"/>
                  <a:gd name="T26" fmla="*/ 276 w 296"/>
                  <a:gd name="T27" fmla="*/ 174 h 296"/>
                  <a:gd name="T28" fmla="*/ 36 w 296"/>
                  <a:gd name="T29" fmla="*/ 108 h 296"/>
                  <a:gd name="T30" fmla="*/ 20 w 296"/>
                  <a:gd name="T31" fmla="*/ 82 h 296"/>
                  <a:gd name="T32" fmla="*/ 24 w 296"/>
                  <a:gd name="T33" fmla="*/ 52 h 296"/>
                  <a:gd name="T34" fmla="*/ 36 w 296"/>
                  <a:gd name="T35" fmla="*/ 34 h 296"/>
                  <a:gd name="T36" fmla="*/ 58 w 296"/>
                  <a:gd name="T37" fmla="*/ 22 h 296"/>
                  <a:gd name="T38" fmla="*/ 62 w 296"/>
                  <a:gd name="T39" fmla="*/ 22 h 296"/>
                  <a:gd name="T40" fmla="*/ 52 w 296"/>
                  <a:gd name="T41" fmla="*/ 40 h 296"/>
                  <a:gd name="T42" fmla="*/ 58 w 296"/>
                  <a:gd name="T43" fmla="*/ 54 h 296"/>
                  <a:gd name="T44" fmla="*/ 72 w 296"/>
                  <a:gd name="T45" fmla="*/ 60 h 296"/>
                  <a:gd name="T46" fmla="*/ 90 w 296"/>
                  <a:gd name="T47" fmla="*/ 48 h 296"/>
                  <a:gd name="T48" fmla="*/ 90 w 296"/>
                  <a:gd name="T49" fmla="*/ 32 h 296"/>
                  <a:gd name="T50" fmla="*/ 76 w 296"/>
                  <a:gd name="T51" fmla="*/ 20 h 296"/>
                  <a:gd name="T52" fmla="*/ 94 w 296"/>
                  <a:gd name="T53" fmla="*/ 24 h 296"/>
                  <a:gd name="T54" fmla="*/ 170 w 296"/>
                  <a:gd name="T55" fmla="*/ 98 h 296"/>
                  <a:gd name="T56" fmla="*/ 262 w 296"/>
                  <a:gd name="T57" fmla="*/ 262 h 296"/>
                  <a:gd name="T58" fmla="*/ 236 w 296"/>
                  <a:gd name="T59" fmla="*/ 278 h 296"/>
                  <a:gd name="T60" fmla="*/ 224 w 296"/>
                  <a:gd name="T61" fmla="*/ 278 h 296"/>
                  <a:gd name="T62" fmla="*/ 204 w 296"/>
                  <a:gd name="T63" fmla="*/ 274 h 296"/>
                  <a:gd name="T64" fmla="*/ 186 w 296"/>
                  <a:gd name="T65" fmla="*/ 262 h 296"/>
                  <a:gd name="T66" fmla="*/ 184 w 296"/>
                  <a:gd name="T67" fmla="*/ 252 h 296"/>
                  <a:gd name="T68" fmla="*/ 190 w 296"/>
                  <a:gd name="T69" fmla="*/ 246 h 296"/>
                  <a:gd name="T70" fmla="*/ 200 w 296"/>
                  <a:gd name="T71" fmla="*/ 248 h 296"/>
                  <a:gd name="T72" fmla="*/ 212 w 296"/>
                  <a:gd name="T73" fmla="*/ 256 h 296"/>
                  <a:gd name="T74" fmla="*/ 224 w 296"/>
                  <a:gd name="T75" fmla="*/ 258 h 296"/>
                  <a:gd name="T76" fmla="*/ 238 w 296"/>
                  <a:gd name="T77" fmla="*/ 256 h 296"/>
                  <a:gd name="T78" fmla="*/ 248 w 296"/>
                  <a:gd name="T79" fmla="*/ 248 h 296"/>
                  <a:gd name="T80" fmla="*/ 260 w 296"/>
                  <a:gd name="T81" fmla="*/ 246 h 296"/>
                  <a:gd name="T82" fmla="*/ 264 w 296"/>
                  <a:gd name="T83" fmla="*/ 252 h 296"/>
                  <a:gd name="T84" fmla="*/ 262 w 296"/>
                  <a:gd name="T85" fmla="*/ 26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6" h="296">
                    <a:moveTo>
                      <a:pt x="276" y="174"/>
                    </a:moveTo>
                    <a:lnTo>
                      <a:pt x="200" y="98"/>
                    </a:lnTo>
                    <a:lnTo>
                      <a:pt x="122" y="20"/>
                    </a:lnTo>
                    <a:lnTo>
                      <a:pt x="122" y="20"/>
                    </a:lnTo>
                    <a:lnTo>
                      <a:pt x="112" y="12"/>
                    </a:lnTo>
                    <a:lnTo>
                      <a:pt x="98" y="4"/>
                    </a:lnTo>
                    <a:lnTo>
                      <a:pt x="86" y="0"/>
                    </a:lnTo>
                    <a:lnTo>
                      <a:pt x="72" y="0"/>
                    </a:lnTo>
                    <a:lnTo>
                      <a:pt x="58" y="0"/>
                    </a:lnTo>
                    <a:lnTo>
                      <a:pt x="44" y="4"/>
                    </a:lnTo>
                    <a:lnTo>
                      <a:pt x="32" y="1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2" y="32"/>
                    </a:lnTo>
                    <a:lnTo>
                      <a:pt x="6" y="44"/>
                    </a:lnTo>
                    <a:lnTo>
                      <a:pt x="2" y="58"/>
                    </a:lnTo>
                    <a:lnTo>
                      <a:pt x="0" y="72"/>
                    </a:lnTo>
                    <a:lnTo>
                      <a:pt x="2" y="86"/>
                    </a:lnTo>
                    <a:lnTo>
                      <a:pt x="6" y="98"/>
                    </a:lnTo>
                    <a:lnTo>
                      <a:pt x="12" y="112"/>
                    </a:lnTo>
                    <a:lnTo>
                      <a:pt x="20" y="122"/>
                    </a:lnTo>
                    <a:lnTo>
                      <a:pt x="98" y="198"/>
                    </a:lnTo>
                    <a:lnTo>
                      <a:pt x="174" y="276"/>
                    </a:lnTo>
                    <a:lnTo>
                      <a:pt x="174" y="276"/>
                    </a:lnTo>
                    <a:lnTo>
                      <a:pt x="184" y="284"/>
                    </a:lnTo>
                    <a:lnTo>
                      <a:pt x="198" y="292"/>
                    </a:lnTo>
                    <a:lnTo>
                      <a:pt x="210" y="296"/>
                    </a:lnTo>
                    <a:lnTo>
                      <a:pt x="224" y="296"/>
                    </a:lnTo>
                    <a:lnTo>
                      <a:pt x="238" y="296"/>
                    </a:lnTo>
                    <a:lnTo>
                      <a:pt x="252" y="292"/>
                    </a:lnTo>
                    <a:lnTo>
                      <a:pt x="264" y="284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84" y="264"/>
                    </a:lnTo>
                    <a:lnTo>
                      <a:pt x="292" y="252"/>
                    </a:lnTo>
                    <a:lnTo>
                      <a:pt x="296" y="238"/>
                    </a:lnTo>
                    <a:lnTo>
                      <a:pt x="296" y="224"/>
                    </a:lnTo>
                    <a:lnTo>
                      <a:pt x="296" y="210"/>
                    </a:lnTo>
                    <a:lnTo>
                      <a:pt x="292" y="198"/>
                    </a:lnTo>
                    <a:lnTo>
                      <a:pt x="284" y="184"/>
                    </a:lnTo>
                    <a:lnTo>
                      <a:pt x="276" y="174"/>
                    </a:lnTo>
                    <a:lnTo>
                      <a:pt x="276" y="174"/>
                    </a:lnTo>
                    <a:close/>
                    <a:moveTo>
                      <a:pt x="98" y="170"/>
                    </a:moveTo>
                    <a:lnTo>
                      <a:pt x="36" y="108"/>
                    </a:lnTo>
                    <a:lnTo>
                      <a:pt x="36" y="108"/>
                    </a:lnTo>
                    <a:lnTo>
                      <a:pt x="28" y="100"/>
                    </a:lnTo>
                    <a:lnTo>
                      <a:pt x="24" y="92"/>
                    </a:lnTo>
                    <a:lnTo>
                      <a:pt x="20" y="82"/>
                    </a:lnTo>
                    <a:lnTo>
                      <a:pt x="20" y="72"/>
                    </a:lnTo>
                    <a:lnTo>
                      <a:pt x="20" y="62"/>
                    </a:lnTo>
                    <a:lnTo>
                      <a:pt x="24" y="52"/>
                    </a:lnTo>
                    <a:lnTo>
                      <a:pt x="28" y="4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2" y="28"/>
                    </a:lnTo>
                    <a:lnTo>
                      <a:pt x="50" y="24"/>
                    </a:lnTo>
                    <a:lnTo>
                      <a:pt x="58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2" y="22"/>
                    </a:lnTo>
                    <a:lnTo>
                      <a:pt x="56" y="26"/>
                    </a:lnTo>
                    <a:lnTo>
                      <a:pt x="54" y="32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4" y="48"/>
                    </a:lnTo>
                    <a:lnTo>
                      <a:pt x="58" y="54"/>
                    </a:lnTo>
                    <a:lnTo>
                      <a:pt x="64" y="58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80" y="58"/>
                    </a:lnTo>
                    <a:lnTo>
                      <a:pt x="86" y="54"/>
                    </a:lnTo>
                    <a:lnTo>
                      <a:pt x="90" y="48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8" y="26"/>
                    </a:lnTo>
                    <a:lnTo>
                      <a:pt x="82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4" y="22"/>
                    </a:lnTo>
                    <a:lnTo>
                      <a:pt x="94" y="24"/>
                    </a:lnTo>
                    <a:lnTo>
                      <a:pt x="102" y="28"/>
                    </a:lnTo>
                    <a:lnTo>
                      <a:pt x="108" y="34"/>
                    </a:lnTo>
                    <a:lnTo>
                      <a:pt x="170" y="98"/>
                    </a:lnTo>
                    <a:lnTo>
                      <a:pt x="98" y="170"/>
                    </a:lnTo>
                    <a:close/>
                    <a:moveTo>
                      <a:pt x="262" y="262"/>
                    </a:moveTo>
                    <a:lnTo>
                      <a:pt x="262" y="262"/>
                    </a:lnTo>
                    <a:lnTo>
                      <a:pt x="254" y="270"/>
                    </a:lnTo>
                    <a:lnTo>
                      <a:pt x="246" y="274"/>
                    </a:lnTo>
                    <a:lnTo>
                      <a:pt x="236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14" y="278"/>
                    </a:lnTo>
                    <a:lnTo>
                      <a:pt x="204" y="274"/>
                    </a:lnTo>
                    <a:lnTo>
                      <a:pt x="194" y="270"/>
                    </a:lnTo>
                    <a:lnTo>
                      <a:pt x="186" y="262"/>
                    </a:lnTo>
                    <a:lnTo>
                      <a:pt x="186" y="262"/>
                    </a:lnTo>
                    <a:lnTo>
                      <a:pt x="184" y="260"/>
                    </a:lnTo>
                    <a:lnTo>
                      <a:pt x="184" y="256"/>
                    </a:lnTo>
                    <a:lnTo>
                      <a:pt x="184" y="252"/>
                    </a:lnTo>
                    <a:lnTo>
                      <a:pt x="186" y="248"/>
                    </a:lnTo>
                    <a:lnTo>
                      <a:pt x="186" y="248"/>
                    </a:lnTo>
                    <a:lnTo>
                      <a:pt x="190" y="246"/>
                    </a:lnTo>
                    <a:lnTo>
                      <a:pt x="194" y="246"/>
                    </a:lnTo>
                    <a:lnTo>
                      <a:pt x="198" y="246"/>
                    </a:lnTo>
                    <a:lnTo>
                      <a:pt x="200" y="248"/>
                    </a:lnTo>
                    <a:lnTo>
                      <a:pt x="200" y="248"/>
                    </a:lnTo>
                    <a:lnTo>
                      <a:pt x="206" y="252"/>
                    </a:lnTo>
                    <a:lnTo>
                      <a:pt x="212" y="256"/>
                    </a:lnTo>
                    <a:lnTo>
                      <a:pt x="218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32" y="258"/>
                    </a:lnTo>
                    <a:lnTo>
                      <a:pt x="238" y="256"/>
                    </a:lnTo>
                    <a:lnTo>
                      <a:pt x="244" y="252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52" y="246"/>
                    </a:lnTo>
                    <a:lnTo>
                      <a:pt x="256" y="246"/>
                    </a:lnTo>
                    <a:lnTo>
                      <a:pt x="260" y="246"/>
                    </a:lnTo>
                    <a:lnTo>
                      <a:pt x="262" y="248"/>
                    </a:lnTo>
                    <a:lnTo>
                      <a:pt x="262" y="248"/>
                    </a:lnTo>
                    <a:lnTo>
                      <a:pt x="264" y="252"/>
                    </a:lnTo>
                    <a:lnTo>
                      <a:pt x="266" y="256"/>
                    </a:lnTo>
                    <a:lnTo>
                      <a:pt x="264" y="260"/>
                    </a:lnTo>
                    <a:lnTo>
                      <a:pt x="262" y="262"/>
                    </a:lnTo>
                    <a:lnTo>
                      <a:pt x="262" y="262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3AC215E9-AA58-4077-90EF-847E47FF7DC4}"/>
                </a:ext>
              </a:extLst>
            </p:cNvPr>
            <p:cNvGrpSpPr/>
            <p:nvPr/>
          </p:nvGrpSpPr>
          <p:grpSpPr>
            <a:xfrm>
              <a:off x="5996060" y="5518946"/>
              <a:ext cx="168455" cy="162849"/>
              <a:chOff x="11410893" y="1080134"/>
              <a:chExt cx="156960" cy="128647"/>
            </a:xfrm>
          </p:grpSpPr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B5E65EF0-7D5D-4B22-9979-2C35056351DB}"/>
                  </a:ext>
                </a:extLst>
              </p:cNvPr>
              <p:cNvSpPr/>
              <p:nvPr/>
            </p:nvSpPr>
            <p:spPr bwMode="ltGray">
              <a:xfrm>
                <a:off x="11410893" y="1080134"/>
                <a:ext cx="156960" cy="128647"/>
              </a:xfrm>
              <a:prstGeom prst="ellipse">
                <a:avLst/>
              </a:prstGeom>
              <a:solidFill>
                <a:srgbClr val="E0301E"/>
              </a:solidFill>
              <a:ln w="3175">
                <a:solidFill>
                  <a:srgbClr val="E36A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43" name="Freeform 4869">
                <a:extLst>
                  <a:ext uri="{FF2B5EF4-FFF2-40B4-BE49-F238E27FC236}">
                    <a16:creationId xmlns:a16="http://schemas.microsoft.com/office/drawing/2014/main" id="{3AF517D5-8696-4E45-91A5-FAE508A4CE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3387" y="1107308"/>
                <a:ext cx="91972" cy="75382"/>
              </a:xfrm>
              <a:custGeom>
                <a:avLst/>
                <a:gdLst>
                  <a:gd name="T0" fmla="*/ 122 w 296"/>
                  <a:gd name="T1" fmla="*/ 20 h 296"/>
                  <a:gd name="T2" fmla="*/ 98 w 296"/>
                  <a:gd name="T3" fmla="*/ 4 h 296"/>
                  <a:gd name="T4" fmla="*/ 58 w 296"/>
                  <a:gd name="T5" fmla="*/ 0 h 296"/>
                  <a:gd name="T6" fmla="*/ 20 w 296"/>
                  <a:gd name="T7" fmla="*/ 20 h 296"/>
                  <a:gd name="T8" fmla="*/ 6 w 296"/>
                  <a:gd name="T9" fmla="*/ 44 h 296"/>
                  <a:gd name="T10" fmla="*/ 2 w 296"/>
                  <a:gd name="T11" fmla="*/ 86 h 296"/>
                  <a:gd name="T12" fmla="*/ 20 w 296"/>
                  <a:gd name="T13" fmla="*/ 122 h 296"/>
                  <a:gd name="T14" fmla="*/ 174 w 296"/>
                  <a:gd name="T15" fmla="*/ 276 h 296"/>
                  <a:gd name="T16" fmla="*/ 210 w 296"/>
                  <a:gd name="T17" fmla="*/ 296 h 296"/>
                  <a:gd name="T18" fmla="*/ 252 w 296"/>
                  <a:gd name="T19" fmla="*/ 292 h 296"/>
                  <a:gd name="T20" fmla="*/ 276 w 296"/>
                  <a:gd name="T21" fmla="*/ 276 h 296"/>
                  <a:gd name="T22" fmla="*/ 296 w 296"/>
                  <a:gd name="T23" fmla="*/ 238 h 296"/>
                  <a:gd name="T24" fmla="*/ 292 w 296"/>
                  <a:gd name="T25" fmla="*/ 198 h 296"/>
                  <a:gd name="T26" fmla="*/ 276 w 296"/>
                  <a:gd name="T27" fmla="*/ 174 h 296"/>
                  <a:gd name="T28" fmla="*/ 36 w 296"/>
                  <a:gd name="T29" fmla="*/ 108 h 296"/>
                  <a:gd name="T30" fmla="*/ 20 w 296"/>
                  <a:gd name="T31" fmla="*/ 82 h 296"/>
                  <a:gd name="T32" fmla="*/ 24 w 296"/>
                  <a:gd name="T33" fmla="*/ 52 h 296"/>
                  <a:gd name="T34" fmla="*/ 36 w 296"/>
                  <a:gd name="T35" fmla="*/ 34 h 296"/>
                  <a:gd name="T36" fmla="*/ 58 w 296"/>
                  <a:gd name="T37" fmla="*/ 22 h 296"/>
                  <a:gd name="T38" fmla="*/ 62 w 296"/>
                  <a:gd name="T39" fmla="*/ 22 h 296"/>
                  <a:gd name="T40" fmla="*/ 52 w 296"/>
                  <a:gd name="T41" fmla="*/ 40 h 296"/>
                  <a:gd name="T42" fmla="*/ 58 w 296"/>
                  <a:gd name="T43" fmla="*/ 54 h 296"/>
                  <a:gd name="T44" fmla="*/ 72 w 296"/>
                  <a:gd name="T45" fmla="*/ 60 h 296"/>
                  <a:gd name="T46" fmla="*/ 90 w 296"/>
                  <a:gd name="T47" fmla="*/ 48 h 296"/>
                  <a:gd name="T48" fmla="*/ 90 w 296"/>
                  <a:gd name="T49" fmla="*/ 32 h 296"/>
                  <a:gd name="T50" fmla="*/ 76 w 296"/>
                  <a:gd name="T51" fmla="*/ 20 h 296"/>
                  <a:gd name="T52" fmla="*/ 94 w 296"/>
                  <a:gd name="T53" fmla="*/ 24 h 296"/>
                  <a:gd name="T54" fmla="*/ 170 w 296"/>
                  <a:gd name="T55" fmla="*/ 98 h 296"/>
                  <a:gd name="T56" fmla="*/ 262 w 296"/>
                  <a:gd name="T57" fmla="*/ 262 h 296"/>
                  <a:gd name="T58" fmla="*/ 236 w 296"/>
                  <a:gd name="T59" fmla="*/ 278 h 296"/>
                  <a:gd name="T60" fmla="*/ 224 w 296"/>
                  <a:gd name="T61" fmla="*/ 278 h 296"/>
                  <a:gd name="T62" fmla="*/ 204 w 296"/>
                  <a:gd name="T63" fmla="*/ 274 h 296"/>
                  <a:gd name="T64" fmla="*/ 186 w 296"/>
                  <a:gd name="T65" fmla="*/ 262 h 296"/>
                  <a:gd name="T66" fmla="*/ 184 w 296"/>
                  <a:gd name="T67" fmla="*/ 252 h 296"/>
                  <a:gd name="T68" fmla="*/ 190 w 296"/>
                  <a:gd name="T69" fmla="*/ 246 h 296"/>
                  <a:gd name="T70" fmla="*/ 200 w 296"/>
                  <a:gd name="T71" fmla="*/ 248 h 296"/>
                  <a:gd name="T72" fmla="*/ 212 w 296"/>
                  <a:gd name="T73" fmla="*/ 256 h 296"/>
                  <a:gd name="T74" fmla="*/ 224 w 296"/>
                  <a:gd name="T75" fmla="*/ 258 h 296"/>
                  <a:gd name="T76" fmla="*/ 238 w 296"/>
                  <a:gd name="T77" fmla="*/ 256 h 296"/>
                  <a:gd name="T78" fmla="*/ 248 w 296"/>
                  <a:gd name="T79" fmla="*/ 248 h 296"/>
                  <a:gd name="T80" fmla="*/ 260 w 296"/>
                  <a:gd name="T81" fmla="*/ 246 h 296"/>
                  <a:gd name="T82" fmla="*/ 264 w 296"/>
                  <a:gd name="T83" fmla="*/ 252 h 296"/>
                  <a:gd name="T84" fmla="*/ 262 w 296"/>
                  <a:gd name="T85" fmla="*/ 26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6" h="296">
                    <a:moveTo>
                      <a:pt x="276" y="174"/>
                    </a:moveTo>
                    <a:lnTo>
                      <a:pt x="200" y="98"/>
                    </a:lnTo>
                    <a:lnTo>
                      <a:pt x="122" y="20"/>
                    </a:lnTo>
                    <a:lnTo>
                      <a:pt x="122" y="20"/>
                    </a:lnTo>
                    <a:lnTo>
                      <a:pt x="112" y="12"/>
                    </a:lnTo>
                    <a:lnTo>
                      <a:pt x="98" y="4"/>
                    </a:lnTo>
                    <a:lnTo>
                      <a:pt x="86" y="0"/>
                    </a:lnTo>
                    <a:lnTo>
                      <a:pt x="72" y="0"/>
                    </a:lnTo>
                    <a:lnTo>
                      <a:pt x="58" y="0"/>
                    </a:lnTo>
                    <a:lnTo>
                      <a:pt x="44" y="4"/>
                    </a:lnTo>
                    <a:lnTo>
                      <a:pt x="32" y="1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2" y="32"/>
                    </a:lnTo>
                    <a:lnTo>
                      <a:pt x="6" y="44"/>
                    </a:lnTo>
                    <a:lnTo>
                      <a:pt x="2" y="58"/>
                    </a:lnTo>
                    <a:lnTo>
                      <a:pt x="0" y="72"/>
                    </a:lnTo>
                    <a:lnTo>
                      <a:pt x="2" y="86"/>
                    </a:lnTo>
                    <a:lnTo>
                      <a:pt x="6" y="98"/>
                    </a:lnTo>
                    <a:lnTo>
                      <a:pt x="12" y="112"/>
                    </a:lnTo>
                    <a:lnTo>
                      <a:pt x="20" y="122"/>
                    </a:lnTo>
                    <a:lnTo>
                      <a:pt x="98" y="198"/>
                    </a:lnTo>
                    <a:lnTo>
                      <a:pt x="174" y="276"/>
                    </a:lnTo>
                    <a:lnTo>
                      <a:pt x="174" y="276"/>
                    </a:lnTo>
                    <a:lnTo>
                      <a:pt x="184" y="284"/>
                    </a:lnTo>
                    <a:lnTo>
                      <a:pt x="198" y="292"/>
                    </a:lnTo>
                    <a:lnTo>
                      <a:pt x="210" y="296"/>
                    </a:lnTo>
                    <a:lnTo>
                      <a:pt x="224" y="296"/>
                    </a:lnTo>
                    <a:lnTo>
                      <a:pt x="238" y="296"/>
                    </a:lnTo>
                    <a:lnTo>
                      <a:pt x="252" y="292"/>
                    </a:lnTo>
                    <a:lnTo>
                      <a:pt x="264" y="284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84" y="264"/>
                    </a:lnTo>
                    <a:lnTo>
                      <a:pt x="292" y="252"/>
                    </a:lnTo>
                    <a:lnTo>
                      <a:pt x="296" y="238"/>
                    </a:lnTo>
                    <a:lnTo>
                      <a:pt x="296" y="224"/>
                    </a:lnTo>
                    <a:lnTo>
                      <a:pt x="296" y="210"/>
                    </a:lnTo>
                    <a:lnTo>
                      <a:pt x="292" y="198"/>
                    </a:lnTo>
                    <a:lnTo>
                      <a:pt x="284" y="184"/>
                    </a:lnTo>
                    <a:lnTo>
                      <a:pt x="276" y="174"/>
                    </a:lnTo>
                    <a:lnTo>
                      <a:pt x="276" y="174"/>
                    </a:lnTo>
                    <a:close/>
                    <a:moveTo>
                      <a:pt x="98" y="170"/>
                    </a:moveTo>
                    <a:lnTo>
                      <a:pt x="36" y="108"/>
                    </a:lnTo>
                    <a:lnTo>
                      <a:pt x="36" y="108"/>
                    </a:lnTo>
                    <a:lnTo>
                      <a:pt x="28" y="100"/>
                    </a:lnTo>
                    <a:lnTo>
                      <a:pt x="24" y="92"/>
                    </a:lnTo>
                    <a:lnTo>
                      <a:pt x="20" y="82"/>
                    </a:lnTo>
                    <a:lnTo>
                      <a:pt x="20" y="72"/>
                    </a:lnTo>
                    <a:lnTo>
                      <a:pt x="20" y="62"/>
                    </a:lnTo>
                    <a:lnTo>
                      <a:pt x="24" y="52"/>
                    </a:lnTo>
                    <a:lnTo>
                      <a:pt x="28" y="4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2" y="28"/>
                    </a:lnTo>
                    <a:lnTo>
                      <a:pt x="50" y="24"/>
                    </a:lnTo>
                    <a:lnTo>
                      <a:pt x="58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2" y="22"/>
                    </a:lnTo>
                    <a:lnTo>
                      <a:pt x="56" y="26"/>
                    </a:lnTo>
                    <a:lnTo>
                      <a:pt x="54" y="32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4" y="48"/>
                    </a:lnTo>
                    <a:lnTo>
                      <a:pt x="58" y="54"/>
                    </a:lnTo>
                    <a:lnTo>
                      <a:pt x="64" y="58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80" y="58"/>
                    </a:lnTo>
                    <a:lnTo>
                      <a:pt x="86" y="54"/>
                    </a:lnTo>
                    <a:lnTo>
                      <a:pt x="90" y="48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8" y="26"/>
                    </a:lnTo>
                    <a:lnTo>
                      <a:pt x="82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4" y="22"/>
                    </a:lnTo>
                    <a:lnTo>
                      <a:pt x="94" y="24"/>
                    </a:lnTo>
                    <a:lnTo>
                      <a:pt x="102" y="28"/>
                    </a:lnTo>
                    <a:lnTo>
                      <a:pt x="108" y="34"/>
                    </a:lnTo>
                    <a:lnTo>
                      <a:pt x="170" y="98"/>
                    </a:lnTo>
                    <a:lnTo>
                      <a:pt x="98" y="170"/>
                    </a:lnTo>
                    <a:close/>
                    <a:moveTo>
                      <a:pt x="262" y="262"/>
                    </a:moveTo>
                    <a:lnTo>
                      <a:pt x="262" y="262"/>
                    </a:lnTo>
                    <a:lnTo>
                      <a:pt x="254" y="270"/>
                    </a:lnTo>
                    <a:lnTo>
                      <a:pt x="246" y="274"/>
                    </a:lnTo>
                    <a:lnTo>
                      <a:pt x="236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14" y="278"/>
                    </a:lnTo>
                    <a:lnTo>
                      <a:pt x="204" y="274"/>
                    </a:lnTo>
                    <a:lnTo>
                      <a:pt x="194" y="270"/>
                    </a:lnTo>
                    <a:lnTo>
                      <a:pt x="186" y="262"/>
                    </a:lnTo>
                    <a:lnTo>
                      <a:pt x="186" y="262"/>
                    </a:lnTo>
                    <a:lnTo>
                      <a:pt x="184" y="260"/>
                    </a:lnTo>
                    <a:lnTo>
                      <a:pt x="184" y="256"/>
                    </a:lnTo>
                    <a:lnTo>
                      <a:pt x="184" y="252"/>
                    </a:lnTo>
                    <a:lnTo>
                      <a:pt x="186" y="248"/>
                    </a:lnTo>
                    <a:lnTo>
                      <a:pt x="186" y="248"/>
                    </a:lnTo>
                    <a:lnTo>
                      <a:pt x="190" y="246"/>
                    </a:lnTo>
                    <a:lnTo>
                      <a:pt x="194" y="246"/>
                    </a:lnTo>
                    <a:lnTo>
                      <a:pt x="198" y="246"/>
                    </a:lnTo>
                    <a:lnTo>
                      <a:pt x="200" y="248"/>
                    </a:lnTo>
                    <a:lnTo>
                      <a:pt x="200" y="248"/>
                    </a:lnTo>
                    <a:lnTo>
                      <a:pt x="206" y="252"/>
                    </a:lnTo>
                    <a:lnTo>
                      <a:pt x="212" y="256"/>
                    </a:lnTo>
                    <a:lnTo>
                      <a:pt x="218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32" y="258"/>
                    </a:lnTo>
                    <a:lnTo>
                      <a:pt x="238" y="256"/>
                    </a:lnTo>
                    <a:lnTo>
                      <a:pt x="244" y="252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52" y="246"/>
                    </a:lnTo>
                    <a:lnTo>
                      <a:pt x="256" y="246"/>
                    </a:lnTo>
                    <a:lnTo>
                      <a:pt x="260" y="246"/>
                    </a:lnTo>
                    <a:lnTo>
                      <a:pt x="262" y="248"/>
                    </a:lnTo>
                    <a:lnTo>
                      <a:pt x="262" y="248"/>
                    </a:lnTo>
                    <a:lnTo>
                      <a:pt x="264" y="252"/>
                    </a:lnTo>
                    <a:lnTo>
                      <a:pt x="266" y="256"/>
                    </a:lnTo>
                    <a:lnTo>
                      <a:pt x="264" y="260"/>
                    </a:lnTo>
                    <a:lnTo>
                      <a:pt x="262" y="262"/>
                    </a:lnTo>
                    <a:lnTo>
                      <a:pt x="262" y="262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44BA040A-4EF3-47E8-ADD1-C5A878316B47}"/>
                </a:ext>
              </a:extLst>
            </p:cNvPr>
            <p:cNvGrpSpPr/>
            <p:nvPr/>
          </p:nvGrpSpPr>
          <p:grpSpPr>
            <a:xfrm>
              <a:off x="6523172" y="3717026"/>
              <a:ext cx="168455" cy="162849"/>
              <a:chOff x="11410893" y="1080134"/>
              <a:chExt cx="156960" cy="128647"/>
            </a:xfrm>
          </p:grpSpPr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4F88AD7E-5AC0-463D-BA52-5DCFEACA345D}"/>
                  </a:ext>
                </a:extLst>
              </p:cNvPr>
              <p:cNvSpPr/>
              <p:nvPr/>
            </p:nvSpPr>
            <p:spPr bwMode="ltGray">
              <a:xfrm>
                <a:off x="11410893" y="1080134"/>
                <a:ext cx="156960" cy="128647"/>
              </a:xfrm>
              <a:prstGeom prst="ellipse">
                <a:avLst/>
              </a:prstGeom>
              <a:solidFill>
                <a:srgbClr val="E0301E"/>
              </a:solidFill>
              <a:ln w="3175">
                <a:solidFill>
                  <a:srgbClr val="E36A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41" name="Freeform 4869">
                <a:extLst>
                  <a:ext uri="{FF2B5EF4-FFF2-40B4-BE49-F238E27FC236}">
                    <a16:creationId xmlns:a16="http://schemas.microsoft.com/office/drawing/2014/main" id="{5CC656E2-D848-471E-A788-53C24275D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443387" y="1107308"/>
                <a:ext cx="91972" cy="75382"/>
              </a:xfrm>
              <a:custGeom>
                <a:avLst/>
                <a:gdLst>
                  <a:gd name="T0" fmla="*/ 122 w 296"/>
                  <a:gd name="T1" fmla="*/ 20 h 296"/>
                  <a:gd name="T2" fmla="*/ 98 w 296"/>
                  <a:gd name="T3" fmla="*/ 4 h 296"/>
                  <a:gd name="T4" fmla="*/ 58 w 296"/>
                  <a:gd name="T5" fmla="*/ 0 h 296"/>
                  <a:gd name="T6" fmla="*/ 20 w 296"/>
                  <a:gd name="T7" fmla="*/ 20 h 296"/>
                  <a:gd name="T8" fmla="*/ 6 w 296"/>
                  <a:gd name="T9" fmla="*/ 44 h 296"/>
                  <a:gd name="T10" fmla="*/ 2 w 296"/>
                  <a:gd name="T11" fmla="*/ 86 h 296"/>
                  <a:gd name="T12" fmla="*/ 20 w 296"/>
                  <a:gd name="T13" fmla="*/ 122 h 296"/>
                  <a:gd name="T14" fmla="*/ 174 w 296"/>
                  <a:gd name="T15" fmla="*/ 276 h 296"/>
                  <a:gd name="T16" fmla="*/ 210 w 296"/>
                  <a:gd name="T17" fmla="*/ 296 h 296"/>
                  <a:gd name="T18" fmla="*/ 252 w 296"/>
                  <a:gd name="T19" fmla="*/ 292 h 296"/>
                  <a:gd name="T20" fmla="*/ 276 w 296"/>
                  <a:gd name="T21" fmla="*/ 276 h 296"/>
                  <a:gd name="T22" fmla="*/ 296 w 296"/>
                  <a:gd name="T23" fmla="*/ 238 h 296"/>
                  <a:gd name="T24" fmla="*/ 292 w 296"/>
                  <a:gd name="T25" fmla="*/ 198 h 296"/>
                  <a:gd name="T26" fmla="*/ 276 w 296"/>
                  <a:gd name="T27" fmla="*/ 174 h 296"/>
                  <a:gd name="T28" fmla="*/ 36 w 296"/>
                  <a:gd name="T29" fmla="*/ 108 h 296"/>
                  <a:gd name="T30" fmla="*/ 20 w 296"/>
                  <a:gd name="T31" fmla="*/ 82 h 296"/>
                  <a:gd name="T32" fmla="*/ 24 w 296"/>
                  <a:gd name="T33" fmla="*/ 52 h 296"/>
                  <a:gd name="T34" fmla="*/ 36 w 296"/>
                  <a:gd name="T35" fmla="*/ 34 h 296"/>
                  <a:gd name="T36" fmla="*/ 58 w 296"/>
                  <a:gd name="T37" fmla="*/ 22 h 296"/>
                  <a:gd name="T38" fmla="*/ 62 w 296"/>
                  <a:gd name="T39" fmla="*/ 22 h 296"/>
                  <a:gd name="T40" fmla="*/ 52 w 296"/>
                  <a:gd name="T41" fmla="*/ 40 h 296"/>
                  <a:gd name="T42" fmla="*/ 58 w 296"/>
                  <a:gd name="T43" fmla="*/ 54 h 296"/>
                  <a:gd name="T44" fmla="*/ 72 w 296"/>
                  <a:gd name="T45" fmla="*/ 60 h 296"/>
                  <a:gd name="T46" fmla="*/ 90 w 296"/>
                  <a:gd name="T47" fmla="*/ 48 h 296"/>
                  <a:gd name="T48" fmla="*/ 90 w 296"/>
                  <a:gd name="T49" fmla="*/ 32 h 296"/>
                  <a:gd name="T50" fmla="*/ 76 w 296"/>
                  <a:gd name="T51" fmla="*/ 20 h 296"/>
                  <a:gd name="T52" fmla="*/ 94 w 296"/>
                  <a:gd name="T53" fmla="*/ 24 h 296"/>
                  <a:gd name="T54" fmla="*/ 170 w 296"/>
                  <a:gd name="T55" fmla="*/ 98 h 296"/>
                  <a:gd name="T56" fmla="*/ 262 w 296"/>
                  <a:gd name="T57" fmla="*/ 262 h 296"/>
                  <a:gd name="T58" fmla="*/ 236 w 296"/>
                  <a:gd name="T59" fmla="*/ 278 h 296"/>
                  <a:gd name="T60" fmla="*/ 224 w 296"/>
                  <a:gd name="T61" fmla="*/ 278 h 296"/>
                  <a:gd name="T62" fmla="*/ 204 w 296"/>
                  <a:gd name="T63" fmla="*/ 274 h 296"/>
                  <a:gd name="T64" fmla="*/ 186 w 296"/>
                  <a:gd name="T65" fmla="*/ 262 h 296"/>
                  <a:gd name="T66" fmla="*/ 184 w 296"/>
                  <a:gd name="T67" fmla="*/ 252 h 296"/>
                  <a:gd name="T68" fmla="*/ 190 w 296"/>
                  <a:gd name="T69" fmla="*/ 246 h 296"/>
                  <a:gd name="T70" fmla="*/ 200 w 296"/>
                  <a:gd name="T71" fmla="*/ 248 h 296"/>
                  <a:gd name="T72" fmla="*/ 212 w 296"/>
                  <a:gd name="T73" fmla="*/ 256 h 296"/>
                  <a:gd name="T74" fmla="*/ 224 w 296"/>
                  <a:gd name="T75" fmla="*/ 258 h 296"/>
                  <a:gd name="T76" fmla="*/ 238 w 296"/>
                  <a:gd name="T77" fmla="*/ 256 h 296"/>
                  <a:gd name="T78" fmla="*/ 248 w 296"/>
                  <a:gd name="T79" fmla="*/ 248 h 296"/>
                  <a:gd name="T80" fmla="*/ 260 w 296"/>
                  <a:gd name="T81" fmla="*/ 246 h 296"/>
                  <a:gd name="T82" fmla="*/ 264 w 296"/>
                  <a:gd name="T83" fmla="*/ 252 h 296"/>
                  <a:gd name="T84" fmla="*/ 262 w 296"/>
                  <a:gd name="T85" fmla="*/ 262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6" h="296">
                    <a:moveTo>
                      <a:pt x="276" y="174"/>
                    </a:moveTo>
                    <a:lnTo>
                      <a:pt x="200" y="98"/>
                    </a:lnTo>
                    <a:lnTo>
                      <a:pt x="122" y="20"/>
                    </a:lnTo>
                    <a:lnTo>
                      <a:pt x="122" y="20"/>
                    </a:lnTo>
                    <a:lnTo>
                      <a:pt x="112" y="12"/>
                    </a:lnTo>
                    <a:lnTo>
                      <a:pt x="98" y="4"/>
                    </a:lnTo>
                    <a:lnTo>
                      <a:pt x="86" y="0"/>
                    </a:lnTo>
                    <a:lnTo>
                      <a:pt x="72" y="0"/>
                    </a:lnTo>
                    <a:lnTo>
                      <a:pt x="58" y="0"/>
                    </a:lnTo>
                    <a:lnTo>
                      <a:pt x="44" y="4"/>
                    </a:lnTo>
                    <a:lnTo>
                      <a:pt x="32" y="1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2" y="32"/>
                    </a:lnTo>
                    <a:lnTo>
                      <a:pt x="6" y="44"/>
                    </a:lnTo>
                    <a:lnTo>
                      <a:pt x="2" y="58"/>
                    </a:lnTo>
                    <a:lnTo>
                      <a:pt x="0" y="72"/>
                    </a:lnTo>
                    <a:lnTo>
                      <a:pt x="2" y="86"/>
                    </a:lnTo>
                    <a:lnTo>
                      <a:pt x="6" y="98"/>
                    </a:lnTo>
                    <a:lnTo>
                      <a:pt x="12" y="112"/>
                    </a:lnTo>
                    <a:lnTo>
                      <a:pt x="20" y="122"/>
                    </a:lnTo>
                    <a:lnTo>
                      <a:pt x="98" y="198"/>
                    </a:lnTo>
                    <a:lnTo>
                      <a:pt x="174" y="276"/>
                    </a:lnTo>
                    <a:lnTo>
                      <a:pt x="174" y="276"/>
                    </a:lnTo>
                    <a:lnTo>
                      <a:pt x="184" y="284"/>
                    </a:lnTo>
                    <a:lnTo>
                      <a:pt x="198" y="292"/>
                    </a:lnTo>
                    <a:lnTo>
                      <a:pt x="210" y="296"/>
                    </a:lnTo>
                    <a:lnTo>
                      <a:pt x="224" y="296"/>
                    </a:lnTo>
                    <a:lnTo>
                      <a:pt x="238" y="296"/>
                    </a:lnTo>
                    <a:lnTo>
                      <a:pt x="252" y="292"/>
                    </a:lnTo>
                    <a:lnTo>
                      <a:pt x="264" y="284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84" y="264"/>
                    </a:lnTo>
                    <a:lnTo>
                      <a:pt x="292" y="252"/>
                    </a:lnTo>
                    <a:lnTo>
                      <a:pt x="296" y="238"/>
                    </a:lnTo>
                    <a:lnTo>
                      <a:pt x="296" y="224"/>
                    </a:lnTo>
                    <a:lnTo>
                      <a:pt x="296" y="210"/>
                    </a:lnTo>
                    <a:lnTo>
                      <a:pt x="292" y="198"/>
                    </a:lnTo>
                    <a:lnTo>
                      <a:pt x="284" y="184"/>
                    </a:lnTo>
                    <a:lnTo>
                      <a:pt x="276" y="174"/>
                    </a:lnTo>
                    <a:lnTo>
                      <a:pt x="276" y="174"/>
                    </a:lnTo>
                    <a:close/>
                    <a:moveTo>
                      <a:pt x="98" y="170"/>
                    </a:moveTo>
                    <a:lnTo>
                      <a:pt x="36" y="108"/>
                    </a:lnTo>
                    <a:lnTo>
                      <a:pt x="36" y="108"/>
                    </a:lnTo>
                    <a:lnTo>
                      <a:pt x="28" y="100"/>
                    </a:lnTo>
                    <a:lnTo>
                      <a:pt x="24" y="92"/>
                    </a:lnTo>
                    <a:lnTo>
                      <a:pt x="20" y="82"/>
                    </a:lnTo>
                    <a:lnTo>
                      <a:pt x="20" y="72"/>
                    </a:lnTo>
                    <a:lnTo>
                      <a:pt x="20" y="62"/>
                    </a:lnTo>
                    <a:lnTo>
                      <a:pt x="24" y="52"/>
                    </a:lnTo>
                    <a:lnTo>
                      <a:pt x="28" y="4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2" y="28"/>
                    </a:lnTo>
                    <a:lnTo>
                      <a:pt x="50" y="24"/>
                    </a:lnTo>
                    <a:lnTo>
                      <a:pt x="58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2" y="22"/>
                    </a:lnTo>
                    <a:lnTo>
                      <a:pt x="56" y="26"/>
                    </a:lnTo>
                    <a:lnTo>
                      <a:pt x="54" y="32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4" y="48"/>
                    </a:lnTo>
                    <a:lnTo>
                      <a:pt x="58" y="54"/>
                    </a:lnTo>
                    <a:lnTo>
                      <a:pt x="64" y="58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80" y="58"/>
                    </a:lnTo>
                    <a:lnTo>
                      <a:pt x="86" y="54"/>
                    </a:lnTo>
                    <a:lnTo>
                      <a:pt x="90" y="48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88" y="26"/>
                    </a:lnTo>
                    <a:lnTo>
                      <a:pt x="82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4" y="22"/>
                    </a:lnTo>
                    <a:lnTo>
                      <a:pt x="94" y="24"/>
                    </a:lnTo>
                    <a:lnTo>
                      <a:pt x="102" y="28"/>
                    </a:lnTo>
                    <a:lnTo>
                      <a:pt x="108" y="34"/>
                    </a:lnTo>
                    <a:lnTo>
                      <a:pt x="170" y="98"/>
                    </a:lnTo>
                    <a:lnTo>
                      <a:pt x="98" y="170"/>
                    </a:lnTo>
                    <a:close/>
                    <a:moveTo>
                      <a:pt x="262" y="262"/>
                    </a:moveTo>
                    <a:lnTo>
                      <a:pt x="262" y="262"/>
                    </a:lnTo>
                    <a:lnTo>
                      <a:pt x="254" y="270"/>
                    </a:lnTo>
                    <a:lnTo>
                      <a:pt x="246" y="274"/>
                    </a:lnTo>
                    <a:lnTo>
                      <a:pt x="236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24" y="278"/>
                    </a:lnTo>
                    <a:lnTo>
                      <a:pt x="214" y="278"/>
                    </a:lnTo>
                    <a:lnTo>
                      <a:pt x="204" y="274"/>
                    </a:lnTo>
                    <a:lnTo>
                      <a:pt x="194" y="270"/>
                    </a:lnTo>
                    <a:lnTo>
                      <a:pt x="186" y="262"/>
                    </a:lnTo>
                    <a:lnTo>
                      <a:pt x="186" y="262"/>
                    </a:lnTo>
                    <a:lnTo>
                      <a:pt x="184" y="260"/>
                    </a:lnTo>
                    <a:lnTo>
                      <a:pt x="184" y="256"/>
                    </a:lnTo>
                    <a:lnTo>
                      <a:pt x="184" y="252"/>
                    </a:lnTo>
                    <a:lnTo>
                      <a:pt x="186" y="248"/>
                    </a:lnTo>
                    <a:lnTo>
                      <a:pt x="186" y="248"/>
                    </a:lnTo>
                    <a:lnTo>
                      <a:pt x="190" y="246"/>
                    </a:lnTo>
                    <a:lnTo>
                      <a:pt x="194" y="246"/>
                    </a:lnTo>
                    <a:lnTo>
                      <a:pt x="198" y="246"/>
                    </a:lnTo>
                    <a:lnTo>
                      <a:pt x="200" y="248"/>
                    </a:lnTo>
                    <a:lnTo>
                      <a:pt x="200" y="248"/>
                    </a:lnTo>
                    <a:lnTo>
                      <a:pt x="206" y="252"/>
                    </a:lnTo>
                    <a:lnTo>
                      <a:pt x="212" y="256"/>
                    </a:lnTo>
                    <a:lnTo>
                      <a:pt x="218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32" y="258"/>
                    </a:lnTo>
                    <a:lnTo>
                      <a:pt x="238" y="256"/>
                    </a:lnTo>
                    <a:lnTo>
                      <a:pt x="244" y="252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52" y="246"/>
                    </a:lnTo>
                    <a:lnTo>
                      <a:pt x="256" y="246"/>
                    </a:lnTo>
                    <a:lnTo>
                      <a:pt x="260" y="246"/>
                    </a:lnTo>
                    <a:lnTo>
                      <a:pt x="262" y="248"/>
                    </a:lnTo>
                    <a:lnTo>
                      <a:pt x="262" y="248"/>
                    </a:lnTo>
                    <a:lnTo>
                      <a:pt x="264" y="252"/>
                    </a:lnTo>
                    <a:lnTo>
                      <a:pt x="266" y="256"/>
                    </a:lnTo>
                    <a:lnTo>
                      <a:pt x="264" y="260"/>
                    </a:lnTo>
                    <a:lnTo>
                      <a:pt x="262" y="262"/>
                    </a:lnTo>
                    <a:lnTo>
                      <a:pt x="262" y="262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A72BDBC0-348D-4D56-B907-BD301B758D6C}"/>
                </a:ext>
              </a:extLst>
            </p:cNvPr>
            <p:cNvGrpSpPr/>
            <p:nvPr/>
          </p:nvGrpSpPr>
          <p:grpSpPr>
            <a:xfrm>
              <a:off x="7017718" y="5549847"/>
              <a:ext cx="174326" cy="155621"/>
              <a:chOff x="11107520" y="2873908"/>
              <a:chExt cx="156960" cy="128647"/>
            </a:xfrm>
          </p:grpSpPr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3406C585-16BB-4374-B031-FA6B5FFC689D}"/>
                  </a:ext>
                </a:extLst>
              </p:cNvPr>
              <p:cNvSpPr/>
              <p:nvPr/>
            </p:nvSpPr>
            <p:spPr bwMode="ltGray">
              <a:xfrm>
                <a:off x="11107520" y="2873908"/>
                <a:ext cx="156960" cy="128647"/>
              </a:xfrm>
              <a:prstGeom prst="ellipse">
                <a:avLst/>
              </a:prstGeom>
              <a:solidFill>
                <a:srgbClr val="ABA591"/>
              </a:solidFill>
              <a:ln w="3175">
                <a:solidFill>
                  <a:srgbClr val="ABA5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39" name="Freeform 4805">
                <a:extLst>
                  <a:ext uri="{FF2B5EF4-FFF2-40B4-BE49-F238E27FC236}">
                    <a16:creationId xmlns:a16="http://schemas.microsoft.com/office/drawing/2014/main" id="{0BB406B0-D893-4597-81A5-2B9E14FD8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30043" y="2896050"/>
                <a:ext cx="111914" cy="69568"/>
              </a:xfrm>
              <a:custGeom>
                <a:avLst/>
                <a:gdLst>
                  <a:gd name="T0" fmla="*/ 324 w 356"/>
                  <a:gd name="T1" fmla="*/ 64 h 270"/>
                  <a:gd name="T2" fmla="*/ 280 w 356"/>
                  <a:gd name="T3" fmla="*/ 10 h 270"/>
                  <a:gd name="T4" fmla="*/ 234 w 356"/>
                  <a:gd name="T5" fmla="*/ 2 h 270"/>
                  <a:gd name="T6" fmla="*/ 92 w 356"/>
                  <a:gd name="T7" fmla="*/ 4 h 270"/>
                  <a:gd name="T8" fmla="*/ 64 w 356"/>
                  <a:gd name="T9" fmla="*/ 18 h 270"/>
                  <a:gd name="T10" fmla="*/ 32 w 356"/>
                  <a:gd name="T11" fmla="*/ 64 h 270"/>
                  <a:gd name="T12" fmla="*/ 8 w 356"/>
                  <a:gd name="T13" fmla="*/ 108 h 270"/>
                  <a:gd name="T14" fmla="*/ 0 w 356"/>
                  <a:gd name="T15" fmla="*/ 168 h 270"/>
                  <a:gd name="T16" fmla="*/ 6 w 356"/>
                  <a:gd name="T17" fmla="*/ 224 h 270"/>
                  <a:gd name="T18" fmla="*/ 12 w 356"/>
                  <a:gd name="T19" fmla="*/ 232 h 270"/>
                  <a:gd name="T20" fmla="*/ 22 w 356"/>
                  <a:gd name="T21" fmla="*/ 232 h 270"/>
                  <a:gd name="T22" fmla="*/ 26 w 356"/>
                  <a:gd name="T23" fmla="*/ 266 h 270"/>
                  <a:gd name="T24" fmla="*/ 60 w 356"/>
                  <a:gd name="T25" fmla="*/ 270 h 270"/>
                  <a:gd name="T26" fmla="*/ 72 w 356"/>
                  <a:gd name="T27" fmla="*/ 258 h 270"/>
                  <a:gd name="T28" fmla="*/ 284 w 356"/>
                  <a:gd name="T29" fmla="*/ 258 h 270"/>
                  <a:gd name="T30" fmla="*/ 292 w 356"/>
                  <a:gd name="T31" fmla="*/ 268 h 270"/>
                  <a:gd name="T32" fmla="*/ 326 w 356"/>
                  <a:gd name="T33" fmla="*/ 268 h 270"/>
                  <a:gd name="T34" fmla="*/ 334 w 356"/>
                  <a:gd name="T35" fmla="*/ 232 h 270"/>
                  <a:gd name="T36" fmla="*/ 340 w 356"/>
                  <a:gd name="T37" fmla="*/ 232 h 270"/>
                  <a:gd name="T38" fmla="*/ 350 w 356"/>
                  <a:gd name="T39" fmla="*/ 224 h 270"/>
                  <a:gd name="T40" fmla="*/ 356 w 356"/>
                  <a:gd name="T41" fmla="*/ 168 h 270"/>
                  <a:gd name="T42" fmla="*/ 352 w 356"/>
                  <a:gd name="T43" fmla="*/ 120 h 270"/>
                  <a:gd name="T44" fmla="*/ 330 w 356"/>
                  <a:gd name="T45" fmla="*/ 72 h 270"/>
                  <a:gd name="T46" fmla="*/ 138 w 356"/>
                  <a:gd name="T47" fmla="*/ 20 h 270"/>
                  <a:gd name="T48" fmla="*/ 246 w 356"/>
                  <a:gd name="T49" fmla="*/ 22 h 270"/>
                  <a:gd name="T50" fmla="*/ 296 w 356"/>
                  <a:gd name="T51" fmla="*/ 62 h 270"/>
                  <a:gd name="T52" fmla="*/ 298 w 356"/>
                  <a:gd name="T53" fmla="*/ 76 h 270"/>
                  <a:gd name="T54" fmla="*/ 284 w 356"/>
                  <a:gd name="T55" fmla="*/ 80 h 270"/>
                  <a:gd name="T56" fmla="*/ 72 w 356"/>
                  <a:gd name="T57" fmla="*/ 80 h 270"/>
                  <a:gd name="T58" fmla="*/ 56 w 356"/>
                  <a:gd name="T59" fmla="*/ 74 h 270"/>
                  <a:gd name="T60" fmla="*/ 70 w 356"/>
                  <a:gd name="T61" fmla="*/ 46 h 270"/>
                  <a:gd name="T62" fmla="*/ 262 w 356"/>
                  <a:gd name="T63" fmla="*/ 136 h 270"/>
                  <a:gd name="T64" fmla="*/ 244 w 356"/>
                  <a:gd name="T65" fmla="*/ 154 h 270"/>
                  <a:gd name="T66" fmla="*/ 100 w 356"/>
                  <a:gd name="T67" fmla="*/ 148 h 270"/>
                  <a:gd name="T68" fmla="*/ 46 w 356"/>
                  <a:gd name="T69" fmla="*/ 152 h 270"/>
                  <a:gd name="T70" fmla="*/ 22 w 356"/>
                  <a:gd name="T71" fmla="*/ 136 h 270"/>
                  <a:gd name="T72" fmla="*/ 28 w 356"/>
                  <a:gd name="T73" fmla="*/ 106 h 270"/>
                  <a:gd name="T74" fmla="*/ 56 w 356"/>
                  <a:gd name="T75" fmla="*/ 102 h 270"/>
                  <a:gd name="T76" fmla="*/ 72 w 356"/>
                  <a:gd name="T77" fmla="*/ 126 h 270"/>
                  <a:gd name="T78" fmla="*/ 46 w 356"/>
                  <a:gd name="T79" fmla="*/ 152 h 270"/>
                  <a:gd name="T80" fmla="*/ 156 w 356"/>
                  <a:gd name="T81" fmla="*/ 212 h 270"/>
                  <a:gd name="T82" fmla="*/ 70 w 356"/>
                  <a:gd name="T83" fmla="*/ 198 h 270"/>
                  <a:gd name="T84" fmla="*/ 152 w 356"/>
                  <a:gd name="T85" fmla="*/ 184 h 270"/>
                  <a:gd name="T86" fmla="*/ 274 w 356"/>
                  <a:gd name="T87" fmla="*/ 186 h 270"/>
                  <a:gd name="T88" fmla="*/ 288 w 356"/>
                  <a:gd name="T89" fmla="*/ 212 h 270"/>
                  <a:gd name="T90" fmla="*/ 292 w 356"/>
                  <a:gd name="T91" fmla="*/ 144 h 270"/>
                  <a:gd name="T92" fmla="*/ 286 w 356"/>
                  <a:gd name="T93" fmla="*/ 116 h 270"/>
                  <a:gd name="T94" fmla="*/ 310 w 356"/>
                  <a:gd name="T95" fmla="*/ 100 h 270"/>
                  <a:gd name="T96" fmla="*/ 336 w 356"/>
                  <a:gd name="T97" fmla="*/ 126 h 270"/>
                  <a:gd name="T98" fmla="*/ 320 w 356"/>
                  <a:gd name="T99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6" h="270">
                    <a:moveTo>
                      <a:pt x="330" y="72"/>
                    </a:moveTo>
                    <a:lnTo>
                      <a:pt x="330" y="72"/>
                    </a:lnTo>
                    <a:lnTo>
                      <a:pt x="324" y="64"/>
                    </a:lnTo>
                    <a:lnTo>
                      <a:pt x="324" y="64"/>
                    </a:lnTo>
                    <a:lnTo>
                      <a:pt x="314" y="46"/>
                    </a:lnTo>
                    <a:lnTo>
                      <a:pt x="302" y="32"/>
                    </a:lnTo>
                    <a:lnTo>
                      <a:pt x="292" y="18"/>
                    </a:lnTo>
                    <a:lnTo>
                      <a:pt x="280" y="10"/>
                    </a:lnTo>
                    <a:lnTo>
                      <a:pt x="280" y="10"/>
                    </a:lnTo>
                    <a:lnTo>
                      <a:pt x="274" y="6"/>
                    </a:lnTo>
                    <a:lnTo>
                      <a:pt x="264" y="4"/>
                    </a:lnTo>
                    <a:lnTo>
                      <a:pt x="234" y="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22" y="2"/>
                    </a:lnTo>
                    <a:lnTo>
                      <a:pt x="92" y="4"/>
                    </a:lnTo>
                    <a:lnTo>
                      <a:pt x="82" y="6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64" y="18"/>
                    </a:lnTo>
                    <a:lnTo>
                      <a:pt x="54" y="32"/>
                    </a:lnTo>
                    <a:lnTo>
                      <a:pt x="42" y="4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08"/>
                    </a:lnTo>
                    <a:lnTo>
                      <a:pt x="4" y="120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0" y="192"/>
                    </a:lnTo>
                    <a:lnTo>
                      <a:pt x="2" y="210"/>
                    </a:lnTo>
                    <a:lnTo>
                      <a:pt x="6" y="224"/>
                    </a:lnTo>
                    <a:lnTo>
                      <a:pt x="6" y="224"/>
                    </a:lnTo>
                    <a:lnTo>
                      <a:pt x="6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22" y="232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62"/>
                    </a:lnTo>
                    <a:lnTo>
                      <a:pt x="26" y="266"/>
                    </a:lnTo>
                    <a:lnTo>
                      <a:pt x="30" y="268"/>
                    </a:lnTo>
                    <a:lnTo>
                      <a:pt x="34" y="270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4" y="268"/>
                    </a:lnTo>
                    <a:lnTo>
                      <a:pt x="68" y="266"/>
                    </a:lnTo>
                    <a:lnTo>
                      <a:pt x="70" y="262"/>
                    </a:lnTo>
                    <a:lnTo>
                      <a:pt x="72" y="258"/>
                    </a:lnTo>
                    <a:lnTo>
                      <a:pt x="72" y="232"/>
                    </a:lnTo>
                    <a:lnTo>
                      <a:pt x="178" y="232"/>
                    </a:lnTo>
                    <a:lnTo>
                      <a:pt x="284" y="232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6" y="262"/>
                    </a:lnTo>
                    <a:lnTo>
                      <a:pt x="288" y="266"/>
                    </a:lnTo>
                    <a:lnTo>
                      <a:pt x="292" y="268"/>
                    </a:lnTo>
                    <a:lnTo>
                      <a:pt x="296" y="270"/>
                    </a:lnTo>
                    <a:lnTo>
                      <a:pt x="322" y="270"/>
                    </a:lnTo>
                    <a:lnTo>
                      <a:pt x="322" y="270"/>
                    </a:lnTo>
                    <a:lnTo>
                      <a:pt x="326" y="268"/>
                    </a:lnTo>
                    <a:lnTo>
                      <a:pt x="330" y="266"/>
                    </a:lnTo>
                    <a:lnTo>
                      <a:pt x="332" y="262"/>
                    </a:lnTo>
                    <a:lnTo>
                      <a:pt x="334" y="258"/>
                    </a:lnTo>
                    <a:lnTo>
                      <a:pt x="334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4" y="232"/>
                    </a:lnTo>
                    <a:lnTo>
                      <a:pt x="346" y="230"/>
                    </a:lnTo>
                    <a:lnTo>
                      <a:pt x="350" y="228"/>
                    </a:lnTo>
                    <a:lnTo>
                      <a:pt x="350" y="224"/>
                    </a:lnTo>
                    <a:lnTo>
                      <a:pt x="350" y="224"/>
                    </a:lnTo>
                    <a:lnTo>
                      <a:pt x="354" y="210"/>
                    </a:lnTo>
                    <a:lnTo>
                      <a:pt x="356" y="192"/>
                    </a:lnTo>
                    <a:lnTo>
                      <a:pt x="356" y="168"/>
                    </a:lnTo>
                    <a:lnTo>
                      <a:pt x="356" y="168"/>
                    </a:lnTo>
                    <a:lnTo>
                      <a:pt x="356" y="150"/>
                    </a:lnTo>
                    <a:lnTo>
                      <a:pt x="354" y="134"/>
                    </a:lnTo>
                    <a:lnTo>
                      <a:pt x="352" y="120"/>
                    </a:lnTo>
                    <a:lnTo>
                      <a:pt x="348" y="108"/>
                    </a:lnTo>
                    <a:lnTo>
                      <a:pt x="340" y="88"/>
                    </a:lnTo>
                    <a:lnTo>
                      <a:pt x="330" y="72"/>
                    </a:lnTo>
                    <a:lnTo>
                      <a:pt x="330" y="72"/>
                    </a:lnTo>
                    <a:close/>
                    <a:moveTo>
                      <a:pt x="88" y="26"/>
                    </a:moveTo>
                    <a:lnTo>
                      <a:pt x="88" y="26"/>
                    </a:lnTo>
                    <a:lnTo>
                      <a:pt x="110" y="22"/>
                    </a:lnTo>
                    <a:lnTo>
                      <a:pt x="13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218" y="20"/>
                    </a:lnTo>
                    <a:lnTo>
                      <a:pt x="246" y="22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86" y="46"/>
                    </a:lnTo>
                    <a:lnTo>
                      <a:pt x="296" y="62"/>
                    </a:lnTo>
                    <a:lnTo>
                      <a:pt x="298" y="70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6"/>
                    </a:lnTo>
                    <a:lnTo>
                      <a:pt x="296" y="78"/>
                    </a:lnTo>
                    <a:lnTo>
                      <a:pt x="292" y="80"/>
                    </a:lnTo>
                    <a:lnTo>
                      <a:pt x="284" y="80"/>
                    </a:lnTo>
                    <a:lnTo>
                      <a:pt x="284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8" y="76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8" y="70"/>
                    </a:lnTo>
                    <a:lnTo>
                      <a:pt x="60" y="62"/>
                    </a:lnTo>
                    <a:lnTo>
                      <a:pt x="70" y="46"/>
                    </a:lnTo>
                    <a:lnTo>
                      <a:pt x="88" y="26"/>
                    </a:lnTo>
                    <a:lnTo>
                      <a:pt x="88" y="26"/>
                    </a:lnTo>
                    <a:close/>
                    <a:moveTo>
                      <a:pt x="262" y="136"/>
                    </a:moveTo>
                    <a:lnTo>
                      <a:pt x="262" y="136"/>
                    </a:lnTo>
                    <a:lnTo>
                      <a:pt x="260" y="144"/>
                    </a:lnTo>
                    <a:lnTo>
                      <a:pt x="256" y="148"/>
                    </a:lnTo>
                    <a:lnTo>
                      <a:pt x="252" y="152"/>
                    </a:lnTo>
                    <a:lnTo>
                      <a:pt x="244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4" y="152"/>
                    </a:lnTo>
                    <a:lnTo>
                      <a:pt x="100" y="148"/>
                    </a:lnTo>
                    <a:lnTo>
                      <a:pt x="96" y="144"/>
                    </a:lnTo>
                    <a:lnTo>
                      <a:pt x="94" y="136"/>
                    </a:lnTo>
                    <a:lnTo>
                      <a:pt x="262" y="136"/>
                    </a:lnTo>
                    <a:close/>
                    <a:moveTo>
                      <a:pt x="46" y="152"/>
                    </a:moveTo>
                    <a:lnTo>
                      <a:pt x="46" y="152"/>
                    </a:lnTo>
                    <a:lnTo>
                      <a:pt x="36" y="150"/>
                    </a:lnTo>
                    <a:lnTo>
                      <a:pt x="28" y="144"/>
                    </a:lnTo>
                    <a:lnTo>
                      <a:pt x="22" y="136"/>
                    </a:lnTo>
                    <a:lnTo>
                      <a:pt x="20" y="126"/>
                    </a:lnTo>
                    <a:lnTo>
                      <a:pt x="20" y="126"/>
                    </a:lnTo>
                    <a:lnTo>
                      <a:pt x="22" y="116"/>
                    </a:lnTo>
                    <a:lnTo>
                      <a:pt x="28" y="106"/>
                    </a:lnTo>
                    <a:lnTo>
                      <a:pt x="36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56" y="102"/>
                    </a:lnTo>
                    <a:lnTo>
                      <a:pt x="64" y="106"/>
                    </a:lnTo>
                    <a:lnTo>
                      <a:pt x="70" y="11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36"/>
                    </a:lnTo>
                    <a:lnTo>
                      <a:pt x="64" y="144"/>
                    </a:lnTo>
                    <a:lnTo>
                      <a:pt x="56" y="150"/>
                    </a:lnTo>
                    <a:lnTo>
                      <a:pt x="46" y="152"/>
                    </a:lnTo>
                    <a:lnTo>
                      <a:pt x="46" y="152"/>
                    </a:lnTo>
                    <a:close/>
                    <a:moveTo>
                      <a:pt x="288" y="212"/>
                    </a:moveTo>
                    <a:lnTo>
                      <a:pt x="204" y="212"/>
                    </a:lnTo>
                    <a:lnTo>
                      <a:pt x="156" y="212"/>
                    </a:lnTo>
                    <a:lnTo>
                      <a:pt x="68" y="212"/>
                    </a:lnTo>
                    <a:lnTo>
                      <a:pt x="68" y="206"/>
                    </a:lnTo>
                    <a:lnTo>
                      <a:pt x="68" y="206"/>
                    </a:lnTo>
                    <a:lnTo>
                      <a:pt x="70" y="198"/>
                    </a:lnTo>
                    <a:lnTo>
                      <a:pt x="76" y="190"/>
                    </a:lnTo>
                    <a:lnTo>
                      <a:pt x="82" y="186"/>
                    </a:lnTo>
                    <a:lnTo>
                      <a:pt x="90" y="184"/>
                    </a:lnTo>
                    <a:lnTo>
                      <a:pt x="152" y="184"/>
                    </a:lnTo>
                    <a:lnTo>
                      <a:pt x="208" y="184"/>
                    </a:lnTo>
                    <a:lnTo>
                      <a:pt x="266" y="184"/>
                    </a:lnTo>
                    <a:lnTo>
                      <a:pt x="266" y="184"/>
                    </a:lnTo>
                    <a:lnTo>
                      <a:pt x="274" y="186"/>
                    </a:lnTo>
                    <a:lnTo>
                      <a:pt x="280" y="190"/>
                    </a:lnTo>
                    <a:lnTo>
                      <a:pt x="286" y="198"/>
                    </a:lnTo>
                    <a:lnTo>
                      <a:pt x="288" y="206"/>
                    </a:lnTo>
                    <a:lnTo>
                      <a:pt x="288" y="212"/>
                    </a:lnTo>
                    <a:close/>
                    <a:moveTo>
                      <a:pt x="310" y="152"/>
                    </a:moveTo>
                    <a:lnTo>
                      <a:pt x="310" y="152"/>
                    </a:lnTo>
                    <a:lnTo>
                      <a:pt x="300" y="150"/>
                    </a:lnTo>
                    <a:lnTo>
                      <a:pt x="292" y="144"/>
                    </a:lnTo>
                    <a:lnTo>
                      <a:pt x="286" y="136"/>
                    </a:lnTo>
                    <a:lnTo>
                      <a:pt x="284" y="126"/>
                    </a:lnTo>
                    <a:lnTo>
                      <a:pt x="284" y="126"/>
                    </a:lnTo>
                    <a:lnTo>
                      <a:pt x="286" y="116"/>
                    </a:lnTo>
                    <a:lnTo>
                      <a:pt x="292" y="106"/>
                    </a:lnTo>
                    <a:lnTo>
                      <a:pt x="300" y="102"/>
                    </a:lnTo>
                    <a:lnTo>
                      <a:pt x="310" y="100"/>
                    </a:lnTo>
                    <a:lnTo>
                      <a:pt x="310" y="100"/>
                    </a:lnTo>
                    <a:lnTo>
                      <a:pt x="320" y="102"/>
                    </a:lnTo>
                    <a:lnTo>
                      <a:pt x="328" y="106"/>
                    </a:lnTo>
                    <a:lnTo>
                      <a:pt x="334" y="116"/>
                    </a:lnTo>
                    <a:lnTo>
                      <a:pt x="336" y="126"/>
                    </a:lnTo>
                    <a:lnTo>
                      <a:pt x="336" y="126"/>
                    </a:lnTo>
                    <a:lnTo>
                      <a:pt x="334" y="136"/>
                    </a:lnTo>
                    <a:lnTo>
                      <a:pt x="328" y="144"/>
                    </a:lnTo>
                    <a:lnTo>
                      <a:pt x="320" y="150"/>
                    </a:lnTo>
                    <a:lnTo>
                      <a:pt x="310" y="152"/>
                    </a:lnTo>
                    <a:lnTo>
                      <a:pt x="310" y="1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3C8E3106-748F-4C00-AD68-35B4847DED4B}"/>
                </a:ext>
              </a:extLst>
            </p:cNvPr>
            <p:cNvGrpSpPr/>
            <p:nvPr/>
          </p:nvGrpSpPr>
          <p:grpSpPr>
            <a:xfrm>
              <a:off x="7189574" y="5229405"/>
              <a:ext cx="174326" cy="155621"/>
              <a:chOff x="11107520" y="2873908"/>
              <a:chExt cx="156960" cy="128647"/>
            </a:xfrm>
          </p:grpSpPr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EF8B782F-E5CB-465A-85FD-D78F876B1094}"/>
                  </a:ext>
                </a:extLst>
              </p:cNvPr>
              <p:cNvSpPr/>
              <p:nvPr/>
            </p:nvSpPr>
            <p:spPr bwMode="ltGray">
              <a:xfrm>
                <a:off x="11107520" y="2873908"/>
                <a:ext cx="156960" cy="128647"/>
              </a:xfrm>
              <a:prstGeom prst="ellipse">
                <a:avLst/>
              </a:prstGeom>
              <a:solidFill>
                <a:srgbClr val="ABA591"/>
              </a:solidFill>
              <a:ln w="3175">
                <a:solidFill>
                  <a:srgbClr val="ABA59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37" name="Freeform 4805">
                <a:extLst>
                  <a:ext uri="{FF2B5EF4-FFF2-40B4-BE49-F238E27FC236}">
                    <a16:creationId xmlns:a16="http://schemas.microsoft.com/office/drawing/2014/main" id="{605FEA4E-2CDF-4517-9835-1E4BE59175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30043" y="2896050"/>
                <a:ext cx="111914" cy="69568"/>
              </a:xfrm>
              <a:custGeom>
                <a:avLst/>
                <a:gdLst>
                  <a:gd name="T0" fmla="*/ 324 w 356"/>
                  <a:gd name="T1" fmla="*/ 64 h 270"/>
                  <a:gd name="T2" fmla="*/ 280 w 356"/>
                  <a:gd name="T3" fmla="*/ 10 h 270"/>
                  <a:gd name="T4" fmla="*/ 234 w 356"/>
                  <a:gd name="T5" fmla="*/ 2 h 270"/>
                  <a:gd name="T6" fmla="*/ 92 w 356"/>
                  <a:gd name="T7" fmla="*/ 4 h 270"/>
                  <a:gd name="T8" fmla="*/ 64 w 356"/>
                  <a:gd name="T9" fmla="*/ 18 h 270"/>
                  <a:gd name="T10" fmla="*/ 32 w 356"/>
                  <a:gd name="T11" fmla="*/ 64 h 270"/>
                  <a:gd name="T12" fmla="*/ 8 w 356"/>
                  <a:gd name="T13" fmla="*/ 108 h 270"/>
                  <a:gd name="T14" fmla="*/ 0 w 356"/>
                  <a:gd name="T15" fmla="*/ 168 h 270"/>
                  <a:gd name="T16" fmla="*/ 6 w 356"/>
                  <a:gd name="T17" fmla="*/ 224 h 270"/>
                  <a:gd name="T18" fmla="*/ 12 w 356"/>
                  <a:gd name="T19" fmla="*/ 232 h 270"/>
                  <a:gd name="T20" fmla="*/ 22 w 356"/>
                  <a:gd name="T21" fmla="*/ 232 h 270"/>
                  <a:gd name="T22" fmla="*/ 26 w 356"/>
                  <a:gd name="T23" fmla="*/ 266 h 270"/>
                  <a:gd name="T24" fmla="*/ 60 w 356"/>
                  <a:gd name="T25" fmla="*/ 270 h 270"/>
                  <a:gd name="T26" fmla="*/ 72 w 356"/>
                  <a:gd name="T27" fmla="*/ 258 h 270"/>
                  <a:gd name="T28" fmla="*/ 284 w 356"/>
                  <a:gd name="T29" fmla="*/ 258 h 270"/>
                  <a:gd name="T30" fmla="*/ 292 w 356"/>
                  <a:gd name="T31" fmla="*/ 268 h 270"/>
                  <a:gd name="T32" fmla="*/ 326 w 356"/>
                  <a:gd name="T33" fmla="*/ 268 h 270"/>
                  <a:gd name="T34" fmla="*/ 334 w 356"/>
                  <a:gd name="T35" fmla="*/ 232 h 270"/>
                  <a:gd name="T36" fmla="*/ 340 w 356"/>
                  <a:gd name="T37" fmla="*/ 232 h 270"/>
                  <a:gd name="T38" fmla="*/ 350 w 356"/>
                  <a:gd name="T39" fmla="*/ 224 h 270"/>
                  <a:gd name="T40" fmla="*/ 356 w 356"/>
                  <a:gd name="T41" fmla="*/ 168 h 270"/>
                  <a:gd name="T42" fmla="*/ 352 w 356"/>
                  <a:gd name="T43" fmla="*/ 120 h 270"/>
                  <a:gd name="T44" fmla="*/ 330 w 356"/>
                  <a:gd name="T45" fmla="*/ 72 h 270"/>
                  <a:gd name="T46" fmla="*/ 138 w 356"/>
                  <a:gd name="T47" fmla="*/ 20 h 270"/>
                  <a:gd name="T48" fmla="*/ 246 w 356"/>
                  <a:gd name="T49" fmla="*/ 22 h 270"/>
                  <a:gd name="T50" fmla="*/ 296 w 356"/>
                  <a:gd name="T51" fmla="*/ 62 h 270"/>
                  <a:gd name="T52" fmla="*/ 298 w 356"/>
                  <a:gd name="T53" fmla="*/ 76 h 270"/>
                  <a:gd name="T54" fmla="*/ 284 w 356"/>
                  <a:gd name="T55" fmla="*/ 80 h 270"/>
                  <a:gd name="T56" fmla="*/ 72 w 356"/>
                  <a:gd name="T57" fmla="*/ 80 h 270"/>
                  <a:gd name="T58" fmla="*/ 56 w 356"/>
                  <a:gd name="T59" fmla="*/ 74 h 270"/>
                  <a:gd name="T60" fmla="*/ 70 w 356"/>
                  <a:gd name="T61" fmla="*/ 46 h 270"/>
                  <a:gd name="T62" fmla="*/ 262 w 356"/>
                  <a:gd name="T63" fmla="*/ 136 h 270"/>
                  <a:gd name="T64" fmla="*/ 244 w 356"/>
                  <a:gd name="T65" fmla="*/ 154 h 270"/>
                  <a:gd name="T66" fmla="*/ 100 w 356"/>
                  <a:gd name="T67" fmla="*/ 148 h 270"/>
                  <a:gd name="T68" fmla="*/ 46 w 356"/>
                  <a:gd name="T69" fmla="*/ 152 h 270"/>
                  <a:gd name="T70" fmla="*/ 22 w 356"/>
                  <a:gd name="T71" fmla="*/ 136 h 270"/>
                  <a:gd name="T72" fmla="*/ 28 w 356"/>
                  <a:gd name="T73" fmla="*/ 106 h 270"/>
                  <a:gd name="T74" fmla="*/ 56 w 356"/>
                  <a:gd name="T75" fmla="*/ 102 h 270"/>
                  <a:gd name="T76" fmla="*/ 72 w 356"/>
                  <a:gd name="T77" fmla="*/ 126 h 270"/>
                  <a:gd name="T78" fmla="*/ 46 w 356"/>
                  <a:gd name="T79" fmla="*/ 152 h 270"/>
                  <a:gd name="T80" fmla="*/ 156 w 356"/>
                  <a:gd name="T81" fmla="*/ 212 h 270"/>
                  <a:gd name="T82" fmla="*/ 70 w 356"/>
                  <a:gd name="T83" fmla="*/ 198 h 270"/>
                  <a:gd name="T84" fmla="*/ 152 w 356"/>
                  <a:gd name="T85" fmla="*/ 184 h 270"/>
                  <a:gd name="T86" fmla="*/ 274 w 356"/>
                  <a:gd name="T87" fmla="*/ 186 h 270"/>
                  <a:gd name="T88" fmla="*/ 288 w 356"/>
                  <a:gd name="T89" fmla="*/ 212 h 270"/>
                  <a:gd name="T90" fmla="*/ 292 w 356"/>
                  <a:gd name="T91" fmla="*/ 144 h 270"/>
                  <a:gd name="T92" fmla="*/ 286 w 356"/>
                  <a:gd name="T93" fmla="*/ 116 h 270"/>
                  <a:gd name="T94" fmla="*/ 310 w 356"/>
                  <a:gd name="T95" fmla="*/ 100 h 270"/>
                  <a:gd name="T96" fmla="*/ 336 w 356"/>
                  <a:gd name="T97" fmla="*/ 126 h 270"/>
                  <a:gd name="T98" fmla="*/ 320 w 356"/>
                  <a:gd name="T99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6" h="270">
                    <a:moveTo>
                      <a:pt x="330" y="72"/>
                    </a:moveTo>
                    <a:lnTo>
                      <a:pt x="330" y="72"/>
                    </a:lnTo>
                    <a:lnTo>
                      <a:pt x="324" y="64"/>
                    </a:lnTo>
                    <a:lnTo>
                      <a:pt x="324" y="64"/>
                    </a:lnTo>
                    <a:lnTo>
                      <a:pt x="314" y="46"/>
                    </a:lnTo>
                    <a:lnTo>
                      <a:pt x="302" y="32"/>
                    </a:lnTo>
                    <a:lnTo>
                      <a:pt x="292" y="18"/>
                    </a:lnTo>
                    <a:lnTo>
                      <a:pt x="280" y="10"/>
                    </a:lnTo>
                    <a:lnTo>
                      <a:pt x="280" y="10"/>
                    </a:lnTo>
                    <a:lnTo>
                      <a:pt x="274" y="6"/>
                    </a:lnTo>
                    <a:lnTo>
                      <a:pt x="264" y="4"/>
                    </a:lnTo>
                    <a:lnTo>
                      <a:pt x="234" y="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22" y="2"/>
                    </a:lnTo>
                    <a:lnTo>
                      <a:pt x="92" y="4"/>
                    </a:lnTo>
                    <a:lnTo>
                      <a:pt x="82" y="6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64" y="18"/>
                    </a:lnTo>
                    <a:lnTo>
                      <a:pt x="54" y="32"/>
                    </a:lnTo>
                    <a:lnTo>
                      <a:pt x="42" y="4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08"/>
                    </a:lnTo>
                    <a:lnTo>
                      <a:pt x="4" y="120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0" y="192"/>
                    </a:lnTo>
                    <a:lnTo>
                      <a:pt x="2" y="210"/>
                    </a:lnTo>
                    <a:lnTo>
                      <a:pt x="6" y="224"/>
                    </a:lnTo>
                    <a:lnTo>
                      <a:pt x="6" y="224"/>
                    </a:lnTo>
                    <a:lnTo>
                      <a:pt x="6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22" y="232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62"/>
                    </a:lnTo>
                    <a:lnTo>
                      <a:pt x="26" y="266"/>
                    </a:lnTo>
                    <a:lnTo>
                      <a:pt x="30" y="268"/>
                    </a:lnTo>
                    <a:lnTo>
                      <a:pt x="34" y="270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4" y="268"/>
                    </a:lnTo>
                    <a:lnTo>
                      <a:pt x="68" y="266"/>
                    </a:lnTo>
                    <a:lnTo>
                      <a:pt x="70" y="262"/>
                    </a:lnTo>
                    <a:lnTo>
                      <a:pt x="72" y="258"/>
                    </a:lnTo>
                    <a:lnTo>
                      <a:pt x="72" y="232"/>
                    </a:lnTo>
                    <a:lnTo>
                      <a:pt x="178" y="232"/>
                    </a:lnTo>
                    <a:lnTo>
                      <a:pt x="284" y="232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6" y="262"/>
                    </a:lnTo>
                    <a:lnTo>
                      <a:pt x="288" y="266"/>
                    </a:lnTo>
                    <a:lnTo>
                      <a:pt x="292" y="268"/>
                    </a:lnTo>
                    <a:lnTo>
                      <a:pt x="296" y="270"/>
                    </a:lnTo>
                    <a:lnTo>
                      <a:pt x="322" y="270"/>
                    </a:lnTo>
                    <a:lnTo>
                      <a:pt x="322" y="270"/>
                    </a:lnTo>
                    <a:lnTo>
                      <a:pt x="326" y="268"/>
                    </a:lnTo>
                    <a:lnTo>
                      <a:pt x="330" y="266"/>
                    </a:lnTo>
                    <a:lnTo>
                      <a:pt x="332" y="262"/>
                    </a:lnTo>
                    <a:lnTo>
                      <a:pt x="334" y="258"/>
                    </a:lnTo>
                    <a:lnTo>
                      <a:pt x="334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4" y="232"/>
                    </a:lnTo>
                    <a:lnTo>
                      <a:pt x="346" y="230"/>
                    </a:lnTo>
                    <a:lnTo>
                      <a:pt x="350" y="228"/>
                    </a:lnTo>
                    <a:lnTo>
                      <a:pt x="350" y="224"/>
                    </a:lnTo>
                    <a:lnTo>
                      <a:pt x="350" y="224"/>
                    </a:lnTo>
                    <a:lnTo>
                      <a:pt x="354" y="210"/>
                    </a:lnTo>
                    <a:lnTo>
                      <a:pt x="356" y="192"/>
                    </a:lnTo>
                    <a:lnTo>
                      <a:pt x="356" y="168"/>
                    </a:lnTo>
                    <a:lnTo>
                      <a:pt x="356" y="168"/>
                    </a:lnTo>
                    <a:lnTo>
                      <a:pt x="356" y="150"/>
                    </a:lnTo>
                    <a:lnTo>
                      <a:pt x="354" y="134"/>
                    </a:lnTo>
                    <a:lnTo>
                      <a:pt x="352" y="120"/>
                    </a:lnTo>
                    <a:lnTo>
                      <a:pt x="348" y="108"/>
                    </a:lnTo>
                    <a:lnTo>
                      <a:pt x="340" y="88"/>
                    </a:lnTo>
                    <a:lnTo>
                      <a:pt x="330" y="72"/>
                    </a:lnTo>
                    <a:lnTo>
                      <a:pt x="330" y="72"/>
                    </a:lnTo>
                    <a:close/>
                    <a:moveTo>
                      <a:pt x="88" y="26"/>
                    </a:moveTo>
                    <a:lnTo>
                      <a:pt x="88" y="26"/>
                    </a:lnTo>
                    <a:lnTo>
                      <a:pt x="110" y="22"/>
                    </a:lnTo>
                    <a:lnTo>
                      <a:pt x="13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218" y="20"/>
                    </a:lnTo>
                    <a:lnTo>
                      <a:pt x="246" y="22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86" y="46"/>
                    </a:lnTo>
                    <a:lnTo>
                      <a:pt x="296" y="62"/>
                    </a:lnTo>
                    <a:lnTo>
                      <a:pt x="298" y="70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6"/>
                    </a:lnTo>
                    <a:lnTo>
                      <a:pt x="296" y="78"/>
                    </a:lnTo>
                    <a:lnTo>
                      <a:pt x="292" y="80"/>
                    </a:lnTo>
                    <a:lnTo>
                      <a:pt x="284" y="80"/>
                    </a:lnTo>
                    <a:lnTo>
                      <a:pt x="284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8" y="76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8" y="70"/>
                    </a:lnTo>
                    <a:lnTo>
                      <a:pt x="60" y="62"/>
                    </a:lnTo>
                    <a:lnTo>
                      <a:pt x="70" y="46"/>
                    </a:lnTo>
                    <a:lnTo>
                      <a:pt x="88" y="26"/>
                    </a:lnTo>
                    <a:lnTo>
                      <a:pt x="88" y="26"/>
                    </a:lnTo>
                    <a:close/>
                    <a:moveTo>
                      <a:pt x="262" y="136"/>
                    </a:moveTo>
                    <a:lnTo>
                      <a:pt x="262" y="136"/>
                    </a:lnTo>
                    <a:lnTo>
                      <a:pt x="260" y="144"/>
                    </a:lnTo>
                    <a:lnTo>
                      <a:pt x="256" y="148"/>
                    </a:lnTo>
                    <a:lnTo>
                      <a:pt x="252" y="152"/>
                    </a:lnTo>
                    <a:lnTo>
                      <a:pt x="244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4" y="152"/>
                    </a:lnTo>
                    <a:lnTo>
                      <a:pt x="100" y="148"/>
                    </a:lnTo>
                    <a:lnTo>
                      <a:pt x="96" y="144"/>
                    </a:lnTo>
                    <a:lnTo>
                      <a:pt x="94" y="136"/>
                    </a:lnTo>
                    <a:lnTo>
                      <a:pt x="262" y="136"/>
                    </a:lnTo>
                    <a:close/>
                    <a:moveTo>
                      <a:pt x="46" y="152"/>
                    </a:moveTo>
                    <a:lnTo>
                      <a:pt x="46" y="152"/>
                    </a:lnTo>
                    <a:lnTo>
                      <a:pt x="36" y="150"/>
                    </a:lnTo>
                    <a:lnTo>
                      <a:pt x="28" y="144"/>
                    </a:lnTo>
                    <a:lnTo>
                      <a:pt x="22" y="136"/>
                    </a:lnTo>
                    <a:lnTo>
                      <a:pt x="20" y="126"/>
                    </a:lnTo>
                    <a:lnTo>
                      <a:pt x="20" y="126"/>
                    </a:lnTo>
                    <a:lnTo>
                      <a:pt x="22" y="116"/>
                    </a:lnTo>
                    <a:lnTo>
                      <a:pt x="28" y="106"/>
                    </a:lnTo>
                    <a:lnTo>
                      <a:pt x="36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56" y="102"/>
                    </a:lnTo>
                    <a:lnTo>
                      <a:pt x="64" y="106"/>
                    </a:lnTo>
                    <a:lnTo>
                      <a:pt x="70" y="11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36"/>
                    </a:lnTo>
                    <a:lnTo>
                      <a:pt x="64" y="144"/>
                    </a:lnTo>
                    <a:lnTo>
                      <a:pt x="56" y="150"/>
                    </a:lnTo>
                    <a:lnTo>
                      <a:pt x="46" y="152"/>
                    </a:lnTo>
                    <a:lnTo>
                      <a:pt x="46" y="152"/>
                    </a:lnTo>
                    <a:close/>
                    <a:moveTo>
                      <a:pt x="288" y="212"/>
                    </a:moveTo>
                    <a:lnTo>
                      <a:pt x="204" y="212"/>
                    </a:lnTo>
                    <a:lnTo>
                      <a:pt x="156" y="212"/>
                    </a:lnTo>
                    <a:lnTo>
                      <a:pt x="68" y="212"/>
                    </a:lnTo>
                    <a:lnTo>
                      <a:pt x="68" y="206"/>
                    </a:lnTo>
                    <a:lnTo>
                      <a:pt x="68" y="206"/>
                    </a:lnTo>
                    <a:lnTo>
                      <a:pt x="70" y="198"/>
                    </a:lnTo>
                    <a:lnTo>
                      <a:pt x="76" y="190"/>
                    </a:lnTo>
                    <a:lnTo>
                      <a:pt x="82" y="186"/>
                    </a:lnTo>
                    <a:lnTo>
                      <a:pt x="90" y="184"/>
                    </a:lnTo>
                    <a:lnTo>
                      <a:pt x="152" y="184"/>
                    </a:lnTo>
                    <a:lnTo>
                      <a:pt x="208" y="184"/>
                    </a:lnTo>
                    <a:lnTo>
                      <a:pt x="266" y="184"/>
                    </a:lnTo>
                    <a:lnTo>
                      <a:pt x="266" y="184"/>
                    </a:lnTo>
                    <a:lnTo>
                      <a:pt x="274" y="186"/>
                    </a:lnTo>
                    <a:lnTo>
                      <a:pt x="280" y="190"/>
                    </a:lnTo>
                    <a:lnTo>
                      <a:pt x="286" y="198"/>
                    </a:lnTo>
                    <a:lnTo>
                      <a:pt x="288" y="206"/>
                    </a:lnTo>
                    <a:lnTo>
                      <a:pt x="288" y="212"/>
                    </a:lnTo>
                    <a:close/>
                    <a:moveTo>
                      <a:pt x="310" y="152"/>
                    </a:moveTo>
                    <a:lnTo>
                      <a:pt x="310" y="152"/>
                    </a:lnTo>
                    <a:lnTo>
                      <a:pt x="300" y="150"/>
                    </a:lnTo>
                    <a:lnTo>
                      <a:pt x="292" y="144"/>
                    </a:lnTo>
                    <a:lnTo>
                      <a:pt x="286" y="136"/>
                    </a:lnTo>
                    <a:lnTo>
                      <a:pt x="284" y="126"/>
                    </a:lnTo>
                    <a:lnTo>
                      <a:pt x="284" y="126"/>
                    </a:lnTo>
                    <a:lnTo>
                      <a:pt x="286" y="116"/>
                    </a:lnTo>
                    <a:lnTo>
                      <a:pt x="292" y="106"/>
                    </a:lnTo>
                    <a:lnTo>
                      <a:pt x="300" y="102"/>
                    </a:lnTo>
                    <a:lnTo>
                      <a:pt x="310" y="100"/>
                    </a:lnTo>
                    <a:lnTo>
                      <a:pt x="310" y="100"/>
                    </a:lnTo>
                    <a:lnTo>
                      <a:pt x="320" y="102"/>
                    </a:lnTo>
                    <a:lnTo>
                      <a:pt x="328" y="106"/>
                    </a:lnTo>
                    <a:lnTo>
                      <a:pt x="334" y="116"/>
                    </a:lnTo>
                    <a:lnTo>
                      <a:pt x="336" y="126"/>
                    </a:lnTo>
                    <a:lnTo>
                      <a:pt x="336" y="126"/>
                    </a:lnTo>
                    <a:lnTo>
                      <a:pt x="334" y="136"/>
                    </a:lnTo>
                    <a:lnTo>
                      <a:pt x="328" y="144"/>
                    </a:lnTo>
                    <a:lnTo>
                      <a:pt x="320" y="150"/>
                    </a:lnTo>
                    <a:lnTo>
                      <a:pt x="310" y="152"/>
                    </a:lnTo>
                    <a:lnTo>
                      <a:pt x="310" y="1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2" name="Group 191">
              <a:extLst>
                <a:ext uri="{FF2B5EF4-FFF2-40B4-BE49-F238E27FC236}">
                  <a16:creationId xmlns:a16="http://schemas.microsoft.com/office/drawing/2014/main" id="{A5EF7BC4-3623-48D3-866A-792BDD5F7D03}"/>
                </a:ext>
              </a:extLst>
            </p:cNvPr>
            <p:cNvGrpSpPr/>
            <p:nvPr/>
          </p:nvGrpSpPr>
          <p:grpSpPr>
            <a:xfrm>
              <a:off x="5524039" y="4104482"/>
              <a:ext cx="168455" cy="162849"/>
              <a:chOff x="11694227" y="1950379"/>
              <a:chExt cx="156960" cy="128647"/>
            </a:xfrm>
          </p:grpSpPr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52B3835F-077A-4C6B-ABB5-7196ADA9A475}"/>
                  </a:ext>
                </a:extLst>
              </p:cNvPr>
              <p:cNvSpPr/>
              <p:nvPr/>
            </p:nvSpPr>
            <p:spPr bwMode="ltGray">
              <a:xfrm>
                <a:off x="11694227" y="1950379"/>
                <a:ext cx="156960" cy="128647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3175">
                <a:solidFill>
                  <a:srgbClr val="968C6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35" name="Freeform 325">
                <a:extLst>
                  <a:ext uri="{FF2B5EF4-FFF2-40B4-BE49-F238E27FC236}">
                    <a16:creationId xmlns:a16="http://schemas.microsoft.com/office/drawing/2014/main" id="{20A73655-3A4A-46D0-860A-A76F1D74BB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32196" y="1964520"/>
                <a:ext cx="81022" cy="99778"/>
              </a:xfrm>
              <a:custGeom>
                <a:avLst/>
                <a:gdLst>
                  <a:gd name="T0" fmla="*/ 606 w 993"/>
                  <a:gd name="T1" fmla="*/ 5 h 1494"/>
                  <a:gd name="T2" fmla="*/ 674 w 993"/>
                  <a:gd name="T3" fmla="*/ 34 h 1494"/>
                  <a:gd name="T4" fmla="*/ 733 w 993"/>
                  <a:gd name="T5" fmla="*/ 90 h 1494"/>
                  <a:gd name="T6" fmla="*/ 784 w 993"/>
                  <a:gd name="T7" fmla="*/ 170 h 1494"/>
                  <a:gd name="T8" fmla="*/ 817 w 993"/>
                  <a:gd name="T9" fmla="*/ 249 h 1494"/>
                  <a:gd name="T10" fmla="*/ 856 w 993"/>
                  <a:gd name="T11" fmla="*/ 394 h 1494"/>
                  <a:gd name="T12" fmla="*/ 873 w 993"/>
                  <a:gd name="T13" fmla="*/ 517 h 1494"/>
                  <a:gd name="T14" fmla="*/ 986 w 993"/>
                  <a:gd name="T15" fmla="*/ 411 h 1494"/>
                  <a:gd name="T16" fmla="*/ 963 w 993"/>
                  <a:gd name="T17" fmla="*/ 543 h 1494"/>
                  <a:gd name="T18" fmla="*/ 945 w 993"/>
                  <a:gd name="T19" fmla="*/ 865 h 1494"/>
                  <a:gd name="T20" fmla="*/ 928 w 993"/>
                  <a:gd name="T21" fmla="*/ 1004 h 1494"/>
                  <a:gd name="T22" fmla="*/ 895 w 993"/>
                  <a:gd name="T23" fmla="*/ 1127 h 1494"/>
                  <a:gd name="T24" fmla="*/ 844 w 993"/>
                  <a:gd name="T25" fmla="*/ 1220 h 1494"/>
                  <a:gd name="T26" fmla="*/ 804 w 993"/>
                  <a:gd name="T27" fmla="*/ 1263 h 1494"/>
                  <a:gd name="T28" fmla="*/ 753 w 993"/>
                  <a:gd name="T29" fmla="*/ 1300 h 1494"/>
                  <a:gd name="T30" fmla="*/ 692 w 993"/>
                  <a:gd name="T31" fmla="*/ 1328 h 1494"/>
                  <a:gd name="T32" fmla="*/ 447 w 993"/>
                  <a:gd name="T33" fmla="*/ 1368 h 1494"/>
                  <a:gd name="T34" fmla="*/ 396 w 993"/>
                  <a:gd name="T35" fmla="*/ 1355 h 1494"/>
                  <a:gd name="T36" fmla="*/ 340 w 993"/>
                  <a:gd name="T37" fmla="*/ 1329 h 1494"/>
                  <a:gd name="T38" fmla="*/ 294 w 993"/>
                  <a:gd name="T39" fmla="*/ 1291 h 1494"/>
                  <a:gd name="T40" fmla="*/ 258 w 993"/>
                  <a:gd name="T41" fmla="*/ 1245 h 1494"/>
                  <a:gd name="T42" fmla="*/ 215 w 993"/>
                  <a:gd name="T43" fmla="*/ 1144 h 1494"/>
                  <a:gd name="T44" fmla="*/ 186 w 993"/>
                  <a:gd name="T45" fmla="*/ 1007 h 1494"/>
                  <a:gd name="T46" fmla="*/ 153 w 993"/>
                  <a:gd name="T47" fmla="*/ 771 h 1494"/>
                  <a:gd name="T48" fmla="*/ 121 w 993"/>
                  <a:gd name="T49" fmla="*/ 607 h 1494"/>
                  <a:gd name="T50" fmla="*/ 65 w 993"/>
                  <a:gd name="T51" fmla="*/ 449 h 1494"/>
                  <a:gd name="T52" fmla="*/ 12 w 993"/>
                  <a:gd name="T53" fmla="*/ 356 h 1494"/>
                  <a:gd name="T54" fmla="*/ 82 w 993"/>
                  <a:gd name="T55" fmla="*/ 370 h 1494"/>
                  <a:gd name="T56" fmla="*/ 217 w 993"/>
                  <a:gd name="T57" fmla="*/ 444 h 1494"/>
                  <a:gd name="T58" fmla="*/ 277 w 993"/>
                  <a:gd name="T59" fmla="*/ 448 h 1494"/>
                  <a:gd name="T60" fmla="*/ 306 w 993"/>
                  <a:gd name="T61" fmla="*/ 309 h 1494"/>
                  <a:gd name="T62" fmla="*/ 336 w 993"/>
                  <a:gd name="T63" fmla="*/ 218 h 1494"/>
                  <a:gd name="T64" fmla="*/ 382 w 993"/>
                  <a:gd name="T65" fmla="*/ 127 h 1494"/>
                  <a:gd name="T66" fmla="*/ 437 w 993"/>
                  <a:gd name="T67" fmla="*/ 59 h 1494"/>
                  <a:gd name="T68" fmla="*/ 500 w 993"/>
                  <a:gd name="T69" fmla="*/ 16 h 1494"/>
                  <a:gd name="T70" fmla="*/ 571 w 993"/>
                  <a:gd name="T71" fmla="*/ 0 h 1494"/>
                  <a:gd name="T72" fmla="*/ 667 w 993"/>
                  <a:gd name="T73" fmla="*/ 1031 h 1494"/>
                  <a:gd name="T74" fmla="*/ 629 w 993"/>
                  <a:gd name="T75" fmla="*/ 979 h 1494"/>
                  <a:gd name="T76" fmla="*/ 709 w 993"/>
                  <a:gd name="T77" fmla="*/ 876 h 1494"/>
                  <a:gd name="T78" fmla="*/ 655 w 993"/>
                  <a:gd name="T79" fmla="*/ 772 h 1494"/>
                  <a:gd name="T80" fmla="*/ 655 w 993"/>
                  <a:gd name="T81" fmla="*/ 721 h 1494"/>
                  <a:gd name="T82" fmla="*/ 728 w 993"/>
                  <a:gd name="T83" fmla="*/ 644 h 1494"/>
                  <a:gd name="T84" fmla="*/ 655 w 993"/>
                  <a:gd name="T85" fmla="*/ 515 h 1494"/>
                  <a:gd name="T86" fmla="*/ 714 w 993"/>
                  <a:gd name="T87" fmla="*/ 463 h 1494"/>
                  <a:gd name="T88" fmla="*/ 700 w 993"/>
                  <a:gd name="T89" fmla="*/ 386 h 1494"/>
                  <a:gd name="T90" fmla="*/ 603 w 993"/>
                  <a:gd name="T91" fmla="*/ 335 h 1494"/>
                  <a:gd name="T92" fmla="*/ 647 w 993"/>
                  <a:gd name="T93" fmla="*/ 234 h 1494"/>
                  <a:gd name="T94" fmla="*/ 603 w 993"/>
                  <a:gd name="T95" fmla="*/ 168 h 1494"/>
                  <a:gd name="T96" fmla="*/ 576 w 993"/>
                  <a:gd name="T97" fmla="*/ 153 h 1494"/>
                  <a:gd name="T98" fmla="*/ 559 w 993"/>
                  <a:gd name="T99" fmla="*/ 154 h 1494"/>
                  <a:gd name="T100" fmla="*/ 536 w 993"/>
                  <a:gd name="T101" fmla="*/ 170 h 1494"/>
                  <a:gd name="T102" fmla="*/ 488 w 993"/>
                  <a:gd name="T103" fmla="*/ 247 h 1494"/>
                  <a:gd name="T104" fmla="*/ 450 w 993"/>
                  <a:gd name="T105" fmla="*/ 353 h 1494"/>
                  <a:gd name="T106" fmla="*/ 418 w 993"/>
                  <a:gd name="T107" fmla="*/ 545 h 1494"/>
                  <a:gd name="T108" fmla="*/ 413 w 993"/>
                  <a:gd name="T109" fmla="*/ 660 h 1494"/>
                  <a:gd name="T110" fmla="*/ 464 w 993"/>
                  <a:gd name="T111" fmla="*/ 766 h 1494"/>
                  <a:gd name="T112" fmla="*/ 550 w 993"/>
                  <a:gd name="T113" fmla="*/ 1010 h 1494"/>
                  <a:gd name="T114" fmla="*/ 604 w 993"/>
                  <a:gd name="T115" fmla="*/ 1140 h 1494"/>
                  <a:gd name="T116" fmla="*/ 603 w 993"/>
                  <a:gd name="T117" fmla="*/ 1108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93" h="1494">
                    <a:moveTo>
                      <a:pt x="571" y="0"/>
                    </a:moveTo>
                    <a:lnTo>
                      <a:pt x="571" y="0"/>
                    </a:lnTo>
                    <a:lnTo>
                      <a:pt x="589" y="2"/>
                    </a:lnTo>
                    <a:lnTo>
                      <a:pt x="606" y="5"/>
                    </a:lnTo>
                    <a:lnTo>
                      <a:pt x="624" y="9"/>
                    </a:lnTo>
                    <a:lnTo>
                      <a:pt x="641" y="16"/>
                    </a:lnTo>
                    <a:lnTo>
                      <a:pt x="657" y="24"/>
                    </a:lnTo>
                    <a:lnTo>
                      <a:pt x="674" y="34"/>
                    </a:lnTo>
                    <a:lnTo>
                      <a:pt x="690" y="46"/>
                    </a:lnTo>
                    <a:lnTo>
                      <a:pt x="705" y="59"/>
                    </a:lnTo>
                    <a:lnTo>
                      <a:pt x="719" y="74"/>
                    </a:lnTo>
                    <a:lnTo>
                      <a:pt x="733" y="90"/>
                    </a:lnTo>
                    <a:lnTo>
                      <a:pt x="747" y="109"/>
                    </a:lnTo>
                    <a:lnTo>
                      <a:pt x="759" y="127"/>
                    </a:lnTo>
                    <a:lnTo>
                      <a:pt x="772" y="148"/>
                    </a:lnTo>
                    <a:lnTo>
                      <a:pt x="784" y="170"/>
                    </a:lnTo>
                    <a:lnTo>
                      <a:pt x="795" y="193"/>
                    </a:lnTo>
                    <a:lnTo>
                      <a:pt x="806" y="218"/>
                    </a:lnTo>
                    <a:lnTo>
                      <a:pt x="806" y="218"/>
                    </a:lnTo>
                    <a:lnTo>
                      <a:pt x="817" y="249"/>
                    </a:lnTo>
                    <a:lnTo>
                      <a:pt x="829" y="283"/>
                    </a:lnTo>
                    <a:lnTo>
                      <a:pt x="838" y="318"/>
                    </a:lnTo>
                    <a:lnTo>
                      <a:pt x="847" y="355"/>
                    </a:lnTo>
                    <a:lnTo>
                      <a:pt x="856" y="394"/>
                    </a:lnTo>
                    <a:lnTo>
                      <a:pt x="862" y="434"/>
                    </a:lnTo>
                    <a:lnTo>
                      <a:pt x="868" y="475"/>
                    </a:lnTo>
                    <a:lnTo>
                      <a:pt x="873" y="517"/>
                    </a:lnTo>
                    <a:lnTo>
                      <a:pt x="873" y="517"/>
                    </a:lnTo>
                    <a:lnTo>
                      <a:pt x="953" y="425"/>
                    </a:lnTo>
                    <a:lnTo>
                      <a:pt x="993" y="380"/>
                    </a:lnTo>
                    <a:lnTo>
                      <a:pt x="993" y="380"/>
                    </a:lnTo>
                    <a:lnTo>
                      <a:pt x="986" y="411"/>
                    </a:lnTo>
                    <a:lnTo>
                      <a:pt x="978" y="443"/>
                    </a:lnTo>
                    <a:lnTo>
                      <a:pt x="973" y="476"/>
                    </a:lnTo>
                    <a:lnTo>
                      <a:pt x="967" y="510"/>
                    </a:lnTo>
                    <a:lnTo>
                      <a:pt x="963" y="543"/>
                    </a:lnTo>
                    <a:lnTo>
                      <a:pt x="960" y="579"/>
                    </a:lnTo>
                    <a:lnTo>
                      <a:pt x="955" y="650"/>
                    </a:lnTo>
                    <a:lnTo>
                      <a:pt x="949" y="794"/>
                    </a:lnTo>
                    <a:lnTo>
                      <a:pt x="945" y="865"/>
                    </a:lnTo>
                    <a:lnTo>
                      <a:pt x="941" y="901"/>
                    </a:lnTo>
                    <a:lnTo>
                      <a:pt x="938" y="936"/>
                    </a:lnTo>
                    <a:lnTo>
                      <a:pt x="934" y="970"/>
                    </a:lnTo>
                    <a:lnTo>
                      <a:pt x="928" y="1004"/>
                    </a:lnTo>
                    <a:lnTo>
                      <a:pt x="923" y="1036"/>
                    </a:lnTo>
                    <a:lnTo>
                      <a:pt x="915" y="1068"/>
                    </a:lnTo>
                    <a:lnTo>
                      <a:pt x="906" y="1098"/>
                    </a:lnTo>
                    <a:lnTo>
                      <a:pt x="895" y="1127"/>
                    </a:lnTo>
                    <a:lnTo>
                      <a:pt x="883" y="1155"/>
                    </a:lnTo>
                    <a:lnTo>
                      <a:pt x="869" y="1182"/>
                    </a:lnTo>
                    <a:lnTo>
                      <a:pt x="853" y="1208"/>
                    </a:lnTo>
                    <a:lnTo>
                      <a:pt x="844" y="1220"/>
                    </a:lnTo>
                    <a:lnTo>
                      <a:pt x="835" y="1232"/>
                    </a:lnTo>
                    <a:lnTo>
                      <a:pt x="825" y="1243"/>
                    </a:lnTo>
                    <a:lnTo>
                      <a:pt x="814" y="1254"/>
                    </a:lnTo>
                    <a:lnTo>
                      <a:pt x="804" y="1263"/>
                    </a:lnTo>
                    <a:lnTo>
                      <a:pt x="792" y="1274"/>
                    </a:lnTo>
                    <a:lnTo>
                      <a:pt x="780" y="1283"/>
                    </a:lnTo>
                    <a:lnTo>
                      <a:pt x="767" y="1291"/>
                    </a:lnTo>
                    <a:lnTo>
                      <a:pt x="753" y="1300"/>
                    </a:lnTo>
                    <a:lnTo>
                      <a:pt x="739" y="1309"/>
                    </a:lnTo>
                    <a:lnTo>
                      <a:pt x="723" y="1315"/>
                    </a:lnTo>
                    <a:lnTo>
                      <a:pt x="708" y="1323"/>
                    </a:lnTo>
                    <a:lnTo>
                      <a:pt x="692" y="1328"/>
                    </a:lnTo>
                    <a:lnTo>
                      <a:pt x="675" y="1335"/>
                    </a:lnTo>
                    <a:lnTo>
                      <a:pt x="675" y="1494"/>
                    </a:lnTo>
                    <a:lnTo>
                      <a:pt x="447" y="1494"/>
                    </a:lnTo>
                    <a:lnTo>
                      <a:pt x="447" y="1368"/>
                    </a:lnTo>
                    <a:lnTo>
                      <a:pt x="447" y="1368"/>
                    </a:lnTo>
                    <a:lnTo>
                      <a:pt x="430" y="1365"/>
                    </a:lnTo>
                    <a:lnTo>
                      <a:pt x="412" y="1361"/>
                    </a:lnTo>
                    <a:lnTo>
                      <a:pt x="396" y="1355"/>
                    </a:lnTo>
                    <a:lnTo>
                      <a:pt x="381" y="1350"/>
                    </a:lnTo>
                    <a:lnTo>
                      <a:pt x="367" y="1343"/>
                    </a:lnTo>
                    <a:lnTo>
                      <a:pt x="353" y="1337"/>
                    </a:lnTo>
                    <a:lnTo>
                      <a:pt x="340" y="1329"/>
                    </a:lnTo>
                    <a:lnTo>
                      <a:pt x="328" y="1321"/>
                    </a:lnTo>
                    <a:lnTo>
                      <a:pt x="316" y="1311"/>
                    </a:lnTo>
                    <a:lnTo>
                      <a:pt x="305" y="1302"/>
                    </a:lnTo>
                    <a:lnTo>
                      <a:pt x="294" y="1291"/>
                    </a:lnTo>
                    <a:lnTo>
                      <a:pt x="284" y="1281"/>
                    </a:lnTo>
                    <a:lnTo>
                      <a:pt x="276" y="1270"/>
                    </a:lnTo>
                    <a:lnTo>
                      <a:pt x="267" y="1258"/>
                    </a:lnTo>
                    <a:lnTo>
                      <a:pt x="258" y="1245"/>
                    </a:lnTo>
                    <a:lnTo>
                      <a:pt x="251" y="1232"/>
                    </a:lnTo>
                    <a:lnTo>
                      <a:pt x="238" y="1205"/>
                    </a:lnTo>
                    <a:lnTo>
                      <a:pt x="226" y="1176"/>
                    </a:lnTo>
                    <a:lnTo>
                      <a:pt x="215" y="1144"/>
                    </a:lnTo>
                    <a:lnTo>
                      <a:pt x="206" y="1112"/>
                    </a:lnTo>
                    <a:lnTo>
                      <a:pt x="199" y="1078"/>
                    </a:lnTo>
                    <a:lnTo>
                      <a:pt x="192" y="1043"/>
                    </a:lnTo>
                    <a:lnTo>
                      <a:pt x="186" y="1007"/>
                    </a:lnTo>
                    <a:lnTo>
                      <a:pt x="180" y="969"/>
                    </a:lnTo>
                    <a:lnTo>
                      <a:pt x="169" y="891"/>
                    </a:lnTo>
                    <a:lnTo>
                      <a:pt x="159" y="811"/>
                    </a:lnTo>
                    <a:lnTo>
                      <a:pt x="153" y="771"/>
                    </a:lnTo>
                    <a:lnTo>
                      <a:pt x="147" y="730"/>
                    </a:lnTo>
                    <a:lnTo>
                      <a:pt x="139" y="689"/>
                    </a:lnTo>
                    <a:lnTo>
                      <a:pt x="130" y="648"/>
                    </a:lnTo>
                    <a:lnTo>
                      <a:pt x="121" y="607"/>
                    </a:lnTo>
                    <a:lnTo>
                      <a:pt x="110" y="567"/>
                    </a:lnTo>
                    <a:lnTo>
                      <a:pt x="97" y="527"/>
                    </a:lnTo>
                    <a:lnTo>
                      <a:pt x="82" y="488"/>
                    </a:lnTo>
                    <a:lnTo>
                      <a:pt x="65" y="449"/>
                    </a:lnTo>
                    <a:lnTo>
                      <a:pt x="46" y="411"/>
                    </a:lnTo>
                    <a:lnTo>
                      <a:pt x="35" y="392"/>
                    </a:lnTo>
                    <a:lnTo>
                      <a:pt x="24" y="375"/>
                    </a:lnTo>
                    <a:lnTo>
                      <a:pt x="12" y="356"/>
                    </a:lnTo>
                    <a:lnTo>
                      <a:pt x="0" y="338"/>
                    </a:lnTo>
                    <a:lnTo>
                      <a:pt x="0" y="338"/>
                    </a:lnTo>
                    <a:lnTo>
                      <a:pt x="42" y="354"/>
                    </a:lnTo>
                    <a:lnTo>
                      <a:pt x="82" y="370"/>
                    </a:lnTo>
                    <a:lnTo>
                      <a:pt x="119" y="388"/>
                    </a:lnTo>
                    <a:lnTo>
                      <a:pt x="154" y="406"/>
                    </a:lnTo>
                    <a:lnTo>
                      <a:pt x="187" y="424"/>
                    </a:lnTo>
                    <a:lnTo>
                      <a:pt x="217" y="444"/>
                    </a:lnTo>
                    <a:lnTo>
                      <a:pt x="245" y="464"/>
                    </a:lnTo>
                    <a:lnTo>
                      <a:pt x="271" y="486"/>
                    </a:lnTo>
                    <a:lnTo>
                      <a:pt x="271" y="486"/>
                    </a:lnTo>
                    <a:lnTo>
                      <a:pt x="277" y="448"/>
                    </a:lnTo>
                    <a:lnTo>
                      <a:pt x="282" y="411"/>
                    </a:lnTo>
                    <a:lnTo>
                      <a:pt x="290" y="376"/>
                    </a:lnTo>
                    <a:lnTo>
                      <a:pt x="297" y="341"/>
                    </a:lnTo>
                    <a:lnTo>
                      <a:pt x="306" y="309"/>
                    </a:lnTo>
                    <a:lnTo>
                      <a:pt x="315" y="276"/>
                    </a:lnTo>
                    <a:lnTo>
                      <a:pt x="325" y="246"/>
                    </a:lnTo>
                    <a:lnTo>
                      <a:pt x="336" y="218"/>
                    </a:lnTo>
                    <a:lnTo>
                      <a:pt x="336" y="218"/>
                    </a:lnTo>
                    <a:lnTo>
                      <a:pt x="346" y="193"/>
                    </a:lnTo>
                    <a:lnTo>
                      <a:pt x="358" y="170"/>
                    </a:lnTo>
                    <a:lnTo>
                      <a:pt x="369" y="148"/>
                    </a:lnTo>
                    <a:lnTo>
                      <a:pt x="382" y="127"/>
                    </a:lnTo>
                    <a:lnTo>
                      <a:pt x="395" y="109"/>
                    </a:lnTo>
                    <a:lnTo>
                      <a:pt x="408" y="90"/>
                    </a:lnTo>
                    <a:lnTo>
                      <a:pt x="422" y="74"/>
                    </a:lnTo>
                    <a:lnTo>
                      <a:pt x="437" y="59"/>
                    </a:lnTo>
                    <a:lnTo>
                      <a:pt x="451" y="46"/>
                    </a:lnTo>
                    <a:lnTo>
                      <a:pt x="468" y="34"/>
                    </a:lnTo>
                    <a:lnTo>
                      <a:pt x="484" y="24"/>
                    </a:lnTo>
                    <a:lnTo>
                      <a:pt x="500" y="16"/>
                    </a:lnTo>
                    <a:lnTo>
                      <a:pt x="517" y="9"/>
                    </a:lnTo>
                    <a:lnTo>
                      <a:pt x="535" y="5"/>
                    </a:lnTo>
                    <a:lnTo>
                      <a:pt x="552" y="2"/>
                    </a:lnTo>
                    <a:lnTo>
                      <a:pt x="571" y="0"/>
                    </a:lnTo>
                    <a:lnTo>
                      <a:pt x="571" y="0"/>
                    </a:lnTo>
                    <a:close/>
                    <a:moveTo>
                      <a:pt x="603" y="1031"/>
                    </a:moveTo>
                    <a:lnTo>
                      <a:pt x="667" y="1031"/>
                    </a:lnTo>
                    <a:lnTo>
                      <a:pt x="667" y="1031"/>
                    </a:lnTo>
                    <a:lnTo>
                      <a:pt x="676" y="1006"/>
                    </a:lnTo>
                    <a:lnTo>
                      <a:pt x="684" y="979"/>
                    </a:lnTo>
                    <a:lnTo>
                      <a:pt x="629" y="979"/>
                    </a:lnTo>
                    <a:lnTo>
                      <a:pt x="629" y="979"/>
                    </a:lnTo>
                    <a:lnTo>
                      <a:pt x="629" y="902"/>
                    </a:lnTo>
                    <a:lnTo>
                      <a:pt x="704" y="902"/>
                    </a:lnTo>
                    <a:lnTo>
                      <a:pt x="704" y="902"/>
                    </a:lnTo>
                    <a:lnTo>
                      <a:pt x="709" y="876"/>
                    </a:lnTo>
                    <a:lnTo>
                      <a:pt x="714" y="850"/>
                    </a:lnTo>
                    <a:lnTo>
                      <a:pt x="655" y="850"/>
                    </a:lnTo>
                    <a:lnTo>
                      <a:pt x="655" y="850"/>
                    </a:lnTo>
                    <a:lnTo>
                      <a:pt x="655" y="772"/>
                    </a:lnTo>
                    <a:lnTo>
                      <a:pt x="722" y="772"/>
                    </a:lnTo>
                    <a:lnTo>
                      <a:pt x="722" y="772"/>
                    </a:lnTo>
                    <a:lnTo>
                      <a:pt x="726" y="721"/>
                    </a:lnTo>
                    <a:lnTo>
                      <a:pt x="655" y="721"/>
                    </a:lnTo>
                    <a:lnTo>
                      <a:pt x="655" y="721"/>
                    </a:lnTo>
                    <a:lnTo>
                      <a:pt x="655" y="644"/>
                    </a:lnTo>
                    <a:lnTo>
                      <a:pt x="728" y="644"/>
                    </a:lnTo>
                    <a:lnTo>
                      <a:pt x="728" y="644"/>
                    </a:lnTo>
                    <a:lnTo>
                      <a:pt x="727" y="592"/>
                    </a:lnTo>
                    <a:lnTo>
                      <a:pt x="655" y="592"/>
                    </a:lnTo>
                    <a:lnTo>
                      <a:pt x="655" y="592"/>
                    </a:lnTo>
                    <a:lnTo>
                      <a:pt x="655" y="515"/>
                    </a:lnTo>
                    <a:lnTo>
                      <a:pt x="720" y="515"/>
                    </a:lnTo>
                    <a:lnTo>
                      <a:pt x="720" y="515"/>
                    </a:lnTo>
                    <a:lnTo>
                      <a:pt x="718" y="489"/>
                    </a:lnTo>
                    <a:lnTo>
                      <a:pt x="714" y="463"/>
                    </a:lnTo>
                    <a:lnTo>
                      <a:pt x="629" y="463"/>
                    </a:lnTo>
                    <a:lnTo>
                      <a:pt x="629" y="463"/>
                    </a:lnTo>
                    <a:lnTo>
                      <a:pt x="629" y="386"/>
                    </a:lnTo>
                    <a:lnTo>
                      <a:pt x="700" y="386"/>
                    </a:lnTo>
                    <a:lnTo>
                      <a:pt x="700" y="386"/>
                    </a:lnTo>
                    <a:lnTo>
                      <a:pt x="693" y="359"/>
                    </a:lnTo>
                    <a:lnTo>
                      <a:pt x="685" y="335"/>
                    </a:lnTo>
                    <a:lnTo>
                      <a:pt x="603" y="335"/>
                    </a:lnTo>
                    <a:lnTo>
                      <a:pt x="603" y="257"/>
                    </a:lnTo>
                    <a:lnTo>
                      <a:pt x="658" y="257"/>
                    </a:lnTo>
                    <a:lnTo>
                      <a:pt x="658" y="257"/>
                    </a:lnTo>
                    <a:lnTo>
                      <a:pt x="647" y="234"/>
                    </a:lnTo>
                    <a:lnTo>
                      <a:pt x="637" y="213"/>
                    </a:lnTo>
                    <a:lnTo>
                      <a:pt x="626" y="195"/>
                    </a:lnTo>
                    <a:lnTo>
                      <a:pt x="614" y="180"/>
                    </a:lnTo>
                    <a:lnTo>
                      <a:pt x="603" y="168"/>
                    </a:lnTo>
                    <a:lnTo>
                      <a:pt x="592" y="159"/>
                    </a:lnTo>
                    <a:lnTo>
                      <a:pt x="587" y="156"/>
                    </a:lnTo>
                    <a:lnTo>
                      <a:pt x="581" y="154"/>
                    </a:lnTo>
                    <a:lnTo>
                      <a:pt x="576" y="153"/>
                    </a:lnTo>
                    <a:lnTo>
                      <a:pt x="571" y="152"/>
                    </a:lnTo>
                    <a:lnTo>
                      <a:pt x="571" y="152"/>
                    </a:lnTo>
                    <a:lnTo>
                      <a:pt x="565" y="153"/>
                    </a:lnTo>
                    <a:lnTo>
                      <a:pt x="559" y="154"/>
                    </a:lnTo>
                    <a:lnTo>
                      <a:pt x="553" y="157"/>
                    </a:lnTo>
                    <a:lnTo>
                      <a:pt x="548" y="160"/>
                    </a:lnTo>
                    <a:lnTo>
                      <a:pt x="541" y="165"/>
                    </a:lnTo>
                    <a:lnTo>
                      <a:pt x="536" y="170"/>
                    </a:lnTo>
                    <a:lnTo>
                      <a:pt x="523" y="184"/>
                    </a:lnTo>
                    <a:lnTo>
                      <a:pt x="511" y="203"/>
                    </a:lnTo>
                    <a:lnTo>
                      <a:pt x="499" y="223"/>
                    </a:lnTo>
                    <a:lnTo>
                      <a:pt x="488" y="247"/>
                    </a:lnTo>
                    <a:lnTo>
                      <a:pt x="476" y="274"/>
                    </a:lnTo>
                    <a:lnTo>
                      <a:pt x="476" y="274"/>
                    </a:lnTo>
                    <a:lnTo>
                      <a:pt x="462" y="312"/>
                    </a:lnTo>
                    <a:lnTo>
                      <a:pt x="450" y="353"/>
                    </a:lnTo>
                    <a:lnTo>
                      <a:pt x="439" y="397"/>
                    </a:lnTo>
                    <a:lnTo>
                      <a:pt x="431" y="444"/>
                    </a:lnTo>
                    <a:lnTo>
                      <a:pt x="423" y="494"/>
                    </a:lnTo>
                    <a:lnTo>
                      <a:pt x="418" y="545"/>
                    </a:lnTo>
                    <a:lnTo>
                      <a:pt x="414" y="599"/>
                    </a:lnTo>
                    <a:lnTo>
                      <a:pt x="413" y="655"/>
                    </a:lnTo>
                    <a:lnTo>
                      <a:pt x="413" y="660"/>
                    </a:lnTo>
                    <a:lnTo>
                      <a:pt x="413" y="660"/>
                    </a:lnTo>
                    <a:lnTo>
                      <a:pt x="427" y="686"/>
                    </a:lnTo>
                    <a:lnTo>
                      <a:pt x="440" y="712"/>
                    </a:lnTo>
                    <a:lnTo>
                      <a:pt x="452" y="739"/>
                    </a:lnTo>
                    <a:lnTo>
                      <a:pt x="464" y="766"/>
                    </a:lnTo>
                    <a:lnTo>
                      <a:pt x="487" y="823"/>
                    </a:lnTo>
                    <a:lnTo>
                      <a:pt x="508" y="883"/>
                    </a:lnTo>
                    <a:lnTo>
                      <a:pt x="528" y="945"/>
                    </a:lnTo>
                    <a:lnTo>
                      <a:pt x="550" y="1010"/>
                    </a:lnTo>
                    <a:lnTo>
                      <a:pt x="572" y="1077"/>
                    </a:lnTo>
                    <a:lnTo>
                      <a:pt x="595" y="1148"/>
                    </a:lnTo>
                    <a:lnTo>
                      <a:pt x="595" y="1148"/>
                    </a:lnTo>
                    <a:lnTo>
                      <a:pt x="604" y="1140"/>
                    </a:lnTo>
                    <a:lnTo>
                      <a:pt x="613" y="1130"/>
                    </a:lnTo>
                    <a:lnTo>
                      <a:pt x="620" y="1121"/>
                    </a:lnTo>
                    <a:lnTo>
                      <a:pt x="629" y="1108"/>
                    </a:lnTo>
                    <a:lnTo>
                      <a:pt x="603" y="1108"/>
                    </a:lnTo>
                    <a:lnTo>
                      <a:pt x="603" y="103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6B82A224-2B43-4E0B-925A-C6DCA50CFEBD}"/>
                </a:ext>
              </a:extLst>
            </p:cNvPr>
            <p:cNvGrpSpPr/>
            <p:nvPr/>
          </p:nvGrpSpPr>
          <p:grpSpPr>
            <a:xfrm>
              <a:off x="6281264" y="4738140"/>
              <a:ext cx="168455" cy="162849"/>
              <a:chOff x="11694227" y="1950379"/>
              <a:chExt cx="156960" cy="128647"/>
            </a:xfrm>
          </p:grpSpPr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BBB0E6D5-B565-439E-906A-7684A617C548}"/>
                  </a:ext>
                </a:extLst>
              </p:cNvPr>
              <p:cNvSpPr/>
              <p:nvPr/>
            </p:nvSpPr>
            <p:spPr bwMode="ltGray">
              <a:xfrm>
                <a:off x="11694227" y="1950379"/>
                <a:ext cx="156960" cy="128647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3175">
                <a:solidFill>
                  <a:srgbClr val="968C6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33" name="Freeform 325">
                <a:extLst>
                  <a:ext uri="{FF2B5EF4-FFF2-40B4-BE49-F238E27FC236}">
                    <a16:creationId xmlns:a16="http://schemas.microsoft.com/office/drawing/2014/main" id="{424CE1FC-51DD-4A7E-BB3D-042D19F8B3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32196" y="1964520"/>
                <a:ext cx="81022" cy="99778"/>
              </a:xfrm>
              <a:custGeom>
                <a:avLst/>
                <a:gdLst>
                  <a:gd name="T0" fmla="*/ 606 w 993"/>
                  <a:gd name="T1" fmla="*/ 5 h 1494"/>
                  <a:gd name="T2" fmla="*/ 674 w 993"/>
                  <a:gd name="T3" fmla="*/ 34 h 1494"/>
                  <a:gd name="T4" fmla="*/ 733 w 993"/>
                  <a:gd name="T5" fmla="*/ 90 h 1494"/>
                  <a:gd name="T6" fmla="*/ 784 w 993"/>
                  <a:gd name="T7" fmla="*/ 170 h 1494"/>
                  <a:gd name="T8" fmla="*/ 817 w 993"/>
                  <a:gd name="T9" fmla="*/ 249 h 1494"/>
                  <a:gd name="T10" fmla="*/ 856 w 993"/>
                  <a:gd name="T11" fmla="*/ 394 h 1494"/>
                  <a:gd name="T12" fmla="*/ 873 w 993"/>
                  <a:gd name="T13" fmla="*/ 517 h 1494"/>
                  <a:gd name="T14" fmla="*/ 986 w 993"/>
                  <a:gd name="T15" fmla="*/ 411 h 1494"/>
                  <a:gd name="T16" fmla="*/ 963 w 993"/>
                  <a:gd name="T17" fmla="*/ 543 h 1494"/>
                  <a:gd name="T18" fmla="*/ 945 w 993"/>
                  <a:gd name="T19" fmla="*/ 865 h 1494"/>
                  <a:gd name="T20" fmla="*/ 928 w 993"/>
                  <a:gd name="T21" fmla="*/ 1004 h 1494"/>
                  <a:gd name="T22" fmla="*/ 895 w 993"/>
                  <a:gd name="T23" fmla="*/ 1127 h 1494"/>
                  <a:gd name="T24" fmla="*/ 844 w 993"/>
                  <a:gd name="T25" fmla="*/ 1220 h 1494"/>
                  <a:gd name="T26" fmla="*/ 804 w 993"/>
                  <a:gd name="T27" fmla="*/ 1263 h 1494"/>
                  <a:gd name="T28" fmla="*/ 753 w 993"/>
                  <a:gd name="T29" fmla="*/ 1300 h 1494"/>
                  <a:gd name="T30" fmla="*/ 692 w 993"/>
                  <a:gd name="T31" fmla="*/ 1328 h 1494"/>
                  <a:gd name="T32" fmla="*/ 447 w 993"/>
                  <a:gd name="T33" fmla="*/ 1368 h 1494"/>
                  <a:gd name="T34" fmla="*/ 396 w 993"/>
                  <a:gd name="T35" fmla="*/ 1355 h 1494"/>
                  <a:gd name="T36" fmla="*/ 340 w 993"/>
                  <a:gd name="T37" fmla="*/ 1329 h 1494"/>
                  <a:gd name="T38" fmla="*/ 294 w 993"/>
                  <a:gd name="T39" fmla="*/ 1291 h 1494"/>
                  <a:gd name="T40" fmla="*/ 258 w 993"/>
                  <a:gd name="T41" fmla="*/ 1245 h 1494"/>
                  <a:gd name="T42" fmla="*/ 215 w 993"/>
                  <a:gd name="T43" fmla="*/ 1144 h 1494"/>
                  <a:gd name="T44" fmla="*/ 186 w 993"/>
                  <a:gd name="T45" fmla="*/ 1007 h 1494"/>
                  <a:gd name="T46" fmla="*/ 153 w 993"/>
                  <a:gd name="T47" fmla="*/ 771 h 1494"/>
                  <a:gd name="T48" fmla="*/ 121 w 993"/>
                  <a:gd name="T49" fmla="*/ 607 h 1494"/>
                  <a:gd name="T50" fmla="*/ 65 w 993"/>
                  <a:gd name="T51" fmla="*/ 449 h 1494"/>
                  <a:gd name="T52" fmla="*/ 12 w 993"/>
                  <a:gd name="T53" fmla="*/ 356 h 1494"/>
                  <a:gd name="T54" fmla="*/ 82 w 993"/>
                  <a:gd name="T55" fmla="*/ 370 h 1494"/>
                  <a:gd name="T56" fmla="*/ 217 w 993"/>
                  <a:gd name="T57" fmla="*/ 444 h 1494"/>
                  <a:gd name="T58" fmla="*/ 277 w 993"/>
                  <a:gd name="T59" fmla="*/ 448 h 1494"/>
                  <a:gd name="T60" fmla="*/ 306 w 993"/>
                  <a:gd name="T61" fmla="*/ 309 h 1494"/>
                  <a:gd name="T62" fmla="*/ 336 w 993"/>
                  <a:gd name="T63" fmla="*/ 218 h 1494"/>
                  <a:gd name="T64" fmla="*/ 382 w 993"/>
                  <a:gd name="T65" fmla="*/ 127 h 1494"/>
                  <a:gd name="T66" fmla="*/ 437 w 993"/>
                  <a:gd name="T67" fmla="*/ 59 h 1494"/>
                  <a:gd name="T68" fmla="*/ 500 w 993"/>
                  <a:gd name="T69" fmla="*/ 16 h 1494"/>
                  <a:gd name="T70" fmla="*/ 571 w 993"/>
                  <a:gd name="T71" fmla="*/ 0 h 1494"/>
                  <a:gd name="T72" fmla="*/ 667 w 993"/>
                  <a:gd name="T73" fmla="*/ 1031 h 1494"/>
                  <a:gd name="T74" fmla="*/ 629 w 993"/>
                  <a:gd name="T75" fmla="*/ 979 h 1494"/>
                  <a:gd name="T76" fmla="*/ 709 w 993"/>
                  <a:gd name="T77" fmla="*/ 876 h 1494"/>
                  <a:gd name="T78" fmla="*/ 655 w 993"/>
                  <a:gd name="T79" fmla="*/ 772 h 1494"/>
                  <a:gd name="T80" fmla="*/ 655 w 993"/>
                  <a:gd name="T81" fmla="*/ 721 h 1494"/>
                  <a:gd name="T82" fmla="*/ 728 w 993"/>
                  <a:gd name="T83" fmla="*/ 644 h 1494"/>
                  <a:gd name="T84" fmla="*/ 655 w 993"/>
                  <a:gd name="T85" fmla="*/ 515 h 1494"/>
                  <a:gd name="T86" fmla="*/ 714 w 993"/>
                  <a:gd name="T87" fmla="*/ 463 h 1494"/>
                  <a:gd name="T88" fmla="*/ 700 w 993"/>
                  <a:gd name="T89" fmla="*/ 386 h 1494"/>
                  <a:gd name="T90" fmla="*/ 603 w 993"/>
                  <a:gd name="T91" fmla="*/ 335 h 1494"/>
                  <a:gd name="T92" fmla="*/ 647 w 993"/>
                  <a:gd name="T93" fmla="*/ 234 h 1494"/>
                  <a:gd name="T94" fmla="*/ 603 w 993"/>
                  <a:gd name="T95" fmla="*/ 168 h 1494"/>
                  <a:gd name="T96" fmla="*/ 576 w 993"/>
                  <a:gd name="T97" fmla="*/ 153 h 1494"/>
                  <a:gd name="T98" fmla="*/ 559 w 993"/>
                  <a:gd name="T99" fmla="*/ 154 h 1494"/>
                  <a:gd name="T100" fmla="*/ 536 w 993"/>
                  <a:gd name="T101" fmla="*/ 170 h 1494"/>
                  <a:gd name="T102" fmla="*/ 488 w 993"/>
                  <a:gd name="T103" fmla="*/ 247 h 1494"/>
                  <a:gd name="T104" fmla="*/ 450 w 993"/>
                  <a:gd name="T105" fmla="*/ 353 h 1494"/>
                  <a:gd name="T106" fmla="*/ 418 w 993"/>
                  <a:gd name="T107" fmla="*/ 545 h 1494"/>
                  <a:gd name="T108" fmla="*/ 413 w 993"/>
                  <a:gd name="T109" fmla="*/ 660 h 1494"/>
                  <a:gd name="T110" fmla="*/ 464 w 993"/>
                  <a:gd name="T111" fmla="*/ 766 h 1494"/>
                  <a:gd name="T112" fmla="*/ 550 w 993"/>
                  <a:gd name="T113" fmla="*/ 1010 h 1494"/>
                  <a:gd name="T114" fmla="*/ 604 w 993"/>
                  <a:gd name="T115" fmla="*/ 1140 h 1494"/>
                  <a:gd name="T116" fmla="*/ 603 w 993"/>
                  <a:gd name="T117" fmla="*/ 1108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93" h="1494">
                    <a:moveTo>
                      <a:pt x="571" y="0"/>
                    </a:moveTo>
                    <a:lnTo>
                      <a:pt x="571" y="0"/>
                    </a:lnTo>
                    <a:lnTo>
                      <a:pt x="589" y="2"/>
                    </a:lnTo>
                    <a:lnTo>
                      <a:pt x="606" y="5"/>
                    </a:lnTo>
                    <a:lnTo>
                      <a:pt x="624" y="9"/>
                    </a:lnTo>
                    <a:lnTo>
                      <a:pt x="641" y="16"/>
                    </a:lnTo>
                    <a:lnTo>
                      <a:pt x="657" y="24"/>
                    </a:lnTo>
                    <a:lnTo>
                      <a:pt x="674" y="34"/>
                    </a:lnTo>
                    <a:lnTo>
                      <a:pt x="690" y="46"/>
                    </a:lnTo>
                    <a:lnTo>
                      <a:pt x="705" y="59"/>
                    </a:lnTo>
                    <a:lnTo>
                      <a:pt x="719" y="74"/>
                    </a:lnTo>
                    <a:lnTo>
                      <a:pt x="733" y="90"/>
                    </a:lnTo>
                    <a:lnTo>
                      <a:pt x="747" y="109"/>
                    </a:lnTo>
                    <a:lnTo>
                      <a:pt x="759" y="127"/>
                    </a:lnTo>
                    <a:lnTo>
                      <a:pt x="772" y="148"/>
                    </a:lnTo>
                    <a:lnTo>
                      <a:pt x="784" y="170"/>
                    </a:lnTo>
                    <a:lnTo>
                      <a:pt x="795" y="193"/>
                    </a:lnTo>
                    <a:lnTo>
                      <a:pt x="806" y="218"/>
                    </a:lnTo>
                    <a:lnTo>
                      <a:pt x="806" y="218"/>
                    </a:lnTo>
                    <a:lnTo>
                      <a:pt x="817" y="249"/>
                    </a:lnTo>
                    <a:lnTo>
                      <a:pt x="829" y="283"/>
                    </a:lnTo>
                    <a:lnTo>
                      <a:pt x="838" y="318"/>
                    </a:lnTo>
                    <a:lnTo>
                      <a:pt x="847" y="355"/>
                    </a:lnTo>
                    <a:lnTo>
                      <a:pt x="856" y="394"/>
                    </a:lnTo>
                    <a:lnTo>
                      <a:pt x="862" y="434"/>
                    </a:lnTo>
                    <a:lnTo>
                      <a:pt x="868" y="475"/>
                    </a:lnTo>
                    <a:lnTo>
                      <a:pt x="873" y="517"/>
                    </a:lnTo>
                    <a:lnTo>
                      <a:pt x="873" y="517"/>
                    </a:lnTo>
                    <a:lnTo>
                      <a:pt x="953" y="425"/>
                    </a:lnTo>
                    <a:lnTo>
                      <a:pt x="993" y="380"/>
                    </a:lnTo>
                    <a:lnTo>
                      <a:pt x="993" y="380"/>
                    </a:lnTo>
                    <a:lnTo>
                      <a:pt x="986" y="411"/>
                    </a:lnTo>
                    <a:lnTo>
                      <a:pt x="978" y="443"/>
                    </a:lnTo>
                    <a:lnTo>
                      <a:pt x="973" y="476"/>
                    </a:lnTo>
                    <a:lnTo>
                      <a:pt x="967" y="510"/>
                    </a:lnTo>
                    <a:lnTo>
                      <a:pt x="963" y="543"/>
                    </a:lnTo>
                    <a:lnTo>
                      <a:pt x="960" y="579"/>
                    </a:lnTo>
                    <a:lnTo>
                      <a:pt x="955" y="650"/>
                    </a:lnTo>
                    <a:lnTo>
                      <a:pt x="949" y="794"/>
                    </a:lnTo>
                    <a:lnTo>
                      <a:pt x="945" y="865"/>
                    </a:lnTo>
                    <a:lnTo>
                      <a:pt x="941" y="901"/>
                    </a:lnTo>
                    <a:lnTo>
                      <a:pt x="938" y="936"/>
                    </a:lnTo>
                    <a:lnTo>
                      <a:pt x="934" y="970"/>
                    </a:lnTo>
                    <a:lnTo>
                      <a:pt x="928" y="1004"/>
                    </a:lnTo>
                    <a:lnTo>
                      <a:pt x="923" y="1036"/>
                    </a:lnTo>
                    <a:lnTo>
                      <a:pt x="915" y="1068"/>
                    </a:lnTo>
                    <a:lnTo>
                      <a:pt x="906" y="1098"/>
                    </a:lnTo>
                    <a:lnTo>
                      <a:pt x="895" y="1127"/>
                    </a:lnTo>
                    <a:lnTo>
                      <a:pt x="883" y="1155"/>
                    </a:lnTo>
                    <a:lnTo>
                      <a:pt x="869" y="1182"/>
                    </a:lnTo>
                    <a:lnTo>
                      <a:pt x="853" y="1208"/>
                    </a:lnTo>
                    <a:lnTo>
                      <a:pt x="844" y="1220"/>
                    </a:lnTo>
                    <a:lnTo>
                      <a:pt x="835" y="1232"/>
                    </a:lnTo>
                    <a:lnTo>
                      <a:pt x="825" y="1243"/>
                    </a:lnTo>
                    <a:lnTo>
                      <a:pt x="814" y="1254"/>
                    </a:lnTo>
                    <a:lnTo>
                      <a:pt x="804" y="1263"/>
                    </a:lnTo>
                    <a:lnTo>
                      <a:pt x="792" y="1274"/>
                    </a:lnTo>
                    <a:lnTo>
                      <a:pt x="780" y="1283"/>
                    </a:lnTo>
                    <a:lnTo>
                      <a:pt x="767" y="1291"/>
                    </a:lnTo>
                    <a:lnTo>
                      <a:pt x="753" y="1300"/>
                    </a:lnTo>
                    <a:lnTo>
                      <a:pt x="739" y="1309"/>
                    </a:lnTo>
                    <a:lnTo>
                      <a:pt x="723" y="1315"/>
                    </a:lnTo>
                    <a:lnTo>
                      <a:pt x="708" y="1323"/>
                    </a:lnTo>
                    <a:lnTo>
                      <a:pt x="692" y="1328"/>
                    </a:lnTo>
                    <a:lnTo>
                      <a:pt x="675" y="1335"/>
                    </a:lnTo>
                    <a:lnTo>
                      <a:pt x="675" y="1494"/>
                    </a:lnTo>
                    <a:lnTo>
                      <a:pt x="447" y="1494"/>
                    </a:lnTo>
                    <a:lnTo>
                      <a:pt x="447" y="1368"/>
                    </a:lnTo>
                    <a:lnTo>
                      <a:pt x="447" y="1368"/>
                    </a:lnTo>
                    <a:lnTo>
                      <a:pt x="430" y="1365"/>
                    </a:lnTo>
                    <a:lnTo>
                      <a:pt x="412" y="1361"/>
                    </a:lnTo>
                    <a:lnTo>
                      <a:pt x="396" y="1355"/>
                    </a:lnTo>
                    <a:lnTo>
                      <a:pt x="381" y="1350"/>
                    </a:lnTo>
                    <a:lnTo>
                      <a:pt x="367" y="1343"/>
                    </a:lnTo>
                    <a:lnTo>
                      <a:pt x="353" y="1337"/>
                    </a:lnTo>
                    <a:lnTo>
                      <a:pt x="340" y="1329"/>
                    </a:lnTo>
                    <a:lnTo>
                      <a:pt x="328" y="1321"/>
                    </a:lnTo>
                    <a:lnTo>
                      <a:pt x="316" y="1311"/>
                    </a:lnTo>
                    <a:lnTo>
                      <a:pt x="305" y="1302"/>
                    </a:lnTo>
                    <a:lnTo>
                      <a:pt x="294" y="1291"/>
                    </a:lnTo>
                    <a:lnTo>
                      <a:pt x="284" y="1281"/>
                    </a:lnTo>
                    <a:lnTo>
                      <a:pt x="276" y="1270"/>
                    </a:lnTo>
                    <a:lnTo>
                      <a:pt x="267" y="1258"/>
                    </a:lnTo>
                    <a:lnTo>
                      <a:pt x="258" y="1245"/>
                    </a:lnTo>
                    <a:lnTo>
                      <a:pt x="251" y="1232"/>
                    </a:lnTo>
                    <a:lnTo>
                      <a:pt x="238" y="1205"/>
                    </a:lnTo>
                    <a:lnTo>
                      <a:pt x="226" y="1176"/>
                    </a:lnTo>
                    <a:lnTo>
                      <a:pt x="215" y="1144"/>
                    </a:lnTo>
                    <a:lnTo>
                      <a:pt x="206" y="1112"/>
                    </a:lnTo>
                    <a:lnTo>
                      <a:pt x="199" y="1078"/>
                    </a:lnTo>
                    <a:lnTo>
                      <a:pt x="192" y="1043"/>
                    </a:lnTo>
                    <a:lnTo>
                      <a:pt x="186" y="1007"/>
                    </a:lnTo>
                    <a:lnTo>
                      <a:pt x="180" y="969"/>
                    </a:lnTo>
                    <a:lnTo>
                      <a:pt x="169" y="891"/>
                    </a:lnTo>
                    <a:lnTo>
                      <a:pt x="159" y="811"/>
                    </a:lnTo>
                    <a:lnTo>
                      <a:pt x="153" y="771"/>
                    </a:lnTo>
                    <a:lnTo>
                      <a:pt x="147" y="730"/>
                    </a:lnTo>
                    <a:lnTo>
                      <a:pt x="139" y="689"/>
                    </a:lnTo>
                    <a:lnTo>
                      <a:pt x="130" y="648"/>
                    </a:lnTo>
                    <a:lnTo>
                      <a:pt x="121" y="607"/>
                    </a:lnTo>
                    <a:lnTo>
                      <a:pt x="110" y="567"/>
                    </a:lnTo>
                    <a:lnTo>
                      <a:pt x="97" y="527"/>
                    </a:lnTo>
                    <a:lnTo>
                      <a:pt x="82" y="488"/>
                    </a:lnTo>
                    <a:lnTo>
                      <a:pt x="65" y="449"/>
                    </a:lnTo>
                    <a:lnTo>
                      <a:pt x="46" y="411"/>
                    </a:lnTo>
                    <a:lnTo>
                      <a:pt x="35" y="392"/>
                    </a:lnTo>
                    <a:lnTo>
                      <a:pt x="24" y="375"/>
                    </a:lnTo>
                    <a:lnTo>
                      <a:pt x="12" y="356"/>
                    </a:lnTo>
                    <a:lnTo>
                      <a:pt x="0" y="338"/>
                    </a:lnTo>
                    <a:lnTo>
                      <a:pt x="0" y="338"/>
                    </a:lnTo>
                    <a:lnTo>
                      <a:pt x="42" y="354"/>
                    </a:lnTo>
                    <a:lnTo>
                      <a:pt x="82" y="370"/>
                    </a:lnTo>
                    <a:lnTo>
                      <a:pt x="119" y="388"/>
                    </a:lnTo>
                    <a:lnTo>
                      <a:pt x="154" y="406"/>
                    </a:lnTo>
                    <a:lnTo>
                      <a:pt x="187" y="424"/>
                    </a:lnTo>
                    <a:lnTo>
                      <a:pt x="217" y="444"/>
                    </a:lnTo>
                    <a:lnTo>
                      <a:pt x="245" y="464"/>
                    </a:lnTo>
                    <a:lnTo>
                      <a:pt x="271" y="486"/>
                    </a:lnTo>
                    <a:lnTo>
                      <a:pt x="271" y="486"/>
                    </a:lnTo>
                    <a:lnTo>
                      <a:pt x="277" y="448"/>
                    </a:lnTo>
                    <a:lnTo>
                      <a:pt x="282" y="411"/>
                    </a:lnTo>
                    <a:lnTo>
                      <a:pt x="290" y="376"/>
                    </a:lnTo>
                    <a:lnTo>
                      <a:pt x="297" y="341"/>
                    </a:lnTo>
                    <a:lnTo>
                      <a:pt x="306" y="309"/>
                    </a:lnTo>
                    <a:lnTo>
                      <a:pt x="315" y="276"/>
                    </a:lnTo>
                    <a:lnTo>
                      <a:pt x="325" y="246"/>
                    </a:lnTo>
                    <a:lnTo>
                      <a:pt x="336" y="218"/>
                    </a:lnTo>
                    <a:lnTo>
                      <a:pt x="336" y="218"/>
                    </a:lnTo>
                    <a:lnTo>
                      <a:pt x="346" y="193"/>
                    </a:lnTo>
                    <a:lnTo>
                      <a:pt x="358" y="170"/>
                    </a:lnTo>
                    <a:lnTo>
                      <a:pt x="369" y="148"/>
                    </a:lnTo>
                    <a:lnTo>
                      <a:pt x="382" y="127"/>
                    </a:lnTo>
                    <a:lnTo>
                      <a:pt x="395" y="109"/>
                    </a:lnTo>
                    <a:lnTo>
                      <a:pt x="408" y="90"/>
                    </a:lnTo>
                    <a:lnTo>
                      <a:pt x="422" y="74"/>
                    </a:lnTo>
                    <a:lnTo>
                      <a:pt x="437" y="59"/>
                    </a:lnTo>
                    <a:lnTo>
                      <a:pt x="451" y="46"/>
                    </a:lnTo>
                    <a:lnTo>
                      <a:pt x="468" y="34"/>
                    </a:lnTo>
                    <a:lnTo>
                      <a:pt x="484" y="24"/>
                    </a:lnTo>
                    <a:lnTo>
                      <a:pt x="500" y="16"/>
                    </a:lnTo>
                    <a:lnTo>
                      <a:pt x="517" y="9"/>
                    </a:lnTo>
                    <a:lnTo>
                      <a:pt x="535" y="5"/>
                    </a:lnTo>
                    <a:lnTo>
                      <a:pt x="552" y="2"/>
                    </a:lnTo>
                    <a:lnTo>
                      <a:pt x="571" y="0"/>
                    </a:lnTo>
                    <a:lnTo>
                      <a:pt x="571" y="0"/>
                    </a:lnTo>
                    <a:close/>
                    <a:moveTo>
                      <a:pt x="603" y="1031"/>
                    </a:moveTo>
                    <a:lnTo>
                      <a:pt x="667" y="1031"/>
                    </a:lnTo>
                    <a:lnTo>
                      <a:pt x="667" y="1031"/>
                    </a:lnTo>
                    <a:lnTo>
                      <a:pt x="676" y="1006"/>
                    </a:lnTo>
                    <a:lnTo>
                      <a:pt x="684" y="979"/>
                    </a:lnTo>
                    <a:lnTo>
                      <a:pt x="629" y="979"/>
                    </a:lnTo>
                    <a:lnTo>
                      <a:pt x="629" y="979"/>
                    </a:lnTo>
                    <a:lnTo>
                      <a:pt x="629" y="902"/>
                    </a:lnTo>
                    <a:lnTo>
                      <a:pt x="704" y="902"/>
                    </a:lnTo>
                    <a:lnTo>
                      <a:pt x="704" y="902"/>
                    </a:lnTo>
                    <a:lnTo>
                      <a:pt x="709" y="876"/>
                    </a:lnTo>
                    <a:lnTo>
                      <a:pt x="714" y="850"/>
                    </a:lnTo>
                    <a:lnTo>
                      <a:pt x="655" y="850"/>
                    </a:lnTo>
                    <a:lnTo>
                      <a:pt x="655" y="850"/>
                    </a:lnTo>
                    <a:lnTo>
                      <a:pt x="655" y="772"/>
                    </a:lnTo>
                    <a:lnTo>
                      <a:pt x="722" y="772"/>
                    </a:lnTo>
                    <a:lnTo>
                      <a:pt x="722" y="772"/>
                    </a:lnTo>
                    <a:lnTo>
                      <a:pt x="726" y="721"/>
                    </a:lnTo>
                    <a:lnTo>
                      <a:pt x="655" y="721"/>
                    </a:lnTo>
                    <a:lnTo>
                      <a:pt x="655" y="721"/>
                    </a:lnTo>
                    <a:lnTo>
                      <a:pt x="655" y="644"/>
                    </a:lnTo>
                    <a:lnTo>
                      <a:pt x="728" y="644"/>
                    </a:lnTo>
                    <a:lnTo>
                      <a:pt x="728" y="644"/>
                    </a:lnTo>
                    <a:lnTo>
                      <a:pt x="727" y="592"/>
                    </a:lnTo>
                    <a:lnTo>
                      <a:pt x="655" y="592"/>
                    </a:lnTo>
                    <a:lnTo>
                      <a:pt x="655" y="592"/>
                    </a:lnTo>
                    <a:lnTo>
                      <a:pt x="655" y="515"/>
                    </a:lnTo>
                    <a:lnTo>
                      <a:pt x="720" y="515"/>
                    </a:lnTo>
                    <a:lnTo>
                      <a:pt x="720" y="515"/>
                    </a:lnTo>
                    <a:lnTo>
                      <a:pt x="718" y="489"/>
                    </a:lnTo>
                    <a:lnTo>
                      <a:pt x="714" y="463"/>
                    </a:lnTo>
                    <a:lnTo>
                      <a:pt x="629" y="463"/>
                    </a:lnTo>
                    <a:lnTo>
                      <a:pt x="629" y="463"/>
                    </a:lnTo>
                    <a:lnTo>
                      <a:pt x="629" y="386"/>
                    </a:lnTo>
                    <a:lnTo>
                      <a:pt x="700" y="386"/>
                    </a:lnTo>
                    <a:lnTo>
                      <a:pt x="700" y="386"/>
                    </a:lnTo>
                    <a:lnTo>
                      <a:pt x="693" y="359"/>
                    </a:lnTo>
                    <a:lnTo>
                      <a:pt x="685" y="335"/>
                    </a:lnTo>
                    <a:lnTo>
                      <a:pt x="603" y="335"/>
                    </a:lnTo>
                    <a:lnTo>
                      <a:pt x="603" y="257"/>
                    </a:lnTo>
                    <a:lnTo>
                      <a:pt x="658" y="257"/>
                    </a:lnTo>
                    <a:lnTo>
                      <a:pt x="658" y="257"/>
                    </a:lnTo>
                    <a:lnTo>
                      <a:pt x="647" y="234"/>
                    </a:lnTo>
                    <a:lnTo>
                      <a:pt x="637" y="213"/>
                    </a:lnTo>
                    <a:lnTo>
                      <a:pt x="626" y="195"/>
                    </a:lnTo>
                    <a:lnTo>
                      <a:pt x="614" y="180"/>
                    </a:lnTo>
                    <a:lnTo>
                      <a:pt x="603" y="168"/>
                    </a:lnTo>
                    <a:lnTo>
                      <a:pt x="592" y="159"/>
                    </a:lnTo>
                    <a:lnTo>
                      <a:pt x="587" y="156"/>
                    </a:lnTo>
                    <a:lnTo>
                      <a:pt x="581" y="154"/>
                    </a:lnTo>
                    <a:lnTo>
                      <a:pt x="576" y="153"/>
                    </a:lnTo>
                    <a:lnTo>
                      <a:pt x="571" y="152"/>
                    </a:lnTo>
                    <a:lnTo>
                      <a:pt x="571" y="152"/>
                    </a:lnTo>
                    <a:lnTo>
                      <a:pt x="565" y="153"/>
                    </a:lnTo>
                    <a:lnTo>
                      <a:pt x="559" y="154"/>
                    </a:lnTo>
                    <a:lnTo>
                      <a:pt x="553" y="157"/>
                    </a:lnTo>
                    <a:lnTo>
                      <a:pt x="548" y="160"/>
                    </a:lnTo>
                    <a:lnTo>
                      <a:pt x="541" y="165"/>
                    </a:lnTo>
                    <a:lnTo>
                      <a:pt x="536" y="170"/>
                    </a:lnTo>
                    <a:lnTo>
                      <a:pt x="523" y="184"/>
                    </a:lnTo>
                    <a:lnTo>
                      <a:pt x="511" y="203"/>
                    </a:lnTo>
                    <a:lnTo>
                      <a:pt x="499" y="223"/>
                    </a:lnTo>
                    <a:lnTo>
                      <a:pt x="488" y="247"/>
                    </a:lnTo>
                    <a:lnTo>
                      <a:pt x="476" y="274"/>
                    </a:lnTo>
                    <a:lnTo>
                      <a:pt x="476" y="274"/>
                    </a:lnTo>
                    <a:lnTo>
                      <a:pt x="462" y="312"/>
                    </a:lnTo>
                    <a:lnTo>
                      <a:pt x="450" y="353"/>
                    </a:lnTo>
                    <a:lnTo>
                      <a:pt x="439" y="397"/>
                    </a:lnTo>
                    <a:lnTo>
                      <a:pt x="431" y="444"/>
                    </a:lnTo>
                    <a:lnTo>
                      <a:pt x="423" y="494"/>
                    </a:lnTo>
                    <a:lnTo>
                      <a:pt x="418" y="545"/>
                    </a:lnTo>
                    <a:lnTo>
                      <a:pt x="414" y="599"/>
                    </a:lnTo>
                    <a:lnTo>
                      <a:pt x="413" y="655"/>
                    </a:lnTo>
                    <a:lnTo>
                      <a:pt x="413" y="660"/>
                    </a:lnTo>
                    <a:lnTo>
                      <a:pt x="413" y="660"/>
                    </a:lnTo>
                    <a:lnTo>
                      <a:pt x="427" y="686"/>
                    </a:lnTo>
                    <a:lnTo>
                      <a:pt x="440" y="712"/>
                    </a:lnTo>
                    <a:lnTo>
                      <a:pt x="452" y="739"/>
                    </a:lnTo>
                    <a:lnTo>
                      <a:pt x="464" y="766"/>
                    </a:lnTo>
                    <a:lnTo>
                      <a:pt x="487" y="823"/>
                    </a:lnTo>
                    <a:lnTo>
                      <a:pt x="508" y="883"/>
                    </a:lnTo>
                    <a:lnTo>
                      <a:pt x="528" y="945"/>
                    </a:lnTo>
                    <a:lnTo>
                      <a:pt x="550" y="1010"/>
                    </a:lnTo>
                    <a:lnTo>
                      <a:pt x="572" y="1077"/>
                    </a:lnTo>
                    <a:lnTo>
                      <a:pt x="595" y="1148"/>
                    </a:lnTo>
                    <a:lnTo>
                      <a:pt x="595" y="1148"/>
                    </a:lnTo>
                    <a:lnTo>
                      <a:pt x="604" y="1140"/>
                    </a:lnTo>
                    <a:lnTo>
                      <a:pt x="613" y="1130"/>
                    </a:lnTo>
                    <a:lnTo>
                      <a:pt x="620" y="1121"/>
                    </a:lnTo>
                    <a:lnTo>
                      <a:pt x="629" y="1108"/>
                    </a:lnTo>
                    <a:lnTo>
                      <a:pt x="603" y="1108"/>
                    </a:lnTo>
                    <a:lnTo>
                      <a:pt x="603" y="103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4" name="Group 193">
              <a:extLst>
                <a:ext uri="{FF2B5EF4-FFF2-40B4-BE49-F238E27FC236}">
                  <a16:creationId xmlns:a16="http://schemas.microsoft.com/office/drawing/2014/main" id="{F0D1CC9B-ED9F-4996-85C3-B29F0DE73FE1}"/>
                </a:ext>
              </a:extLst>
            </p:cNvPr>
            <p:cNvGrpSpPr/>
            <p:nvPr/>
          </p:nvGrpSpPr>
          <p:grpSpPr>
            <a:xfrm>
              <a:off x="5915598" y="3759078"/>
              <a:ext cx="168455" cy="162849"/>
              <a:chOff x="11694227" y="1950379"/>
              <a:chExt cx="156960" cy="128647"/>
            </a:xfrm>
          </p:grpSpPr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3DF5AF27-C691-4863-B8B7-910D97E3064E}"/>
                  </a:ext>
                </a:extLst>
              </p:cNvPr>
              <p:cNvSpPr/>
              <p:nvPr/>
            </p:nvSpPr>
            <p:spPr bwMode="ltGray">
              <a:xfrm>
                <a:off x="11694227" y="1950379"/>
                <a:ext cx="156960" cy="128647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3175">
                <a:solidFill>
                  <a:srgbClr val="968C6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31" name="Freeform 325">
                <a:extLst>
                  <a:ext uri="{FF2B5EF4-FFF2-40B4-BE49-F238E27FC236}">
                    <a16:creationId xmlns:a16="http://schemas.microsoft.com/office/drawing/2014/main" id="{A0869726-9C07-47BB-A1C8-F19B94266E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32196" y="1964520"/>
                <a:ext cx="81022" cy="99778"/>
              </a:xfrm>
              <a:custGeom>
                <a:avLst/>
                <a:gdLst>
                  <a:gd name="T0" fmla="*/ 606 w 993"/>
                  <a:gd name="T1" fmla="*/ 5 h 1494"/>
                  <a:gd name="T2" fmla="*/ 674 w 993"/>
                  <a:gd name="T3" fmla="*/ 34 h 1494"/>
                  <a:gd name="T4" fmla="*/ 733 w 993"/>
                  <a:gd name="T5" fmla="*/ 90 h 1494"/>
                  <a:gd name="T6" fmla="*/ 784 w 993"/>
                  <a:gd name="T7" fmla="*/ 170 h 1494"/>
                  <a:gd name="T8" fmla="*/ 817 w 993"/>
                  <a:gd name="T9" fmla="*/ 249 h 1494"/>
                  <a:gd name="T10" fmla="*/ 856 w 993"/>
                  <a:gd name="T11" fmla="*/ 394 h 1494"/>
                  <a:gd name="T12" fmla="*/ 873 w 993"/>
                  <a:gd name="T13" fmla="*/ 517 h 1494"/>
                  <a:gd name="T14" fmla="*/ 986 w 993"/>
                  <a:gd name="T15" fmla="*/ 411 h 1494"/>
                  <a:gd name="T16" fmla="*/ 963 w 993"/>
                  <a:gd name="T17" fmla="*/ 543 h 1494"/>
                  <a:gd name="T18" fmla="*/ 945 w 993"/>
                  <a:gd name="T19" fmla="*/ 865 h 1494"/>
                  <a:gd name="T20" fmla="*/ 928 w 993"/>
                  <a:gd name="T21" fmla="*/ 1004 h 1494"/>
                  <a:gd name="T22" fmla="*/ 895 w 993"/>
                  <a:gd name="T23" fmla="*/ 1127 h 1494"/>
                  <a:gd name="T24" fmla="*/ 844 w 993"/>
                  <a:gd name="T25" fmla="*/ 1220 h 1494"/>
                  <a:gd name="T26" fmla="*/ 804 w 993"/>
                  <a:gd name="T27" fmla="*/ 1263 h 1494"/>
                  <a:gd name="T28" fmla="*/ 753 w 993"/>
                  <a:gd name="T29" fmla="*/ 1300 h 1494"/>
                  <a:gd name="T30" fmla="*/ 692 w 993"/>
                  <a:gd name="T31" fmla="*/ 1328 h 1494"/>
                  <a:gd name="T32" fmla="*/ 447 w 993"/>
                  <a:gd name="T33" fmla="*/ 1368 h 1494"/>
                  <a:gd name="T34" fmla="*/ 396 w 993"/>
                  <a:gd name="T35" fmla="*/ 1355 h 1494"/>
                  <a:gd name="T36" fmla="*/ 340 w 993"/>
                  <a:gd name="T37" fmla="*/ 1329 h 1494"/>
                  <a:gd name="T38" fmla="*/ 294 w 993"/>
                  <a:gd name="T39" fmla="*/ 1291 h 1494"/>
                  <a:gd name="T40" fmla="*/ 258 w 993"/>
                  <a:gd name="T41" fmla="*/ 1245 h 1494"/>
                  <a:gd name="T42" fmla="*/ 215 w 993"/>
                  <a:gd name="T43" fmla="*/ 1144 h 1494"/>
                  <a:gd name="T44" fmla="*/ 186 w 993"/>
                  <a:gd name="T45" fmla="*/ 1007 h 1494"/>
                  <a:gd name="T46" fmla="*/ 153 w 993"/>
                  <a:gd name="T47" fmla="*/ 771 h 1494"/>
                  <a:gd name="T48" fmla="*/ 121 w 993"/>
                  <a:gd name="T49" fmla="*/ 607 h 1494"/>
                  <a:gd name="T50" fmla="*/ 65 w 993"/>
                  <a:gd name="T51" fmla="*/ 449 h 1494"/>
                  <a:gd name="T52" fmla="*/ 12 w 993"/>
                  <a:gd name="T53" fmla="*/ 356 h 1494"/>
                  <a:gd name="T54" fmla="*/ 82 w 993"/>
                  <a:gd name="T55" fmla="*/ 370 h 1494"/>
                  <a:gd name="T56" fmla="*/ 217 w 993"/>
                  <a:gd name="T57" fmla="*/ 444 h 1494"/>
                  <a:gd name="T58" fmla="*/ 277 w 993"/>
                  <a:gd name="T59" fmla="*/ 448 h 1494"/>
                  <a:gd name="T60" fmla="*/ 306 w 993"/>
                  <a:gd name="T61" fmla="*/ 309 h 1494"/>
                  <a:gd name="T62" fmla="*/ 336 w 993"/>
                  <a:gd name="T63" fmla="*/ 218 h 1494"/>
                  <a:gd name="T64" fmla="*/ 382 w 993"/>
                  <a:gd name="T65" fmla="*/ 127 h 1494"/>
                  <a:gd name="T66" fmla="*/ 437 w 993"/>
                  <a:gd name="T67" fmla="*/ 59 h 1494"/>
                  <a:gd name="T68" fmla="*/ 500 w 993"/>
                  <a:gd name="T69" fmla="*/ 16 h 1494"/>
                  <a:gd name="T70" fmla="*/ 571 w 993"/>
                  <a:gd name="T71" fmla="*/ 0 h 1494"/>
                  <a:gd name="T72" fmla="*/ 667 w 993"/>
                  <a:gd name="T73" fmla="*/ 1031 h 1494"/>
                  <a:gd name="T74" fmla="*/ 629 w 993"/>
                  <a:gd name="T75" fmla="*/ 979 h 1494"/>
                  <a:gd name="T76" fmla="*/ 709 w 993"/>
                  <a:gd name="T77" fmla="*/ 876 h 1494"/>
                  <a:gd name="T78" fmla="*/ 655 w 993"/>
                  <a:gd name="T79" fmla="*/ 772 h 1494"/>
                  <a:gd name="T80" fmla="*/ 655 w 993"/>
                  <a:gd name="T81" fmla="*/ 721 h 1494"/>
                  <a:gd name="T82" fmla="*/ 728 w 993"/>
                  <a:gd name="T83" fmla="*/ 644 h 1494"/>
                  <a:gd name="T84" fmla="*/ 655 w 993"/>
                  <a:gd name="T85" fmla="*/ 515 h 1494"/>
                  <a:gd name="T86" fmla="*/ 714 w 993"/>
                  <a:gd name="T87" fmla="*/ 463 h 1494"/>
                  <a:gd name="T88" fmla="*/ 700 w 993"/>
                  <a:gd name="T89" fmla="*/ 386 h 1494"/>
                  <a:gd name="T90" fmla="*/ 603 w 993"/>
                  <a:gd name="T91" fmla="*/ 335 h 1494"/>
                  <a:gd name="T92" fmla="*/ 647 w 993"/>
                  <a:gd name="T93" fmla="*/ 234 h 1494"/>
                  <a:gd name="T94" fmla="*/ 603 w 993"/>
                  <a:gd name="T95" fmla="*/ 168 h 1494"/>
                  <a:gd name="T96" fmla="*/ 576 w 993"/>
                  <a:gd name="T97" fmla="*/ 153 h 1494"/>
                  <a:gd name="T98" fmla="*/ 559 w 993"/>
                  <a:gd name="T99" fmla="*/ 154 h 1494"/>
                  <a:gd name="T100" fmla="*/ 536 w 993"/>
                  <a:gd name="T101" fmla="*/ 170 h 1494"/>
                  <a:gd name="T102" fmla="*/ 488 w 993"/>
                  <a:gd name="T103" fmla="*/ 247 h 1494"/>
                  <a:gd name="T104" fmla="*/ 450 w 993"/>
                  <a:gd name="T105" fmla="*/ 353 h 1494"/>
                  <a:gd name="T106" fmla="*/ 418 w 993"/>
                  <a:gd name="T107" fmla="*/ 545 h 1494"/>
                  <a:gd name="T108" fmla="*/ 413 w 993"/>
                  <a:gd name="T109" fmla="*/ 660 h 1494"/>
                  <a:gd name="T110" fmla="*/ 464 w 993"/>
                  <a:gd name="T111" fmla="*/ 766 h 1494"/>
                  <a:gd name="T112" fmla="*/ 550 w 993"/>
                  <a:gd name="T113" fmla="*/ 1010 h 1494"/>
                  <a:gd name="T114" fmla="*/ 604 w 993"/>
                  <a:gd name="T115" fmla="*/ 1140 h 1494"/>
                  <a:gd name="T116" fmla="*/ 603 w 993"/>
                  <a:gd name="T117" fmla="*/ 1108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93" h="1494">
                    <a:moveTo>
                      <a:pt x="571" y="0"/>
                    </a:moveTo>
                    <a:lnTo>
                      <a:pt x="571" y="0"/>
                    </a:lnTo>
                    <a:lnTo>
                      <a:pt x="589" y="2"/>
                    </a:lnTo>
                    <a:lnTo>
                      <a:pt x="606" y="5"/>
                    </a:lnTo>
                    <a:lnTo>
                      <a:pt x="624" y="9"/>
                    </a:lnTo>
                    <a:lnTo>
                      <a:pt x="641" y="16"/>
                    </a:lnTo>
                    <a:lnTo>
                      <a:pt x="657" y="24"/>
                    </a:lnTo>
                    <a:lnTo>
                      <a:pt x="674" y="34"/>
                    </a:lnTo>
                    <a:lnTo>
                      <a:pt x="690" y="46"/>
                    </a:lnTo>
                    <a:lnTo>
                      <a:pt x="705" y="59"/>
                    </a:lnTo>
                    <a:lnTo>
                      <a:pt x="719" y="74"/>
                    </a:lnTo>
                    <a:lnTo>
                      <a:pt x="733" y="90"/>
                    </a:lnTo>
                    <a:lnTo>
                      <a:pt x="747" y="109"/>
                    </a:lnTo>
                    <a:lnTo>
                      <a:pt x="759" y="127"/>
                    </a:lnTo>
                    <a:lnTo>
                      <a:pt x="772" y="148"/>
                    </a:lnTo>
                    <a:lnTo>
                      <a:pt x="784" y="170"/>
                    </a:lnTo>
                    <a:lnTo>
                      <a:pt x="795" y="193"/>
                    </a:lnTo>
                    <a:lnTo>
                      <a:pt x="806" y="218"/>
                    </a:lnTo>
                    <a:lnTo>
                      <a:pt x="806" y="218"/>
                    </a:lnTo>
                    <a:lnTo>
                      <a:pt x="817" y="249"/>
                    </a:lnTo>
                    <a:lnTo>
                      <a:pt x="829" y="283"/>
                    </a:lnTo>
                    <a:lnTo>
                      <a:pt x="838" y="318"/>
                    </a:lnTo>
                    <a:lnTo>
                      <a:pt x="847" y="355"/>
                    </a:lnTo>
                    <a:lnTo>
                      <a:pt x="856" y="394"/>
                    </a:lnTo>
                    <a:lnTo>
                      <a:pt x="862" y="434"/>
                    </a:lnTo>
                    <a:lnTo>
                      <a:pt x="868" y="475"/>
                    </a:lnTo>
                    <a:lnTo>
                      <a:pt x="873" y="517"/>
                    </a:lnTo>
                    <a:lnTo>
                      <a:pt x="873" y="517"/>
                    </a:lnTo>
                    <a:lnTo>
                      <a:pt x="953" y="425"/>
                    </a:lnTo>
                    <a:lnTo>
                      <a:pt x="993" y="380"/>
                    </a:lnTo>
                    <a:lnTo>
                      <a:pt x="993" y="380"/>
                    </a:lnTo>
                    <a:lnTo>
                      <a:pt x="986" y="411"/>
                    </a:lnTo>
                    <a:lnTo>
                      <a:pt x="978" y="443"/>
                    </a:lnTo>
                    <a:lnTo>
                      <a:pt x="973" y="476"/>
                    </a:lnTo>
                    <a:lnTo>
                      <a:pt x="967" y="510"/>
                    </a:lnTo>
                    <a:lnTo>
                      <a:pt x="963" y="543"/>
                    </a:lnTo>
                    <a:lnTo>
                      <a:pt x="960" y="579"/>
                    </a:lnTo>
                    <a:lnTo>
                      <a:pt x="955" y="650"/>
                    </a:lnTo>
                    <a:lnTo>
                      <a:pt x="949" y="794"/>
                    </a:lnTo>
                    <a:lnTo>
                      <a:pt x="945" y="865"/>
                    </a:lnTo>
                    <a:lnTo>
                      <a:pt x="941" y="901"/>
                    </a:lnTo>
                    <a:lnTo>
                      <a:pt x="938" y="936"/>
                    </a:lnTo>
                    <a:lnTo>
                      <a:pt x="934" y="970"/>
                    </a:lnTo>
                    <a:lnTo>
                      <a:pt x="928" y="1004"/>
                    </a:lnTo>
                    <a:lnTo>
                      <a:pt x="923" y="1036"/>
                    </a:lnTo>
                    <a:lnTo>
                      <a:pt x="915" y="1068"/>
                    </a:lnTo>
                    <a:lnTo>
                      <a:pt x="906" y="1098"/>
                    </a:lnTo>
                    <a:lnTo>
                      <a:pt x="895" y="1127"/>
                    </a:lnTo>
                    <a:lnTo>
                      <a:pt x="883" y="1155"/>
                    </a:lnTo>
                    <a:lnTo>
                      <a:pt x="869" y="1182"/>
                    </a:lnTo>
                    <a:lnTo>
                      <a:pt x="853" y="1208"/>
                    </a:lnTo>
                    <a:lnTo>
                      <a:pt x="844" y="1220"/>
                    </a:lnTo>
                    <a:lnTo>
                      <a:pt x="835" y="1232"/>
                    </a:lnTo>
                    <a:lnTo>
                      <a:pt x="825" y="1243"/>
                    </a:lnTo>
                    <a:lnTo>
                      <a:pt x="814" y="1254"/>
                    </a:lnTo>
                    <a:lnTo>
                      <a:pt x="804" y="1263"/>
                    </a:lnTo>
                    <a:lnTo>
                      <a:pt x="792" y="1274"/>
                    </a:lnTo>
                    <a:lnTo>
                      <a:pt x="780" y="1283"/>
                    </a:lnTo>
                    <a:lnTo>
                      <a:pt x="767" y="1291"/>
                    </a:lnTo>
                    <a:lnTo>
                      <a:pt x="753" y="1300"/>
                    </a:lnTo>
                    <a:lnTo>
                      <a:pt x="739" y="1309"/>
                    </a:lnTo>
                    <a:lnTo>
                      <a:pt x="723" y="1315"/>
                    </a:lnTo>
                    <a:lnTo>
                      <a:pt x="708" y="1323"/>
                    </a:lnTo>
                    <a:lnTo>
                      <a:pt x="692" y="1328"/>
                    </a:lnTo>
                    <a:lnTo>
                      <a:pt x="675" y="1335"/>
                    </a:lnTo>
                    <a:lnTo>
                      <a:pt x="675" y="1494"/>
                    </a:lnTo>
                    <a:lnTo>
                      <a:pt x="447" y="1494"/>
                    </a:lnTo>
                    <a:lnTo>
                      <a:pt x="447" y="1368"/>
                    </a:lnTo>
                    <a:lnTo>
                      <a:pt x="447" y="1368"/>
                    </a:lnTo>
                    <a:lnTo>
                      <a:pt x="430" y="1365"/>
                    </a:lnTo>
                    <a:lnTo>
                      <a:pt x="412" y="1361"/>
                    </a:lnTo>
                    <a:lnTo>
                      <a:pt x="396" y="1355"/>
                    </a:lnTo>
                    <a:lnTo>
                      <a:pt x="381" y="1350"/>
                    </a:lnTo>
                    <a:lnTo>
                      <a:pt x="367" y="1343"/>
                    </a:lnTo>
                    <a:lnTo>
                      <a:pt x="353" y="1337"/>
                    </a:lnTo>
                    <a:lnTo>
                      <a:pt x="340" y="1329"/>
                    </a:lnTo>
                    <a:lnTo>
                      <a:pt x="328" y="1321"/>
                    </a:lnTo>
                    <a:lnTo>
                      <a:pt x="316" y="1311"/>
                    </a:lnTo>
                    <a:lnTo>
                      <a:pt x="305" y="1302"/>
                    </a:lnTo>
                    <a:lnTo>
                      <a:pt x="294" y="1291"/>
                    </a:lnTo>
                    <a:lnTo>
                      <a:pt x="284" y="1281"/>
                    </a:lnTo>
                    <a:lnTo>
                      <a:pt x="276" y="1270"/>
                    </a:lnTo>
                    <a:lnTo>
                      <a:pt x="267" y="1258"/>
                    </a:lnTo>
                    <a:lnTo>
                      <a:pt x="258" y="1245"/>
                    </a:lnTo>
                    <a:lnTo>
                      <a:pt x="251" y="1232"/>
                    </a:lnTo>
                    <a:lnTo>
                      <a:pt x="238" y="1205"/>
                    </a:lnTo>
                    <a:lnTo>
                      <a:pt x="226" y="1176"/>
                    </a:lnTo>
                    <a:lnTo>
                      <a:pt x="215" y="1144"/>
                    </a:lnTo>
                    <a:lnTo>
                      <a:pt x="206" y="1112"/>
                    </a:lnTo>
                    <a:lnTo>
                      <a:pt x="199" y="1078"/>
                    </a:lnTo>
                    <a:lnTo>
                      <a:pt x="192" y="1043"/>
                    </a:lnTo>
                    <a:lnTo>
                      <a:pt x="186" y="1007"/>
                    </a:lnTo>
                    <a:lnTo>
                      <a:pt x="180" y="969"/>
                    </a:lnTo>
                    <a:lnTo>
                      <a:pt x="169" y="891"/>
                    </a:lnTo>
                    <a:lnTo>
                      <a:pt x="159" y="811"/>
                    </a:lnTo>
                    <a:lnTo>
                      <a:pt x="153" y="771"/>
                    </a:lnTo>
                    <a:lnTo>
                      <a:pt x="147" y="730"/>
                    </a:lnTo>
                    <a:lnTo>
                      <a:pt x="139" y="689"/>
                    </a:lnTo>
                    <a:lnTo>
                      <a:pt x="130" y="648"/>
                    </a:lnTo>
                    <a:lnTo>
                      <a:pt x="121" y="607"/>
                    </a:lnTo>
                    <a:lnTo>
                      <a:pt x="110" y="567"/>
                    </a:lnTo>
                    <a:lnTo>
                      <a:pt x="97" y="527"/>
                    </a:lnTo>
                    <a:lnTo>
                      <a:pt x="82" y="488"/>
                    </a:lnTo>
                    <a:lnTo>
                      <a:pt x="65" y="449"/>
                    </a:lnTo>
                    <a:lnTo>
                      <a:pt x="46" y="411"/>
                    </a:lnTo>
                    <a:lnTo>
                      <a:pt x="35" y="392"/>
                    </a:lnTo>
                    <a:lnTo>
                      <a:pt x="24" y="375"/>
                    </a:lnTo>
                    <a:lnTo>
                      <a:pt x="12" y="356"/>
                    </a:lnTo>
                    <a:lnTo>
                      <a:pt x="0" y="338"/>
                    </a:lnTo>
                    <a:lnTo>
                      <a:pt x="0" y="338"/>
                    </a:lnTo>
                    <a:lnTo>
                      <a:pt x="42" y="354"/>
                    </a:lnTo>
                    <a:lnTo>
                      <a:pt x="82" y="370"/>
                    </a:lnTo>
                    <a:lnTo>
                      <a:pt x="119" y="388"/>
                    </a:lnTo>
                    <a:lnTo>
                      <a:pt x="154" y="406"/>
                    </a:lnTo>
                    <a:lnTo>
                      <a:pt x="187" y="424"/>
                    </a:lnTo>
                    <a:lnTo>
                      <a:pt x="217" y="444"/>
                    </a:lnTo>
                    <a:lnTo>
                      <a:pt x="245" y="464"/>
                    </a:lnTo>
                    <a:lnTo>
                      <a:pt x="271" y="486"/>
                    </a:lnTo>
                    <a:lnTo>
                      <a:pt x="271" y="486"/>
                    </a:lnTo>
                    <a:lnTo>
                      <a:pt x="277" y="448"/>
                    </a:lnTo>
                    <a:lnTo>
                      <a:pt x="282" y="411"/>
                    </a:lnTo>
                    <a:lnTo>
                      <a:pt x="290" y="376"/>
                    </a:lnTo>
                    <a:lnTo>
                      <a:pt x="297" y="341"/>
                    </a:lnTo>
                    <a:lnTo>
                      <a:pt x="306" y="309"/>
                    </a:lnTo>
                    <a:lnTo>
                      <a:pt x="315" y="276"/>
                    </a:lnTo>
                    <a:lnTo>
                      <a:pt x="325" y="246"/>
                    </a:lnTo>
                    <a:lnTo>
                      <a:pt x="336" y="218"/>
                    </a:lnTo>
                    <a:lnTo>
                      <a:pt x="336" y="218"/>
                    </a:lnTo>
                    <a:lnTo>
                      <a:pt x="346" y="193"/>
                    </a:lnTo>
                    <a:lnTo>
                      <a:pt x="358" y="170"/>
                    </a:lnTo>
                    <a:lnTo>
                      <a:pt x="369" y="148"/>
                    </a:lnTo>
                    <a:lnTo>
                      <a:pt x="382" y="127"/>
                    </a:lnTo>
                    <a:lnTo>
                      <a:pt x="395" y="109"/>
                    </a:lnTo>
                    <a:lnTo>
                      <a:pt x="408" y="90"/>
                    </a:lnTo>
                    <a:lnTo>
                      <a:pt x="422" y="74"/>
                    </a:lnTo>
                    <a:lnTo>
                      <a:pt x="437" y="59"/>
                    </a:lnTo>
                    <a:lnTo>
                      <a:pt x="451" y="46"/>
                    </a:lnTo>
                    <a:lnTo>
                      <a:pt x="468" y="34"/>
                    </a:lnTo>
                    <a:lnTo>
                      <a:pt x="484" y="24"/>
                    </a:lnTo>
                    <a:lnTo>
                      <a:pt x="500" y="16"/>
                    </a:lnTo>
                    <a:lnTo>
                      <a:pt x="517" y="9"/>
                    </a:lnTo>
                    <a:lnTo>
                      <a:pt x="535" y="5"/>
                    </a:lnTo>
                    <a:lnTo>
                      <a:pt x="552" y="2"/>
                    </a:lnTo>
                    <a:lnTo>
                      <a:pt x="571" y="0"/>
                    </a:lnTo>
                    <a:lnTo>
                      <a:pt x="571" y="0"/>
                    </a:lnTo>
                    <a:close/>
                    <a:moveTo>
                      <a:pt x="603" y="1031"/>
                    </a:moveTo>
                    <a:lnTo>
                      <a:pt x="667" y="1031"/>
                    </a:lnTo>
                    <a:lnTo>
                      <a:pt x="667" y="1031"/>
                    </a:lnTo>
                    <a:lnTo>
                      <a:pt x="676" y="1006"/>
                    </a:lnTo>
                    <a:lnTo>
                      <a:pt x="684" y="979"/>
                    </a:lnTo>
                    <a:lnTo>
                      <a:pt x="629" y="979"/>
                    </a:lnTo>
                    <a:lnTo>
                      <a:pt x="629" y="979"/>
                    </a:lnTo>
                    <a:lnTo>
                      <a:pt x="629" y="902"/>
                    </a:lnTo>
                    <a:lnTo>
                      <a:pt x="704" y="902"/>
                    </a:lnTo>
                    <a:lnTo>
                      <a:pt x="704" y="902"/>
                    </a:lnTo>
                    <a:lnTo>
                      <a:pt x="709" y="876"/>
                    </a:lnTo>
                    <a:lnTo>
                      <a:pt x="714" y="850"/>
                    </a:lnTo>
                    <a:lnTo>
                      <a:pt x="655" y="850"/>
                    </a:lnTo>
                    <a:lnTo>
                      <a:pt x="655" y="850"/>
                    </a:lnTo>
                    <a:lnTo>
                      <a:pt x="655" y="772"/>
                    </a:lnTo>
                    <a:lnTo>
                      <a:pt x="722" y="772"/>
                    </a:lnTo>
                    <a:lnTo>
                      <a:pt x="722" y="772"/>
                    </a:lnTo>
                    <a:lnTo>
                      <a:pt x="726" y="721"/>
                    </a:lnTo>
                    <a:lnTo>
                      <a:pt x="655" y="721"/>
                    </a:lnTo>
                    <a:lnTo>
                      <a:pt x="655" y="721"/>
                    </a:lnTo>
                    <a:lnTo>
                      <a:pt x="655" y="644"/>
                    </a:lnTo>
                    <a:lnTo>
                      <a:pt x="728" y="644"/>
                    </a:lnTo>
                    <a:lnTo>
                      <a:pt x="728" y="644"/>
                    </a:lnTo>
                    <a:lnTo>
                      <a:pt x="727" y="592"/>
                    </a:lnTo>
                    <a:lnTo>
                      <a:pt x="655" y="592"/>
                    </a:lnTo>
                    <a:lnTo>
                      <a:pt x="655" y="592"/>
                    </a:lnTo>
                    <a:lnTo>
                      <a:pt x="655" y="515"/>
                    </a:lnTo>
                    <a:lnTo>
                      <a:pt x="720" y="515"/>
                    </a:lnTo>
                    <a:lnTo>
                      <a:pt x="720" y="515"/>
                    </a:lnTo>
                    <a:lnTo>
                      <a:pt x="718" y="489"/>
                    </a:lnTo>
                    <a:lnTo>
                      <a:pt x="714" y="463"/>
                    </a:lnTo>
                    <a:lnTo>
                      <a:pt x="629" y="463"/>
                    </a:lnTo>
                    <a:lnTo>
                      <a:pt x="629" y="463"/>
                    </a:lnTo>
                    <a:lnTo>
                      <a:pt x="629" y="386"/>
                    </a:lnTo>
                    <a:lnTo>
                      <a:pt x="700" y="386"/>
                    </a:lnTo>
                    <a:lnTo>
                      <a:pt x="700" y="386"/>
                    </a:lnTo>
                    <a:lnTo>
                      <a:pt x="693" y="359"/>
                    </a:lnTo>
                    <a:lnTo>
                      <a:pt x="685" y="335"/>
                    </a:lnTo>
                    <a:lnTo>
                      <a:pt x="603" y="335"/>
                    </a:lnTo>
                    <a:lnTo>
                      <a:pt x="603" y="257"/>
                    </a:lnTo>
                    <a:lnTo>
                      <a:pt x="658" y="257"/>
                    </a:lnTo>
                    <a:lnTo>
                      <a:pt x="658" y="257"/>
                    </a:lnTo>
                    <a:lnTo>
                      <a:pt x="647" y="234"/>
                    </a:lnTo>
                    <a:lnTo>
                      <a:pt x="637" y="213"/>
                    </a:lnTo>
                    <a:lnTo>
                      <a:pt x="626" y="195"/>
                    </a:lnTo>
                    <a:lnTo>
                      <a:pt x="614" y="180"/>
                    </a:lnTo>
                    <a:lnTo>
                      <a:pt x="603" y="168"/>
                    </a:lnTo>
                    <a:lnTo>
                      <a:pt x="592" y="159"/>
                    </a:lnTo>
                    <a:lnTo>
                      <a:pt x="587" y="156"/>
                    </a:lnTo>
                    <a:lnTo>
                      <a:pt x="581" y="154"/>
                    </a:lnTo>
                    <a:lnTo>
                      <a:pt x="576" y="153"/>
                    </a:lnTo>
                    <a:lnTo>
                      <a:pt x="571" y="152"/>
                    </a:lnTo>
                    <a:lnTo>
                      <a:pt x="571" y="152"/>
                    </a:lnTo>
                    <a:lnTo>
                      <a:pt x="565" y="153"/>
                    </a:lnTo>
                    <a:lnTo>
                      <a:pt x="559" y="154"/>
                    </a:lnTo>
                    <a:lnTo>
                      <a:pt x="553" y="157"/>
                    </a:lnTo>
                    <a:lnTo>
                      <a:pt x="548" y="160"/>
                    </a:lnTo>
                    <a:lnTo>
                      <a:pt x="541" y="165"/>
                    </a:lnTo>
                    <a:lnTo>
                      <a:pt x="536" y="170"/>
                    </a:lnTo>
                    <a:lnTo>
                      <a:pt x="523" y="184"/>
                    </a:lnTo>
                    <a:lnTo>
                      <a:pt x="511" y="203"/>
                    </a:lnTo>
                    <a:lnTo>
                      <a:pt x="499" y="223"/>
                    </a:lnTo>
                    <a:lnTo>
                      <a:pt x="488" y="247"/>
                    </a:lnTo>
                    <a:lnTo>
                      <a:pt x="476" y="274"/>
                    </a:lnTo>
                    <a:lnTo>
                      <a:pt x="476" y="274"/>
                    </a:lnTo>
                    <a:lnTo>
                      <a:pt x="462" y="312"/>
                    </a:lnTo>
                    <a:lnTo>
                      <a:pt x="450" y="353"/>
                    </a:lnTo>
                    <a:lnTo>
                      <a:pt x="439" y="397"/>
                    </a:lnTo>
                    <a:lnTo>
                      <a:pt x="431" y="444"/>
                    </a:lnTo>
                    <a:lnTo>
                      <a:pt x="423" y="494"/>
                    </a:lnTo>
                    <a:lnTo>
                      <a:pt x="418" y="545"/>
                    </a:lnTo>
                    <a:lnTo>
                      <a:pt x="414" y="599"/>
                    </a:lnTo>
                    <a:lnTo>
                      <a:pt x="413" y="655"/>
                    </a:lnTo>
                    <a:lnTo>
                      <a:pt x="413" y="660"/>
                    </a:lnTo>
                    <a:lnTo>
                      <a:pt x="413" y="660"/>
                    </a:lnTo>
                    <a:lnTo>
                      <a:pt x="427" y="686"/>
                    </a:lnTo>
                    <a:lnTo>
                      <a:pt x="440" y="712"/>
                    </a:lnTo>
                    <a:lnTo>
                      <a:pt x="452" y="739"/>
                    </a:lnTo>
                    <a:lnTo>
                      <a:pt x="464" y="766"/>
                    </a:lnTo>
                    <a:lnTo>
                      <a:pt x="487" y="823"/>
                    </a:lnTo>
                    <a:lnTo>
                      <a:pt x="508" y="883"/>
                    </a:lnTo>
                    <a:lnTo>
                      <a:pt x="528" y="945"/>
                    </a:lnTo>
                    <a:lnTo>
                      <a:pt x="550" y="1010"/>
                    </a:lnTo>
                    <a:lnTo>
                      <a:pt x="572" y="1077"/>
                    </a:lnTo>
                    <a:lnTo>
                      <a:pt x="595" y="1148"/>
                    </a:lnTo>
                    <a:lnTo>
                      <a:pt x="595" y="1148"/>
                    </a:lnTo>
                    <a:lnTo>
                      <a:pt x="604" y="1140"/>
                    </a:lnTo>
                    <a:lnTo>
                      <a:pt x="613" y="1130"/>
                    </a:lnTo>
                    <a:lnTo>
                      <a:pt x="620" y="1121"/>
                    </a:lnTo>
                    <a:lnTo>
                      <a:pt x="629" y="1108"/>
                    </a:lnTo>
                    <a:lnTo>
                      <a:pt x="603" y="1108"/>
                    </a:lnTo>
                    <a:lnTo>
                      <a:pt x="603" y="103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2CFE9860-A810-433B-B5C8-06B64F43F620}"/>
                </a:ext>
              </a:extLst>
            </p:cNvPr>
            <p:cNvGrpSpPr/>
            <p:nvPr/>
          </p:nvGrpSpPr>
          <p:grpSpPr>
            <a:xfrm>
              <a:off x="6514703" y="5392713"/>
              <a:ext cx="168455" cy="162849"/>
              <a:chOff x="11694227" y="1950379"/>
              <a:chExt cx="156960" cy="128647"/>
            </a:xfrm>
          </p:grpSpPr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FA384D9B-EDC1-4699-B759-D1180DB4EA82}"/>
                  </a:ext>
                </a:extLst>
              </p:cNvPr>
              <p:cNvSpPr/>
              <p:nvPr/>
            </p:nvSpPr>
            <p:spPr bwMode="ltGray">
              <a:xfrm>
                <a:off x="11694227" y="1950379"/>
                <a:ext cx="156960" cy="128647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3175">
                <a:solidFill>
                  <a:srgbClr val="968C6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29" name="Freeform 325">
                <a:extLst>
                  <a:ext uri="{FF2B5EF4-FFF2-40B4-BE49-F238E27FC236}">
                    <a16:creationId xmlns:a16="http://schemas.microsoft.com/office/drawing/2014/main" id="{8C946308-8FFD-4244-8C48-6FF00E9205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32196" y="1964520"/>
                <a:ext cx="81022" cy="99778"/>
              </a:xfrm>
              <a:custGeom>
                <a:avLst/>
                <a:gdLst>
                  <a:gd name="T0" fmla="*/ 606 w 993"/>
                  <a:gd name="T1" fmla="*/ 5 h 1494"/>
                  <a:gd name="T2" fmla="*/ 674 w 993"/>
                  <a:gd name="T3" fmla="*/ 34 h 1494"/>
                  <a:gd name="T4" fmla="*/ 733 w 993"/>
                  <a:gd name="T5" fmla="*/ 90 h 1494"/>
                  <a:gd name="T6" fmla="*/ 784 w 993"/>
                  <a:gd name="T7" fmla="*/ 170 h 1494"/>
                  <a:gd name="T8" fmla="*/ 817 w 993"/>
                  <a:gd name="T9" fmla="*/ 249 h 1494"/>
                  <a:gd name="T10" fmla="*/ 856 w 993"/>
                  <a:gd name="T11" fmla="*/ 394 h 1494"/>
                  <a:gd name="T12" fmla="*/ 873 w 993"/>
                  <a:gd name="T13" fmla="*/ 517 h 1494"/>
                  <a:gd name="T14" fmla="*/ 986 w 993"/>
                  <a:gd name="T15" fmla="*/ 411 h 1494"/>
                  <a:gd name="T16" fmla="*/ 963 w 993"/>
                  <a:gd name="T17" fmla="*/ 543 h 1494"/>
                  <a:gd name="T18" fmla="*/ 945 w 993"/>
                  <a:gd name="T19" fmla="*/ 865 h 1494"/>
                  <a:gd name="T20" fmla="*/ 928 w 993"/>
                  <a:gd name="T21" fmla="*/ 1004 h 1494"/>
                  <a:gd name="T22" fmla="*/ 895 w 993"/>
                  <a:gd name="T23" fmla="*/ 1127 h 1494"/>
                  <a:gd name="T24" fmla="*/ 844 w 993"/>
                  <a:gd name="T25" fmla="*/ 1220 h 1494"/>
                  <a:gd name="T26" fmla="*/ 804 w 993"/>
                  <a:gd name="T27" fmla="*/ 1263 h 1494"/>
                  <a:gd name="T28" fmla="*/ 753 w 993"/>
                  <a:gd name="T29" fmla="*/ 1300 h 1494"/>
                  <a:gd name="T30" fmla="*/ 692 w 993"/>
                  <a:gd name="T31" fmla="*/ 1328 h 1494"/>
                  <a:gd name="T32" fmla="*/ 447 w 993"/>
                  <a:gd name="T33" fmla="*/ 1368 h 1494"/>
                  <a:gd name="T34" fmla="*/ 396 w 993"/>
                  <a:gd name="T35" fmla="*/ 1355 h 1494"/>
                  <a:gd name="T36" fmla="*/ 340 w 993"/>
                  <a:gd name="T37" fmla="*/ 1329 h 1494"/>
                  <a:gd name="T38" fmla="*/ 294 w 993"/>
                  <a:gd name="T39" fmla="*/ 1291 h 1494"/>
                  <a:gd name="T40" fmla="*/ 258 w 993"/>
                  <a:gd name="T41" fmla="*/ 1245 h 1494"/>
                  <a:gd name="T42" fmla="*/ 215 w 993"/>
                  <a:gd name="T43" fmla="*/ 1144 h 1494"/>
                  <a:gd name="T44" fmla="*/ 186 w 993"/>
                  <a:gd name="T45" fmla="*/ 1007 h 1494"/>
                  <a:gd name="T46" fmla="*/ 153 w 993"/>
                  <a:gd name="T47" fmla="*/ 771 h 1494"/>
                  <a:gd name="T48" fmla="*/ 121 w 993"/>
                  <a:gd name="T49" fmla="*/ 607 h 1494"/>
                  <a:gd name="T50" fmla="*/ 65 w 993"/>
                  <a:gd name="T51" fmla="*/ 449 h 1494"/>
                  <a:gd name="T52" fmla="*/ 12 w 993"/>
                  <a:gd name="T53" fmla="*/ 356 h 1494"/>
                  <a:gd name="T54" fmla="*/ 82 w 993"/>
                  <a:gd name="T55" fmla="*/ 370 h 1494"/>
                  <a:gd name="T56" fmla="*/ 217 w 993"/>
                  <a:gd name="T57" fmla="*/ 444 h 1494"/>
                  <a:gd name="T58" fmla="*/ 277 w 993"/>
                  <a:gd name="T59" fmla="*/ 448 h 1494"/>
                  <a:gd name="T60" fmla="*/ 306 w 993"/>
                  <a:gd name="T61" fmla="*/ 309 h 1494"/>
                  <a:gd name="T62" fmla="*/ 336 w 993"/>
                  <a:gd name="T63" fmla="*/ 218 h 1494"/>
                  <a:gd name="T64" fmla="*/ 382 w 993"/>
                  <a:gd name="T65" fmla="*/ 127 h 1494"/>
                  <a:gd name="T66" fmla="*/ 437 w 993"/>
                  <a:gd name="T67" fmla="*/ 59 h 1494"/>
                  <a:gd name="T68" fmla="*/ 500 w 993"/>
                  <a:gd name="T69" fmla="*/ 16 h 1494"/>
                  <a:gd name="T70" fmla="*/ 571 w 993"/>
                  <a:gd name="T71" fmla="*/ 0 h 1494"/>
                  <a:gd name="T72" fmla="*/ 667 w 993"/>
                  <a:gd name="T73" fmla="*/ 1031 h 1494"/>
                  <a:gd name="T74" fmla="*/ 629 w 993"/>
                  <a:gd name="T75" fmla="*/ 979 h 1494"/>
                  <a:gd name="T76" fmla="*/ 709 w 993"/>
                  <a:gd name="T77" fmla="*/ 876 h 1494"/>
                  <a:gd name="T78" fmla="*/ 655 w 993"/>
                  <a:gd name="T79" fmla="*/ 772 h 1494"/>
                  <a:gd name="T80" fmla="*/ 655 w 993"/>
                  <a:gd name="T81" fmla="*/ 721 h 1494"/>
                  <a:gd name="T82" fmla="*/ 728 w 993"/>
                  <a:gd name="T83" fmla="*/ 644 h 1494"/>
                  <a:gd name="T84" fmla="*/ 655 w 993"/>
                  <a:gd name="T85" fmla="*/ 515 h 1494"/>
                  <a:gd name="T86" fmla="*/ 714 w 993"/>
                  <a:gd name="T87" fmla="*/ 463 h 1494"/>
                  <a:gd name="T88" fmla="*/ 700 w 993"/>
                  <a:gd name="T89" fmla="*/ 386 h 1494"/>
                  <a:gd name="T90" fmla="*/ 603 w 993"/>
                  <a:gd name="T91" fmla="*/ 335 h 1494"/>
                  <a:gd name="T92" fmla="*/ 647 w 993"/>
                  <a:gd name="T93" fmla="*/ 234 h 1494"/>
                  <a:gd name="T94" fmla="*/ 603 w 993"/>
                  <a:gd name="T95" fmla="*/ 168 h 1494"/>
                  <a:gd name="T96" fmla="*/ 576 w 993"/>
                  <a:gd name="T97" fmla="*/ 153 h 1494"/>
                  <a:gd name="T98" fmla="*/ 559 w 993"/>
                  <a:gd name="T99" fmla="*/ 154 h 1494"/>
                  <a:gd name="T100" fmla="*/ 536 w 993"/>
                  <a:gd name="T101" fmla="*/ 170 h 1494"/>
                  <a:gd name="T102" fmla="*/ 488 w 993"/>
                  <a:gd name="T103" fmla="*/ 247 h 1494"/>
                  <a:gd name="T104" fmla="*/ 450 w 993"/>
                  <a:gd name="T105" fmla="*/ 353 h 1494"/>
                  <a:gd name="T106" fmla="*/ 418 w 993"/>
                  <a:gd name="T107" fmla="*/ 545 h 1494"/>
                  <a:gd name="T108" fmla="*/ 413 w 993"/>
                  <a:gd name="T109" fmla="*/ 660 h 1494"/>
                  <a:gd name="T110" fmla="*/ 464 w 993"/>
                  <a:gd name="T111" fmla="*/ 766 h 1494"/>
                  <a:gd name="T112" fmla="*/ 550 w 993"/>
                  <a:gd name="T113" fmla="*/ 1010 h 1494"/>
                  <a:gd name="T114" fmla="*/ 604 w 993"/>
                  <a:gd name="T115" fmla="*/ 1140 h 1494"/>
                  <a:gd name="T116" fmla="*/ 603 w 993"/>
                  <a:gd name="T117" fmla="*/ 1108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93" h="1494">
                    <a:moveTo>
                      <a:pt x="571" y="0"/>
                    </a:moveTo>
                    <a:lnTo>
                      <a:pt x="571" y="0"/>
                    </a:lnTo>
                    <a:lnTo>
                      <a:pt x="589" y="2"/>
                    </a:lnTo>
                    <a:lnTo>
                      <a:pt x="606" y="5"/>
                    </a:lnTo>
                    <a:lnTo>
                      <a:pt x="624" y="9"/>
                    </a:lnTo>
                    <a:lnTo>
                      <a:pt x="641" y="16"/>
                    </a:lnTo>
                    <a:lnTo>
                      <a:pt x="657" y="24"/>
                    </a:lnTo>
                    <a:lnTo>
                      <a:pt x="674" y="34"/>
                    </a:lnTo>
                    <a:lnTo>
                      <a:pt x="690" y="46"/>
                    </a:lnTo>
                    <a:lnTo>
                      <a:pt x="705" y="59"/>
                    </a:lnTo>
                    <a:lnTo>
                      <a:pt x="719" y="74"/>
                    </a:lnTo>
                    <a:lnTo>
                      <a:pt x="733" y="90"/>
                    </a:lnTo>
                    <a:lnTo>
                      <a:pt x="747" y="109"/>
                    </a:lnTo>
                    <a:lnTo>
                      <a:pt x="759" y="127"/>
                    </a:lnTo>
                    <a:lnTo>
                      <a:pt x="772" y="148"/>
                    </a:lnTo>
                    <a:lnTo>
                      <a:pt x="784" y="170"/>
                    </a:lnTo>
                    <a:lnTo>
                      <a:pt x="795" y="193"/>
                    </a:lnTo>
                    <a:lnTo>
                      <a:pt x="806" y="218"/>
                    </a:lnTo>
                    <a:lnTo>
                      <a:pt x="806" y="218"/>
                    </a:lnTo>
                    <a:lnTo>
                      <a:pt x="817" y="249"/>
                    </a:lnTo>
                    <a:lnTo>
                      <a:pt x="829" y="283"/>
                    </a:lnTo>
                    <a:lnTo>
                      <a:pt x="838" y="318"/>
                    </a:lnTo>
                    <a:lnTo>
                      <a:pt x="847" y="355"/>
                    </a:lnTo>
                    <a:lnTo>
                      <a:pt x="856" y="394"/>
                    </a:lnTo>
                    <a:lnTo>
                      <a:pt x="862" y="434"/>
                    </a:lnTo>
                    <a:lnTo>
                      <a:pt x="868" y="475"/>
                    </a:lnTo>
                    <a:lnTo>
                      <a:pt x="873" y="517"/>
                    </a:lnTo>
                    <a:lnTo>
                      <a:pt x="873" y="517"/>
                    </a:lnTo>
                    <a:lnTo>
                      <a:pt x="953" y="425"/>
                    </a:lnTo>
                    <a:lnTo>
                      <a:pt x="993" y="380"/>
                    </a:lnTo>
                    <a:lnTo>
                      <a:pt x="993" y="380"/>
                    </a:lnTo>
                    <a:lnTo>
                      <a:pt x="986" y="411"/>
                    </a:lnTo>
                    <a:lnTo>
                      <a:pt x="978" y="443"/>
                    </a:lnTo>
                    <a:lnTo>
                      <a:pt x="973" y="476"/>
                    </a:lnTo>
                    <a:lnTo>
                      <a:pt x="967" y="510"/>
                    </a:lnTo>
                    <a:lnTo>
                      <a:pt x="963" y="543"/>
                    </a:lnTo>
                    <a:lnTo>
                      <a:pt x="960" y="579"/>
                    </a:lnTo>
                    <a:lnTo>
                      <a:pt x="955" y="650"/>
                    </a:lnTo>
                    <a:lnTo>
                      <a:pt x="949" y="794"/>
                    </a:lnTo>
                    <a:lnTo>
                      <a:pt x="945" y="865"/>
                    </a:lnTo>
                    <a:lnTo>
                      <a:pt x="941" y="901"/>
                    </a:lnTo>
                    <a:lnTo>
                      <a:pt x="938" y="936"/>
                    </a:lnTo>
                    <a:lnTo>
                      <a:pt x="934" y="970"/>
                    </a:lnTo>
                    <a:lnTo>
                      <a:pt x="928" y="1004"/>
                    </a:lnTo>
                    <a:lnTo>
                      <a:pt x="923" y="1036"/>
                    </a:lnTo>
                    <a:lnTo>
                      <a:pt x="915" y="1068"/>
                    </a:lnTo>
                    <a:lnTo>
                      <a:pt x="906" y="1098"/>
                    </a:lnTo>
                    <a:lnTo>
                      <a:pt x="895" y="1127"/>
                    </a:lnTo>
                    <a:lnTo>
                      <a:pt x="883" y="1155"/>
                    </a:lnTo>
                    <a:lnTo>
                      <a:pt x="869" y="1182"/>
                    </a:lnTo>
                    <a:lnTo>
                      <a:pt x="853" y="1208"/>
                    </a:lnTo>
                    <a:lnTo>
                      <a:pt x="844" y="1220"/>
                    </a:lnTo>
                    <a:lnTo>
                      <a:pt x="835" y="1232"/>
                    </a:lnTo>
                    <a:lnTo>
                      <a:pt x="825" y="1243"/>
                    </a:lnTo>
                    <a:lnTo>
                      <a:pt x="814" y="1254"/>
                    </a:lnTo>
                    <a:lnTo>
                      <a:pt x="804" y="1263"/>
                    </a:lnTo>
                    <a:lnTo>
                      <a:pt x="792" y="1274"/>
                    </a:lnTo>
                    <a:lnTo>
                      <a:pt x="780" y="1283"/>
                    </a:lnTo>
                    <a:lnTo>
                      <a:pt x="767" y="1291"/>
                    </a:lnTo>
                    <a:lnTo>
                      <a:pt x="753" y="1300"/>
                    </a:lnTo>
                    <a:lnTo>
                      <a:pt x="739" y="1309"/>
                    </a:lnTo>
                    <a:lnTo>
                      <a:pt x="723" y="1315"/>
                    </a:lnTo>
                    <a:lnTo>
                      <a:pt x="708" y="1323"/>
                    </a:lnTo>
                    <a:lnTo>
                      <a:pt x="692" y="1328"/>
                    </a:lnTo>
                    <a:lnTo>
                      <a:pt x="675" y="1335"/>
                    </a:lnTo>
                    <a:lnTo>
                      <a:pt x="675" y="1494"/>
                    </a:lnTo>
                    <a:lnTo>
                      <a:pt x="447" y="1494"/>
                    </a:lnTo>
                    <a:lnTo>
                      <a:pt x="447" y="1368"/>
                    </a:lnTo>
                    <a:lnTo>
                      <a:pt x="447" y="1368"/>
                    </a:lnTo>
                    <a:lnTo>
                      <a:pt x="430" y="1365"/>
                    </a:lnTo>
                    <a:lnTo>
                      <a:pt x="412" y="1361"/>
                    </a:lnTo>
                    <a:lnTo>
                      <a:pt x="396" y="1355"/>
                    </a:lnTo>
                    <a:lnTo>
                      <a:pt x="381" y="1350"/>
                    </a:lnTo>
                    <a:lnTo>
                      <a:pt x="367" y="1343"/>
                    </a:lnTo>
                    <a:lnTo>
                      <a:pt x="353" y="1337"/>
                    </a:lnTo>
                    <a:lnTo>
                      <a:pt x="340" y="1329"/>
                    </a:lnTo>
                    <a:lnTo>
                      <a:pt x="328" y="1321"/>
                    </a:lnTo>
                    <a:lnTo>
                      <a:pt x="316" y="1311"/>
                    </a:lnTo>
                    <a:lnTo>
                      <a:pt x="305" y="1302"/>
                    </a:lnTo>
                    <a:lnTo>
                      <a:pt x="294" y="1291"/>
                    </a:lnTo>
                    <a:lnTo>
                      <a:pt x="284" y="1281"/>
                    </a:lnTo>
                    <a:lnTo>
                      <a:pt x="276" y="1270"/>
                    </a:lnTo>
                    <a:lnTo>
                      <a:pt x="267" y="1258"/>
                    </a:lnTo>
                    <a:lnTo>
                      <a:pt x="258" y="1245"/>
                    </a:lnTo>
                    <a:lnTo>
                      <a:pt x="251" y="1232"/>
                    </a:lnTo>
                    <a:lnTo>
                      <a:pt x="238" y="1205"/>
                    </a:lnTo>
                    <a:lnTo>
                      <a:pt x="226" y="1176"/>
                    </a:lnTo>
                    <a:lnTo>
                      <a:pt x="215" y="1144"/>
                    </a:lnTo>
                    <a:lnTo>
                      <a:pt x="206" y="1112"/>
                    </a:lnTo>
                    <a:lnTo>
                      <a:pt x="199" y="1078"/>
                    </a:lnTo>
                    <a:lnTo>
                      <a:pt x="192" y="1043"/>
                    </a:lnTo>
                    <a:lnTo>
                      <a:pt x="186" y="1007"/>
                    </a:lnTo>
                    <a:lnTo>
                      <a:pt x="180" y="969"/>
                    </a:lnTo>
                    <a:lnTo>
                      <a:pt x="169" y="891"/>
                    </a:lnTo>
                    <a:lnTo>
                      <a:pt x="159" y="811"/>
                    </a:lnTo>
                    <a:lnTo>
                      <a:pt x="153" y="771"/>
                    </a:lnTo>
                    <a:lnTo>
                      <a:pt x="147" y="730"/>
                    </a:lnTo>
                    <a:lnTo>
                      <a:pt x="139" y="689"/>
                    </a:lnTo>
                    <a:lnTo>
                      <a:pt x="130" y="648"/>
                    </a:lnTo>
                    <a:lnTo>
                      <a:pt x="121" y="607"/>
                    </a:lnTo>
                    <a:lnTo>
                      <a:pt x="110" y="567"/>
                    </a:lnTo>
                    <a:lnTo>
                      <a:pt x="97" y="527"/>
                    </a:lnTo>
                    <a:lnTo>
                      <a:pt x="82" y="488"/>
                    </a:lnTo>
                    <a:lnTo>
                      <a:pt x="65" y="449"/>
                    </a:lnTo>
                    <a:lnTo>
                      <a:pt x="46" y="411"/>
                    </a:lnTo>
                    <a:lnTo>
                      <a:pt x="35" y="392"/>
                    </a:lnTo>
                    <a:lnTo>
                      <a:pt x="24" y="375"/>
                    </a:lnTo>
                    <a:lnTo>
                      <a:pt x="12" y="356"/>
                    </a:lnTo>
                    <a:lnTo>
                      <a:pt x="0" y="338"/>
                    </a:lnTo>
                    <a:lnTo>
                      <a:pt x="0" y="338"/>
                    </a:lnTo>
                    <a:lnTo>
                      <a:pt x="42" y="354"/>
                    </a:lnTo>
                    <a:lnTo>
                      <a:pt x="82" y="370"/>
                    </a:lnTo>
                    <a:lnTo>
                      <a:pt x="119" y="388"/>
                    </a:lnTo>
                    <a:lnTo>
                      <a:pt x="154" y="406"/>
                    </a:lnTo>
                    <a:lnTo>
                      <a:pt x="187" y="424"/>
                    </a:lnTo>
                    <a:lnTo>
                      <a:pt x="217" y="444"/>
                    </a:lnTo>
                    <a:lnTo>
                      <a:pt x="245" y="464"/>
                    </a:lnTo>
                    <a:lnTo>
                      <a:pt x="271" y="486"/>
                    </a:lnTo>
                    <a:lnTo>
                      <a:pt x="271" y="486"/>
                    </a:lnTo>
                    <a:lnTo>
                      <a:pt x="277" y="448"/>
                    </a:lnTo>
                    <a:lnTo>
                      <a:pt x="282" y="411"/>
                    </a:lnTo>
                    <a:lnTo>
                      <a:pt x="290" y="376"/>
                    </a:lnTo>
                    <a:lnTo>
                      <a:pt x="297" y="341"/>
                    </a:lnTo>
                    <a:lnTo>
                      <a:pt x="306" y="309"/>
                    </a:lnTo>
                    <a:lnTo>
                      <a:pt x="315" y="276"/>
                    </a:lnTo>
                    <a:lnTo>
                      <a:pt x="325" y="246"/>
                    </a:lnTo>
                    <a:lnTo>
                      <a:pt x="336" y="218"/>
                    </a:lnTo>
                    <a:lnTo>
                      <a:pt x="336" y="218"/>
                    </a:lnTo>
                    <a:lnTo>
                      <a:pt x="346" y="193"/>
                    </a:lnTo>
                    <a:lnTo>
                      <a:pt x="358" y="170"/>
                    </a:lnTo>
                    <a:lnTo>
                      <a:pt x="369" y="148"/>
                    </a:lnTo>
                    <a:lnTo>
                      <a:pt x="382" y="127"/>
                    </a:lnTo>
                    <a:lnTo>
                      <a:pt x="395" y="109"/>
                    </a:lnTo>
                    <a:lnTo>
                      <a:pt x="408" y="90"/>
                    </a:lnTo>
                    <a:lnTo>
                      <a:pt x="422" y="74"/>
                    </a:lnTo>
                    <a:lnTo>
                      <a:pt x="437" y="59"/>
                    </a:lnTo>
                    <a:lnTo>
                      <a:pt x="451" y="46"/>
                    </a:lnTo>
                    <a:lnTo>
                      <a:pt x="468" y="34"/>
                    </a:lnTo>
                    <a:lnTo>
                      <a:pt x="484" y="24"/>
                    </a:lnTo>
                    <a:lnTo>
                      <a:pt x="500" y="16"/>
                    </a:lnTo>
                    <a:lnTo>
                      <a:pt x="517" y="9"/>
                    </a:lnTo>
                    <a:lnTo>
                      <a:pt x="535" y="5"/>
                    </a:lnTo>
                    <a:lnTo>
                      <a:pt x="552" y="2"/>
                    </a:lnTo>
                    <a:lnTo>
                      <a:pt x="571" y="0"/>
                    </a:lnTo>
                    <a:lnTo>
                      <a:pt x="571" y="0"/>
                    </a:lnTo>
                    <a:close/>
                    <a:moveTo>
                      <a:pt x="603" y="1031"/>
                    </a:moveTo>
                    <a:lnTo>
                      <a:pt x="667" y="1031"/>
                    </a:lnTo>
                    <a:lnTo>
                      <a:pt x="667" y="1031"/>
                    </a:lnTo>
                    <a:lnTo>
                      <a:pt x="676" y="1006"/>
                    </a:lnTo>
                    <a:lnTo>
                      <a:pt x="684" y="979"/>
                    </a:lnTo>
                    <a:lnTo>
                      <a:pt x="629" y="979"/>
                    </a:lnTo>
                    <a:lnTo>
                      <a:pt x="629" y="979"/>
                    </a:lnTo>
                    <a:lnTo>
                      <a:pt x="629" y="902"/>
                    </a:lnTo>
                    <a:lnTo>
                      <a:pt x="704" y="902"/>
                    </a:lnTo>
                    <a:lnTo>
                      <a:pt x="704" y="902"/>
                    </a:lnTo>
                    <a:lnTo>
                      <a:pt x="709" y="876"/>
                    </a:lnTo>
                    <a:lnTo>
                      <a:pt x="714" y="850"/>
                    </a:lnTo>
                    <a:lnTo>
                      <a:pt x="655" y="850"/>
                    </a:lnTo>
                    <a:lnTo>
                      <a:pt x="655" y="850"/>
                    </a:lnTo>
                    <a:lnTo>
                      <a:pt x="655" y="772"/>
                    </a:lnTo>
                    <a:lnTo>
                      <a:pt x="722" y="772"/>
                    </a:lnTo>
                    <a:lnTo>
                      <a:pt x="722" y="772"/>
                    </a:lnTo>
                    <a:lnTo>
                      <a:pt x="726" y="721"/>
                    </a:lnTo>
                    <a:lnTo>
                      <a:pt x="655" y="721"/>
                    </a:lnTo>
                    <a:lnTo>
                      <a:pt x="655" y="721"/>
                    </a:lnTo>
                    <a:lnTo>
                      <a:pt x="655" y="644"/>
                    </a:lnTo>
                    <a:lnTo>
                      <a:pt x="728" y="644"/>
                    </a:lnTo>
                    <a:lnTo>
                      <a:pt x="728" y="644"/>
                    </a:lnTo>
                    <a:lnTo>
                      <a:pt x="727" y="592"/>
                    </a:lnTo>
                    <a:lnTo>
                      <a:pt x="655" y="592"/>
                    </a:lnTo>
                    <a:lnTo>
                      <a:pt x="655" y="592"/>
                    </a:lnTo>
                    <a:lnTo>
                      <a:pt x="655" y="515"/>
                    </a:lnTo>
                    <a:lnTo>
                      <a:pt x="720" y="515"/>
                    </a:lnTo>
                    <a:lnTo>
                      <a:pt x="720" y="515"/>
                    </a:lnTo>
                    <a:lnTo>
                      <a:pt x="718" y="489"/>
                    </a:lnTo>
                    <a:lnTo>
                      <a:pt x="714" y="463"/>
                    </a:lnTo>
                    <a:lnTo>
                      <a:pt x="629" y="463"/>
                    </a:lnTo>
                    <a:lnTo>
                      <a:pt x="629" y="463"/>
                    </a:lnTo>
                    <a:lnTo>
                      <a:pt x="629" y="386"/>
                    </a:lnTo>
                    <a:lnTo>
                      <a:pt x="700" y="386"/>
                    </a:lnTo>
                    <a:lnTo>
                      <a:pt x="700" y="386"/>
                    </a:lnTo>
                    <a:lnTo>
                      <a:pt x="693" y="359"/>
                    </a:lnTo>
                    <a:lnTo>
                      <a:pt x="685" y="335"/>
                    </a:lnTo>
                    <a:lnTo>
                      <a:pt x="603" y="335"/>
                    </a:lnTo>
                    <a:lnTo>
                      <a:pt x="603" y="257"/>
                    </a:lnTo>
                    <a:lnTo>
                      <a:pt x="658" y="257"/>
                    </a:lnTo>
                    <a:lnTo>
                      <a:pt x="658" y="257"/>
                    </a:lnTo>
                    <a:lnTo>
                      <a:pt x="647" y="234"/>
                    </a:lnTo>
                    <a:lnTo>
                      <a:pt x="637" y="213"/>
                    </a:lnTo>
                    <a:lnTo>
                      <a:pt x="626" y="195"/>
                    </a:lnTo>
                    <a:lnTo>
                      <a:pt x="614" y="180"/>
                    </a:lnTo>
                    <a:lnTo>
                      <a:pt x="603" y="168"/>
                    </a:lnTo>
                    <a:lnTo>
                      <a:pt x="592" y="159"/>
                    </a:lnTo>
                    <a:lnTo>
                      <a:pt x="587" y="156"/>
                    </a:lnTo>
                    <a:lnTo>
                      <a:pt x="581" y="154"/>
                    </a:lnTo>
                    <a:lnTo>
                      <a:pt x="576" y="153"/>
                    </a:lnTo>
                    <a:lnTo>
                      <a:pt x="571" y="152"/>
                    </a:lnTo>
                    <a:lnTo>
                      <a:pt x="571" y="152"/>
                    </a:lnTo>
                    <a:lnTo>
                      <a:pt x="565" y="153"/>
                    </a:lnTo>
                    <a:lnTo>
                      <a:pt x="559" y="154"/>
                    </a:lnTo>
                    <a:lnTo>
                      <a:pt x="553" y="157"/>
                    </a:lnTo>
                    <a:lnTo>
                      <a:pt x="548" y="160"/>
                    </a:lnTo>
                    <a:lnTo>
                      <a:pt x="541" y="165"/>
                    </a:lnTo>
                    <a:lnTo>
                      <a:pt x="536" y="170"/>
                    </a:lnTo>
                    <a:lnTo>
                      <a:pt x="523" y="184"/>
                    </a:lnTo>
                    <a:lnTo>
                      <a:pt x="511" y="203"/>
                    </a:lnTo>
                    <a:lnTo>
                      <a:pt x="499" y="223"/>
                    </a:lnTo>
                    <a:lnTo>
                      <a:pt x="488" y="247"/>
                    </a:lnTo>
                    <a:lnTo>
                      <a:pt x="476" y="274"/>
                    </a:lnTo>
                    <a:lnTo>
                      <a:pt x="476" y="274"/>
                    </a:lnTo>
                    <a:lnTo>
                      <a:pt x="462" y="312"/>
                    </a:lnTo>
                    <a:lnTo>
                      <a:pt x="450" y="353"/>
                    </a:lnTo>
                    <a:lnTo>
                      <a:pt x="439" y="397"/>
                    </a:lnTo>
                    <a:lnTo>
                      <a:pt x="431" y="444"/>
                    </a:lnTo>
                    <a:lnTo>
                      <a:pt x="423" y="494"/>
                    </a:lnTo>
                    <a:lnTo>
                      <a:pt x="418" y="545"/>
                    </a:lnTo>
                    <a:lnTo>
                      <a:pt x="414" y="599"/>
                    </a:lnTo>
                    <a:lnTo>
                      <a:pt x="413" y="655"/>
                    </a:lnTo>
                    <a:lnTo>
                      <a:pt x="413" y="660"/>
                    </a:lnTo>
                    <a:lnTo>
                      <a:pt x="413" y="660"/>
                    </a:lnTo>
                    <a:lnTo>
                      <a:pt x="427" y="686"/>
                    </a:lnTo>
                    <a:lnTo>
                      <a:pt x="440" y="712"/>
                    </a:lnTo>
                    <a:lnTo>
                      <a:pt x="452" y="739"/>
                    </a:lnTo>
                    <a:lnTo>
                      <a:pt x="464" y="766"/>
                    </a:lnTo>
                    <a:lnTo>
                      <a:pt x="487" y="823"/>
                    </a:lnTo>
                    <a:lnTo>
                      <a:pt x="508" y="883"/>
                    </a:lnTo>
                    <a:lnTo>
                      <a:pt x="528" y="945"/>
                    </a:lnTo>
                    <a:lnTo>
                      <a:pt x="550" y="1010"/>
                    </a:lnTo>
                    <a:lnTo>
                      <a:pt x="572" y="1077"/>
                    </a:lnTo>
                    <a:lnTo>
                      <a:pt x="595" y="1148"/>
                    </a:lnTo>
                    <a:lnTo>
                      <a:pt x="595" y="1148"/>
                    </a:lnTo>
                    <a:lnTo>
                      <a:pt x="604" y="1140"/>
                    </a:lnTo>
                    <a:lnTo>
                      <a:pt x="613" y="1130"/>
                    </a:lnTo>
                    <a:lnTo>
                      <a:pt x="620" y="1121"/>
                    </a:lnTo>
                    <a:lnTo>
                      <a:pt x="629" y="1108"/>
                    </a:lnTo>
                    <a:lnTo>
                      <a:pt x="603" y="1108"/>
                    </a:lnTo>
                    <a:lnTo>
                      <a:pt x="603" y="103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D19CEA69-4200-43FB-89D7-DBAD51A55160}"/>
                </a:ext>
              </a:extLst>
            </p:cNvPr>
            <p:cNvGrpSpPr/>
            <p:nvPr/>
          </p:nvGrpSpPr>
          <p:grpSpPr>
            <a:xfrm>
              <a:off x="7461424" y="5305760"/>
              <a:ext cx="168455" cy="162849"/>
              <a:chOff x="11694227" y="1950379"/>
              <a:chExt cx="156960" cy="128647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BC13556D-A356-4E6A-97F7-6EDF4005E965}"/>
                  </a:ext>
                </a:extLst>
              </p:cNvPr>
              <p:cNvSpPr/>
              <p:nvPr/>
            </p:nvSpPr>
            <p:spPr bwMode="ltGray">
              <a:xfrm>
                <a:off x="11694227" y="1950379"/>
                <a:ext cx="156960" cy="128647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3175">
                <a:solidFill>
                  <a:srgbClr val="968C6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27" name="Freeform 325">
                <a:extLst>
                  <a:ext uri="{FF2B5EF4-FFF2-40B4-BE49-F238E27FC236}">
                    <a16:creationId xmlns:a16="http://schemas.microsoft.com/office/drawing/2014/main" id="{D0B1D18E-D5D3-49D4-9DF3-BC1648D56C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32196" y="1964520"/>
                <a:ext cx="81022" cy="99778"/>
              </a:xfrm>
              <a:custGeom>
                <a:avLst/>
                <a:gdLst>
                  <a:gd name="T0" fmla="*/ 606 w 993"/>
                  <a:gd name="T1" fmla="*/ 5 h 1494"/>
                  <a:gd name="T2" fmla="*/ 674 w 993"/>
                  <a:gd name="T3" fmla="*/ 34 h 1494"/>
                  <a:gd name="T4" fmla="*/ 733 w 993"/>
                  <a:gd name="T5" fmla="*/ 90 h 1494"/>
                  <a:gd name="T6" fmla="*/ 784 w 993"/>
                  <a:gd name="T7" fmla="*/ 170 h 1494"/>
                  <a:gd name="T8" fmla="*/ 817 w 993"/>
                  <a:gd name="T9" fmla="*/ 249 h 1494"/>
                  <a:gd name="T10" fmla="*/ 856 w 993"/>
                  <a:gd name="T11" fmla="*/ 394 h 1494"/>
                  <a:gd name="T12" fmla="*/ 873 w 993"/>
                  <a:gd name="T13" fmla="*/ 517 h 1494"/>
                  <a:gd name="T14" fmla="*/ 986 w 993"/>
                  <a:gd name="T15" fmla="*/ 411 h 1494"/>
                  <a:gd name="T16" fmla="*/ 963 w 993"/>
                  <a:gd name="T17" fmla="*/ 543 h 1494"/>
                  <a:gd name="T18" fmla="*/ 945 w 993"/>
                  <a:gd name="T19" fmla="*/ 865 h 1494"/>
                  <a:gd name="T20" fmla="*/ 928 w 993"/>
                  <a:gd name="T21" fmla="*/ 1004 h 1494"/>
                  <a:gd name="T22" fmla="*/ 895 w 993"/>
                  <a:gd name="T23" fmla="*/ 1127 h 1494"/>
                  <a:gd name="T24" fmla="*/ 844 w 993"/>
                  <a:gd name="T25" fmla="*/ 1220 h 1494"/>
                  <a:gd name="T26" fmla="*/ 804 w 993"/>
                  <a:gd name="T27" fmla="*/ 1263 h 1494"/>
                  <a:gd name="T28" fmla="*/ 753 w 993"/>
                  <a:gd name="T29" fmla="*/ 1300 h 1494"/>
                  <a:gd name="T30" fmla="*/ 692 w 993"/>
                  <a:gd name="T31" fmla="*/ 1328 h 1494"/>
                  <a:gd name="T32" fmla="*/ 447 w 993"/>
                  <a:gd name="T33" fmla="*/ 1368 h 1494"/>
                  <a:gd name="T34" fmla="*/ 396 w 993"/>
                  <a:gd name="T35" fmla="*/ 1355 h 1494"/>
                  <a:gd name="T36" fmla="*/ 340 w 993"/>
                  <a:gd name="T37" fmla="*/ 1329 h 1494"/>
                  <a:gd name="T38" fmla="*/ 294 w 993"/>
                  <a:gd name="T39" fmla="*/ 1291 h 1494"/>
                  <a:gd name="T40" fmla="*/ 258 w 993"/>
                  <a:gd name="T41" fmla="*/ 1245 h 1494"/>
                  <a:gd name="T42" fmla="*/ 215 w 993"/>
                  <a:gd name="T43" fmla="*/ 1144 h 1494"/>
                  <a:gd name="T44" fmla="*/ 186 w 993"/>
                  <a:gd name="T45" fmla="*/ 1007 h 1494"/>
                  <a:gd name="T46" fmla="*/ 153 w 993"/>
                  <a:gd name="T47" fmla="*/ 771 h 1494"/>
                  <a:gd name="T48" fmla="*/ 121 w 993"/>
                  <a:gd name="T49" fmla="*/ 607 h 1494"/>
                  <a:gd name="T50" fmla="*/ 65 w 993"/>
                  <a:gd name="T51" fmla="*/ 449 h 1494"/>
                  <a:gd name="T52" fmla="*/ 12 w 993"/>
                  <a:gd name="T53" fmla="*/ 356 h 1494"/>
                  <a:gd name="T54" fmla="*/ 82 w 993"/>
                  <a:gd name="T55" fmla="*/ 370 h 1494"/>
                  <a:gd name="T56" fmla="*/ 217 w 993"/>
                  <a:gd name="T57" fmla="*/ 444 h 1494"/>
                  <a:gd name="T58" fmla="*/ 277 w 993"/>
                  <a:gd name="T59" fmla="*/ 448 h 1494"/>
                  <a:gd name="T60" fmla="*/ 306 w 993"/>
                  <a:gd name="T61" fmla="*/ 309 h 1494"/>
                  <a:gd name="T62" fmla="*/ 336 w 993"/>
                  <a:gd name="T63" fmla="*/ 218 h 1494"/>
                  <a:gd name="T64" fmla="*/ 382 w 993"/>
                  <a:gd name="T65" fmla="*/ 127 h 1494"/>
                  <a:gd name="T66" fmla="*/ 437 w 993"/>
                  <a:gd name="T67" fmla="*/ 59 h 1494"/>
                  <a:gd name="T68" fmla="*/ 500 w 993"/>
                  <a:gd name="T69" fmla="*/ 16 h 1494"/>
                  <a:gd name="T70" fmla="*/ 571 w 993"/>
                  <a:gd name="T71" fmla="*/ 0 h 1494"/>
                  <a:gd name="T72" fmla="*/ 667 w 993"/>
                  <a:gd name="T73" fmla="*/ 1031 h 1494"/>
                  <a:gd name="T74" fmla="*/ 629 w 993"/>
                  <a:gd name="T75" fmla="*/ 979 h 1494"/>
                  <a:gd name="T76" fmla="*/ 709 w 993"/>
                  <a:gd name="T77" fmla="*/ 876 h 1494"/>
                  <a:gd name="T78" fmla="*/ 655 w 993"/>
                  <a:gd name="T79" fmla="*/ 772 h 1494"/>
                  <a:gd name="T80" fmla="*/ 655 w 993"/>
                  <a:gd name="T81" fmla="*/ 721 h 1494"/>
                  <a:gd name="T82" fmla="*/ 728 w 993"/>
                  <a:gd name="T83" fmla="*/ 644 h 1494"/>
                  <a:gd name="T84" fmla="*/ 655 w 993"/>
                  <a:gd name="T85" fmla="*/ 515 h 1494"/>
                  <a:gd name="T86" fmla="*/ 714 w 993"/>
                  <a:gd name="T87" fmla="*/ 463 h 1494"/>
                  <a:gd name="T88" fmla="*/ 700 w 993"/>
                  <a:gd name="T89" fmla="*/ 386 h 1494"/>
                  <a:gd name="T90" fmla="*/ 603 w 993"/>
                  <a:gd name="T91" fmla="*/ 335 h 1494"/>
                  <a:gd name="T92" fmla="*/ 647 w 993"/>
                  <a:gd name="T93" fmla="*/ 234 h 1494"/>
                  <a:gd name="T94" fmla="*/ 603 w 993"/>
                  <a:gd name="T95" fmla="*/ 168 h 1494"/>
                  <a:gd name="T96" fmla="*/ 576 w 993"/>
                  <a:gd name="T97" fmla="*/ 153 h 1494"/>
                  <a:gd name="T98" fmla="*/ 559 w 993"/>
                  <a:gd name="T99" fmla="*/ 154 h 1494"/>
                  <a:gd name="T100" fmla="*/ 536 w 993"/>
                  <a:gd name="T101" fmla="*/ 170 h 1494"/>
                  <a:gd name="T102" fmla="*/ 488 w 993"/>
                  <a:gd name="T103" fmla="*/ 247 h 1494"/>
                  <a:gd name="T104" fmla="*/ 450 w 993"/>
                  <a:gd name="T105" fmla="*/ 353 h 1494"/>
                  <a:gd name="T106" fmla="*/ 418 w 993"/>
                  <a:gd name="T107" fmla="*/ 545 h 1494"/>
                  <a:gd name="T108" fmla="*/ 413 w 993"/>
                  <a:gd name="T109" fmla="*/ 660 h 1494"/>
                  <a:gd name="T110" fmla="*/ 464 w 993"/>
                  <a:gd name="T111" fmla="*/ 766 h 1494"/>
                  <a:gd name="T112" fmla="*/ 550 w 993"/>
                  <a:gd name="T113" fmla="*/ 1010 h 1494"/>
                  <a:gd name="T114" fmla="*/ 604 w 993"/>
                  <a:gd name="T115" fmla="*/ 1140 h 1494"/>
                  <a:gd name="T116" fmla="*/ 603 w 993"/>
                  <a:gd name="T117" fmla="*/ 1108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93" h="1494">
                    <a:moveTo>
                      <a:pt x="571" y="0"/>
                    </a:moveTo>
                    <a:lnTo>
                      <a:pt x="571" y="0"/>
                    </a:lnTo>
                    <a:lnTo>
                      <a:pt x="589" y="2"/>
                    </a:lnTo>
                    <a:lnTo>
                      <a:pt x="606" y="5"/>
                    </a:lnTo>
                    <a:lnTo>
                      <a:pt x="624" y="9"/>
                    </a:lnTo>
                    <a:lnTo>
                      <a:pt x="641" y="16"/>
                    </a:lnTo>
                    <a:lnTo>
                      <a:pt x="657" y="24"/>
                    </a:lnTo>
                    <a:lnTo>
                      <a:pt x="674" y="34"/>
                    </a:lnTo>
                    <a:lnTo>
                      <a:pt x="690" y="46"/>
                    </a:lnTo>
                    <a:lnTo>
                      <a:pt x="705" y="59"/>
                    </a:lnTo>
                    <a:lnTo>
                      <a:pt x="719" y="74"/>
                    </a:lnTo>
                    <a:lnTo>
                      <a:pt x="733" y="90"/>
                    </a:lnTo>
                    <a:lnTo>
                      <a:pt x="747" y="109"/>
                    </a:lnTo>
                    <a:lnTo>
                      <a:pt x="759" y="127"/>
                    </a:lnTo>
                    <a:lnTo>
                      <a:pt x="772" y="148"/>
                    </a:lnTo>
                    <a:lnTo>
                      <a:pt x="784" y="170"/>
                    </a:lnTo>
                    <a:lnTo>
                      <a:pt x="795" y="193"/>
                    </a:lnTo>
                    <a:lnTo>
                      <a:pt x="806" y="218"/>
                    </a:lnTo>
                    <a:lnTo>
                      <a:pt x="806" y="218"/>
                    </a:lnTo>
                    <a:lnTo>
                      <a:pt x="817" y="249"/>
                    </a:lnTo>
                    <a:lnTo>
                      <a:pt x="829" y="283"/>
                    </a:lnTo>
                    <a:lnTo>
                      <a:pt x="838" y="318"/>
                    </a:lnTo>
                    <a:lnTo>
                      <a:pt x="847" y="355"/>
                    </a:lnTo>
                    <a:lnTo>
                      <a:pt x="856" y="394"/>
                    </a:lnTo>
                    <a:lnTo>
                      <a:pt x="862" y="434"/>
                    </a:lnTo>
                    <a:lnTo>
                      <a:pt x="868" y="475"/>
                    </a:lnTo>
                    <a:lnTo>
                      <a:pt x="873" y="517"/>
                    </a:lnTo>
                    <a:lnTo>
                      <a:pt x="873" y="517"/>
                    </a:lnTo>
                    <a:lnTo>
                      <a:pt x="953" y="425"/>
                    </a:lnTo>
                    <a:lnTo>
                      <a:pt x="993" y="380"/>
                    </a:lnTo>
                    <a:lnTo>
                      <a:pt x="993" y="380"/>
                    </a:lnTo>
                    <a:lnTo>
                      <a:pt x="986" y="411"/>
                    </a:lnTo>
                    <a:lnTo>
                      <a:pt x="978" y="443"/>
                    </a:lnTo>
                    <a:lnTo>
                      <a:pt x="973" y="476"/>
                    </a:lnTo>
                    <a:lnTo>
                      <a:pt x="967" y="510"/>
                    </a:lnTo>
                    <a:lnTo>
                      <a:pt x="963" y="543"/>
                    </a:lnTo>
                    <a:lnTo>
                      <a:pt x="960" y="579"/>
                    </a:lnTo>
                    <a:lnTo>
                      <a:pt x="955" y="650"/>
                    </a:lnTo>
                    <a:lnTo>
                      <a:pt x="949" y="794"/>
                    </a:lnTo>
                    <a:lnTo>
                      <a:pt x="945" y="865"/>
                    </a:lnTo>
                    <a:lnTo>
                      <a:pt x="941" y="901"/>
                    </a:lnTo>
                    <a:lnTo>
                      <a:pt x="938" y="936"/>
                    </a:lnTo>
                    <a:lnTo>
                      <a:pt x="934" y="970"/>
                    </a:lnTo>
                    <a:lnTo>
                      <a:pt x="928" y="1004"/>
                    </a:lnTo>
                    <a:lnTo>
                      <a:pt x="923" y="1036"/>
                    </a:lnTo>
                    <a:lnTo>
                      <a:pt x="915" y="1068"/>
                    </a:lnTo>
                    <a:lnTo>
                      <a:pt x="906" y="1098"/>
                    </a:lnTo>
                    <a:lnTo>
                      <a:pt x="895" y="1127"/>
                    </a:lnTo>
                    <a:lnTo>
                      <a:pt x="883" y="1155"/>
                    </a:lnTo>
                    <a:lnTo>
                      <a:pt x="869" y="1182"/>
                    </a:lnTo>
                    <a:lnTo>
                      <a:pt x="853" y="1208"/>
                    </a:lnTo>
                    <a:lnTo>
                      <a:pt x="844" y="1220"/>
                    </a:lnTo>
                    <a:lnTo>
                      <a:pt x="835" y="1232"/>
                    </a:lnTo>
                    <a:lnTo>
                      <a:pt x="825" y="1243"/>
                    </a:lnTo>
                    <a:lnTo>
                      <a:pt x="814" y="1254"/>
                    </a:lnTo>
                    <a:lnTo>
                      <a:pt x="804" y="1263"/>
                    </a:lnTo>
                    <a:lnTo>
                      <a:pt x="792" y="1274"/>
                    </a:lnTo>
                    <a:lnTo>
                      <a:pt x="780" y="1283"/>
                    </a:lnTo>
                    <a:lnTo>
                      <a:pt x="767" y="1291"/>
                    </a:lnTo>
                    <a:lnTo>
                      <a:pt x="753" y="1300"/>
                    </a:lnTo>
                    <a:lnTo>
                      <a:pt x="739" y="1309"/>
                    </a:lnTo>
                    <a:lnTo>
                      <a:pt x="723" y="1315"/>
                    </a:lnTo>
                    <a:lnTo>
                      <a:pt x="708" y="1323"/>
                    </a:lnTo>
                    <a:lnTo>
                      <a:pt x="692" y="1328"/>
                    </a:lnTo>
                    <a:lnTo>
                      <a:pt x="675" y="1335"/>
                    </a:lnTo>
                    <a:lnTo>
                      <a:pt x="675" y="1494"/>
                    </a:lnTo>
                    <a:lnTo>
                      <a:pt x="447" y="1494"/>
                    </a:lnTo>
                    <a:lnTo>
                      <a:pt x="447" y="1368"/>
                    </a:lnTo>
                    <a:lnTo>
                      <a:pt x="447" y="1368"/>
                    </a:lnTo>
                    <a:lnTo>
                      <a:pt x="430" y="1365"/>
                    </a:lnTo>
                    <a:lnTo>
                      <a:pt x="412" y="1361"/>
                    </a:lnTo>
                    <a:lnTo>
                      <a:pt x="396" y="1355"/>
                    </a:lnTo>
                    <a:lnTo>
                      <a:pt x="381" y="1350"/>
                    </a:lnTo>
                    <a:lnTo>
                      <a:pt x="367" y="1343"/>
                    </a:lnTo>
                    <a:lnTo>
                      <a:pt x="353" y="1337"/>
                    </a:lnTo>
                    <a:lnTo>
                      <a:pt x="340" y="1329"/>
                    </a:lnTo>
                    <a:lnTo>
                      <a:pt x="328" y="1321"/>
                    </a:lnTo>
                    <a:lnTo>
                      <a:pt x="316" y="1311"/>
                    </a:lnTo>
                    <a:lnTo>
                      <a:pt x="305" y="1302"/>
                    </a:lnTo>
                    <a:lnTo>
                      <a:pt x="294" y="1291"/>
                    </a:lnTo>
                    <a:lnTo>
                      <a:pt x="284" y="1281"/>
                    </a:lnTo>
                    <a:lnTo>
                      <a:pt x="276" y="1270"/>
                    </a:lnTo>
                    <a:lnTo>
                      <a:pt x="267" y="1258"/>
                    </a:lnTo>
                    <a:lnTo>
                      <a:pt x="258" y="1245"/>
                    </a:lnTo>
                    <a:lnTo>
                      <a:pt x="251" y="1232"/>
                    </a:lnTo>
                    <a:lnTo>
                      <a:pt x="238" y="1205"/>
                    </a:lnTo>
                    <a:lnTo>
                      <a:pt x="226" y="1176"/>
                    </a:lnTo>
                    <a:lnTo>
                      <a:pt x="215" y="1144"/>
                    </a:lnTo>
                    <a:lnTo>
                      <a:pt x="206" y="1112"/>
                    </a:lnTo>
                    <a:lnTo>
                      <a:pt x="199" y="1078"/>
                    </a:lnTo>
                    <a:lnTo>
                      <a:pt x="192" y="1043"/>
                    </a:lnTo>
                    <a:lnTo>
                      <a:pt x="186" y="1007"/>
                    </a:lnTo>
                    <a:lnTo>
                      <a:pt x="180" y="969"/>
                    </a:lnTo>
                    <a:lnTo>
                      <a:pt x="169" y="891"/>
                    </a:lnTo>
                    <a:lnTo>
                      <a:pt x="159" y="811"/>
                    </a:lnTo>
                    <a:lnTo>
                      <a:pt x="153" y="771"/>
                    </a:lnTo>
                    <a:lnTo>
                      <a:pt x="147" y="730"/>
                    </a:lnTo>
                    <a:lnTo>
                      <a:pt x="139" y="689"/>
                    </a:lnTo>
                    <a:lnTo>
                      <a:pt x="130" y="648"/>
                    </a:lnTo>
                    <a:lnTo>
                      <a:pt x="121" y="607"/>
                    </a:lnTo>
                    <a:lnTo>
                      <a:pt x="110" y="567"/>
                    </a:lnTo>
                    <a:lnTo>
                      <a:pt x="97" y="527"/>
                    </a:lnTo>
                    <a:lnTo>
                      <a:pt x="82" y="488"/>
                    </a:lnTo>
                    <a:lnTo>
                      <a:pt x="65" y="449"/>
                    </a:lnTo>
                    <a:lnTo>
                      <a:pt x="46" y="411"/>
                    </a:lnTo>
                    <a:lnTo>
                      <a:pt x="35" y="392"/>
                    </a:lnTo>
                    <a:lnTo>
                      <a:pt x="24" y="375"/>
                    </a:lnTo>
                    <a:lnTo>
                      <a:pt x="12" y="356"/>
                    </a:lnTo>
                    <a:lnTo>
                      <a:pt x="0" y="338"/>
                    </a:lnTo>
                    <a:lnTo>
                      <a:pt x="0" y="338"/>
                    </a:lnTo>
                    <a:lnTo>
                      <a:pt x="42" y="354"/>
                    </a:lnTo>
                    <a:lnTo>
                      <a:pt x="82" y="370"/>
                    </a:lnTo>
                    <a:lnTo>
                      <a:pt x="119" y="388"/>
                    </a:lnTo>
                    <a:lnTo>
                      <a:pt x="154" y="406"/>
                    </a:lnTo>
                    <a:lnTo>
                      <a:pt x="187" y="424"/>
                    </a:lnTo>
                    <a:lnTo>
                      <a:pt x="217" y="444"/>
                    </a:lnTo>
                    <a:lnTo>
                      <a:pt x="245" y="464"/>
                    </a:lnTo>
                    <a:lnTo>
                      <a:pt x="271" y="486"/>
                    </a:lnTo>
                    <a:lnTo>
                      <a:pt x="271" y="486"/>
                    </a:lnTo>
                    <a:lnTo>
                      <a:pt x="277" y="448"/>
                    </a:lnTo>
                    <a:lnTo>
                      <a:pt x="282" y="411"/>
                    </a:lnTo>
                    <a:lnTo>
                      <a:pt x="290" y="376"/>
                    </a:lnTo>
                    <a:lnTo>
                      <a:pt x="297" y="341"/>
                    </a:lnTo>
                    <a:lnTo>
                      <a:pt x="306" y="309"/>
                    </a:lnTo>
                    <a:lnTo>
                      <a:pt x="315" y="276"/>
                    </a:lnTo>
                    <a:lnTo>
                      <a:pt x="325" y="246"/>
                    </a:lnTo>
                    <a:lnTo>
                      <a:pt x="336" y="218"/>
                    </a:lnTo>
                    <a:lnTo>
                      <a:pt x="336" y="218"/>
                    </a:lnTo>
                    <a:lnTo>
                      <a:pt x="346" y="193"/>
                    </a:lnTo>
                    <a:lnTo>
                      <a:pt x="358" y="170"/>
                    </a:lnTo>
                    <a:lnTo>
                      <a:pt x="369" y="148"/>
                    </a:lnTo>
                    <a:lnTo>
                      <a:pt x="382" y="127"/>
                    </a:lnTo>
                    <a:lnTo>
                      <a:pt x="395" y="109"/>
                    </a:lnTo>
                    <a:lnTo>
                      <a:pt x="408" y="90"/>
                    </a:lnTo>
                    <a:lnTo>
                      <a:pt x="422" y="74"/>
                    </a:lnTo>
                    <a:lnTo>
                      <a:pt x="437" y="59"/>
                    </a:lnTo>
                    <a:lnTo>
                      <a:pt x="451" y="46"/>
                    </a:lnTo>
                    <a:lnTo>
                      <a:pt x="468" y="34"/>
                    </a:lnTo>
                    <a:lnTo>
                      <a:pt x="484" y="24"/>
                    </a:lnTo>
                    <a:lnTo>
                      <a:pt x="500" y="16"/>
                    </a:lnTo>
                    <a:lnTo>
                      <a:pt x="517" y="9"/>
                    </a:lnTo>
                    <a:lnTo>
                      <a:pt x="535" y="5"/>
                    </a:lnTo>
                    <a:lnTo>
                      <a:pt x="552" y="2"/>
                    </a:lnTo>
                    <a:lnTo>
                      <a:pt x="571" y="0"/>
                    </a:lnTo>
                    <a:lnTo>
                      <a:pt x="571" y="0"/>
                    </a:lnTo>
                    <a:close/>
                    <a:moveTo>
                      <a:pt x="603" y="1031"/>
                    </a:moveTo>
                    <a:lnTo>
                      <a:pt x="667" y="1031"/>
                    </a:lnTo>
                    <a:lnTo>
                      <a:pt x="667" y="1031"/>
                    </a:lnTo>
                    <a:lnTo>
                      <a:pt x="676" y="1006"/>
                    </a:lnTo>
                    <a:lnTo>
                      <a:pt x="684" y="979"/>
                    </a:lnTo>
                    <a:lnTo>
                      <a:pt x="629" y="979"/>
                    </a:lnTo>
                    <a:lnTo>
                      <a:pt x="629" y="979"/>
                    </a:lnTo>
                    <a:lnTo>
                      <a:pt x="629" y="902"/>
                    </a:lnTo>
                    <a:lnTo>
                      <a:pt x="704" y="902"/>
                    </a:lnTo>
                    <a:lnTo>
                      <a:pt x="704" y="902"/>
                    </a:lnTo>
                    <a:lnTo>
                      <a:pt x="709" y="876"/>
                    </a:lnTo>
                    <a:lnTo>
                      <a:pt x="714" y="850"/>
                    </a:lnTo>
                    <a:lnTo>
                      <a:pt x="655" y="850"/>
                    </a:lnTo>
                    <a:lnTo>
                      <a:pt x="655" y="850"/>
                    </a:lnTo>
                    <a:lnTo>
                      <a:pt x="655" y="772"/>
                    </a:lnTo>
                    <a:lnTo>
                      <a:pt x="722" y="772"/>
                    </a:lnTo>
                    <a:lnTo>
                      <a:pt x="722" y="772"/>
                    </a:lnTo>
                    <a:lnTo>
                      <a:pt x="726" y="721"/>
                    </a:lnTo>
                    <a:lnTo>
                      <a:pt x="655" y="721"/>
                    </a:lnTo>
                    <a:lnTo>
                      <a:pt x="655" y="721"/>
                    </a:lnTo>
                    <a:lnTo>
                      <a:pt x="655" y="644"/>
                    </a:lnTo>
                    <a:lnTo>
                      <a:pt x="728" y="644"/>
                    </a:lnTo>
                    <a:lnTo>
                      <a:pt x="728" y="644"/>
                    </a:lnTo>
                    <a:lnTo>
                      <a:pt x="727" y="592"/>
                    </a:lnTo>
                    <a:lnTo>
                      <a:pt x="655" y="592"/>
                    </a:lnTo>
                    <a:lnTo>
                      <a:pt x="655" y="592"/>
                    </a:lnTo>
                    <a:lnTo>
                      <a:pt x="655" y="515"/>
                    </a:lnTo>
                    <a:lnTo>
                      <a:pt x="720" y="515"/>
                    </a:lnTo>
                    <a:lnTo>
                      <a:pt x="720" y="515"/>
                    </a:lnTo>
                    <a:lnTo>
                      <a:pt x="718" y="489"/>
                    </a:lnTo>
                    <a:lnTo>
                      <a:pt x="714" y="463"/>
                    </a:lnTo>
                    <a:lnTo>
                      <a:pt x="629" y="463"/>
                    </a:lnTo>
                    <a:lnTo>
                      <a:pt x="629" y="463"/>
                    </a:lnTo>
                    <a:lnTo>
                      <a:pt x="629" y="386"/>
                    </a:lnTo>
                    <a:lnTo>
                      <a:pt x="700" y="386"/>
                    </a:lnTo>
                    <a:lnTo>
                      <a:pt x="700" y="386"/>
                    </a:lnTo>
                    <a:lnTo>
                      <a:pt x="693" y="359"/>
                    </a:lnTo>
                    <a:lnTo>
                      <a:pt x="685" y="335"/>
                    </a:lnTo>
                    <a:lnTo>
                      <a:pt x="603" y="335"/>
                    </a:lnTo>
                    <a:lnTo>
                      <a:pt x="603" y="257"/>
                    </a:lnTo>
                    <a:lnTo>
                      <a:pt x="658" y="257"/>
                    </a:lnTo>
                    <a:lnTo>
                      <a:pt x="658" y="257"/>
                    </a:lnTo>
                    <a:lnTo>
                      <a:pt x="647" y="234"/>
                    </a:lnTo>
                    <a:lnTo>
                      <a:pt x="637" y="213"/>
                    </a:lnTo>
                    <a:lnTo>
                      <a:pt x="626" y="195"/>
                    </a:lnTo>
                    <a:lnTo>
                      <a:pt x="614" y="180"/>
                    </a:lnTo>
                    <a:lnTo>
                      <a:pt x="603" y="168"/>
                    </a:lnTo>
                    <a:lnTo>
                      <a:pt x="592" y="159"/>
                    </a:lnTo>
                    <a:lnTo>
                      <a:pt x="587" y="156"/>
                    </a:lnTo>
                    <a:lnTo>
                      <a:pt x="581" y="154"/>
                    </a:lnTo>
                    <a:lnTo>
                      <a:pt x="576" y="153"/>
                    </a:lnTo>
                    <a:lnTo>
                      <a:pt x="571" y="152"/>
                    </a:lnTo>
                    <a:lnTo>
                      <a:pt x="571" y="152"/>
                    </a:lnTo>
                    <a:lnTo>
                      <a:pt x="565" y="153"/>
                    </a:lnTo>
                    <a:lnTo>
                      <a:pt x="559" y="154"/>
                    </a:lnTo>
                    <a:lnTo>
                      <a:pt x="553" y="157"/>
                    </a:lnTo>
                    <a:lnTo>
                      <a:pt x="548" y="160"/>
                    </a:lnTo>
                    <a:lnTo>
                      <a:pt x="541" y="165"/>
                    </a:lnTo>
                    <a:lnTo>
                      <a:pt x="536" y="170"/>
                    </a:lnTo>
                    <a:lnTo>
                      <a:pt x="523" y="184"/>
                    </a:lnTo>
                    <a:lnTo>
                      <a:pt x="511" y="203"/>
                    </a:lnTo>
                    <a:lnTo>
                      <a:pt x="499" y="223"/>
                    </a:lnTo>
                    <a:lnTo>
                      <a:pt x="488" y="247"/>
                    </a:lnTo>
                    <a:lnTo>
                      <a:pt x="476" y="274"/>
                    </a:lnTo>
                    <a:lnTo>
                      <a:pt x="476" y="274"/>
                    </a:lnTo>
                    <a:lnTo>
                      <a:pt x="462" y="312"/>
                    </a:lnTo>
                    <a:lnTo>
                      <a:pt x="450" y="353"/>
                    </a:lnTo>
                    <a:lnTo>
                      <a:pt x="439" y="397"/>
                    </a:lnTo>
                    <a:lnTo>
                      <a:pt x="431" y="444"/>
                    </a:lnTo>
                    <a:lnTo>
                      <a:pt x="423" y="494"/>
                    </a:lnTo>
                    <a:lnTo>
                      <a:pt x="418" y="545"/>
                    </a:lnTo>
                    <a:lnTo>
                      <a:pt x="414" y="599"/>
                    </a:lnTo>
                    <a:lnTo>
                      <a:pt x="413" y="655"/>
                    </a:lnTo>
                    <a:lnTo>
                      <a:pt x="413" y="660"/>
                    </a:lnTo>
                    <a:lnTo>
                      <a:pt x="413" y="660"/>
                    </a:lnTo>
                    <a:lnTo>
                      <a:pt x="427" y="686"/>
                    </a:lnTo>
                    <a:lnTo>
                      <a:pt x="440" y="712"/>
                    </a:lnTo>
                    <a:lnTo>
                      <a:pt x="452" y="739"/>
                    </a:lnTo>
                    <a:lnTo>
                      <a:pt x="464" y="766"/>
                    </a:lnTo>
                    <a:lnTo>
                      <a:pt x="487" y="823"/>
                    </a:lnTo>
                    <a:lnTo>
                      <a:pt x="508" y="883"/>
                    </a:lnTo>
                    <a:lnTo>
                      <a:pt x="528" y="945"/>
                    </a:lnTo>
                    <a:lnTo>
                      <a:pt x="550" y="1010"/>
                    </a:lnTo>
                    <a:lnTo>
                      <a:pt x="572" y="1077"/>
                    </a:lnTo>
                    <a:lnTo>
                      <a:pt x="595" y="1148"/>
                    </a:lnTo>
                    <a:lnTo>
                      <a:pt x="595" y="1148"/>
                    </a:lnTo>
                    <a:lnTo>
                      <a:pt x="604" y="1140"/>
                    </a:lnTo>
                    <a:lnTo>
                      <a:pt x="613" y="1130"/>
                    </a:lnTo>
                    <a:lnTo>
                      <a:pt x="620" y="1121"/>
                    </a:lnTo>
                    <a:lnTo>
                      <a:pt x="629" y="1108"/>
                    </a:lnTo>
                    <a:lnTo>
                      <a:pt x="603" y="1108"/>
                    </a:lnTo>
                    <a:lnTo>
                      <a:pt x="603" y="103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03A02FFF-BC5F-455A-B736-676BA352E5F3}"/>
                </a:ext>
              </a:extLst>
            </p:cNvPr>
            <p:cNvGrpSpPr/>
            <p:nvPr/>
          </p:nvGrpSpPr>
          <p:grpSpPr>
            <a:xfrm>
              <a:off x="5071710" y="3536823"/>
              <a:ext cx="168455" cy="162849"/>
              <a:chOff x="11694227" y="1950379"/>
              <a:chExt cx="156960" cy="128647"/>
            </a:xfrm>
          </p:grpSpPr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7EC638DE-C7EE-45B2-977A-59F5A31E7A93}"/>
                  </a:ext>
                </a:extLst>
              </p:cNvPr>
              <p:cNvSpPr/>
              <p:nvPr/>
            </p:nvSpPr>
            <p:spPr bwMode="ltGray">
              <a:xfrm>
                <a:off x="11694227" y="1950379"/>
                <a:ext cx="156960" cy="128647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3175">
                <a:solidFill>
                  <a:srgbClr val="968C6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25" name="Freeform 325">
                <a:extLst>
                  <a:ext uri="{FF2B5EF4-FFF2-40B4-BE49-F238E27FC236}">
                    <a16:creationId xmlns:a16="http://schemas.microsoft.com/office/drawing/2014/main" id="{2F85F8CC-CAB9-4A38-97AD-63AE1D3138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32196" y="1964520"/>
                <a:ext cx="81022" cy="99778"/>
              </a:xfrm>
              <a:custGeom>
                <a:avLst/>
                <a:gdLst>
                  <a:gd name="T0" fmla="*/ 606 w 993"/>
                  <a:gd name="T1" fmla="*/ 5 h 1494"/>
                  <a:gd name="T2" fmla="*/ 674 w 993"/>
                  <a:gd name="T3" fmla="*/ 34 h 1494"/>
                  <a:gd name="T4" fmla="*/ 733 w 993"/>
                  <a:gd name="T5" fmla="*/ 90 h 1494"/>
                  <a:gd name="T6" fmla="*/ 784 w 993"/>
                  <a:gd name="T7" fmla="*/ 170 h 1494"/>
                  <a:gd name="T8" fmla="*/ 817 w 993"/>
                  <a:gd name="T9" fmla="*/ 249 h 1494"/>
                  <a:gd name="T10" fmla="*/ 856 w 993"/>
                  <a:gd name="T11" fmla="*/ 394 h 1494"/>
                  <a:gd name="T12" fmla="*/ 873 w 993"/>
                  <a:gd name="T13" fmla="*/ 517 h 1494"/>
                  <a:gd name="T14" fmla="*/ 986 w 993"/>
                  <a:gd name="T15" fmla="*/ 411 h 1494"/>
                  <a:gd name="T16" fmla="*/ 963 w 993"/>
                  <a:gd name="T17" fmla="*/ 543 h 1494"/>
                  <a:gd name="T18" fmla="*/ 945 w 993"/>
                  <a:gd name="T19" fmla="*/ 865 h 1494"/>
                  <a:gd name="T20" fmla="*/ 928 w 993"/>
                  <a:gd name="T21" fmla="*/ 1004 h 1494"/>
                  <a:gd name="T22" fmla="*/ 895 w 993"/>
                  <a:gd name="T23" fmla="*/ 1127 h 1494"/>
                  <a:gd name="T24" fmla="*/ 844 w 993"/>
                  <a:gd name="T25" fmla="*/ 1220 h 1494"/>
                  <a:gd name="T26" fmla="*/ 804 w 993"/>
                  <a:gd name="T27" fmla="*/ 1263 h 1494"/>
                  <a:gd name="T28" fmla="*/ 753 w 993"/>
                  <a:gd name="T29" fmla="*/ 1300 h 1494"/>
                  <a:gd name="T30" fmla="*/ 692 w 993"/>
                  <a:gd name="T31" fmla="*/ 1328 h 1494"/>
                  <a:gd name="T32" fmla="*/ 447 w 993"/>
                  <a:gd name="T33" fmla="*/ 1368 h 1494"/>
                  <a:gd name="T34" fmla="*/ 396 w 993"/>
                  <a:gd name="T35" fmla="*/ 1355 h 1494"/>
                  <a:gd name="T36" fmla="*/ 340 w 993"/>
                  <a:gd name="T37" fmla="*/ 1329 h 1494"/>
                  <a:gd name="T38" fmla="*/ 294 w 993"/>
                  <a:gd name="T39" fmla="*/ 1291 h 1494"/>
                  <a:gd name="T40" fmla="*/ 258 w 993"/>
                  <a:gd name="T41" fmla="*/ 1245 h 1494"/>
                  <a:gd name="T42" fmla="*/ 215 w 993"/>
                  <a:gd name="T43" fmla="*/ 1144 h 1494"/>
                  <a:gd name="T44" fmla="*/ 186 w 993"/>
                  <a:gd name="T45" fmla="*/ 1007 h 1494"/>
                  <a:gd name="T46" fmla="*/ 153 w 993"/>
                  <a:gd name="T47" fmla="*/ 771 h 1494"/>
                  <a:gd name="T48" fmla="*/ 121 w 993"/>
                  <a:gd name="T49" fmla="*/ 607 h 1494"/>
                  <a:gd name="T50" fmla="*/ 65 w 993"/>
                  <a:gd name="T51" fmla="*/ 449 h 1494"/>
                  <a:gd name="T52" fmla="*/ 12 w 993"/>
                  <a:gd name="T53" fmla="*/ 356 h 1494"/>
                  <a:gd name="T54" fmla="*/ 82 w 993"/>
                  <a:gd name="T55" fmla="*/ 370 h 1494"/>
                  <a:gd name="T56" fmla="*/ 217 w 993"/>
                  <a:gd name="T57" fmla="*/ 444 h 1494"/>
                  <a:gd name="T58" fmla="*/ 277 w 993"/>
                  <a:gd name="T59" fmla="*/ 448 h 1494"/>
                  <a:gd name="T60" fmla="*/ 306 w 993"/>
                  <a:gd name="T61" fmla="*/ 309 h 1494"/>
                  <a:gd name="T62" fmla="*/ 336 w 993"/>
                  <a:gd name="T63" fmla="*/ 218 h 1494"/>
                  <a:gd name="T64" fmla="*/ 382 w 993"/>
                  <a:gd name="T65" fmla="*/ 127 h 1494"/>
                  <a:gd name="T66" fmla="*/ 437 w 993"/>
                  <a:gd name="T67" fmla="*/ 59 h 1494"/>
                  <a:gd name="T68" fmla="*/ 500 w 993"/>
                  <a:gd name="T69" fmla="*/ 16 h 1494"/>
                  <a:gd name="T70" fmla="*/ 571 w 993"/>
                  <a:gd name="T71" fmla="*/ 0 h 1494"/>
                  <a:gd name="T72" fmla="*/ 667 w 993"/>
                  <a:gd name="T73" fmla="*/ 1031 h 1494"/>
                  <a:gd name="T74" fmla="*/ 629 w 993"/>
                  <a:gd name="T75" fmla="*/ 979 h 1494"/>
                  <a:gd name="T76" fmla="*/ 709 w 993"/>
                  <a:gd name="T77" fmla="*/ 876 h 1494"/>
                  <a:gd name="T78" fmla="*/ 655 w 993"/>
                  <a:gd name="T79" fmla="*/ 772 h 1494"/>
                  <a:gd name="T80" fmla="*/ 655 w 993"/>
                  <a:gd name="T81" fmla="*/ 721 h 1494"/>
                  <a:gd name="T82" fmla="*/ 728 w 993"/>
                  <a:gd name="T83" fmla="*/ 644 h 1494"/>
                  <a:gd name="T84" fmla="*/ 655 w 993"/>
                  <a:gd name="T85" fmla="*/ 515 h 1494"/>
                  <a:gd name="T86" fmla="*/ 714 w 993"/>
                  <a:gd name="T87" fmla="*/ 463 h 1494"/>
                  <a:gd name="T88" fmla="*/ 700 w 993"/>
                  <a:gd name="T89" fmla="*/ 386 h 1494"/>
                  <a:gd name="T90" fmla="*/ 603 w 993"/>
                  <a:gd name="T91" fmla="*/ 335 h 1494"/>
                  <a:gd name="T92" fmla="*/ 647 w 993"/>
                  <a:gd name="T93" fmla="*/ 234 h 1494"/>
                  <a:gd name="T94" fmla="*/ 603 w 993"/>
                  <a:gd name="T95" fmla="*/ 168 h 1494"/>
                  <a:gd name="T96" fmla="*/ 576 w 993"/>
                  <a:gd name="T97" fmla="*/ 153 h 1494"/>
                  <a:gd name="T98" fmla="*/ 559 w 993"/>
                  <a:gd name="T99" fmla="*/ 154 h 1494"/>
                  <a:gd name="T100" fmla="*/ 536 w 993"/>
                  <a:gd name="T101" fmla="*/ 170 h 1494"/>
                  <a:gd name="T102" fmla="*/ 488 w 993"/>
                  <a:gd name="T103" fmla="*/ 247 h 1494"/>
                  <a:gd name="T104" fmla="*/ 450 w 993"/>
                  <a:gd name="T105" fmla="*/ 353 h 1494"/>
                  <a:gd name="T106" fmla="*/ 418 w 993"/>
                  <a:gd name="T107" fmla="*/ 545 h 1494"/>
                  <a:gd name="T108" fmla="*/ 413 w 993"/>
                  <a:gd name="T109" fmla="*/ 660 h 1494"/>
                  <a:gd name="T110" fmla="*/ 464 w 993"/>
                  <a:gd name="T111" fmla="*/ 766 h 1494"/>
                  <a:gd name="T112" fmla="*/ 550 w 993"/>
                  <a:gd name="T113" fmla="*/ 1010 h 1494"/>
                  <a:gd name="T114" fmla="*/ 604 w 993"/>
                  <a:gd name="T115" fmla="*/ 1140 h 1494"/>
                  <a:gd name="T116" fmla="*/ 603 w 993"/>
                  <a:gd name="T117" fmla="*/ 1108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93" h="1494">
                    <a:moveTo>
                      <a:pt x="571" y="0"/>
                    </a:moveTo>
                    <a:lnTo>
                      <a:pt x="571" y="0"/>
                    </a:lnTo>
                    <a:lnTo>
                      <a:pt x="589" y="2"/>
                    </a:lnTo>
                    <a:lnTo>
                      <a:pt x="606" y="5"/>
                    </a:lnTo>
                    <a:lnTo>
                      <a:pt x="624" y="9"/>
                    </a:lnTo>
                    <a:lnTo>
                      <a:pt x="641" y="16"/>
                    </a:lnTo>
                    <a:lnTo>
                      <a:pt x="657" y="24"/>
                    </a:lnTo>
                    <a:lnTo>
                      <a:pt x="674" y="34"/>
                    </a:lnTo>
                    <a:lnTo>
                      <a:pt x="690" y="46"/>
                    </a:lnTo>
                    <a:lnTo>
                      <a:pt x="705" y="59"/>
                    </a:lnTo>
                    <a:lnTo>
                      <a:pt x="719" y="74"/>
                    </a:lnTo>
                    <a:lnTo>
                      <a:pt x="733" y="90"/>
                    </a:lnTo>
                    <a:lnTo>
                      <a:pt x="747" y="109"/>
                    </a:lnTo>
                    <a:lnTo>
                      <a:pt x="759" y="127"/>
                    </a:lnTo>
                    <a:lnTo>
                      <a:pt x="772" y="148"/>
                    </a:lnTo>
                    <a:lnTo>
                      <a:pt x="784" y="170"/>
                    </a:lnTo>
                    <a:lnTo>
                      <a:pt x="795" y="193"/>
                    </a:lnTo>
                    <a:lnTo>
                      <a:pt x="806" y="218"/>
                    </a:lnTo>
                    <a:lnTo>
                      <a:pt x="806" y="218"/>
                    </a:lnTo>
                    <a:lnTo>
                      <a:pt x="817" y="249"/>
                    </a:lnTo>
                    <a:lnTo>
                      <a:pt x="829" y="283"/>
                    </a:lnTo>
                    <a:lnTo>
                      <a:pt x="838" y="318"/>
                    </a:lnTo>
                    <a:lnTo>
                      <a:pt x="847" y="355"/>
                    </a:lnTo>
                    <a:lnTo>
                      <a:pt x="856" y="394"/>
                    </a:lnTo>
                    <a:lnTo>
                      <a:pt x="862" y="434"/>
                    </a:lnTo>
                    <a:lnTo>
                      <a:pt x="868" y="475"/>
                    </a:lnTo>
                    <a:lnTo>
                      <a:pt x="873" y="517"/>
                    </a:lnTo>
                    <a:lnTo>
                      <a:pt x="873" y="517"/>
                    </a:lnTo>
                    <a:lnTo>
                      <a:pt x="953" y="425"/>
                    </a:lnTo>
                    <a:lnTo>
                      <a:pt x="993" y="380"/>
                    </a:lnTo>
                    <a:lnTo>
                      <a:pt x="993" y="380"/>
                    </a:lnTo>
                    <a:lnTo>
                      <a:pt x="986" y="411"/>
                    </a:lnTo>
                    <a:lnTo>
                      <a:pt x="978" y="443"/>
                    </a:lnTo>
                    <a:lnTo>
                      <a:pt x="973" y="476"/>
                    </a:lnTo>
                    <a:lnTo>
                      <a:pt x="967" y="510"/>
                    </a:lnTo>
                    <a:lnTo>
                      <a:pt x="963" y="543"/>
                    </a:lnTo>
                    <a:lnTo>
                      <a:pt x="960" y="579"/>
                    </a:lnTo>
                    <a:lnTo>
                      <a:pt x="955" y="650"/>
                    </a:lnTo>
                    <a:lnTo>
                      <a:pt x="949" y="794"/>
                    </a:lnTo>
                    <a:lnTo>
                      <a:pt x="945" y="865"/>
                    </a:lnTo>
                    <a:lnTo>
                      <a:pt x="941" y="901"/>
                    </a:lnTo>
                    <a:lnTo>
                      <a:pt x="938" y="936"/>
                    </a:lnTo>
                    <a:lnTo>
                      <a:pt x="934" y="970"/>
                    </a:lnTo>
                    <a:lnTo>
                      <a:pt x="928" y="1004"/>
                    </a:lnTo>
                    <a:lnTo>
                      <a:pt x="923" y="1036"/>
                    </a:lnTo>
                    <a:lnTo>
                      <a:pt x="915" y="1068"/>
                    </a:lnTo>
                    <a:lnTo>
                      <a:pt x="906" y="1098"/>
                    </a:lnTo>
                    <a:lnTo>
                      <a:pt x="895" y="1127"/>
                    </a:lnTo>
                    <a:lnTo>
                      <a:pt x="883" y="1155"/>
                    </a:lnTo>
                    <a:lnTo>
                      <a:pt x="869" y="1182"/>
                    </a:lnTo>
                    <a:lnTo>
                      <a:pt x="853" y="1208"/>
                    </a:lnTo>
                    <a:lnTo>
                      <a:pt x="844" y="1220"/>
                    </a:lnTo>
                    <a:lnTo>
                      <a:pt x="835" y="1232"/>
                    </a:lnTo>
                    <a:lnTo>
                      <a:pt x="825" y="1243"/>
                    </a:lnTo>
                    <a:lnTo>
                      <a:pt x="814" y="1254"/>
                    </a:lnTo>
                    <a:lnTo>
                      <a:pt x="804" y="1263"/>
                    </a:lnTo>
                    <a:lnTo>
                      <a:pt x="792" y="1274"/>
                    </a:lnTo>
                    <a:lnTo>
                      <a:pt x="780" y="1283"/>
                    </a:lnTo>
                    <a:lnTo>
                      <a:pt x="767" y="1291"/>
                    </a:lnTo>
                    <a:lnTo>
                      <a:pt x="753" y="1300"/>
                    </a:lnTo>
                    <a:lnTo>
                      <a:pt x="739" y="1309"/>
                    </a:lnTo>
                    <a:lnTo>
                      <a:pt x="723" y="1315"/>
                    </a:lnTo>
                    <a:lnTo>
                      <a:pt x="708" y="1323"/>
                    </a:lnTo>
                    <a:lnTo>
                      <a:pt x="692" y="1328"/>
                    </a:lnTo>
                    <a:lnTo>
                      <a:pt x="675" y="1335"/>
                    </a:lnTo>
                    <a:lnTo>
                      <a:pt x="675" y="1494"/>
                    </a:lnTo>
                    <a:lnTo>
                      <a:pt x="447" y="1494"/>
                    </a:lnTo>
                    <a:lnTo>
                      <a:pt x="447" y="1368"/>
                    </a:lnTo>
                    <a:lnTo>
                      <a:pt x="447" y="1368"/>
                    </a:lnTo>
                    <a:lnTo>
                      <a:pt x="430" y="1365"/>
                    </a:lnTo>
                    <a:lnTo>
                      <a:pt x="412" y="1361"/>
                    </a:lnTo>
                    <a:lnTo>
                      <a:pt x="396" y="1355"/>
                    </a:lnTo>
                    <a:lnTo>
                      <a:pt x="381" y="1350"/>
                    </a:lnTo>
                    <a:lnTo>
                      <a:pt x="367" y="1343"/>
                    </a:lnTo>
                    <a:lnTo>
                      <a:pt x="353" y="1337"/>
                    </a:lnTo>
                    <a:lnTo>
                      <a:pt x="340" y="1329"/>
                    </a:lnTo>
                    <a:lnTo>
                      <a:pt x="328" y="1321"/>
                    </a:lnTo>
                    <a:lnTo>
                      <a:pt x="316" y="1311"/>
                    </a:lnTo>
                    <a:lnTo>
                      <a:pt x="305" y="1302"/>
                    </a:lnTo>
                    <a:lnTo>
                      <a:pt x="294" y="1291"/>
                    </a:lnTo>
                    <a:lnTo>
                      <a:pt x="284" y="1281"/>
                    </a:lnTo>
                    <a:lnTo>
                      <a:pt x="276" y="1270"/>
                    </a:lnTo>
                    <a:lnTo>
                      <a:pt x="267" y="1258"/>
                    </a:lnTo>
                    <a:lnTo>
                      <a:pt x="258" y="1245"/>
                    </a:lnTo>
                    <a:lnTo>
                      <a:pt x="251" y="1232"/>
                    </a:lnTo>
                    <a:lnTo>
                      <a:pt x="238" y="1205"/>
                    </a:lnTo>
                    <a:lnTo>
                      <a:pt x="226" y="1176"/>
                    </a:lnTo>
                    <a:lnTo>
                      <a:pt x="215" y="1144"/>
                    </a:lnTo>
                    <a:lnTo>
                      <a:pt x="206" y="1112"/>
                    </a:lnTo>
                    <a:lnTo>
                      <a:pt x="199" y="1078"/>
                    </a:lnTo>
                    <a:lnTo>
                      <a:pt x="192" y="1043"/>
                    </a:lnTo>
                    <a:lnTo>
                      <a:pt x="186" y="1007"/>
                    </a:lnTo>
                    <a:lnTo>
                      <a:pt x="180" y="969"/>
                    </a:lnTo>
                    <a:lnTo>
                      <a:pt x="169" y="891"/>
                    </a:lnTo>
                    <a:lnTo>
                      <a:pt x="159" y="811"/>
                    </a:lnTo>
                    <a:lnTo>
                      <a:pt x="153" y="771"/>
                    </a:lnTo>
                    <a:lnTo>
                      <a:pt x="147" y="730"/>
                    </a:lnTo>
                    <a:lnTo>
                      <a:pt x="139" y="689"/>
                    </a:lnTo>
                    <a:lnTo>
                      <a:pt x="130" y="648"/>
                    </a:lnTo>
                    <a:lnTo>
                      <a:pt x="121" y="607"/>
                    </a:lnTo>
                    <a:lnTo>
                      <a:pt x="110" y="567"/>
                    </a:lnTo>
                    <a:lnTo>
                      <a:pt x="97" y="527"/>
                    </a:lnTo>
                    <a:lnTo>
                      <a:pt x="82" y="488"/>
                    </a:lnTo>
                    <a:lnTo>
                      <a:pt x="65" y="449"/>
                    </a:lnTo>
                    <a:lnTo>
                      <a:pt x="46" y="411"/>
                    </a:lnTo>
                    <a:lnTo>
                      <a:pt x="35" y="392"/>
                    </a:lnTo>
                    <a:lnTo>
                      <a:pt x="24" y="375"/>
                    </a:lnTo>
                    <a:lnTo>
                      <a:pt x="12" y="356"/>
                    </a:lnTo>
                    <a:lnTo>
                      <a:pt x="0" y="338"/>
                    </a:lnTo>
                    <a:lnTo>
                      <a:pt x="0" y="338"/>
                    </a:lnTo>
                    <a:lnTo>
                      <a:pt x="42" y="354"/>
                    </a:lnTo>
                    <a:lnTo>
                      <a:pt x="82" y="370"/>
                    </a:lnTo>
                    <a:lnTo>
                      <a:pt x="119" y="388"/>
                    </a:lnTo>
                    <a:lnTo>
                      <a:pt x="154" y="406"/>
                    </a:lnTo>
                    <a:lnTo>
                      <a:pt x="187" y="424"/>
                    </a:lnTo>
                    <a:lnTo>
                      <a:pt x="217" y="444"/>
                    </a:lnTo>
                    <a:lnTo>
                      <a:pt x="245" y="464"/>
                    </a:lnTo>
                    <a:lnTo>
                      <a:pt x="271" y="486"/>
                    </a:lnTo>
                    <a:lnTo>
                      <a:pt x="271" y="486"/>
                    </a:lnTo>
                    <a:lnTo>
                      <a:pt x="277" y="448"/>
                    </a:lnTo>
                    <a:lnTo>
                      <a:pt x="282" y="411"/>
                    </a:lnTo>
                    <a:lnTo>
                      <a:pt x="290" y="376"/>
                    </a:lnTo>
                    <a:lnTo>
                      <a:pt x="297" y="341"/>
                    </a:lnTo>
                    <a:lnTo>
                      <a:pt x="306" y="309"/>
                    </a:lnTo>
                    <a:lnTo>
                      <a:pt x="315" y="276"/>
                    </a:lnTo>
                    <a:lnTo>
                      <a:pt x="325" y="246"/>
                    </a:lnTo>
                    <a:lnTo>
                      <a:pt x="336" y="218"/>
                    </a:lnTo>
                    <a:lnTo>
                      <a:pt x="336" y="218"/>
                    </a:lnTo>
                    <a:lnTo>
                      <a:pt x="346" y="193"/>
                    </a:lnTo>
                    <a:lnTo>
                      <a:pt x="358" y="170"/>
                    </a:lnTo>
                    <a:lnTo>
                      <a:pt x="369" y="148"/>
                    </a:lnTo>
                    <a:lnTo>
                      <a:pt x="382" y="127"/>
                    </a:lnTo>
                    <a:lnTo>
                      <a:pt x="395" y="109"/>
                    </a:lnTo>
                    <a:lnTo>
                      <a:pt x="408" y="90"/>
                    </a:lnTo>
                    <a:lnTo>
                      <a:pt x="422" y="74"/>
                    </a:lnTo>
                    <a:lnTo>
                      <a:pt x="437" y="59"/>
                    </a:lnTo>
                    <a:lnTo>
                      <a:pt x="451" y="46"/>
                    </a:lnTo>
                    <a:lnTo>
                      <a:pt x="468" y="34"/>
                    </a:lnTo>
                    <a:lnTo>
                      <a:pt x="484" y="24"/>
                    </a:lnTo>
                    <a:lnTo>
                      <a:pt x="500" y="16"/>
                    </a:lnTo>
                    <a:lnTo>
                      <a:pt x="517" y="9"/>
                    </a:lnTo>
                    <a:lnTo>
                      <a:pt x="535" y="5"/>
                    </a:lnTo>
                    <a:lnTo>
                      <a:pt x="552" y="2"/>
                    </a:lnTo>
                    <a:lnTo>
                      <a:pt x="571" y="0"/>
                    </a:lnTo>
                    <a:lnTo>
                      <a:pt x="571" y="0"/>
                    </a:lnTo>
                    <a:close/>
                    <a:moveTo>
                      <a:pt x="603" y="1031"/>
                    </a:moveTo>
                    <a:lnTo>
                      <a:pt x="667" y="1031"/>
                    </a:lnTo>
                    <a:lnTo>
                      <a:pt x="667" y="1031"/>
                    </a:lnTo>
                    <a:lnTo>
                      <a:pt x="676" y="1006"/>
                    </a:lnTo>
                    <a:lnTo>
                      <a:pt x="684" y="979"/>
                    </a:lnTo>
                    <a:lnTo>
                      <a:pt x="629" y="979"/>
                    </a:lnTo>
                    <a:lnTo>
                      <a:pt x="629" y="979"/>
                    </a:lnTo>
                    <a:lnTo>
                      <a:pt x="629" y="902"/>
                    </a:lnTo>
                    <a:lnTo>
                      <a:pt x="704" y="902"/>
                    </a:lnTo>
                    <a:lnTo>
                      <a:pt x="704" y="902"/>
                    </a:lnTo>
                    <a:lnTo>
                      <a:pt x="709" y="876"/>
                    </a:lnTo>
                    <a:lnTo>
                      <a:pt x="714" y="850"/>
                    </a:lnTo>
                    <a:lnTo>
                      <a:pt x="655" y="850"/>
                    </a:lnTo>
                    <a:lnTo>
                      <a:pt x="655" y="850"/>
                    </a:lnTo>
                    <a:lnTo>
                      <a:pt x="655" y="772"/>
                    </a:lnTo>
                    <a:lnTo>
                      <a:pt x="722" y="772"/>
                    </a:lnTo>
                    <a:lnTo>
                      <a:pt x="722" y="772"/>
                    </a:lnTo>
                    <a:lnTo>
                      <a:pt x="726" y="721"/>
                    </a:lnTo>
                    <a:lnTo>
                      <a:pt x="655" y="721"/>
                    </a:lnTo>
                    <a:lnTo>
                      <a:pt x="655" y="721"/>
                    </a:lnTo>
                    <a:lnTo>
                      <a:pt x="655" y="644"/>
                    </a:lnTo>
                    <a:lnTo>
                      <a:pt x="728" y="644"/>
                    </a:lnTo>
                    <a:lnTo>
                      <a:pt x="728" y="644"/>
                    </a:lnTo>
                    <a:lnTo>
                      <a:pt x="727" y="592"/>
                    </a:lnTo>
                    <a:lnTo>
                      <a:pt x="655" y="592"/>
                    </a:lnTo>
                    <a:lnTo>
                      <a:pt x="655" y="592"/>
                    </a:lnTo>
                    <a:lnTo>
                      <a:pt x="655" y="515"/>
                    </a:lnTo>
                    <a:lnTo>
                      <a:pt x="720" y="515"/>
                    </a:lnTo>
                    <a:lnTo>
                      <a:pt x="720" y="515"/>
                    </a:lnTo>
                    <a:lnTo>
                      <a:pt x="718" y="489"/>
                    </a:lnTo>
                    <a:lnTo>
                      <a:pt x="714" y="463"/>
                    </a:lnTo>
                    <a:lnTo>
                      <a:pt x="629" y="463"/>
                    </a:lnTo>
                    <a:lnTo>
                      <a:pt x="629" y="463"/>
                    </a:lnTo>
                    <a:lnTo>
                      <a:pt x="629" y="386"/>
                    </a:lnTo>
                    <a:lnTo>
                      <a:pt x="700" y="386"/>
                    </a:lnTo>
                    <a:lnTo>
                      <a:pt x="700" y="386"/>
                    </a:lnTo>
                    <a:lnTo>
                      <a:pt x="693" y="359"/>
                    </a:lnTo>
                    <a:lnTo>
                      <a:pt x="685" y="335"/>
                    </a:lnTo>
                    <a:lnTo>
                      <a:pt x="603" y="335"/>
                    </a:lnTo>
                    <a:lnTo>
                      <a:pt x="603" y="257"/>
                    </a:lnTo>
                    <a:lnTo>
                      <a:pt x="658" y="257"/>
                    </a:lnTo>
                    <a:lnTo>
                      <a:pt x="658" y="257"/>
                    </a:lnTo>
                    <a:lnTo>
                      <a:pt x="647" y="234"/>
                    </a:lnTo>
                    <a:lnTo>
                      <a:pt x="637" y="213"/>
                    </a:lnTo>
                    <a:lnTo>
                      <a:pt x="626" y="195"/>
                    </a:lnTo>
                    <a:lnTo>
                      <a:pt x="614" y="180"/>
                    </a:lnTo>
                    <a:lnTo>
                      <a:pt x="603" y="168"/>
                    </a:lnTo>
                    <a:lnTo>
                      <a:pt x="592" y="159"/>
                    </a:lnTo>
                    <a:lnTo>
                      <a:pt x="587" y="156"/>
                    </a:lnTo>
                    <a:lnTo>
                      <a:pt x="581" y="154"/>
                    </a:lnTo>
                    <a:lnTo>
                      <a:pt x="576" y="153"/>
                    </a:lnTo>
                    <a:lnTo>
                      <a:pt x="571" y="152"/>
                    </a:lnTo>
                    <a:lnTo>
                      <a:pt x="571" y="152"/>
                    </a:lnTo>
                    <a:lnTo>
                      <a:pt x="565" y="153"/>
                    </a:lnTo>
                    <a:lnTo>
                      <a:pt x="559" y="154"/>
                    </a:lnTo>
                    <a:lnTo>
                      <a:pt x="553" y="157"/>
                    </a:lnTo>
                    <a:lnTo>
                      <a:pt x="548" y="160"/>
                    </a:lnTo>
                    <a:lnTo>
                      <a:pt x="541" y="165"/>
                    </a:lnTo>
                    <a:lnTo>
                      <a:pt x="536" y="170"/>
                    </a:lnTo>
                    <a:lnTo>
                      <a:pt x="523" y="184"/>
                    </a:lnTo>
                    <a:lnTo>
                      <a:pt x="511" y="203"/>
                    </a:lnTo>
                    <a:lnTo>
                      <a:pt x="499" y="223"/>
                    </a:lnTo>
                    <a:lnTo>
                      <a:pt x="488" y="247"/>
                    </a:lnTo>
                    <a:lnTo>
                      <a:pt x="476" y="274"/>
                    </a:lnTo>
                    <a:lnTo>
                      <a:pt x="476" y="274"/>
                    </a:lnTo>
                    <a:lnTo>
                      <a:pt x="462" y="312"/>
                    </a:lnTo>
                    <a:lnTo>
                      <a:pt x="450" y="353"/>
                    </a:lnTo>
                    <a:lnTo>
                      <a:pt x="439" y="397"/>
                    </a:lnTo>
                    <a:lnTo>
                      <a:pt x="431" y="444"/>
                    </a:lnTo>
                    <a:lnTo>
                      <a:pt x="423" y="494"/>
                    </a:lnTo>
                    <a:lnTo>
                      <a:pt x="418" y="545"/>
                    </a:lnTo>
                    <a:lnTo>
                      <a:pt x="414" y="599"/>
                    </a:lnTo>
                    <a:lnTo>
                      <a:pt x="413" y="655"/>
                    </a:lnTo>
                    <a:lnTo>
                      <a:pt x="413" y="660"/>
                    </a:lnTo>
                    <a:lnTo>
                      <a:pt x="413" y="660"/>
                    </a:lnTo>
                    <a:lnTo>
                      <a:pt x="427" y="686"/>
                    </a:lnTo>
                    <a:lnTo>
                      <a:pt x="440" y="712"/>
                    </a:lnTo>
                    <a:lnTo>
                      <a:pt x="452" y="739"/>
                    </a:lnTo>
                    <a:lnTo>
                      <a:pt x="464" y="766"/>
                    </a:lnTo>
                    <a:lnTo>
                      <a:pt x="487" y="823"/>
                    </a:lnTo>
                    <a:lnTo>
                      <a:pt x="508" y="883"/>
                    </a:lnTo>
                    <a:lnTo>
                      <a:pt x="528" y="945"/>
                    </a:lnTo>
                    <a:lnTo>
                      <a:pt x="550" y="1010"/>
                    </a:lnTo>
                    <a:lnTo>
                      <a:pt x="572" y="1077"/>
                    </a:lnTo>
                    <a:lnTo>
                      <a:pt x="595" y="1148"/>
                    </a:lnTo>
                    <a:lnTo>
                      <a:pt x="595" y="1148"/>
                    </a:lnTo>
                    <a:lnTo>
                      <a:pt x="604" y="1140"/>
                    </a:lnTo>
                    <a:lnTo>
                      <a:pt x="613" y="1130"/>
                    </a:lnTo>
                    <a:lnTo>
                      <a:pt x="620" y="1121"/>
                    </a:lnTo>
                    <a:lnTo>
                      <a:pt x="629" y="1108"/>
                    </a:lnTo>
                    <a:lnTo>
                      <a:pt x="603" y="1108"/>
                    </a:lnTo>
                    <a:lnTo>
                      <a:pt x="603" y="103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AE267827-3607-4471-9306-A8176102E669}"/>
                </a:ext>
              </a:extLst>
            </p:cNvPr>
            <p:cNvGrpSpPr/>
            <p:nvPr/>
          </p:nvGrpSpPr>
          <p:grpSpPr>
            <a:xfrm>
              <a:off x="5838794" y="5568688"/>
              <a:ext cx="168455" cy="162849"/>
              <a:chOff x="11694227" y="1950379"/>
              <a:chExt cx="156960" cy="128647"/>
            </a:xfrm>
          </p:grpSpPr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B15601B0-6662-4742-BDC3-4FE4ACA9FF4D}"/>
                  </a:ext>
                </a:extLst>
              </p:cNvPr>
              <p:cNvSpPr/>
              <p:nvPr/>
            </p:nvSpPr>
            <p:spPr bwMode="ltGray">
              <a:xfrm>
                <a:off x="11694227" y="1950379"/>
                <a:ext cx="156960" cy="128647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3175">
                <a:solidFill>
                  <a:srgbClr val="968C6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23" name="Freeform 677">
                <a:extLst>
                  <a:ext uri="{FF2B5EF4-FFF2-40B4-BE49-F238E27FC236}">
                    <a16:creationId xmlns:a16="http://schemas.microsoft.com/office/drawing/2014/main" id="{3D51F983-798B-46DB-AAD0-A5C3B2643D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32196" y="1964520"/>
                <a:ext cx="81022" cy="99778"/>
              </a:xfrm>
              <a:custGeom>
                <a:avLst/>
                <a:gdLst>
                  <a:gd name="T0" fmla="*/ 606 w 993"/>
                  <a:gd name="T1" fmla="*/ 5 h 1494"/>
                  <a:gd name="T2" fmla="*/ 674 w 993"/>
                  <a:gd name="T3" fmla="*/ 34 h 1494"/>
                  <a:gd name="T4" fmla="*/ 733 w 993"/>
                  <a:gd name="T5" fmla="*/ 90 h 1494"/>
                  <a:gd name="T6" fmla="*/ 784 w 993"/>
                  <a:gd name="T7" fmla="*/ 170 h 1494"/>
                  <a:gd name="T8" fmla="*/ 817 w 993"/>
                  <a:gd name="T9" fmla="*/ 249 h 1494"/>
                  <a:gd name="T10" fmla="*/ 856 w 993"/>
                  <a:gd name="T11" fmla="*/ 394 h 1494"/>
                  <a:gd name="T12" fmla="*/ 873 w 993"/>
                  <a:gd name="T13" fmla="*/ 517 h 1494"/>
                  <a:gd name="T14" fmla="*/ 986 w 993"/>
                  <a:gd name="T15" fmla="*/ 411 h 1494"/>
                  <a:gd name="T16" fmla="*/ 963 w 993"/>
                  <a:gd name="T17" fmla="*/ 543 h 1494"/>
                  <a:gd name="T18" fmla="*/ 945 w 993"/>
                  <a:gd name="T19" fmla="*/ 865 h 1494"/>
                  <a:gd name="T20" fmla="*/ 928 w 993"/>
                  <a:gd name="T21" fmla="*/ 1004 h 1494"/>
                  <a:gd name="T22" fmla="*/ 895 w 993"/>
                  <a:gd name="T23" fmla="*/ 1127 h 1494"/>
                  <a:gd name="T24" fmla="*/ 844 w 993"/>
                  <a:gd name="T25" fmla="*/ 1220 h 1494"/>
                  <a:gd name="T26" fmla="*/ 804 w 993"/>
                  <a:gd name="T27" fmla="*/ 1263 h 1494"/>
                  <a:gd name="T28" fmla="*/ 753 w 993"/>
                  <a:gd name="T29" fmla="*/ 1300 h 1494"/>
                  <a:gd name="T30" fmla="*/ 692 w 993"/>
                  <a:gd name="T31" fmla="*/ 1328 h 1494"/>
                  <a:gd name="T32" fmla="*/ 447 w 993"/>
                  <a:gd name="T33" fmla="*/ 1368 h 1494"/>
                  <a:gd name="T34" fmla="*/ 396 w 993"/>
                  <a:gd name="T35" fmla="*/ 1355 h 1494"/>
                  <a:gd name="T36" fmla="*/ 340 w 993"/>
                  <a:gd name="T37" fmla="*/ 1329 h 1494"/>
                  <a:gd name="T38" fmla="*/ 294 w 993"/>
                  <a:gd name="T39" fmla="*/ 1291 h 1494"/>
                  <a:gd name="T40" fmla="*/ 258 w 993"/>
                  <a:gd name="T41" fmla="*/ 1245 h 1494"/>
                  <a:gd name="T42" fmla="*/ 215 w 993"/>
                  <a:gd name="T43" fmla="*/ 1144 h 1494"/>
                  <a:gd name="T44" fmla="*/ 186 w 993"/>
                  <a:gd name="T45" fmla="*/ 1007 h 1494"/>
                  <a:gd name="T46" fmla="*/ 153 w 993"/>
                  <a:gd name="T47" fmla="*/ 771 h 1494"/>
                  <a:gd name="T48" fmla="*/ 121 w 993"/>
                  <a:gd name="T49" fmla="*/ 607 h 1494"/>
                  <a:gd name="T50" fmla="*/ 65 w 993"/>
                  <a:gd name="T51" fmla="*/ 449 h 1494"/>
                  <a:gd name="T52" fmla="*/ 12 w 993"/>
                  <a:gd name="T53" fmla="*/ 356 h 1494"/>
                  <a:gd name="T54" fmla="*/ 82 w 993"/>
                  <a:gd name="T55" fmla="*/ 370 h 1494"/>
                  <a:gd name="T56" fmla="*/ 217 w 993"/>
                  <a:gd name="T57" fmla="*/ 444 h 1494"/>
                  <a:gd name="T58" fmla="*/ 277 w 993"/>
                  <a:gd name="T59" fmla="*/ 448 h 1494"/>
                  <a:gd name="T60" fmla="*/ 306 w 993"/>
                  <a:gd name="T61" fmla="*/ 309 h 1494"/>
                  <a:gd name="T62" fmla="*/ 336 w 993"/>
                  <a:gd name="T63" fmla="*/ 218 h 1494"/>
                  <a:gd name="T64" fmla="*/ 382 w 993"/>
                  <a:gd name="T65" fmla="*/ 127 h 1494"/>
                  <a:gd name="T66" fmla="*/ 437 w 993"/>
                  <a:gd name="T67" fmla="*/ 59 h 1494"/>
                  <a:gd name="T68" fmla="*/ 500 w 993"/>
                  <a:gd name="T69" fmla="*/ 16 h 1494"/>
                  <a:gd name="T70" fmla="*/ 571 w 993"/>
                  <a:gd name="T71" fmla="*/ 0 h 1494"/>
                  <a:gd name="T72" fmla="*/ 667 w 993"/>
                  <a:gd name="T73" fmla="*/ 1031 h 1494"/>
                  <a:gd name="T74" fmla="*/ 629 w 993"/>
                  <a:gd name="T75" fmla="*/ 979 h 1494"/>
                  <a:gd name="T76" fmla="*/ 709 w 993"/>
                  <a:gd name="T77" fmla="*/ 876 h 1494"/>
                  <a:gd name="T78" fmla="*/ 655 w 993"/>
                  <a:gd name="T79" fmla="*/ 772 h 1494"/>
                  <a:gd name="T80" fmla="*/ 655 w 993"/>
                  <a:gd name="T81" fmla="*/ 721 h 1494"/>
                  <a:gd name="T82" fmla="*/ 728 w 993"/>
                  <a:gd name="T83" fmla="*/ 644 h 1494"/>
                  <a:gd name="T84" fmla="*/ 655 w 993"/>
                  <a:gd name="T85" fmla="*/ 515 h 1494"/>
                  <a:gd name="T86" fmla="*/ 714 w 993"/>
                  <a:gd name="T87" fmla="*/ 463 h 1494"/>
                  <a:gd name="T88" fmla="*/ 700 w 993"/>
                  <a:gd name="T89" fmla="*/ 386 h 1494"/>
                  <a:gd name="T90" fmla="*/ 603 w 993"/>
                  <a:gd name="T91" fmla="*/ 335 h 1494"/>
                  <a:gd name="T92" fmla="*/ 647 w 993"/>
                  <a:gd name="T93" fmla="*/ 234 h 1494"/>
                  <a:gd name="T94" fmla="*/ 603 w 993"/>
                  <a:gd name="T95" fmla="*/ 168 h 1494"/>
                  <a:gd name="T96" fmla="*/ 576 w 993"/>
                  <a:gd name="T97" fmla="*/ 153 h 1494"/>
                  <a:gd name="T98" fmla="*/ 559 w 993"/>
                  <a:gd name="T99" fmla="*/ 154 h 1494"/>
                  <a:gd name="T100" fmla="*/ 536 w 993"/>
                  <a:gd name="T101" fmla="*/ 170 h 1494"/>
                  <a:gd name="T102" fmla="*/ 488 w 993"/>
                  <a:gd name="T103" fmla="*/ 247 h 1494"/>
                  <a:gd name="T104" fmla="*/ 450 w 993"/>
                  <a:gd name="T105" fmla="*/ 353 h 1494"/>
                  <a:gd name="T106" fmla="*/ 418 w 993"/>
                  <a:gd name="T107" fmla="*/ 545 h 1494"/>
                  <a:gd name="T108" fmla="*/ 413 w 993"/>
                  <a:gd name="T109" fmla="*/ 660 h 1494"/>
                  <a:gd name="T110" fmla="*/ 464 w 993"/>
                  <a:gd name="T111" fmla="*/ 766 h 1494"/>
                  <a:gd name="T112" fmla="*/ 550 w 993"/>
                  <a:gd name="T113" fmla="*/ 1010 h 1494"/>
                  <a:gd name="T114" fmla="*/ 604 w 993"/>
                  <a:gd name="T115" fmla="*/ 1140 h 1494"/>
                  <a:gd name="T116" fmla="*/ 603 w 993"/>
                  <a:gd name="T117" fmla="*/ 1108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93" h="1494">
                    <a:moveTo>
                      <a:pt x="571" y="0"/>
                    </a:moveTo>
                    <a:lnTo>
                      <a:pt x="571" y="0"/>
                    </a:lnTo>
                    <a:lnTo>
                      <a:pt x="589" y="2"/>
                    </a:lnTo>
                    <a:lnTo>
                      <a:pt x="606" y="5"/>
                    </a:lnTo>
                    <a:lnTo>
                      <a:pt x="624" y="9"/>
                    </a:lnTo>
                    <a:lnTo>
                      <a:pt x="641" y="16"/>
                    </a:lnTo>
                    <a:lnTo>
                      <a:pt x="657" y="24"/>
                    </a:lnTo>
                    <a:lnTo>
                      <a:pt x="674" y="34"/>
                    </a:lnTo>
                    <a:lnTo>
                      <a:pt x="690" y="46"/>
                    </a:lnTo>
                    <a:lnTo>
                      <a:pt x="705" y="59"/>
                    </a:lnTo>
                    <a:lnTo>
                      <a:pt x="719" y="74"/>
                    </a:lnTo>
                    <a:lnTo>
                      <a:pt x="733" y="90"/>
                    </a:lnTo>
                    <a:lnTo>
                      <a:pt x="747" y="109"/>
                    </a:lnTo>
                    <a:lnTo>
                      <a:pt x="759" y="127"/>
                    </a:lnTo>
                    <a:lnTo>
                      <a:pt x="772" y="148"/>
                    </a:lnTo>
                    <a:lnTo>
                      <a:pt x="784" y="170"/>
                    </a:lnTo>
                    <a:lnTo>
                      <a:pt x="795" y="193"/>
                    </a:lnTo>
                    <a:lnTo>
                      <a:pt x="806" y="218"/>
                    </a:lnTo>
                    <a:lnTo>
                      <a:pt x="806" y="218"/>
                    </a:lnTo>
                    <a:lnTo>
                      <a:pt x="817" y="249"/>
                    </a:lnTo>
                    <a:lnTo>
                      <a:pt x="829" y="283"/>
                    </a:lnTo>
                    <a:lnTo>
                      <a:pt x="838" y="318"/>
                    </a:lnTo>
                    <a:lnTo>
                      <a:pt x="847" y="355"/>
                    </a:lnTo>
                    <a:lnTo>
                      <a:pt x="856" y="394"/>
                    </a:lnTo>
                    <a:lnTo>
                      <a:pt x="862" y="434"/>
                    </a:lnTo>
                    <a:lnTo>
                      <a:pt x="868" y="475"/>
                    </a:lnTo>
                    <a:lnTo>
                      <a:pt x="873" y="517"/>
                    </a:lnTo>
                    <a:lnTo>
                      <a:pt x="873" y="517"/>
                    </a:lnTo>
                    <a:lnTo>
                      <a:pt x="953" y="425"/>
                    </a:lnTo>
                    <a:lnTo>
                      <a:pt x="993" y="380"/>
                    </a:lnTo>
                    <a:lnTo>
                      <a:pt x="993" y="380"/>
                    </a:lnTo>
                    <a:lnTo>
                      <a:pt x="986" y="411"/>
                    </a:lnTo>
                    <a:lnTo>
                      <a:pt x="978" y="443"/>
                    </a:lnTo>
                    <a:lnTo>
                      <a:pt x="973" y="476"/>
                    </a:lnTo>
                    <a:lnTo>
                      <a:pt x="967" y="510"/>
                    </a:lnTo>
                    <a:lnTo>
                      <a:pt x="963" y="543"/>
                    </a:lnTo>
                    <a:lnTo>
                      <a:pt x="960" y="579"/>
                    </a:lnTo>
                    <a:lnTo>
                      <a:pt x="955" y="650"/>
                    </a:lnTo>
                    <a:lnTo>
                      <a:pt x="949" y="794"/>
                    </a:lnTo>
                    <a:lnTo>
                      <a:pt x="945" y="865"/>
                    </a:lnTo>
                    <a:lnTo>
                      <a:pt x="941" y="901"/>
                    </a:lnTo>
                    <a:lnTo>
                      <a:pt x="938" y="936"/>
                    </a:lnTo>
                    <a:lnTo>
                      <a:pt x="934" y="970"/>
                    </a:lnTo>
                    <a:lnTo>
                      <a:pt x="928" y="1004"/>
                    </a:lnTo>
                    <a:lnTo>
                      <a:pt x="923" y="1036"/>
                    </a:lnTo>
                    <a:lnTo>
                      <a:pt x="915" y="1068"/>
                    </a:lnTo>
                    <a:lnTo>
                      <a:pt x="906" y="1098"/>
                    </a:lnTo>
                    <a:lnTo>
                      <a:pt x="895" y="1127"/>
                    </a:lnTo>
                    <a:lnTo>
                      <a:pt x="883" y="1155"/>
                    </a:lnTo>
                    <a:lnTo>
                      <a:pt x="869" y="1182"/>
                    </a:lnTo>
                    <a:lnTo>
                      <a:pt x="853" y="1208"/>
                    </a:lnTo>
                    <a:lnTo>
                      <a:pt x="844" y="1220"/>
                    </a:lnTo>
                    <a:lnTo>
                      <a:pt x="835" y="1232"/>
                    </a:lnTo>
                    <a:lnTo>
                      <a:pt x="825" y="1243"/>
                    </a:lnTo>
                    <a:lnTo>
                      <a:pt x="814" y="1254"/>
                    </a:lnTo>
                    <a:lnTo>
                      <a:pt x="804" y="1263"/>
                    </a:lnTo>
                    <a:lnTo>
                      <a:pt x="792" y="1274"/>
                    </a:lnTo>
                    <a:lnTo>
                      <a:pt x="780" y="1283"/>
                    </a:lnTo>
                    <a:lnTo>
                      <a:pt x="767" y="1291"/>
                    </a:lnTo>
                    <a:lnTo>
                      <a:pt x="753" y="1300"/>
                    </a:lnTo>
                    <a:lnTo>
                      <a:pt x="739" y="1309"/>
                    </a:lnTo>
                    <a:lnTo>
                      <a:pt x="723" y="1315"/>
                    </a:lnTo>
                    <a:lnTo>
                      <a:pt x="708" y="1323"/>
                    </a:lnTo>
                    <a:lnTo>
                      <a:pt x="692" y="1328"/>
                    </a:lnTo>
                    <a:lnTo>
                      <a:pt x="675" y="1335"/>
                    </a:lnTo>
                    <a:lnTo>
                      <a:pt x="675" y="1494"/>
                    </a:lnTo>
                    <a:lnTo>
                      <a:pt x="447" y="1494"/>
                    </a:lnTo>
                    <a:lnTo>
                      <a:pt x="447" y="1368"/>
                    </a:lnTo>
                    <a:lnTo>
                      <a:pt x="447" y="1368"/>
                    </a:lnTo>
                    <a:lnTo>
                      <a:pt x="430" y="1365"/>
                    </a:lnTo>
                    <a:lnTo>
                      <a:pt x="412" y="1361"/>
                    </a:lnTo>
                    <a:lnTo>
                      <a:pt x="396" y="1355"/>
                    </a:lnTo>
                    <a:lnTo>
                      <a:pt x="381" y="1350"/>
                    </a:lnTo>
                    <a:lnTo>
                      <a:pt x="367" y="1343"/>
                    </a:lnTo>
                    <a:lnTo>
                      <a:pt x="353" y="1337"/>
                    </a:lnTo>
                    <a:lnTo>
                      <a:pt x="340" y="1329"/>
                    </a:lnTo>
                    <a:lnTo>
                      <a:pt x="328" y="1321"/>
                    </a:lnTo>
                    <a:lnTo>
                      <a:pt x="316" y="1311"/>
                    </a:lnTo>
                    <a:lnTo>
                      <a:pt x="305" y="1302"/>
                    </a:lnTo>
                    <a:lnTo>
                      <a:pt x="294" y="1291"/>
                    </a:lnTo>
                    <a:lnTo>
                      <a:pt x="284" y="1281"/>
                    </a:lnTo>
                    <a:lnTo>
                      <a:pt x="276" y="1270"/>
                    </a:lnTo>
                    <a:lnTo>
                      <a:pt x="267" y="1258"/>
                    </a:lnTo>
                    <a:lnTo>
                      <a:pt x="258" y="1245"/>
                    </a:lnTo>
                    <a:lnTo>
                      <a:pt x="251" y="1232"/>
                    </a:lnTo>
                    <a:lnTo>
                      <a:pt x="238" y="1205"/>
                    </a:lnTo>
                    <a:lnTo>
                      <a:pt x="226" y="1176"/>
                    </a:lnTo>
                    <a:lnTo>
                      <a:pt x="215" y="1144"/>
                    </a:lnTo>
                    <a:lnTo>
                      <a:pt x="206" y="1112"/>
                    </a:lnTo>
                    <a:lnTo>
                      <a:pt x="199" y="1078"/>
                    </a:lnTo>
                    <a:lnTo>
                      <a:pt x="192" y="1043"/>
                    </a:lnTo>
                    <a:lnTo>
                      <a:pt x="186" y="1007"/>
                    </a:lnTo>
                    <a:lnTo>
                      <a:pt x="180" y="969"/>
                    </a:lnTo>
                    <a:lnTo>
                      <a:pt x="169" y="891"/>
                    </a:lnTo>
                    <a:lnTo>
                      <a:pt x="159" y="811"/>
                    </a:lnTo>
                    <a:lnTo>
                      <a:pt x="153" y="771"/>
                    </a:lnTo>
                    <a:lnTo>
                      <a:pt x="147" y="730"/>
                    </a:lnTo>
                    <a:lnTo>
                      <a:pt x="139" y="689"/>
                    </a:lnTo>
                    <a:lnTo>
                      <a:pt x="130" y="648"/>
                    </a:lnTo>
                    <a:lnTo>
                      <a:pt x="121" y="607"/>
                    </a:lnTo>
                    <a:lnTo>
                      <a:pt x="110" y="567"/>
                    </a:lnTo>
                    <a:lnTo>
                      <a:pt x="97" y="527"/>
                    </a:lnTo>
                    <a:lnTo>
                      <a:pt x="82" y="488"/>
                    </a:lnTo>
                    <a:lnTo>
                      <a:pt x="65" y="449"/>
                    </a:lnTo>
                    <a:lnTo>
                      <a:pt x="46" y="411"/>
                    </a:lnTo>
                    <a:lnTo>
                      <a:pt x="35" y="392"/>
                    </a:lnTo>
                    <a:lnTo>
                      <a:pt x="24" y="375"/>
                    </a:lnTo>
                    <a:lnTo>
                      <a:pt x="12" y="356"/>
                    </a:lnTo>
                    <a:lnTo>
                      <a:pt x="0" y="338"/>
                    </a:lnTo>
                    <a:lnTo>
                      <a:pt x="0" y="338"/>
                    </a:lnTo>
                    <a:lnTo>
                      <a:pt x="42" y="354"/>
                    </a:lnTo>
                    <a:lnTo>
                      <a:pt x="82" y="370"/>
                    </a:lnTo>
                    <a:lnTo>
                      <a:pt x="119" y="388"/>
                    </a:lnTo>
                    <a:lnTo>
                      <a:pt x="154" y="406"/>
                    </a:lnTo>
                    <a:lnTo>
                      <a:pt x="187" y="424"/>
                    </a:lnTo>
                    <a:lnTo>
                      <a:pt x="217" y="444"/>
                    </a:lnTo>
                    <a:lnTo>
                      <a:pt x="245" y="464"/>
                    </a:lnTo>
                    <a:lnTo>
                      <a:pt x="271" y="486"/>
                    </a:lnTo>
                    <a:lnTo>
                      <a:pt x="271" y="486"/>
                    </a:lnTo>
                    <a:lnTo>
                      <a:pt x="277" y="448"/>
                    </a:lnTo>
                    <a:lnTo>
                      <a:pt x="282" y="411"/>
                    </a:lnTo>
                    <a:lnTo>
                      <a:pt x="290" y="376"/>
                    </a:lnTo>
                    <a:lnTo>
                      <a:pt x="297" y="341"/>
                    </a:lnTo>
                    <a:lnTo>
                      <a:pt x="306" y="309"/>
                    </a:lnTo>
                    <a:lnTo>
                      <a:pt x="315" y="276"/>
                    </a:lnTo>
                    <a:lnTo>
                      <a:pt x="325" y="246"/>
                    </a:lnTo>
                    <a:lnTo>
                      <a:pt x="336" y="218"/>
                    </a:lnTo>
                    <a:lnTo>
                      <a:pt x="336" y="218"/>
                    </a:lnTo>
                    <a:lnTo>
                      <a:pt x="346" y="193"/>
                    </a:lnTo>
                    <a:lnTo>
                      <a:pt x="358" y="170"/>
                    </a:lnTo>
                    <a:lnTo>
                      <a:pt x="369" y="148"/>
                    </a:lnTo>
                    <a:lnTo>
                      <a:pt x="382" y="127"/>
                    </a:lnTo>
                    <a:lnTo>
                      <a:pt x="395" y="109"/>
                    </a:lnTo>
                    <a:lnTo>
                      <a:pt x="408" y="90"/>
                    </a:lnTo>
                    <a:lnTo>
                      <a:pt x="422" y="74"/>
                    </a:lnTo>
                    <a:lnTo>
                      <a:pt x="437" y="59"/>
                    </a:lnTo>
                    <a:lnTo>
                      <a:pt x="451" y="46"/>
                    </a:lnTo>
                    <a:lnTo>
                      <a:pt x="468" y="34"/>
                    </a:lnTo>
                    <a:lnTo>
                      <a:pt x="484" y="24"/>
                    </a:lnTo>
                    <a:lnTo>
                      <a:pt x="500" y="16"/>
                    </a:lnTo>
                    <a:lnTo>
                      <a:pt x="517" y="9"/>
                    </a:lnTo>
                    <a:lnTo>
                      <a:pt x="535" y="5"/>
                    </a:lnTo>
                    <a:lnTo>
                      <a:pt x="552" y="2"/>
                    </a:lnTo>
                    <a:lnTo>
                      <a:pt x="571" y="0"/>
                    </a:lnTo>
                    <a:lnTo>
                      <a:pt x="571" y="0"/>
                    </a:lnTo>
                    <a:close/>
                    <a:moveTo>
                      <a:pt x="603" y="1031"/>
                    </a:moveTo>
                    <a:lnTo>
                      <a:pt x="667" y="1031"/>
                    </a:lnTo>
                    <a:lnTo>
                      <a:pt x="667" y="1031"/>
                    </a:lnTo>
                    <a:lnTo>
                      <a:pt x="676" y="1006"/>
                    </a:lnTo>
                    <a:lnTo>
                      <a:pt x="684" y="979"/>
                    </a:lnTo>
                    <a:lnTo>
                      <a:pt x="629" y="979"/>
                    </a:lnTo>
                    <a:lnTo>
                      <a:pt x="629" y="979"/>
                    </a:lnTo>
                    <a:lnTo>
                      <a:pt x="629" y="902"/>
                    </a:lnTo>
                    <a:lnTo>
                      <a:pt x="704" y="902"/>
                    </a:lnTo>
                    <a:lnTo>
                      <a:pt x="704" y="902"/>
                    </a:lnTo>
                    <a:lnTo>
                      <a:pt x="709" y="876"/>
                    </a:lnTo>
                    <a:lnTo>
                      <a:pt x="714" y="850"/>
                    </a:lnTo>
                    <a:lnTo>
                      <a:pt x="655" y="850"/>
                    </a:lnTo>
                    <a:lnTo>
                      <a:pt x="655" y="850"/>
                    </a:lnTo>
                    <a:lnTo>
                      <a:pt x="655" y="772"/>
                    </a:lnTo>
                    <a:lnTo>
                      <a:pt x="722" y="772"/>
                    </a:lnTo>
                    <a:lnTo>
                      <a:pt x="722" y="772"/>
                    </a:lnTo>
                    <a:lnTo>
                      <a:pt x="726" y="721"/>
                    </a:lnTo>
                    <a:lnTo>
                      <a:pt x="655" y="721"/>
                    </a:lnTo>
                    <a:lnTo>
                      <a:pt x="655" y="721"/>
                    </a:lnTo>
                    <a:lnTo>
                      <a:pt x="655" y="644"/>
                    </a:lnTo>
                    <a:lnTo>
                      <a:pt x="728" y="644"/>
                    </a:lnTo>
                    <a:lnTo>
                      <a:pt x="728" y="644"/>
                    </a:lnTo>
                    <a:lnTo>
                      <a:pt x="727" y="592"/>
                    </a:lnTo>
                    <a:lnTo>
                      <a:pt x="655" y="592"/>
                    </a:lnTo>
                    <a:lnTo>
                      <a:pt x="655" y="592"/>
                    </a:lnTo>
                    <a:lnTo>
                      <a:pt x="655" y="515"/>
                    </a:lnTo>
                    <a:lnTo>
                      <a:pt x="720" y="515"/>
                    </a:lnTo>
                    <a:lnTo>
                      <a:pt x="720" y="515"/>
                    </a:lnTo>
                    <a:lnTo>
                      <a:pt x="718" y="489"/>
                    </a:lnTo>
                    <a:lnTo>
                      <a:pt x="714" y="463"/>
                    </a:lnTo>
                    <a:lnTo>
                      <a:pt x="629" y="463"/>
                    </a:lnTo>
                    <a:lnTo>
                      <a:pt x="629" y="463"/>
                    </a:lnTo>
                    <a:lnTo>
                      <a:pt x="629" y="386"/>
                    </a:lnTo>
                    <a:lnTo>
                      <a:pt x="700" y="386"/>
                    </a:lnTo>
                    <a:lnTo>
                      <a:pt x="700" y="386"/>
                    </a:lnTo>
                    <a:lnTo>
                      <a:pt x="693" y="359"/>
                    </a:lnTo>
                    <a:lnTo>
                      <a:pt x="685" y="335"/>
                    </a:lnTo>
                    <a:lnTo>
                      <a:pt x="603" y="335"/>
                    </a:lnTo>
                    <a:lnTo>
                      <a:pt x="603" y="257"/>
                    </a:lnTo>
                    <a:lnTo>
                      <a:pt x="658" y="257"/>
                    </a:lnTo>
                    <a:lnTo>
                      <a:pt x="658" y="257"/>
                    </a:lnTo>
                    <a:lnTo>
                      <a:pt x="647" y="234"/>
                    </a:lnTo>
                    <a:lnTo>
                      <a:pt x="637" y="213"/>
                    </a:lnTo>
                    <a:lnTo>
                      <a:pt x="626" y="195"/>
                    </a:lnTo>
                    <a:lnTo>
                      <a:pt x="614" y="180"/>
                    </a:lnTo>
                    <a:lnTo>
                      <a:pt x="603" y="168"/>
                    </a:lnTo>
                    <a:lnTo>
                      <a:pt x="592" y="159"/>
                    </a:lnTo>
                    <a:lnTo>
                      <a:pt x="587" y="156"/>
                    </a:lnTo>
                    <a:lnTo>
                      <a:pt x="581" y="154"/>
                    </a:lnTo>
                    <a:lnTo>
                      <a:pt x="576" y="153"/>
                    </a:lnTo>
                    <a:lnTo>
                      <a:pt x="571" y="152"/>
                    </a:lnTo>
                    <a:lnTo>
                      <a:pt x="571" y="152"/>
                    </a:lnTo>
                    <a:lnTo>
                      <a:pt x="565" y="153"/>
                    </a:lnTo>
                    <a:lnTo>
                      <a:pt x="559" y="154"/>
                    </a:lnTo>
                    <a:lnTo>
                      <a:pt x="553" y="157"/>
                    </a:lnTo>
                    <a:lnTo>
                      <a:pt x="548" y="160"/>
                    </a:lnTo>
                    <a:lnTo>
                      <a:pt x="541" y="165"/>
                    </a:lnTo>
                    <a:lnTo>
                      <a:pt x="536" y="170"/>
                    </a:lnTo>
                    <a:lnTo>
                      <a:pt x="523" y="184"/>
                    </a:lnTo>
                    <a:lnTo>
                      <a:pt x="511" y="203"/>
                    </a:lnTo>
                    <a:lnTo>
                      <a:pt x="499" y="223"/>
                    </a:lnTo>
                    <a:lnTo>
                      <a:pt x="488" y="247"/>
                    </a:lnTo>
                    <a:lnTo>
                      <a:pt x="476" y="274"/>
                    </a:lnTo>
                    <a:lnTo>
                      <a:pt x="476" y="274"/>
                    </a:lnTo>
                    <a:lnTo>
                      <a:pt x="462" y="312"/>
                    </a:lnTo>
                    <a:lnTo>
                      <a:pt x="450" y="353"/>
                    </a:lnTo>
                    <a:lnTo>
                      <a:pt x="439" y="397"/>
                    </a:lnTo>
                    <a:lnTo>
                      <a:pt x="431" y="444"/>
                    </a:lnTo>
                    <a:lnTo>
                      <a:pt x="423" y="494"/>
                    </a:lnTo>
                    <a:lnTo>
                      <a:pt x="418" y="545"/>
                    </a:lnTo>
                    <a:lnTo>
                      <a:pt x="414" y="599"/>
                    </a:lnTo>
                    <a:lnTo>
                      <a:pt x="413" y="655"/>
                    </a:lnTo>
                    <a:lnTo>
                      <a:pt x="413" y="660"/>
                    </a:lnTo>
                    <a:lnTo>
                      <a:pt x="413" y="660"/>
                    </a:lnTo>
                    <a:lnTo>
                      <a:pt x="427" y="686"/>
                    </a:lnTo>
                    <a:lnTo>
                      <a:pt x="440" y="712"/>
                    </a:lnTo>
                    <a:lnTo>
                      <a:pt x="452" y="739"/>
                    </a:lnTo>
                    <a:lnTo>
                      <a:pt x="464" y="766"/>
                    </a:lnTo>
                    <a:lnTo>
                      <a:pt x="487" y="823"/>
                    </a:lnTo>
                    <a:lnTo>
                      <a:pt x="508" y="883"/>
                    </a:lnTo>
                    <a:lnTo>
                      <a:pt x="528" y="945"/>
                    </a:lnTo>
                    <a:lnTo>
                      <a:pt x="550" y="1010"/>
                    </a:lnTo>
                    <a:lnTo>
                      <a:pt x="572" y="1077"/>
                    </a:lnTo>
                    <a:lnTo>
                      <a:pt x="595" y="1148"/>
                    </a:lnTo>
                    <a:lnTo>
                      <a:pt x="595" y="1148"/>
                    </a:lnTo>
                    <a:lnTo>
                      <a:pt x="604" y="1140"/>
                    </a:lnTo>
                    <a:lnTo>
                      <a:pt x="613" y="1130"/>
                    </a:lnTo>
                    <a:lnTo>
                      <a:pt x="620" y="1121"/>
                    </a:lnTo>
                    <a:lnTo>
                      <a:pt x="629" y="1108"/>
                    </a:lnTo>
                    <a:lnTo>
                      <a:pt x="603" y="1108"/>
                    </a:lnTo>
                    <a:lnTo>
                      <a:pt x="603" y="103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617A1418-4932-41CF-82DC-CFE3E063B8E8}"/>
                </a:ext>
              </a:extLst>
            </p:cNvPr>
            <p:cNvGrpSpPr/>
            <p:nvPr/>
          </p:nvGrpSpPr>
          <p:grpSpPr>
            <a:xfrm>
              <a:off x="7202938" y="5645180"/>
              <a:ext cx="143619" cy="127597"/>
              <a:chOff x="4472064" y="1117827"/>
              <a:chExt cx="612000" cy="612000"/>
            </a:xfrm>
          </p:grpSpPr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FA0808CE-75BE-4FB0-9600-DC41D34AC617}"/>
                  </a:ext>
                </a:extLst>
              </p:cNvPr>
              <p:cNvSpPr/>
              <p:nvPr/>
            </p:nvSpPr>
            <p:spPr bwMode="ltGray">
              <a:xfrm>
                <a:off x="4472064" y="1117827"/>
                <a:ext cx="612000" cy="612000"/>
              </a:xfrm>
              <a:prstGeom prst="ellipse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1" name="Freeform 4804">
                <a:extLst>
                  <a:ext uri="{FF2B5EF4-FFF2-40B4-BE49-F238E27FC236}">
                    <a16:creationId xmlns:a16="http://schemas.microsoft.com/office/drawing/2014/main" id="{5D8CC06D-1A2A-4D2E-A6B8-1ADA4A9A58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626" y="1243481"/>
                <a:ext cx="418876" cy="421430"/>
              </a:xfrm>
              <a:custGeom>
                <a:avLst/>
                <a:gdLst>
                  <a:gd name="T0" fmla="*/ 250 w 328"/>
                  <a:gd name="T1" fmla="*/ 118 h 330"/>
                  <a:gd name="T2" fmla="*/ 290 w 328"/>
                  <a:gd name="T3" fmla="*/ 300 h 330"/>
                  <a:gd name="T4" fmla="*/ 288 w 328"/>
                  <a:gd name="T5" fmla="*/ 310 h 330"/>
                  <a:gd name="T6" fmla="*/ 270 w 328"/>
                  <a:gd name="T7" fmla="*/ 326 h 330"/>
                  <a:gd name="T8" fmla="*/ 262 w 328"/>
                  <a:gd name="T9" fmla="*/ 330 h 330"/>
                  <a:gd name="T10" fmla="*/ 262 w 328"/>
                  <a:gd name="T11" fmla="*/ 330 h 330"/>
                  <a:gd name="T12" fmla="*/ 256 w 328"/>
                  <a:gd name="T13" fmla="*/ 328 h 330"/>
                  <a:gd name="T14" fmla="*/ 188 w 328"/>
                  <a:gd name="T15" fmla="*/ 178 h 330"/>
                  <a:gd name="T16" fmla="*/ 124 w 328"/>
                  <a:gd name="T17" fmla="*/ 302 h 330"/>
                  <a:gd name="T18" fmla="*/ 124 w 328"/>
                  <a:gd name="T19" fmla="*/ 308 h 330"/>
                  <a:gd name="T20" fmla="*/ 112 w 328"/>
                  <a:gd name="T21" fmla="*/ 320 h 330"/>
                  <a:gd name="T22" fmla="*/ 110 w 328"/>
                  <a:gd name="T23" fmla="*/ 322 h 330"/>
                  <a:gd name="T24" fmla="*/ 106 w 328"/>
                  <a:gd name="T25" fmla="*/ 322 h 330"/>
                  <a:gd name="T26" fmla="*/ 104 w 328"/>
                  <a:gd name="T27" fmla="*/ 322 h 330"/>
                  <a:gd name="T28" fmla="*/ 96 w 328"/>
                  <a:gd name="T29" fmla="*/ 316 h 330"/>
                  <a:gd name="T30" fmla="*/ 14 w 328"/>
                  <a:gd name="T31" fmla="*/ 234 h 330"/>
                  <a:gd name="T32" fmla="*/ 10 w 328"/>
                  <a:gd name="T33" fmla="*/ 230 h 330"/>
                  <a:gd name="T34" fmla="*/ 8 w 328"/>
                  <a:gd name="T35" fmla="*/ 226 h 330"/>
                  <a:gd name="T36" fmla="*/ 10 w 328"/>
                  <a:gd name="T37" fmla="*/ 218 h 330"/>
                  <a:gd name="T38" fmla="*/ 20 w 328"/>
                  <a:gd name="T39" fmla="*/ 208 h 330"/>
                  <a:gd name="T40" fmla="*/ 26 w 328"/>
                  <a:gd name="T41" fmla="*/ 204 h 330"/>
                  <a:gd name="T42" fmla="*/ 150 w 328"/>
                  <a:gd name="T43" fmla="*/ 142 h 330"/>
                  <a:gd name="T44" fmla="*/ 6 w 328"/>
                  <a:gd name="T45" fmla="*/ 76 h 330"/>
                  <a:gd name="T46" fmla="*/ 0 w 328"/>
                  <a:gd name="T47" fmla="*/ 68 h 330"/>
                  <a:gd name="T48" fmla="*/ 0 w 328"/>
                  <a:gd name="T49" fmla="*/ 64 h 330"/>
                  <a:gd name="T50" fmla="*/ 20 w 328"/>
                  <a:gd name="T51" fmla="*/ 42 h 330"/>
                  <a:gd name="T52" fmla="*/ 24 w 328"/>
                  <a:gd name="T53" fmla="*/ 40 h 330"/>
                  <a:gd name="T54" fmla="*/ 212 w 328"/>
                  <a:gd name="T55" fmla="*/ 80 h 330"/>
                  <a:gd name="T56" fmla="*/ 284 w 328"/>
                  <a:gd name="T57" fmla="*/ 8 h 330"/>
                  <a:gd name="T58" fmla="*/ 302 w 328"/>
                  <a:gd name="T59" fmla="*/ 0 h 330"/>
                  <a:gd name="T60" fmla="*/ 322 w 328"/>
                  <a:gd name="T61" fmla="*/ 8 h 330"/>
                  <a:gd name="T62" fmla="*/ 328 w 328"/>
                  <a:gd name="T63" fmla="*/ 16 h 330"/>
                  <a:gd name="T64" fmla="*/ 328 w 328"/>
                  <a:gd name="T65" fmla="*/ 36 h 330"/>
                  <a:gd name="T66" fmla="*/ 322 w 328"/>
                  <a:gd name="T67" fmla="*/ 46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8" h="330">
                    <a:moveTo>
                      <a:pt x="322" y="46"/>
                    </a:moveTo>
                    <a:lnTo>
                      <a:pt x="250" y="118"/>
                    </a:lnTo>
                    <a:lnTo>
                      <a:pt x="290" y="300"/>
                    </a:lnTo>
                    <a:lnTo>
                      <a:pt x="290" y="300"/>
                    </a:lnTo>
                    <a:lnTo>
                      <a:pt x="290" y="304"/>
                    </a:lnTo>
                    <a:lnTo>
                      <a:pt x="288" y="310"/>
                    </a:lnTo>
                    <a:lnTo>
                      <a:pt x="270" y="326"/>
                    </a:lnTo>
                    <a:lnTo>
                      <a:pt x="270" y="326"/>
                    </a:lnTo>
                    <a:lnTo>
                      <a:pt x="266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56" y="328"/>
                    </a:lnTo>
                    <a:lnTo>
                      <a:pt x="254" y="324"/>
                    </a:lnTo>
                    <a:lnTo>
                      <a:pt x="188" y="178"/>
                    </a:lnTo>
                    <a:lnTo>
                      <a:pt x="122" y="246"/>
                    </a:lnTo>
                    <a:lnTo>
                      <a:pt x="124" y="302"/>
                    </a:lnTo>
                    <a:lnTo>
                      <a:pt x="124" y="302"/>
                    </a:lnTo>
                    <a:lnTo>
                      <a:pt x="124" y="308"/>
                    </a:lnTo>
                    <a:lnTo>
                      <a:pt x="122" y="310"/>
                    </a:lnTo>
                    <a:lnTo>
                      <a:pt x="112" y="320"/>
                    </a:lnTo>
                    <a:lnTo>
                      <a:pt x="112" y="320"/>
                    </a:lnTo>
                    <a:lnTo>
                      <a:pt x="110" y="322"/>
                    </a:lnTo>
                    <a:lnTo>
                      <a:pt x="106" y="322"/>
                    </a:lnTo>
                    <a:lnTo>
                      <a:pt x="106" y="322"/>
                    </a:lnTo>
                    <a:lnTo>
                      <a:pt x="104" y="322"/>
                    </a:lnTo>
                    <a:lnTo>
                      <a:pt x="104" y="322"/>
                    </a:lnTo>
                    <a:lnTo>
                      <a:pt x="98" y="320"/>
                    </a:lnTo>
                    <a:lnTo>
                      <a:pt x="96" y="316"/>
                    </a:lnTo>
                    <a:lnTo>
                      <a:pt x="74" y="256"/>
                    </a:lnTo>
                    <a:lnTo>
                      <a:pt x="14" y="234"/>
                    </a:lnTo>
                    <a:lnTo>
                      <a:pt x="14" y="234"/>
                    </a:lnTo>
                    <a:lnTo>
                      <a:pt x="10" y="230"/>
                    </a:lnTo>
                    <a:lnTo>
                      <a:pt x="8" y="226"/>
                    </a:lnTo>
                    <a:lnTo>
                      <a:pt x="8" y="226"/>
                    </a:lnTo>
                    <a:lnTo>
                      <a:pt x="8" y="222"/>
                    </a:lnTo>
                    <a:lnTo>
                      <a:pt x="10" y="218"/>
                    </a:lnTo>
                    <a:lnTo>
                      <a:pt x="20" y="208"/>
                    </a:lnTo>
                    <a:lnTo>
                      <a:pt x="20" y="208"/>
                    </a:lnTo>
                    <a:lnTo>
                      <a:pt x="22" y="206"/>
                    </a:lnTo>
                    <a:lnTo>
                      <a:pt x="26" y="204"/>
                    </a:lnTo>
                    <a:lnTo>
                      <a:pt x="84" y="208"/>
                    </a:lnTo>
                    <a:lnTo>
                      <a:pt x="150" y="142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2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2" y="6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4" y="40"/>
                    </a:lnTo>
                    <a:lnTo>
                      <a:pt x="30" y="40"/>
                    </a:lnTo>
                    <a:lnTo>
                      <a:pt x="212" y="80"/>
                    </a:lnTo>
                    <a:lnTo>
                      <a:pt x="284" y="8"/>
                    </a:lnTo>
                    <a:lnTo>
                      <a:pt x="284" y="8"/>
                    </a:lnTo>
                    <a:lnTo>
                      <a:pt x="294" y="2"/>
                    </a:lnTo>
                    <a:lnTo>
                      <a:pt x="302" y="0"/>
                    </a:lnTo>
                    <a:lnTo>
                      <a:pt x="312" y="2"/>
                    </a:lnTo>
                    <a:lnTo>
                      <a:pt x="322" y="8"/>
                    </a:lnTo>
                    <a:lnTo>
                      <a:pt x="322" y="8"/>
                    </a:lnTo>
                    <a:lnTo>
                      <a:pt x="328" y="16"/>
                    </a:lnTo>
                    <a:lnTo>
                      <a:pt x="328" y="26"/>
                    </a:lnTo>
                    <a:lnTo>
                      <a:pt x="328" y="36"/>
                    </a:lnTo>
                    <a:lnTo>
                      <a:pt x="322" y="46"/>
                    </a:lnTo>
                    <a:lnTo>
                      <a:pt x="322" y="4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181DDBAC-B932-439B-B628-763ADAB44465}"/>
                </a:ext>
              </a:extLst>
            </p:cNvPr>
            <p:cNvGrpSpPr/>
            <p:nvPr/>
          </p:nvGrpSpPr>
          <p:grpSpPr>
            <a:xfrm>
              <a:off x="5235632" y="3675172"/>
              <a:ext cx="143619" cy="127597"/>
              <a:chOff x="4472064" y="1117827"/>
              <a:chExt cx="612000" cy="612000"/>
            </a:xfrm>
          </p:grpSpPr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68706D50-AD86-4A59-9330-8E3053EF1DB3}"/>
                  </a:ext>
                </a:extLst>
              </p:cNvPr>
              <p:cNvSpPr/>
              <p:nvPr/>
            </p:nvSpPr>
            <p:spPr bwMode="ltGray">
              <a:xfrm>
                <a:off x="4472064" y="1117827"/>
                <a:ext cx="612000" cy="612000"/>
              </a:xfrm>
              <a:prstGeom prst="ellipse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9" name="Freeform 4804">
                <a:extLst>
                  <a:ext uri="{FF2B5EF4-FFF2-40B4-BE49-F238E27FC236}">
                    <a16:creationId xmlns:a16="http://schemas.microsoft.com/office/drawing/2014/main" id="{44D6583A-61AC-49D8-9444-91F86A12C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626" y="1243481"/>
                <a:ext cx="418876" cy="421430"/>
              </a:xfrm>
              <a:custGeom>
                <a:avLst/>
                <a:gdLst>
                  <a:gd name="T0" fmla="*/ 250 w 328"/>
                  <a:gd name="T1" fmla="*/ 118 h 330"/>
                  <a:gd name="T2" fmla="*/ 290 w 328"/>
                  <a:gd name="T3" fmla="*/ 300 h 330"/>
                  <a:gd name="T4" fmla="*/ 288 w 328"/>
                  <a:gd name="T5" fmla="*/ 310 h 330"/>
                  <a:gd name="T6" fmla="*/ 270 w 328"/>
                  <a:gd name="T7" fmla="*/ 326 h 330"/>
                  <a:gd name="T8" fmla="*/ 262 w 328"/>
                  <a:gd name="T9" fmla="*/ 330 h 330"/>
                  <a:gd name="T10" fmla="*/ 262 w 328"/>
                  <a:gd name="T11" fmla="*/ 330 h 330"/>
                  <a:gd name="T12" fmla="*/ 256 w 328"/>
                  <a:gd name="T13" fmla="*/ 328 h 330"/>
                  <a:gd name="T14" fmla="*/ 188 w 328"/>
                  <a:gd name="T15" fmla="*/ 178 h 330"/>
                  <a:gd name="T16" fmla="*/ 124 w 328"/>
                  <a:gd name="T17" fmla="*/ 302 h 330"/>
                  <a:gd name="T18" fmla="*/ 124 w 328"/>
                  <a:gd name="T19" fmla="*/ 308 h 330"/>
                  <a:gd name="T20" fmla="*/ 112 w 328"/>
                  <a:gd name="T21" fmla="*/ 320 h 330"/>
                  <a:gd name="T22" fmla="*/ 110 w 328"/>
                  <a:gd name="T23" fmla="*/ 322 h 330"/>
                  <a:gd name="T24" fmla="*/ 106 w 328"/>
                  <a:gd name="T25" fmla="*/ 322 h 330"/>
                  <a:gd name="T26" fmla="*/ 104 w 328"/>
                  <a:gd name="T27" fmla="*/ 322 h 330"/>
                  <a:gd name="T28" fmla="*/ 96 w 328"/>
                  <a:gd name="T29" fmla="*/ 316 h 330"/>
                  <a:gd name="T30" fmla="*/ 14 w 328"/>
                  <a:gd name="T31" fmla="*/ 234 h 330"/>
                  <a:gd name="T32" fmla="*/ 10 w 328"/>
                  <a:gd name="T33" fmla="*/ 230 h 330"/>
                  <a:gd name="T34" fmla="*/ 8 w 328"/>
                  <a:gd name="T35" fmla="*/ 226 h 330"/>
                  <a:gd name="T36" fmla="*/ 10 w 328"/>
                  <a:gd name="T37" fmla="*/ 218 h 330"/>
                  <a:gd name="T38" fmla="*/ 20 w 328"/>
                  <a:gd name="T39" fmla="*/ 208 h 330"/>
                  <a:gd name="T40" fmla="*/ 26 w 328"/>
                  <a:gd name="T41" fmla="*/ 204 h 330"/>
                  <a:gd name="T42" fmla="*/ 150 w 328"/>
                  <a:gd name="T43" fmla="*/ 142 h 330"/>
                  <a:gd name="T44" fmla="*/ 6 w 328"/>
                  <a:gd name="T45" fmla="*/ 76 h 330"/>
                  <a:gd name="T46" fmla="*/ 0 w 328"/>
                  <a:gd name="T47" fmla="*/ 68 h 330"/>
                  <a:gd name="T48" fmla="*/ 0 w 328"/>
                  <a:gd name="T49" fmla="*/ 64 h 330"/>
                  <a:gd name="T50" fmla="*/ 20 w 328"/>
                  <a:gd name="T51" fmla="*/ 42 h 330"/>
                  <a:gd name="T52" fmla="*/ 24 w 328"/>
                  <a:gd name="T53" fmla="*/ 40 h 330"/>
                  <a:gd name="T54" fmla="*/ 212 w 328"/>
                  <a:gd name="T55" fmla="*/ 80 h 330"/>
                  <a:gd name="T56" fmla="*/ 284 w 328"/>
                  <a:gd name="T57" fmla="*/ 8 h 330"/>
                  <a:gd name="T58" fmla="*/ 302 w 328"/>
                  <a:gd name="T59" fmla="*/ 0 h 330"/>
                  <a:gd name="T60" fmla="*/ 322 w 328"/>
                  <a:gd name="T61" fmla="*/ 8 h 330"/>
                  <a:gd name="T62" fmla="*/ 328 w 328"/>
                  <a:gd name="T63" fmla="*/ 16 h 330"/>
                  <a:gd name="T64" fmla="*/ 328 w 328"/>
                  <a:gd name="T65" fmla="*/ 36 h 330"/>
                  <a:gd name="T66" fmla="*/ 322 w 328"/>
                  <a:gd name="T67" fmla="*/ 46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28" h="330">
                    <a:moveTo>
                      <a:pt x="322" y="46"/>
                    </a:moveTo>
                    <a:lnTo>
                      <a:pt x="250" y="118"/>
                    </a:lnTo>
                    <a:lnTo>
                      <a:pt x="290" y="300"/>
                    </a:lnTo>
                    <a:lnTo>
                      <a:pt x="290" y="300"/>
                    </a:lnTo>
                    <a:lnTo>
                      <a:pt x="290" y="304"/>
                    </a:lnTo>
                    <a:lnTo>
                      <a:pt x="288" y="310"/>
                    </a:lnTo>
                    <a:lnTo>
                      <a:pt x="270" y="326"/>
                    </a:lnTo>
                    <a:lnTo>
                      <a:pt x="270" y="326"/>
                    </a:lnTo>
                    <a:lnTo>
                      <a:pt x="266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62" y="330"/>
                    </a:lnTo>
                    <a:lnTo>
                      <a:pt x="256" y="328"/>
                    </a:lnTo>
                    <a:lnTo>
                      <a:pt x="254" y="324"/>
                    </a:lnTo>
                    <a:lnTo>
                      <a:pt x="188" y="178"/>
                    </a:lnTo>
                    <a:lnTo>
                      <a:pt x="122" y="246"/>
                    </a:lnTo>
                    <a:lnTo>
                      <a:pt x="124" y="302"/>
                    </a:lnTo>
                    <a:lnTo>
                      <a:pt x="124" y="302"/>
                    </a:lnTo>
                    <a:lnTo>
                      <a:pt x="124" y="308"/>
                    </a:lnTo>
                    <a:lnTo>
                      <a:pt x="122" y="310"/>
                    </a:lnTo>
                    <a:lnTo>
                      <a:pt x="112" y="320"/>
                    </a:lnTo>
                    <a:lnTo>
                      <a:pt x="112" y="320"/>
                    </a:lnTo>
                    <a:lnTo>
                      <a:pt x="110" y="322"/>
                    </a:lnTo>
                    <a:lnTo>
                      <a:pt x="106" y="322"/>
                    </a:lnTo>
                    <a:lnTo>
                      <a:pt x="106" y="322"/>
                    </a:lnTo>
                    <a:lnTo>
                      <a:pt x="104" y="322"/>
                    </a:lnTo>
                    <a:lnTo>
                      <a:pt x="104" y="322"/>
                    </a:lnTo>
                    <a:lnTo>
                      <a:pt x="98" y="320"/>
                    </a:lnTo>
                    <a:lnTo>
                      <a:pt x="96" y="316"/>
                    </a:lnTo>
                    <a:lnTo>
                      <a:pt x="74" y="256"/>
                    </a:lnTo>
                    <a:lnTo>
                      <a:pt x="14" y="234"/>
                    </a:lnTo>
                    <a:lnTo>
                      <a:pt x="14" y="234"/>
                    </a:lnTo>
                    <a:lnTo>
                      <a:pt x="10" y="230"/>
                    </a:lnTo>
                    <a:lnTo>
                      <a:pt x="8" y="226"/>
                    </a:lnTo>
                    <a:lnTo>
                      <a:pt x="8" y="226"/>
                    </a:lnTo>
                    <a:lnTo>
                      <a:pt x="8" y="222"/>
                    </a:lnTo>
                    <a:lnTo>
                      <a:pt x="10" y="218"/>
                    </a:lnTo>
                    <a:lnTo>
                      <a:pt x="20" y="208"/>
                    </a:lnTo>
                    <a:lnTo>
                      <a:pt x="20" y="208"/>
                    </a:lnTo>
                    <a:lnTo>
                      <a:pt x="22" y="206"/>
                    </a:lnTo>
                    <a:lnTo>
                      <a:pt x="26" y="204"/>
                    </a:lnTo>
                    <a:lnTo>
                      <a:pt x="84" y="208"/>
                    </a:lnTo>
                    <a:lnTo>
                      <a:pt x="150" y="142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2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2" y="6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4" y="40"/>
                    </a:lnTo>
                    <a:lnTo>
                      <a:pt x="30" y="40"/>
                    </a:lnTo>
                    <a:lnTo>
                      <a:pt x="212" y="80"/>
                    </a:lnTo>
                    <a:lnTo>
                      <a:pt x="284" y="8"/>
                    </a:lnTo>
                    <a:lnTo>
                      <a:pt x="284" y="8"/>
                    </a:lnTo>
                    <a:lnTo>
                      <a:pt x="294" y="2"/>
                    </a:lnTo>
                    <a:lnTo>
                      <a:pt x="302" y="0"/>
                    </a:lnTo>
                    <a:lnTo>
                      <a:pt x="312" y="2"/>
                    </a:lnTo>
                    <a:lnTo>
                      <a:pt x="322" y="8"/>
                    </a:lnTo>
                    <a:lnTo>
                      <a:pt x="322" y="8"/>
                    </a:lnTo>
                    <a:lnTo>
                      <a:pt x="328" y="16"/>
                    </a:lnTo>
                    <a:lnTo>
                      <a:pt x="328" y="26"/>
                    </a:lnTo>
                    <a:lnTo>
                      <a:pt x="328" y="36"/>
                    </a:lnTo>
                    <a:lnTo>
                      <a:pt x="322" y="46"/>
                    </a:lnTo>
                    <a:lnTo>
                      <a:pt x="322" y="4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42CF1E74-7268-4CC7-BB7A-8F326F94EC2F}"/>
                </a:ext>
              </a:extLst>
            </p:cNvPr>
            <p:cNvGrpSpPr/>
            <p:nvPr/>
          </p:nvGrpSpPr>
          <p:grpSpPr>
            <a:xfrm>
              <a:off x="6239253" y="4269325"/>
              <a:ext cx="171502" cy="171502"/>
              <a:chOff x="3519143" y="1467333"/>
              <a:chExt cx="240402" cy="252879"/>
            </a:xfrm>
          </p:grpSpPr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CFC68BF4-B3A4-4045-9510-C153BAD9DB2C}"/>
                  </a:ext>
                </a:extLst>
              </p:cNvPr>
              <p:cNvSpPr/>
              <p:nvPr/>
            </p:nvSpPr>
            <p:spPr bwMode="ltGray">
              <a:xfrm>
                <a:off x="3519143" y="1467333"/>
                <a:ext cx="240402" cy="252879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00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7" name="Freeform 4949">
                <a:extLst>
                  <a:ext uri="{FF2B5EF4-FFF2-40B4-BE49-F238E27FC236}">
                    <a16:creationId xmlns:a16="http://schemas.microsoft.com/office/drawing/2014/main" id="{0CE68173-0407-45FD-9127-719CF77C45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1272" y="1500242"/>
                <a:ext cx="156145" cy="174203"/>
              </a:xfrm>
              <a:custGeom>
                <a:avLst/>
                <a:gdLst>
                  <a:gd name="T0" fmla="*/ 128 w 330"/>
                  <a:gd name="T1" fmla="*/ 144 h 350"/>
                  <a:gd name="T2" fmla="*/ 116 w 330"/>
                  <a:gd name="T3" fmla="*/ 138 h 350"/>
                  <a:gd name="T4" fmla="*/ 126 w 330"/>
                  <a:gd name="T5" fmla="*/ 90 h 350"/>
                  <a:gd name="T6" fmla="*/ 188 w 330"/>
                  <a:gd name="T7" fmla="*/ 52 h 350"/>
                  <a:gd name="T8" fmla="*/ 210 w 330"/>
                  <a:gd name="T9" fmla="*/ 14 h 350"/>
                  <a:gd name="T10" fmla="*/ 250 w 330"/>
                  <a:gd name="T11" fmla="*/ 0 h 350"/>
                  <a:gd name="T12" fmla="*/ 260 w 330"/>
                  <a:gd name="T13" fmla="*/ 10 h 350"/>
                  <a:gd name="T14" fmla="*/ 250 w 330"/>
                  <a:gd name="T15" fmla="*/ 20 h 350"/>
                  <a:gd name="T16" fmla="*/ 214 w 330"/>
                  <a:gd name="T17" fmla="*/ 38 h 350"/>
                  <a:gd name="T18" fmla="*/ 206 w 330"/>
                  <a:gd name="T19" fmla="*/ 66 h 350"/>
                  <a:gd name="T20" fmla="*/ 198 w 330"/>
                  <a:gd name="T21" fmla="*/ 72 h 350"/>
                  <a:gd name="T22" fmla="*/ 172 w 330"/>
                  <a:gd name="T23" fmla="*/ 76 h 350"/>
                  <a:gd name="T24" fmla="*/ 136 w 330"/>
                  <a:gd name="T25" fmla="*/ 122 h 350"/>
                  <a:gd name="T26" fmla="*/ 124 w 330"/>
                  <a:gd name="T27" fmla="*/ 6 h 350"/>
                  <a:gd name="T28" fmla="*/ 100 w 330"/>
                  <a:gd name="T29" fmla="*/ 0 h 350"/>
                  <a:gd name="T30" fmla="*/ 46 w 330"/>
                  <a:gd name="T31" fmla="*/ 44 h 350"/>
                  <a:gd name="T32" fmla="*/ 44 w 330"/>
                  <a:gd name="T33" fmla="*/ 80 h 350"/>
                  <a:gd name="T34" fmla="*/ 58 w 330"/>
                  <a:gd name="T35" fmla="*/ 80 h 350"/>
                  <a:gd name="T36" fmla="*/ 64 w 330"/>
                  <a:gd name="T37" fmla="*/ 52 h 350"/>
                  <a:gd name="T38" fmla="*/ 104 w 330"/>
                  <a:gd name="T39" fmla="*/ 20 h 350"/>
                  <a:gd name="T40" fmla="*/ 124 w 330"/>
                  <a:gd name="T41" fmla="*/ 14 h 350"/>
                  <a:gd name="T42" fmla="*/ 246 w 330"/>
                  <a:gd name="T43" fmla="*/ 34 h 350"/>
                  <a:gd name="T44" fmla="*/ 238 w 330"/>
                  <a:gd name="T45" fmla="*/ 54 h 350"/>
                  <a:gd name="T46" fmla="*/ 208 w 330"/>
                  <a:gd name="T47" fmla="*/ 92 h 350"/>
                  <a:gd name="T48" fmla="*/ 180 w 330"/>
                  <a:gd name="T49" fmla="*/ 98 h 350"/>
                  <a:gd name="T50" fmla="*/ 172 w 330"/>
                  <a:gd name="T51" fmla="*/ 118 h 350"/>
                  <a:gd name="T52" fmla="*/ 150 w 330"/>
                  <a:gd name="T53" fmla="*/ 128 h 350"/>
                  <a:gd name="T54" fmla="*/ 150 w 330"/>
                  <a:gd name="T55" fmla="*/ 142 h 350"/>
                  <a:gd name="T56" fmla="*/ 182 w 330"/>
                  <a:gd name="T57" fmla="*/ 136 h 350"/>
                  <a:gd name="T58" fmla="*/ 222 w 330"/>
                  <a:gd name="T59" fmla="*/ 106 h 350"/>
                  <a:gd name="T60" fmla="*/ 258 w 330"/>
                  <a:gd name="T61" fmla="*/ 56 h 350"/>
                  <a:gd name="T62" fmla="*/ 254 w 330"/>
                  <a:gd name="T63" fmla="*/ 34 h 350"/>
                  <a:gd name="T64" fmla="*/ 158 w 330"/>
                  <a:gd name="T65" fmla="*/ 6 h 350"/>
                  <a:gd name="T66" fmla="*/ 144 w 330"/>
                  <a:gd name="T67" fmla="*/ 0 h 350"/>
                  <a:gd name="T68" fmla="*/ 138 w 330"/>
                  <a:gd name="T69" fmla="*/ 16 h 350"/>
                  <a:gd name="T70" fmla="*/ 124 w 330"/>
                  <a:gd name="T71" fmla="*/ 36 h 350"/>
                  <a:gd name="T72" fmla="*/ 106 w 330"/>
                  <a:gd name="T73" fmla="*/ 42 h 350"/>
                  <a:gd name="T74" fmla="*/ 96 w 330"/>
                  <a:gd name="T75" fmla="*/ 52 h 350"/>
                  <a:gd name="T76" fmla="*/ 106 w 330"/>
                  <a:gd name="T77" fmla="*/ 62 h 350"/>
                  <a:gd name="T78" fmla="*/ 136 w 330"/>
                  <a:gd name="T79" fmla="*/ 52 h 350"/>
                  <a:gd name="T80" fmla="*/ 158 w 330"/>
                  <a:gd name="T81" fmla="*/ 20 h 350"/>
                  <a:gd name="T82" fmla="*/ 242 w 330"/>
                  <a:gd name="T83" fmla="*/ 258 h 350"/>
                  <a:gd name="T84" fmla="*/ 128 w 330"/>
                  <a:gd name="T85" fmla="*/ 252 h 350"/>
                  <a:gd name="T86" fmla="*/ 138 w 330"/>
                  <a:gd name="T87" fmla="*/ 164 h 350"/>
                  <a:gd name="T88" fmla="*/ 114 w 330"/>
                  <a:gd name="T89" fmla="*/ 162 h 350"/>
                  <a:gd name="T90" fmla="*/ 82 w 330"/>
                  <a:gd name="T91" fmla="*/ 258 h 350"/>
                  <a:gd name="T92" fmla="*/ 60 w 330"/>
                  <a:gd name="T93" fmla="*/ 102 h 350"/>
                  <a:gd name="T94" fmla="*/ 38 w 330"/>
                  <a:gd name="T95" fmla="*/ 104 h 350"/>
                  <a:gd name="T96" fmla="*/ 10 w 330"/>
                  <a:gd name="T97" fmla="*/ 258 h 350"/>
                  <a:gd name="T98" fmla="*/ 0 w 330"/>
                  <a:gd name="T99" fmla="*/ 340 h 350"/>
                  <a:gd name="T100" fmla="*/ 10 w 330"/>
                  <a:gd name="T101" fmla="*/ 350 h 350"/>
                  <a:gd name="T102" fmla="*/ 330 w 330"/>
                  <a:gd name="T103" fmla="*/ 344 h 350"/>
                  <a:gd name="T104" fmla="*/ 330 w 330"/>
                  <a:gd name="T105" fmla="*/ 268 h 350"/>
                  <a:gd name="T106" fmla="*/ 76 w 330"/>
                  <a:gd name="T107" fmla="*/ 314 h 350"/>
                  <a:gd name="T108" fmla="*/ 154 w 330"/>
                  <a:gd name="T109" fmla="*/ 314 h 350"/>
                  <a:gd name="T110" fmla="*/ 232 w 330"/>
                  <a:gd name="T111" fmla="*/ 314 h 350"/>
                  <a:gd name="T112" fmla="*/ 308 w 330"/>
                  <a:gd name="T113" fmla="*/ 314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0" h="350">
                    <a:moveTo>
                      <a:pt x="134" y="134"/>
                    </a:moveTo>
                    <a:lnTo>
                      <a:pt x="134" y="134"/>
                    </a:lnTo>
                    <a:lnTo>
                      <a:pt x="134" y="138"/>
                    </a:lnTo>
                    <a:lnTo>
                      <a:pt x="132" y="142"/>
                    </a:lnTo>
                    <a:lnTo>
                      <a:pt x="128" y="144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0" y="144"/>
                    </a:lnTo>
                    <a:lnTo>
                      <a:pt x="118" y="142"/>
                    </a:lnTo>
                    <a:lnTo>
                      <a:pt x="116" y="138"/>
                    </a:lnTo>
                    <a:lnTo>
                      <a:pt x="114" y="134"/>
                    </a:lnTo>
                    <a:lnTo>
                      <a:pt x="114" y="134"/>
                    </a:lnTo>
                    <a:lnTo>
                      <a:pt x="116" y="118"/>
                    </a:lnTo>
                    <a:lnTo>
                      <a:pt x="120" y="104"/>
                    </a:lnTo>
                    <a:lnTo>
                      <a:pt x="126" y="90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60" y="60"/>
                    </a:lnTo>
                    <a:lnTo>
                      <a:pt x="174" y="56"/>
                    </a:lnTo>
                    <a:lnTo>
                      <a:pt x="188" y="52"/>
                    </a:lnTo>
                    <a:lnTo>
                      <a:pt x="188" y="52"/>
                    </a:lnTo>
                    <a:lnTo>
                      <a:pt x="192" y="42"/>
                    </a:lnTo>
                    <a:lnTo>
                      <a:pt x="196" y="32"/>
                    </a:lnTo>
                    <a:lnTo>
                      <a:pt x="202" y="22"/>
                    </a:lnTo>
                    <a:lnTo>
                      <a:pt x="210" y="14"/>
                    </a:lnTo>
                    <a:lnTo>
                      <a:pt x="218" y="8"/>
                    </a:lnTo>
                    <a:lnTo>
                      <a:pt x="228" y="4"/>
                    </a:lnTo>
                    <a:lnTo>
                      <a:pt x="238" y="0"/>
                    </a:lnTo>
                    <a:lnTo>
                      <a:pt x="250" y="0"/>
                    </a:lnTo>
                    <a:lnTo>
                      <a:pt x="250" y="0"/>
                    </a:lnTo>
                    <a:lnTo>
                      <a:pt x="254" y="0"/>
                    </a:lnTo>
                    <a:lnTo>
                      <a:pt x="258" y="2"/>
                    </a:lnTo>
                    <a:lnTo>
                      <a:pt x="260" y="6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0" y="14"/>
                    </a:lnTo>
                    <a:lnTo>
                      <a:pt x="258" y="16"/>
                    </a:lnTo>
                    <a:lnTo>
                      <a:pt x="254" y="18"/>
                    </a:lnTo>
                    <a:lnTo>
                      <a:pt x="250" y="20"/>
                    </a:lnTo>
                    <a:lnTo>
                      <a:pt x="250" y="20"/>
                    </a:lnTo>
                    <a:lnTo>
                      <a:pt x="242" y="20"/>
                    </a:lnTo>
                    <a:lnTo>
                      <a:pt x="234" y="22"/>
                    </a:lnTo>
                    <a:lnTo>
                      <a:pt x="226" y="26"/>
                    </a:lnTo>
                    <a:lnTo>
                      <a:pt x="220" y="32"/>
                    </a:lnTo>
                    <a:lnTo>
                      <a:pt x="214" y="38"/>
                    </a:lnTo>
                    <a:lnTo>
                      <a:pt x="212" y="46"/>
                    </a:lnTo>
                    <a:lnTo>
                      <a:pt x="208" y="52"/>
                    </a:lnTo>
                    <a:lnTo>
                      <a:pt x="208" y="62"/>
                    </a:lnTo>
                    <a:lnTo>
                      <a:pt x="208" y="62"/>
                    </a:lnTo>
                    <a:lnTo>
                      <a:pt x="206" y="66"/>
                    </a:lnTo>
                    <a:lnTo>
                      <a:pt x="204" y="68"/>
                    </a:lnTo>
                    <a:lnTo>
                      <a:pt x="202" y="70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84" y="72"/>
                    </a:lnTo>
                    <a:lnTo>
                      <a:pt x="172" y="76"/>
                    </a:lnTo>
                    <a:lnTo>
                      <a:pt x="162" y="82"/>
                    </a:lnTo>
                    <a:lnTo>
                      <a:pt x="152" y="90"/>
                    </a:lnTo>
                    <a:lnTo>
                      <a:pt x="146" y="100"/>
                    </a:lnTo>
                    <a:lnTo>
                      <a:pt x="140" y="110"/>
                    </a:lnTo>
                    <a:lnTo>
                      <a:pt x="136" y="122"/>
                    </a:lnTo>
                    <a:lnTo>
                      <a:pt x="134" y="134"/>
                    </a:lnTo>
                    <a:lnTo>
                      <a:pt x="134" y="134"/>
                    </a:lnTo>
                    <a:close/>
                    <a:moveTo>
                      <a:pt x="124" y="10"/>
                    </a:moveTo>
                    <a:lnTo>
                      <a:pt x="124" y="10"/>
                    </a:lnTo>
                    <a:lnTo>
                      <a:pt x="124" y="6"/>
                    </a:lnTo>
                    <a:lnTo>
                      <a:pt x="122" y="2"/>
                    </a:lnTo>
                    <a:lnTo>
                      <a:pt x="118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00" y="0"/>
                    </a:lnTo>
                    <a:lnTo>
                      <a:pt x="86" y="6"/>
                    </a:lnTo>
                    <a:lnTo>
                      <a:pt x="72" y="12"/>
                    </a:lnTo>
                    <a:lnTo>
                      <a:pt x="62" y="20"/>
                    </a:lnTo>
                    <a:lnTo>
                      <a:pt x="52" y="32"/>
                    </a:lnTo>
                    <a:lnTo>
                      <a:pt x="46" y="44"/>
                    </a:lnTo>
                    <a:lnTo>
                      <a:pt x="42" y="58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44" y="80"/>
                    </a:lnTo>
                    <a:lnTo>
                      <a:pt x="46" y="82"/>
                    </a:lnTo>
                    <a:lnTo>
                      <a:pt x="50" y="84"/>
                    </a:lnTo>
                    <a:lnTo>
                      <a:pt x="50" y="84"/>
                    </a:lnTo>
                    <a:lnTo>
                      <a:pt x="54" y="82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2" y="62"/>
                    </a:lnTo>
                    <a:lnTo>
                      <a:pt x="64" y="52"/>
                    </a:lnTo>
                    <a:lnTo>
                      <a:pt x="70" y="44"/>
                    </a:lnTo>
                    <a:lnTo>
                      <a:pt x="76" y="36"/>
                    </a:lnTo>
                    <a:lnTo>
                      <a:pt x="84" y="28"/>
                    </a:lnTo>
                    <a:lnTo>
                      <a:pt x="94" y="24"/>
                    </a:lnTo>
                    <a:lnTo>
                      <a:pt x="104" y="20"/>
                    </a:lnTo>
                    <a:lnTo>
                      <a:pt x="114" y="20"/>
                    </a:lnTo>
                    <a:lnTo>
                      <a:pt x="114" y="20"/>
                    </a:lnTo>
                    <a:lnTo>
                      <a:pt x="118" y="18"/>
                    </a:lnTo>
                    <a:lnTo>
                      <a:pt x="122" y="16"/>
                    </a:lnTo>
                    <a:lnTo>
                      <a:pt x="124" y="14"/>
                    </a:lnTo>
                    <a:lnTo>
                      <a:pt x="124" y="10"/>
                    </a:lnTo>
                    <a:lnTo>
                      <a:pt x="124" y="10"/>
                    </a:lnTo>
                    <a:close/>
                    <a:moveTo>
                      <a:pt x="250" y="32"/>
                    </a:moveTo>
                    <a:lnTo>
                      <a:pt x="250" y="32"/>
                    </a:lnTo>
                    <a:lnTo>
                      <a:pt x="246" y="34"/>
                    </a:lnTo>
                    <a:lnTo>
                      <a:pt x="242" y="36"/>
                    </a:lnTo>
                    <a:lnTo>
                      <a:pt x="240" y="38"/>
                    </a:lnTo>
                    <a:lnTo>
                      <a:pt x="240" y="42"/>
                    </a:lnTo>
                    <a:lnTo>
                      <a:pt x="240" y="42"/>
                    </a:lnTo>
                    <a:lnTo>
                      <a:pt x="238" y="54"/>
                    </a:lnTo>
                    <a:lnTo>
                      <a:pt x="236" y="62"/>
                    </a:lnTo>
                    <a:lnTo>
                      <a:pt x="230" y="72"/>
                    </a:lnTo>
                    <a:lnTo>
                      <a:pt x="224" y="80"/>
                    </a:lnTo>
                    <a:lnTo>
                      <a:pt x="216" y="86"/>
                    </a:lnTo>
                    <a:lnTo>
                      <a:pt x="208" y="92"/>
                    </a:lnTo>
                    <a:lnTo>
                      <a:pt x="198" y="94"/>
                    </a:lnTo>
                    <a:lnTo>
                      <a:pt x="188" y="96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8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8" y="106"/>
                    </a:lnTo>
                    <a:lnTo>
                      <a:pt x="176" y="112"/>
                    </a:lnTo>
                    <a:lnTo>
                      <a:pt x="172" y="118"/>
                    </a:lnTo>
                    <a:lnTo>
                      <a:pt x="166" y="124"/>
                    </a:lnTo>
                    <a:lnTo>
                      <a:pt x="158" y="124"/>
                    </a:lnTo>
                    <a:lnTo>
                      <a:pt x="158" y="124"/>
                    </a:lnTo>
                    <a:lnTo>
                      <a:pt x="154" y="126"/>
                    </a:lnTo>
                    <a:lnTo>
                      <a:pt x="150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48" y="134"/>
                    </a:lnTo>
                    <a:lnTo>
                      <a:pt x="148" y="138"/>
                    </a:lnTo>
                    <a:lnTo>
                      <a:pt x="150" y="142"/>
                    </a:lnTo>
                    <a:lnTo>
                      <a:pt x="154" y="144"/>
                    </a:lnTo>
                    <a:lnTo>
                      <a:pt x="158" y="144"/>
                    </a:lnTo>
                    <a:lnTo>
                      <a:pt x="158" y="144"/>
                    </a:lnTo>
                    <a:lnTo>
                      <a:pt x="170" y="142"/>
                    </a:lnTo>
                    <a:lnTo>
                      <a:pt x="182" y="136"/>
                    </a:lnTo>
                    <a:lnTo>
                      <a:pt x="190" y="126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208" y="112"/>
                    </a:lnTo>
                    <a:lnTo>
                      <a:pt x="222" y="106"/>
                    </a:lnTo>
                    <a:lnTo>
                      <a:pt x="232" y="100"/>
                    </a:lnTo>
                    <a:lnTo>
                      <a:pt x="242" y="90"/>
                    </a:lnTo>
                    <a:lnTo>
                      <a:pt x="250" y="80"/>
                    </a:lnTo>
                    <a:lnTo>
                      <a:pt x="256" y="68"/>
                    </a:lnTo>
                    <a:lnTo>
                      <a:pt x="258" y="56"/>
                    </a:lnTo>
                    <a:lnTo>
                      <a:pt x="260" y="42"/>
                    </a:lnTo>
                    <a:lnTo>
                      <a:pt x="260" y="42"/>
                    </a:lnTo>
                    <a:lnTo>
                      <a:pt x="260" y="38"/>
                    </a:lnTo>
                    <a:lnTo>
                      <a:pt x="258" y="36"/>
                    </a:lnTo>
                    <a:lnTo>
                      <a:pt x="254" y="34"/>
                    </a:lnTo>
                    <a:lnTo>
                      <a:pt x="250" y="32"/>
                    </a:lnTo>
                    <a:lnTo>
                      <a:pt x="250" y="32"/>
                    </a:lnTo>
                    <a:close/>
                    <a:moveTo>
                      <a:pt x="158" y="10"/>
                    </a:moveTo>
                    <a:lnTo>
                      <a:pt x="158" y="10"/>
                    </a:lnTo>
                    <a:lnTo>
                      <a:pt x="158" y="6"/>
                    </a:lnTo>
                    <a:lnTo>
                      <a:pt x="156" y="2"/>
                    </a:lnTo>
                    <a:lnTo>
                      <a:pt x="152" y="0"/>
                    </a:lnTo>
                    <a:lnTo>
                      <a:pt x="148" y="0"/>
                    </a:lnTo>
                    <a:lnTo>
                      <a:pt x="148" y="0"/>
                    </a:lnTo>
                    <a:lnTo>
                      <a:pt x="144" y="0"/>
                    </a:lnTo>
                    <a:lnTo>
                      <a:pt x="142" y="2"/>
                    </a:lnTo>
                    <a:lnTo>
                      <a:pt x="138" y="6"/>
                    </a:lnTo>
                    <a:lnTo>
                      <a:pt x="138" y="10"/>
                    </a:lnTo>
                    <a:lnTo>
                      <a:pt x="138" y="10"/>
                    </a:lnTo>
                    <a:lnTo>
                      <a:pt x="138" y="16"/>
                    </a:lnTo>
                    <a:lnTo>
                      <a:pt x="136" y="22"/>
                    </a:lnTo>
                    <a:lnTo>
                      <a:pt x="132" y="26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24" y="36"/>
                    </a:lnTo>
                    <a:lnTo>
                      <a:pt x="118" y="38"/>
                    </a:lnTo>
                    <a:lnTo>
                      <a:pt x="112" y="40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2" y="42"/>
                    </a:lnTo>
                    <a:lnTo>
                      <a:pt x="100" y="44"/>
                    </a:lnTo>
                    <a:lnTo>
                      <a:pt x="98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8" y="56"/>
                    </a:lnTo>
                    <a:lnTo>
                      <a:pt x="100" y="58"/>
                    </a:lnTo>
                    <a:lnTo>
                      <a:pt x="102" y="60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16" y="60"/>
                    </a:lnTo>
                    <a:lnTo>
                      <a:pt x="126" y="58"/>
                    </a:lnTo>
                    <a:lnTo>
                      <a:pt x="136" y="52"/>
                    </a:lnTo>
                    <a:lnTo>
                      <a:pt x="142" y="46"/>
                    </a:lnTo>
                    <a:lnTo>
                      <a:pt x="142" y="46"/>
                    </a:lnTo>
                    <a:lnTo>
                      <a:pt x="150" y="38"/>
                    </a:lnTo>
                    <a:lnTo>
                      <a:pt x="154" y="30"/>
                    </a:lnTo>
                    <a:lnTo>
                      <a:pt x="158" y="20"/>
                    </a:lnTo>
                    <a:lnTo>
                      <a:pt x="158" y="10"/>
                    </a:lnTo>
                    <a:lnTo>
                      <a:pt x="158" y="10"/>
                    </a:lnTo>
                    <a:close/>
                    <a:moveTo>
                      <a:pt x="330" y="268"/>
                    </a:moveTo>
                    <a:lnTo>
                      <a:pt x="330" y="190"/>
                    </a:lnTo>
                    <a:lnTo>
                      <a:pt x="242" y="258"/>
                    </a:lnTo>
                    <a:lnTo>
                      <a:pt x="242" y="190"/>
                    </a:lnTo>
                    <a:lnTo>
                      <a:pt x="154" y="258"/>
                    </a:lnTo>
                    <a:lnTo>
                      <a:pt x="148" y="258"/>
                    </a:lnTo>
                    <a:lnTo>
                      <a:pt x="122" y="258"/>
                    </a:lnTo>
                    <a:lnTo>
                      <a:pt x="128" y="252"/>
                    </a:lnTo>
                    <a:lnTo>
                      <a:pt x="146" y="240"/>
                    </a:lnTo>
                    <a:lnTo>
                      <a:pt x="140" y="172"/>
                    </a:lnTo>
                    <a:lnTo>
                      <a:pt x="140" y="172"/>
                    </a:lnTo>
                    <a:lnTo>
                      <a:pt x="140" y="168"/>
                    </a:lnTo>
                    <a:lnTo>
                      <a:pt x="138" y="164"/>
                    </a:lnTo>
                    <a:lnTo>
                      <a:pt x="134" y="162"/>
                    </a:lnTo>
                    <a:lnTo>
                      <a:pt x="130" y="162"/>
                    </a:lnTo>
                    <a:lnTo>
                      <a:pt x="118" y="162"/>
                    </a:lnTo>
                    <a:lnTo>
                      <a:pt x="118" y="162"/>
                    </a:lnTo>
                    <a:lnTo>
                      <a:pt x="114" y="162"/>
                    </a:lnTo>
                    <a:lnTo>
                      <a:pt x="112" y="164"/>
                    </a:lnTo>
                    <a:lnTo>
                      <a:pt x="110" y="168"/>
                    </a:lnTo>
                    <a:lnTo>
                      <a:pt x="108" y="172"/>
                    </a:lnTo>
                    <a:lnTo>
                      <a:pt x="100" y="258"/>
                    </a:lnTo>
                    <a:lnTo>
                      <a:pt x="82" y="258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6" y="106"/>
                    </a:lnTo>
                    <a:lnTo>
                      <a:pt x="64" y="104"/>
                    </a:lnTo>
                    <a:lnTo>
                      <a:pt x="60" y="102"/>
                    </a:lnTo>
                    <a:lnTo>
                      <a:pt x="56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2"/>
                    </a:lnTo>
                    <a:lnTo>
                      <a:pt x="38" y="104"/>
                    </a:lnTo>
                    <a:lnTo>
                      <a:pt x="36" y="106"/>
                    </a:lnTo>
                    <a:lnTo>
                      <a:pt x="34" y="110"/>
                    </a:lnTo>
                    <a:lnTo>
                      <a:pt x="18" y="258"/>
                    </a:lnTo>
                    <a:lnTo>
                      <a:pt x="10" y="258"/>
                    </a:lnTo>
                    <a:lnTo>
                      <a:pt x="10" y="258"/>
                    </a:lnTo>
                    <a:lnTo>
                      <a:pt x="6" y="260"/>
                    </a:lnTo>
                    <a:lnTo>
                      <a:pt x="2" y="262"/>
                    </a:lnTo>
                    <a:lnTo>
                      <a:pt x="0" y="264"/>
                    </a:lnTo>
                    <a:lnTo>
                      <a:pt x="0" y="268"/>
                    </a:lnTo>
                    <a:lnTo>
                      <a:pt x="0" y="340"/>
                    </a:lnTo>
                    <a:lnTo>
                      <a:pt x="0" y="340"/>
                    </a:lnTo>
                    <a:lnTo>
                      <a:pt x="0" y="344"/>
                    </a:lnTo>
                    <a:lnTo>
                      <a:pt x="2" y="348"/>
                    </a:lnTo>
                    <a:lnTo>
                      <a:pt x="6" y="350"/>
                    </a:lnTo>
                    <a:lnTo>
                      <a:pt x="10" y="350"/>
                    </a:lnTo>
                    <a:lnTo>
                      <a:pt x="320" y="350"/>
                    </a:lnTo>
                    <a:lnTo>
                      <a:pt x="320" y="350"/>
                    </a:lnTo>
                    <a:lnTo>
                      <a:pt x="324" y="350"/>
                    </a:lnTo>
                    <a:lnTo>
                      <a:pt x="328" y="348"/>
                    </a:lnTo>
                    <a:lnTo>
                      <a:pt x="330" y="344"/>
                    </a:lnTo>
                    <a:lnTo>
                      <a:pt x="330" y="340"/>
                    </a:lnTo>
                    <a:lnTo>
                      <a:pt x="330" y="268"/>
                    </a:lnTo>
                    <a:lnTo>
                      <a:pt x="330" y="268"/>
                    </a:lnTo>
                    <a:lnTo>
                      <a:pt x="330" y="268"/>
                    </a:lnTo>
                    <a:lnTo>
                      <a:pt x="330" y="268"/>
                    </a:lnTo>
                    <a:close/>
                    <a:moveTo>
                      <a:pt x="76" y="314"/>
                    </a:moveTo>
                    <a:lnTo>
                      <a:pt x="22" y="314"/>
                    </a:lnTo>
                    <a:lnTo>
                      <a:pt x="22" y="288"/>
                    </a:lnTo>
                    <a:lnTo>
                      <a:pt x="76" y="288"/>
                    </a:lnTo>
                    <a:lnTo>
                      <a:pt x="76" y="314"/>
                    </a:lnTo>
                    <a:close/>
                    <a:moveTo>
                      <a:pt x="154" y="314"/>
                    </a:moveTo>
                    <a:lnTo>
                      <a:pt x="100" y="314"/>
                    </a:lnTo>
                    <a:lnTo>
                      <a:pt x="100" y="288"/>
                    </a:lnTo>
                    <a:lnTo>
                      <a:pt x="154" y="288"/>
                    </a:lnTo>
                    <a:lnTo>
                      <a:pt x="154" y="314"/>
                    </a:lnTo>
                    <a:close/>
                    <a:moveTo>
                      <a:pt x="232" y="314"/>
                    </a:moveTo>
                    <a:lnTo>
                      <a:pt x="176" y="314"/>
                    </a:lnTo>
                    <a:lnTo>
                      <a:pt x="176" y="288"/>
                    </a:lnTo>
                    <a:lnTo>
                      <a:pt x="232" y="288"/>
                    </a:lnTo>
                    <a:lnTo>
                      <a:pt x="232" y="314"/>
                    </a:lnTo>
                    <a:close/>
                    <a:moveTo>
                      <a:pt x="308" y="314"/>
                    </a:moveTo>
                    <a:lnTo>
                      <a:pt x="254" y="314"/>
                    </a:lnTo>
                    <a:lnTo>
                      <a:pt x="254" y="288"/>
                    </a:lnTo>
                    <a:lnTo>
                      <a:pt x="308" y="288"/>
                    </a:lnTo>
                    <a:lnTo>
                      <a:pt x="308" y="3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A99183BB-2584-418E-AD6B-1029CB6A8193}"/>
                </a:ext>
              </a:extLst>
            </p:cNvPr>
            <p:cNvGrpSpPr/>
            <p:nvPr/>
          </p:nvGrpSpPr>
          <p:grpSpPr>
            <a:xfrm>
              <a:off x="6685396" y="3647179"/>
              <a:ext cx="171502" cy="171502"/>
              <a:chOff x="3519137" y="1467335"/>
              <a:chExt cx="240402" cy="252879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8F9403DC-5F69-440E-BBCA-6CB64C43A9CA}"/>
                  </a:ext>
                </a:extLst>
              </p:cNvPr>
              <p:cNvSpPr/>
              <p:nvPr/>
            </p:nvSpPr>
            <p:spPr bwMode="ltGray">
              <a:xfrm>
                <a:off x="3519137" y="1467335"/>
                <a:ext cx="240402" cy="252879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00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5" name="Freeform 4949">
                <a:extLst>
                  <a:ext uri="{FF2B5EF4-FFF2-40B4-BE49-F238E27FC236}">
                    <a16:creationId xmlns:a16="http://schemas.microsoft.com/office/drawing/2014/main" id="{6C03495C-45D7-4A74-8741-692DC78D9F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1272" y="1500242"/>
                <a:ext cx="156145" cy="174203"/>
              </a:xfrm>
              <a:custGeom>
                <a:avLst/>
                <a:gdLst>
                  <a:gd name="T0" fmla="*/ 128 w 330"/>
                  <a:gd name="T1" fmla="*/ 144 h 350"/>
                  <a:gd name="T2" fmla="*/ 116 w 330"/>
                  <a:gd name="T3" fmla="*/ 138 h 350"/>
                  <a:gd name="T4" fmla="*/ 126 w 330"/>
                  <a:gd name="T5" fmla="*/ 90 h 350"/>
                  <a:gd name="T6" fmla="*/ 188 w 330"/>
                  <a:gd name="T7" fmla="*/ 52 h 350"/>
                  <a:gd name="T8" fmla="*/ 210 w 330"/>
                  <a:gd name="T9" fmla="*/ 14 h 350"/>
                  <a:gd name="T10" fmla="*/ 250 w 330"/>
                  <a:gd name="T11" fmla="*/ 0 h 350"/>
                  <a:gd name="T12" fmla="*/ 260 w 330"/>
                  <a:gd name="T13" fmla="*/ 10 h 350"/>
                  <a:gd name="T14" fmla="*/ 250 w 330"/>
                  <a:gd name="T15" fmla="*/ 20 h 350"/>
                  <a:gd name="T16" fmla="*/ 214 w 330"/>
                  <a:gd name="T17" fmla="*/ 38 h 350"/>
                  <a:gd name="T18" fmla="*/ 206 w 330"/>
                  <a:gd name="T19" fmla="*/ 66 h 350"/>
                  <a:gd name="T20" fmla="*/ 198 w 330"/>
                  <a:gd name="T21" fmla="*/ 72 h 350"/>
                  <a:gd name="T22" fmla="*/ 172 w 330"/>
                  <a:gd name="T23" fmla="*/ 76 h 350"/>
                  <a:gd name="T24" fmla="*/ 136 w 330"/>
                  <a:gd name="T25" fmla="*/ 122 h 350"/>
                  <a:gd name="T26" fmla="*/ 124 w 330"/>
                  <a:gd name="T27" fmla="*/ 6 h 350"/>
                  <a:gd name="T28" fmla="*/ 100 w 330"/>
                  <a:gd name="T29" fmla="*/ 0 h 350"/>
                  <a:gd name="T30" fmla="*/ 46 w 330"/>
                  <a:gd name="T31" fmla="*/ 44 h 350"/>
                  <a:gd name="T32" fmla="*/ 44 w 330"/>
                  <a:gd name="T33" fmla="*/ 80 h 350"/>
                  <a:gd name="T34" fmla="*/ 58 w 330"/>
                  <a:gd name="T35" fmla="*/ 80 h 350"/>
                  <a:gd name="T36" fmla="*/ 64 w 330"/>
                  <a:gd name="T37" fmla="*/ 52 h 350"/>
                  <a:gd name="T38" fmla="*/ 104 w 330"/>
                  <a:gd name="T39" fmla="*/ 20 h 350"/>
                  <a:gd name="T40" fmla="*/ 124 w 330"/>
                  <a:gd name="T41" fmla="*/ 14 h 350"/>
                  <a:gd name="T42" fmla="*/ 246 w 330"/>
                  <a:gd name="T43" fmla="*/ 34 h 350"/>
                  <a:gd name="T44" fmla="*/ 238 w 330"/>
                  <a:gd name="T45" fmla="*/ 54 h 350"/>
                  <a:gd name="T46" fmla="*/ 208 w 330"/>
                  <a:gd name="T47" fmla="*/ 92 h 350"/>
                  <a:gd name="T48" fmla="*/ 180 w 330"/>
                  <a:gd name="T49" fmla="*/ 98 h 350"/>
                  <a:gd name="T50" fmla="*/ 172 w 330"/>
                  <a:gd name="T51" fmla="*/ 118 h 350"/>
                  <a:gd name="T52" fmla="*/ 150 w 330"/>
                  <a:gd name="T53" fmla="*/ 128 h 350"/>
                  <a:gd name="T54" fmla="*/ 150 w 330"/>
                  <a:gd name="T55" fmla="*/ 142 h 350"/>
                  <a:gd name="T56" fmla="*/ 182 w 330"/>
                  <a:gd name="T57" fmla="*/ 136 h 350"/>
                  <a:gd name="T58" fmla="*/ 222 w 330"/>
                  <a:gd name="T59" fmla="*/ 106 h 350"/>
                  <a:gd name="T60" fmla="*/ 258 w 330"/>
                  <a:gd name="T61" fmla="*/ 56 h 350"/>
                  <a:gd name="T62" fmla="*/ 254 w 330"/>
                  <a:gd name="T63" fmla="*/ 34 h 350"/>
                  <a:gd name="T64" fmla="*/ 158 w 330"/>
                  <a:gd name="T65" fmla="*/ 6 h 350"/>
                  <a:gd name="T66" fmla="*/ 144 w 330"/>
                  <a:gd name="T67" fmla="*/ 0 h 350"/>
                  <a:gd name="T68" fmla="*/ 138 w 330"/>
                  <a:gd name="T69" fmla="*/ 16 h 350"/>
                  <a:gd name="T70" fmla="*/ 124 w 330"/>
                  <a:gd name="T71" fmla="*/ 36 h 350"/>
                  <a:gd name="T72" fmla="*/ 106 w 330"/>
                  <a:gd name="T73" fmla="*/ 42 h 350"/>
                  <a:gd name="T74" fmla="*/ 96 w 330"/>
                  <a:gd name="T75" fmla="*/ 52 h 350"/>
                  <a:gd name="T76" fmla="*/ 106 w 330"/>
                  <a:gd name="T77" fmla="*/ 62 h 350"/>
                  <a:gd name="T78" fmla="*/ 136 w 330"/>
                  <a:gd name="T79" fmla="*/ 52 h 350"/>
                  <a:gd name="T80" fmla="*/ 158 w 330"/>
                  <a:gd name="T81" fmla="*/ 20 h 350"/>
                  <a:gd name="T82" fmla="*/ 242 w 330"/>
                  <a:gd name="T83" fmla="*/ 258 h 350"/>
                  <a:gd name="T84" fmla="*/ 128 w 330"/>
                  <a:gd name="T85" fmla="*/ 252 h 350"/>
                  <a:gd name="T86" fmla="*/ 138 w 330"/>
                  <a:gd name="T87" fmla="*/ 164 h 350"/>
                  <a:gd name="T88" fmla="*/ 114 w 330"/>
                  <a:gd name="T89" fmla="*/ 162 h 350"/>
                  <a:gd name="T90" fmla="*/ 82 w 330"/>
                  <a:gd name="T91" fmla="*/ 258 h 350"/>
                  <a:gd name="T92" fmla="*/ 60 w 330"/>
                  <a:gd name="T93" fmla="*/ 102 h 350"/>
                  <a:gd name="T94" fmla="*/ 38 w 330"/>
                  <a:gd name="T95" fmla="*/ 104 h 350"/>
                  <a:gd name="T96" fmla="*/ 10 w 330"/>
                  <a:gd name="T97" fmla="*/ 258 h 350"/>
                  <a:gd name="T98" fmla="*/ 0 w 330"/>
                  <a:gd name="T99" fmla="*/ 340 h 350"/>
                  <a:gd name="T100" fmla="*/ 10 w 330"/>
                  <a:gd name="T101" fmla="*/ 350 h 350"/>
                  <a:gd name="T102" fmla="*/ 330 w 330"/>
                  <a:gd name="T103" fmla="*/ 344 h 350"/>
                  <a:gd name="T104" fmla="*/ 330 w 330"/>
                  <a:gd name="T105" fmla="*/ 268 h 350"/>
                  <a:gd name="T106" fmla="*/ 76 w 330"/>
                  <a:gd name="T107" fmla="*/ 314 h 350"/>
                  <a:gd name="T108" fmla="*/ 154 w 330"/>
                  <a:gd name="T109" fmla="*/ 314 h 350"/>
                  <a:gd name="T110" fmla="*/ 232 w 330"/>
                  <a:gd name="T111" fmla="*/ 314 h 350"/>
                  <a:gd name="T112" fmla="*/ 308 w 330"/>
                  <a:gd name="T113" fmla="*/ 314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0" h="350">
                    <a:moveTo>
                      <a:pt x="134" y="134"/>
                    </a:moveTo>
                    <a:lnTo>
                      <a:pt x="134" y="134"/>
                    </a:lnTo>
                    <a:lnTo>
                      <a:pt x="134" y="138"/>
                    </a:lnTo>
                    <a:lnTo>
                      <a:pt x="132" y="142"/>
                    </a:lnTo>
                    <a:lnTo>
                      <a:pt x="128" y="144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0" y="144"/>
                    </a:lnTo>
                    <a:lnTo>
                      <a:pt x="118" y="142"/>
                    </a:lnTo>
                    <a:lnTo>
                      <a:pt x="116" y="138"/>
                    </a:lnTo>
                    <a:lnTo>
                      <a:pt x="114" y="134"/>
                    </a:lnTo>
                    <a:lnTo>
                      <a:pt x="114" y="134"/>
                    </a:lnTo>
                    <a:lnTo>
                      <a:pt x="116" y="118"/>
                    </a:lnTo>
                    <a:lnTo>
                      <a:pt x="120" y="104"/>
                    </a:lnTo>
                    <a:lnTo>
                      <a:pt x="126" y="90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60" y="60"/>
                    </a:lnTo>
                    <a:lnTo>
                      <a:pt x="174" y="56"/>
                    </a:lnTo>
                    <a:lnTo>
                      <a:pt x="188" y="52"/>
                    </a:lnTo>
                    <a:lnTo>
                      <a:pt x="188" y="52"/>
                    </a:lnTo>
                    <a:lnTo>
                      <a:pt x="192" y="42"/>
                    </a:lnTo>
                    <a:lnTo>
                      <a:pt x="196" y="32"/>
                    </a:lnTo>
                    <a:lnTo>
                      <a:pt x="202" y="22"/>
                    </a:lnTo>
                    <a:lnTo>
                      <a:pt x="210" y="14"/>
                    </a:lnTo>
                    <a:lnTo>
                      <a:pt x="218" y="8"/>
                    </a:lnTo>
                    <a:lnTo>
                      <a:pt x="228" y="4"/>
                    </a:lnTo>
                    <a:lnTo>
                      <a:pt x="238" y="0"/>
                    </a:lnTo>
                    <a:lnTo>
                      <a:pt x="250" y="0"/>
                    </a:lnTo>
                    <a:lnTo>
                      <a:pt x="250" y="0"/>
                    </a:lnTo>
                    <a:lnTo>
                      <a:pt x="254" y="0"/>
                    </a:lnTo>
                    <a:lnTo>
                      <a:pt x="258" y="2"/>
                    </a:lnTo>
                    <a:lnTo>
                      <a:pt x="260" y="6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0" y="14"/>
                    </a:lnTo>
                    <a:lnTo>
                      <a:pt x="258" y="16"/>
                    </a:lnTo>
                    <a:lnTo>
                      <a:pt x="254" y="18"/>
                    </a:lnTo>
                    <a:lnTo>
                      <a:pt x="250" y="20"/>
                    </a:lnTo>
                    <a:lnTo>
                      <a:pt x="250" y="20"/>
                    </a:lnTo>
                    <a:lnTo>
                      <a:pt x="242" y="20"/>
                    </a:lnTo>
                    <a:lnTo>
                      <a:pt x="234" y="22"/>
                    </a:lnTo>
                    <a:lnTo>
                      <a:pt x="226" y="26"/>
                    </a:lnTo>
                    <a:lnTo>
                      <a:pt x="220" y="32"/>
                    </a:lnTo>
                    <a:lnTo>
                      <a:pt x="214" y="38"/>
                    </a:lnTo>
                    <a:lnTo>
                      <a:pt x="212" y="46"/>
                    </a:lnTo>
                    <a:lnTo>
                      <a:pt x="208" y="52"/>
                    </a:lnTo>
                    <a:lnTo>
                      <a:pt x="208" y="62"/>
                    </a:lnTo>
                    <a:lnTo>
                      <a:pt x="208" y="62"/>
                    </a:lnTo>
                    <a:lnTo>
                      <a:pt x="206" y="66"/>
                    </a:lnTo>
                    <a:lnTo>
                      <a:pt x="204" y="68"/>
                    </a:lnTo>
                    <a:lnTo>
                      <a:pt x="202" y="70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84" y="72"/>
                    </a:lnTo>
                    <a:lnTo>
                      <a:pt x="172" y="76"/>
                    </a:lnTo>
                    <a:lnTo>
                      <a:pt x="162" y="82"/>
                    </a:lnTo>
                    <a:lnTo>
                      <a:pt x="152" y="90"/>
                    </a:lnTo>
                    <a:lnTo>
                      <a:pt x="146" y="100"/>
                    </a:lnTo>
                    <a:lnTo>
                      <a:pt x="140" y="110"/>
                    </a:lnTo>
                    <a:lnTo>
                      <a:pt x="136" y="122"/>
                    </a:lnTo>
                    <a:lnTo>
                      <a:pt x="134" y="134"/>
                    </a:lnTo>
                    <a:lnTo>
                      <a:pt x="134" y="134"/>
                    </a:lnTo>
                    <a:close/>
                    <a:moveTo>
                      <a:pt x="124" y="10"/>
                    </a:moveTo>
                    <a:lnTo>
                      <a:pt x="124" y="10"/>
                    </a:lnTo>
                    <a:lnTo>
                      <a:pt x="124" y="6"/>
                    </a:lnTo>
                    <a:lnTo>
                      <a:pt x="122" y="2"/>
                    </a:lnTo>
                    <a:lnTo>
                      <a:pt x="118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00" y="0"/>
                    </a:lnTo>
                    <a:lnTo>
                      <a:pt x="86" y="6"/>
                    </a:lnTo>
                    <a:lnTo>
                      <a:pt x="72" y="12"/>
                    </a:lnTo>
                    <a:lnTo>
                      <a:pt x="62" y="20"/>
                    </a:lnTo>
                    <a:lnTo>
                      <a:pt x="52" y="32"/>
                    </a:lnTo>
                    <a:lnTo>
                      <a:pt x="46" y="44"/>
                    </a:lnTo>
                    <a:lnTo>
                      <a:pt x="42" y="58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44" y="80"/>
                    </a:lnTo>
                    <a:lnTo>
                      <a:pt x="46" y="82"/>
                    </a:lnTo>
                    <a:lnTo>
                      <a:pt x="50" y="84"/>
                    </a:lnTo>
                    <a:lnTo>
                      <a:pt x="50" y="84"/>
                    </a:lnTo>
                    <a:lnTo>
                      <a:pt x="54" y="82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2" y="62"/>
                    </a:lnTo>
                    <a:lnTo>
                      <a:pt x="64" y="52"/>
                    </a:lnTo>
                    <a:lnTo>
                      <a:pt x="70" y="44"/>
                    </a:lnTo>
                    <a:lnTo>
                      <a:pt x="76" y="36"/>
                    </a:lnTo>
                    <a:lnTo>
                      <a:pt x="84" y="28"/>
                    </a:lnTo>
                    <a:lnTo>
                      <a:pt x="94" y="24"/>
                    </a:lnTo>
                    <a:lnTo>
                      <a:pt x="104" y="20"/>
                    </a:lnTo>
                    <a:lnTo>
                      <a:pt x="114" y="20"/>
                    </a:lnTo>
                    <a:lnTo>
                      <a:pt x="114" y="20"/>
                    </a:lnTo>
                    <a:lnTo>
                      <a:pt x="118" y="18"/>
                    </a:lnTo>
                    <a:lnTo>
                      <a:pt x="122" y="16"/>
                    </a:lnTo>
                    <a:lnTo>
                      <a:pt x="124" y="14"/>
                    </a:lnTo>
                    <a:lnTo>
                      <a:pt x="124" y="10"/>
                    </a:lnTo>
                    <a:lnTo>
                      <a:pt x="124" y="10"/>
                    </a:lnTo>
                    <a:close/>
                    <a:moveTo>
                      <a:pt x="250" y="32"/>
                    </a:moveTo>
                    <a:lnTo>
                      <a:pt x="250" y="32"/>
                    </a:lnTo>
                    <a:lnTo>
                      <a:pt x="246" y="34"/>
                    </a:lnTo>
                    <a:lnTo>
                      <a:pt x="242" y="36"/>
                    </a:lnTo>
                    <a:lnTo>
                      <a:pt x="240" y="38"/>
                    </a:lnTo>
                    <a:lnTo>
                      <a:pt x="240" y="42"/>
                    </a:lnTo>
                    <a:lnTo>
                      <a:pt x="240" y="42"/>
                    </a:lnTo>
                    <a:lnTo>
                      <a:pt x="238" y="54"/>
                    </a:lnTo>
                    <a:lnTo>
                      <a:pt x="236" y="62"/>
                    </a:lnTo>
                    <a:lnTo>
                      <a:pt x="230" y="72"/>
                    </a:lnTo>
                    <a:lnTo>
                      <a:pt x="224" y="80"/>
                    </a:lnTo>
                    <a:lnTo>
                      <a:pt x="216" y="86"/>
                    </a:lnTo>
                    <a:lnTo>
                      <a:pt x="208" y="92"/>
                    </a:lnTo>
                    <a:lnTo>
                      <a:pt x="198" y="94"/>
                    </a:lnTo>
                    <a:lnTo>
                      <a:pt x="188" y="96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8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8" y="106"/>
                    </a:lnTo>
                    <a:lnTo>
                      <a:pt x="176" y="112"/>
                    </a:lnTo>
                    <a:lnTo>
                      <a:pt x="172" y="118"/>
                    </a:lnTo>
                    <a:lnTo>
                      <a:pt x="166" y="124"/>
                    </a:lnTo>
                    <a:lnTo>
                      <a:pt x="158" y="124"/>
                    </a:lnTo>
                    <a:lnTo>
                      <a:pt x="158" y="124"/>
                    </a:lnTo>
                    <a:lnTo>
                      <a:pt x="154" y="126"/>
                    </a:lnTo>
                    <a:lnTo>
                      <a:pt x="150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48" y="134"/>
                    </a:lnTo>
                    <a:lnTo>
                      <a:pt x="148" y="138"/>
                    </a:lnTo>
                    <a:lnTo>
                      <a:pt x="150" y="142"/>
                    </a:lnTo>
                    <a:lnTo>
                      <a:pt x="154" y="144"/>
                    </a:lnTo>
                    <a:lnTo>
                      <a:pt x="158" y="144"/>
                    </a:lnTo>
                    <a:lnTo>
                      <a:pt x="158" y="144"/>
                    </a:lnTo>
                    <a:lnTo>
                      <a:pt x="170" y="142"/>
                    </a:lnTo>
                    <a:lnTo>
                      <a:pt x="182" y="136"/>
                    </a:lnTo>
                    <a:lnTo>
                      <a:pt x="190" y="126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208" y="112"/>
                    </a:lnTo>
                    <a:lnTo>
                      <a:pt x="222" y="106"/>
                    </a:lnTo>
                    <a:lnTo>
                      <a:pt x="232" y="100"/>
                    </a:lnTo>
                    <a:lnTo>
                      <a:pt x="242" y="90"/>
                    </a:lnTo>
                    <a:lnTo>
                      <a:pt x="250" y="80"/>
                    </a:lnTo>
                    <a:lnTo>
                      <a:pt x="256" y="68"/>
                    </a:lnTo>
                    <a:lnTo>
                      <a:pt x="258" y="56"/>
                    </a:lnTo>
                    <a:lnTo>
                      <a:pt x="260" y="42"/>
                    </a:lnTo>
                    <a:lnTo>
                      <a:pt x="260" y="42"/>
                    </a:lnTo>
                    <a:lnTo>
                      <a:pt x="260" y="38"/>
                    </a:lnTo>
                    <a:lnTo>
                      <a:pt x="258" y="36"/>
                    </a:lnTo>
                    <a:lnTo>
                      <a:pt x="254" y="34"/>
                    </a:lnTo>
                    <a:lnTo>
                      <a:pt x="250" y="32"/>
                    </a:lnTo>
                    <a:lnTo>
                      <a:pt x="250" y="32"/>
                    </a:lnTo>
                    <a:close/>
                    <a:moveTo>
                      <a:pt x="158" y="10"/>
                    </a:moveTo>
                    <a:lnTo>
                      <a:pt x="158" y="10"/>
                    </a:lnTo>
                    <a:lnTo>
                      <a:pt x="158" y="6"/>
                    </a:lnTo>
                    <a:lnTo>
                      <a:pt x="156" y="2"/>
                    </a:lnTo>
                    <a:lnTo>
                      <a:pt x="152" y="0"/>
                    </a:lnTo>
                    <a:lnTo>
                      <a:pt x="148" y="0"/>
                    </a:lnTo>
                    <a:lnTo>
                      <a:pt x="148" y="0"/>
                    </a:lnTo>
                    <a:lnTo>
                      <a:pt x="144" y="0"/>
                    </a:lnTo>
                    <a:lnTo>
                      <a:pt x="142" y="2"/>
                    </a:lnTo>
                    <a:lnTo>
                      <a:pt x="138" y="6"/>
                    </a:lnTo>
                    <a:lnTo>
                      <a:pt x="138" y="10"/>
                    </a:lnTo>
                    <a:lnTo>
                      <a:pt x="138" y="10"/>
                    </a:lnTo>
                    <a:lnTo>
                      <a:pt x="138" y="16"/>
                    </a:lnTo>
                    <a:lnTo>
                      <a:pt x="136" y="22"/>
                    </a:lnTo>
                    <a:lnTo>
                      <a:pt x="132" y="26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24" y="36"/>
                    </a:lnTo>
                    <a:lnTo>
                      <a:pt x="118" y="38"/>
                    </a:lnTo>
                    <a:lnTo>
                      <a:pt x="112" y="40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2" y="42"/>
                    </a:lnTo>
                    <a:lnTo>
                      <a:pt x="100" y="44"/>
                    </a:lnTo>
                    <a:lnTo>
                      <a:pt x="98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8" y="56"/>
                    </a:lnTo>
                    <a:lnTo>
                      <a:pt x="100" y="58"/>
                    </a:lnTo>
                    <a:lnTo>
                      <a:pt x="102" y="60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16" y="60"/>
                    </a:lnTo>
                    <a:lnTo>
                      <a:pt x="126" y="58"/>
                    </a:lnTo>
                    <a:lnTo>
                      <a:pt x="136" y="52"/>
                    </a:lnTo>
                    <a:lnTo>
                      <a:pt x="142" y="46"/>
                    </a:lnTo>
                    <a:lnTo>
                      <a:pt x="142" y="46"/>
                    </a:lnTo>
                    <a:lnTo>
                      <a:pt x="150" y="38"/>
                    </a:lnTo>
                    <a:lnTo>
                      <a:pt x="154" y="30"/>
                    </a:lnTo>
                    <a:lnTo>
                      <a:pt x="158" y="20"/>
                    </a:lnTo>
                    <a:lnTo>
                      <a:pt x="158" y="10"/>
                    </a:lnTo>
                    <a:lnTo>
                      <a:pt x="158" y="10"/>
                    </a:lnTo>
                    <a:close/>
                    <a:moveTo>
                      <a:pt x="330" y="268"/>
                    </a:moveTo>
                    <a:lnTo>
                      <a:pt x="330" y="190"/>
                    </a:lnTo>
                    <a:lnTo>
                      <a:pt x="242" y="258"/>
                    </a:lnTo>
                    <a:lnTo>
                      <a:pt x="242" y="190"/>
                    </a:lnTo>
                    <a:lnTo>
                      <a:pt x="154" y="258"/>
                    </a:lnTo>
                    <a:lnTo>
                      <a:pt x="148" y="258"/>
                    </a:lnTo>
                    <a:lnTo>
                      <a:pt x="122" y="258"/>
                    </a:lnTo>
                    <a:lnTo>
                      <a:pt x="128" y="252"/>
                    </a:lnTo>
                    <a:lnTo>
                      <a:pt x="146" y="240"/>
                    </a:lnTo>
                    <a:lnTo>
                      <a:pt x="140" y="172"/>
                    </a:lnTo>
                    <a:lnTo>
                      <a:pt x="140" y="172"/>
                    </a:lnTo>
                    <a:lnTo>
                      <a:pt x="140" y="168"/>
                    </a:lnTo>
                    <a:lnTo>
                      <a:pt x="138" y="164"/>
                    </a:lnTo>
                    <a:lnTo>
                      <a:pt x="134" y="162"/>
                    </a:lnTo>
                    <a:lnTo>
                      <a:pt x="130" y="162"/>
                    </a:lnTo>
                    <a:lnTo>
                      <a:pt x="118" y="162"/>
                    </a:lnTo>
                    <a:lnTo>
                      <a:pt x="118" y="162"/>
                    </a:lnTo>
                    <a:lnTo>
                      <a:pt x="114" y="162"/>
                    </a:lnTo>
                    <a:lnTo>
                      <a:pt x="112" y="164"/>
                    </a:lnTo>
                    <a:lnTo>
                      <a:pt x="110" y="168"/>
                    </a:lnTo>
                    <a:lnTo>
                      <a:pt x="108" y="172"/>
                    </a:lnTo>
                    <a:lnTo>
                      <a:pt x="100" y="258"/>
                    </a:lnTo>
                    <a:lnTo>
                      <a:pt x="82" y="258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6" y="106"/>
                    </a:lnTo>
                    <a:lnTo>
                      <a:pt x="64" y="104"/>
                    </a:lnTo>
                    <a:lnTo>
                      <a:pt x="60" y="102"/>
                    </a:lnTo>
                    <a:lnTo>
                      <a:pt x="56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2"/>
                    </a:lnTo>
                    <a:lnTo>
                      <a:pt x="38" y="104"/>
                    </a:lnTo>
                    <a:lnTo>
                      <a:pt x="36" y="106"/>
                    </a:lnTo>
                    <a:lnTo>
                      <a:pt x="34" y="110"/>
                    </a:lnTo>
                    <a:lnTo>
                      <a:pt x="18" y="258"/>
                    </a:lnTo>
                    <a:lnTo>
                      <a:pt x="10" y="258"/>
                    </a:lnTo>
                    <a:lnTo>
                      <a:pt x="10" y="258"/>
                    </a:lnTo>
                    <a:lnTo>
                      <a:pt x="6" y="260"/>
                    </a:lnTo>
                    <a:lnTo>
                      <a:pt x="2" y="262"/>
                    </a:lnTo>
                    <a:lnTo>
                      <a:pt x="0" y="264"/>
                    </a:lnTo>
                    <a:lnTo>
                      <a:pt x="0" y="268"/>
                    </a:lnTo>
                    <a:lnTo>
                      <a:pt x="0" y="340"/>
                    </a:lnTo>
                    <a:lnTo>
                      <a:pt x="0" y="340"/>
                    </a:lnTo>
                    <a:lnTo>
                      <a:pt x="0" y="344"/>
                    </a:lnTo>
                    <a:lnTo>
                      <a:pt x="2" y="348"/>
                    </a:lnTo>
                    <a:lnTo>
                      <a:pt x="6" y="350"/>
                    </a:lnTo>
                    <a:lnTo>
                      <a:pt x="10" y="350"/>
                    </a:lnTo>
                    <a:lnTo>
                      <a:pt x="320" y="350"/>
                    </a:lnTo>
                    <a:lnTo>
                      <a:pt x="320" y="350"/>
                    </a:lnTo>
                    <a:lnTo>
                      <a:pt x="324" y="350"/>
                    </a:lnTo>
                    <a:lnTo>
                      <a:pt x="328" y="348"/>
                    </a:lnTo>
                    <a:lnTo>
                      <a:pt x="330" y="344"/>
                    </a:lnTo>
                    <a:lnTo>
                      <a:pt x="330" y="340"/>
                    </a:lnTo>
                    <a:lnTo>
                      <a:pt x="330" y="268"/>
                    </a:lnTo>
                    <a:lnTo>
                      <a:pt x="330" y="268"/>
                    </a:lnTo>
                    <a:lnTo>
                      <a:pt x="330" y="268"/>
                    </a:lnTo>
                    <a:lnTo>
                      <a:pt x="330" y="268"/>
                    </a:lnTo>
                    <a:close/>
                    <a:moveTo>
                      <a:pt x="76" y="314"/>
                    </a:moveTo>
                    <a:lnTo>
                      <a:pt x="22" y="314"/>
                    </a:lnTo>
                    <a:lnTo>
                      <a:pt x="22" y="288"/>
                    </a:lnTo>
                    <a:lnTo>
                      <a:pt x="76" y="288"/>
                    </a:lnTo>
                    <a:lnTo>
                      <a:pt x="76" y="314"/>
                    </a:lnTo>
                    <a:close/>
                    <a:moveTo>
                      <a:pt x="154" y="314"/>
                    </a:moveTo>
                    <a:lnTo>
                      <a:pt x="100" y="314"/>
                    </a:lnTo>
                    <a:lnTo>
                      <a:pt x="100" y="288"/>
                    </a:lnTo>
                    <a:lnTo>
                      <a:pt x="154" y="288"/>
                    </a:lnTo>
                    <a:lnTo>
                      <a:pt x="154" y="314"/>
                    </a:lnTo>
                    <a:close/>
                    <a:moveTo>
                      <a:pt x="232" y="314"/>
                    </a:moveTo>
                    <a:lnTo>
                      <a:pt x="176" y="314"/>
                    </a:lnTo>
                    <a:lnTo>
                      <a:pt x="176" y="288"/>
                    </a:lnTo>
                    <a:lnTo>
                      <a:pt x="232" y="288"/>
                    </a:lnTo>
                    <a:lnTo>
                      <a:pt x="232" y="314"/>
                    </a:lnTo>
                    <a:close/>
                    <a:moveTo>
                      <a:pt x="308" y="314"/>
                    </a:moveTo>
                    <a:lnTo>
                      <a:pt x="254" y="314"/>
                    </a:lnTo>
                    <a:lnTo>
                      <a:pt x="254" y="288"/>
                    </a:lnTo>
                    <a:lnTo>
                      <a:pt x="308" y="288"/>
                    </a:lnTo>
                    <a:lnTo>
                      <a:pt x="308" y="3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B3FE8256-5145-473B-A4AA-B4040C258625}"/>
                </a:ext>
              </a:extLst>
            </p:cNvPr>
            <p:cNvGrpSpPr/>
            <p:nvPr/>
          </p:nvGrpSpPr>
          <p:grpSpPr>
            <a:xfrm>
              <a:off x="5240165" y="5393714"/>
              <a:ext cx="171502" cy="171502"/>
              <a:chOff x="3519143" y="1467333"/>
              <a:chExt cx="240402" cy="252879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980AA26-D479-441D-B889-11B33F2F3299}"/>
                  </a:ext>
                </a:extLst>
              </p:cNvPr>
              <p:cNvSpPr/>
              <p:nvPr/>
            </p:nvSpPr>
            <p:spPr bwMode="ltGray">
              <a:xfrm>
                <a:off x="3519143" y="1467333"/>
                <a:ext cx="240402" cy="252879"/>
              </a:xfrm>
              <a:prstGeom prst="ellipse">
                <a:avLst/>
              </a:prstGeom>
              <a:solidFill>
                <a:schemeClr val="tx1"/>
              </a:solidFill>
              <a:ln w="31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00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3" name="Freeform 4949">
                <a:extLst>
                  <a:ext uri="{FF2B5EF4-FFF2-40B4-BE49-F238E27FC236}">
                    <a16:creationId xmlns:a16="http://schemas.microsoft.com/office/drawing/2014/main" id="{B0B4AF05-4BD7-4336-B007-F80AF5DCDC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1272" y="1500242"/>
                <a:ext cx="156145" cy="174203"/>
              </a:xfrm>
              <a:custGeom>
                <a:avLst/>
                <a:gdLst>
                  <a:gd name="T0" fmla="*/ 128 w 330"/>
                  <a:gd name="T1" fmla="*/ 144 h 350"/>
                  <a:gd name="T2" fmla="*/ 116 w 330"/>
                  <a:gd name="T3" fmla="*/ 138 h 350"/>
                  <a:gd name="T4" fmla="*/ 126 w 330"/>
                  <a:gd name="T5" fmla="*/ 90 h 350"/>
                  <a:gd name="T6" fmla="*/ 188 w 330"/>
                  <a:gd name="T7" fmla="*/ 52 h 350"/>
                  <a:gd name="T8" fmla="*/ 210 w 330"/>
                  <a:gd name="T9" fmla="*/ 14 h 350"/>
                  <a:gd name="T10" fmla="*/ 250 w 330"/>
                  <a:gd name="T11" fmla="*/ 0 h 350"/>
                  <a:gd name="T12" fmla="*/ 260 w 330"/>
                  <a:gd name="T13" fmla="*/ 10 h 350"/>
                  <a:gd name="T14" fmla="*/ 250 w 330"/>
                  <a:gd name="T15" fmla="*/ 20 h 350"/>
                  <a:gd name="T16" fmla="*/ 214 w 330"/>
                  <a:gd name="T17" fmla="*/ 38 h 350"/>
                  <a:gd name="T18" fmla="*/ 206 w 330"/>
                  <a:gd name="T19" fmla="*/ 66 h 350"/>
                  <a:gd name="T20" fmla="*/ 198 w 330"/>
                  <a:gd name="T21" fmla="*/ 72 h 350"/>
                  <a:gd name="T22" fmla="*/ 172 w 330"/>
                  <a:gd name="T23" fmla="*/ 76 h 350"/>
                  <a:gd name="T24" fmla="*/ 136 w 330"/>
                  <a:gd name="T25" fmla="*/ 122 h 350"/>
                  <a:gd name="T26" fmla="*/ 124 w 330"/>
                  <a:gd name="T27" fmla="*/ 6 h 350"/>
                  <a:gd name="T28" fmla="*/ 100 w 330"/>
                  <a:gd name="T29" fmla="*/ 0 h 350"/>
                  <a:gd name="T30" fmla="*/ 46 w 330"/>
                  <a:gd name="T31" fmla="*/ 44 h 350"/>
                  <a:gd name="T32" fmla="*/ 44 w 330"/>
                  <a:gd name="T33" fmla="*/ 80 h 350"/>
                  <a:gd name="T34" fmla="*/ 58 w 330"/>
                  <a:gd name="T35" fmla="*/ 80 h 350"/>
                  <a:gd name="T36" fmla="*/ 64 w 330"/>
                  <a:gd name="T37" fmla="*/ 52 h 350"/>
                  <a:gd name="T38" fmla="*/ 104 w 330"/>
                  <a:gd name="T39" fmla="*/ 20 h 350"/>
                  <a:gd name="T40" fmla="*/ 124 w 330"/>
                  <a:gd name="T41" fmla="*/ 14 h 350"/>
                  <a:gd name="T42" fmla="*/ 246 w 330"/>
                  <a:gd name="T43" fmla="*/ 34 h 350"/>
                  <a:gd name="T44" fmla="*/ 238 w 330"/>
                  <a:gd name="T45" fmla="*/ 54 h 350"/>
                  <a:gd name="T46" fmla="*/ 208 w 330"/>
                  <a:gd name="T47" fmla="*/ 92 h 350"/>
                  <a:gd name="T48" fmla="*/ 180 w 330"/>
                  <a:gd name="T49" fmla="*/ 98 h 350"/>
                  <a:gd name="T50" fmla="*/ 172 w 330"/>
                  <a:gd name="T51" fmla="*/ 118 h 350"/>
                  <a:gd name="T52" fmla="*/ 150 w 330"/>
                  <a:gd name="T53" fmla="*/ 128 h 350"/>
                  <a:gd name="T54" fmla="*/ 150 w 330"/>
                  <a:gd name="T55" fmla="*/ 142 h 350"/>
                  <a:gd name="T56" fmla="*/ 182 w 330"/>
                  <a:gd name="T57" fmla="*/ 136 h 350"/>
                  <a:gd name="T58" fmla="*/ 222 w 330"/>
                  <a:gd name="T59" fmla="*/ 106 h 350"/>
                  <a:gd name="T60" fmla="*/ 258 w 330"/>
                  <a:gd name="T61" fmla="*/ 56 h 350"/>
                  <a:gd name="T62" fmla="*/ 254 w 330"/>
                  <a:gd name="T63" fmla="*/ 34 h 350"/>
                  <a:gd name="T64" fmla="*/ 158 w 330"/>
                  <a:gd name="T65" fmla="*/ 6 h 350"/>
                  <a:gd name="T66" fmla="*/ 144 w 330"/>
                  <a:gd name="T67" fmla="*/ 0 h 350"/>
                  <a:gd name="T68" fmla="*/ 138 w 330"/>
                  <a:gd name="T69" fmla="*/ 16 h 350"/>
                  <a:gd name="T70" fmla="*/ 124 w 330"/>
                  <a:gd name="T71" fmla="*/ 36 h 350"/>
                  <a:gd name="T72" fmla="*/ 106 w 330"/>
                  <a:gd name="T73" fmla="*/ 42 h 350"/>
                  <a:gd name="T74" fmla="*/ 96 w 330"/>
                  <a:gd name="T75" fmla="*/ 52 h 350"/>
                  <a:gd name="T76" fmla="*/ 106 w 330"/>
                  <a:gd name="T77" fmla="*/ 62 h 350"/>
                  <a:gd name="T78" fmla="*/ 136 w 330"/>
                  <a:gd name="T79" fmla="*/ 52 h 350"/>
                  <a:gd name="T80" fmla="*/ 158 w 330"/>
                  <a:gd name="T81" fmla="*/ 20 h 350"/>
                  <a:gd name="T82" fmla="*/ 242 w 330"/>
                  <a:gd name="T83" fmla="*/ 258 h 350"/>
                  <a:gd name="T84" fmla="*/ 128 w 330"/>
                  <a:gd name="T85" fmla="*/ 252 h 350"/>
                  <a:gd name="T86" fmla="*/ 138 w 330"/>
                  <a:gd name="T87" fmla="*/ 164 h 350"/>
                  <a:gd name="T88" fmla="*/ 114 w 330"/>
                  <a:gd name="T89" fmla="*/ 162 h 350"/>
                  <a:gd name="T90" fmla="*/ 82 w 330"/>
                  <a:gd name="T91" fmla="*/ 258 h 350"/>
                  <a:gd name="T92" fmla="*/ 60 w 330"/>
                  <a:gd name="T93" fmla="*/ 102 h 350"/>
                  <a:gd name="T94" fmla="*/ 38 w 330"/>
                  <a:gd name="T95" fmla="*/ 104 h 350"/>
                  <a:gd name="T96" fmla="*/ 10 w 330"/>
                  <a:gd name="T97" fmla="*/ 258 h 350"/>
                  <a:gd name="T98" fmla="*/ 0 w 330"/>
                  <a:gd name="T99" fmla="*/ 340 h 350"/>
                  <a:gd name="T100" fmla="*/ 10 w 330"/>
                  <a:gd name="T101" fmla="*/ 350 h 350"/>
                  <a:gd name="T102" fmla="*/ 330 w 330"/>
                  <a:gd name="T103" fmla="*/ 344 h 350"/>
                  <a:gd name="T104" fmla="*/ 330 w 330"/>
                  <a:gd name="T105" fmla="*/ 268 h 350"/>
                  <a:gd name="T106" fmla="*/ 76 w 330"/>
                  <a:gd name="T107" fmla="*/ 314 h 350"/>
                  <a:gd name="T108" fmla="*/ 154 w 330"/>
                  <a:gd name="T109" fmla="*/ 314 h 350"/>
                  <a:gd name="T110" fmla="*/ 232 w 330"/>
                  <a:gd name="T111" fmla="*/ 314 h 350"/>
                  <a:gd name="T112" fmla="*/ 308 w 330"/>
                  <a:gd name="T113" fmla="*/ 314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0" h="350">
                    <a:moveTo>
                      <a:pt x="134" y="134"/>
                    </a:moveTo>
                    <a:lnTo>
                      <a:pt x="134" y="134"/>
                    </a:lnTo>
                    <a:lnTo>
                      <a:pt x="134" y="138"/>
                    </a:lnTo>
                    <a:lnTo>
                      <a:pt x="132" y="142"/>
                    </a:lnTo>
                    <a:lnTo>
                      <a:pt x="128" y="144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0" y="144"/>
                    </a:lnTo>
                    <a:lnTo>
                      <a:pt x="118" y="142"/>
                    </a:lnTo>
                    <a:lnTo>
                      <a:pt x="116" y="138"/>
                    </a:lnTo>
                    <a:lnTo>
                      <a:pt x="114" y="134"/>
                    </a:lnTo>
                    <a:lnTo>
                      <a:pt x="114" y="134"/>
                    </a:lnTo>
                    <a:lnTo>
                      <a:pt x="116" y="118"/>
                    </a:lnTo>
                    <a:lnTo>
                      <a:pt x="120" y="104"/>
                    </a:lnTo>
                    <a:lnTo>
                      <a:pt x="126" y="90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60" y="60"/>
                    </a:lnTo>
                    <a:lnTo>
                      <a:pt x="174" y="56"/>
                    </a:lnTo>
                    <a:lnTo>
                      <a:pt x="188" y="52"/>
                    </a:lnTo>
                    <a:lnTo>
                      <a:pt x="188" y="52"/>
                    </a:lnTo>
                    <a:lnTo>
                      <a:pt x="192" y="42"/>
                    </a:lnTo>
                    <a:lnTo>
                      <a:pt x="196" y="32"/>
                    </a:lnTo>
                    <a:lnTo>
                      <a:pt x="202" y="22"/>
                    </a:lnTo>
                    <a:lnTo>
                      <a:pt x="210" y="14"/>
                    </a:lnTo>
                    <a:lnTo>
                      <a:pt x="218" y="8"/>
                    </a:lnTo>
                    <a:lnTo>
                      <a:pt x="228" y="4"/>
                    </a:lnTo>
                    <a:lnTo>
                      <a:pt x="238" y="0"/>
                    </a:lnTo>
                    <a:lnTo>
                      <a:pt x="250" y="0"/>
                    </a:lnTo>
                    <a:lnTo>
                      <a:pt x="250" y="0"/>
                    </a:lnTo>
                    <a:lnTo>
                      <a:pt x="254" y="0"/>
                    </a:lnTo>
                    <a:lnTo>
                      <a:pt x="258" y="2"/>
                    </a:lnTo>
                    <a:lnTo>
                      <a:pt x="260" y="6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60" y="14"/>
                    </a:lnTo>
                    <a:lnTo>
                      <a:pt x="258" y="16"/>
                    </a:lnTo>
                    <a:lnTo>
                      <a:pt x="254" y="18"/>
                    </a:lnTo>
                    <a:lnTo>
                      <a:pt x="250" y="20"/>
                    </a:lnTo>
                    <a:lnTo>
                      <a:pt x="250" y="20"/>
                    </a:lnTo>
                    <a:lnTo>
                      <a:pt x="242" y="20"/>
                    </a:lnTo>
                    <a:lnTo>
                      <a:pt x="234" y="22"/>
                    </a:lnTo>
                    <a:lnTo>
                      <a:pt x="226" y="26"/>
                    </a:lnTo>
                    <a:lnTo>
                      <a:pt x="220" y="32"/>
                    </a:lnTo>
                    <a:lnTo>
                      <a:pt x="214" y="38"/>
                    </a:lnTo>
                    <a:lnTo>
                      <a:pt x="212" y="46"/>
                    </a:lnTo>
                    <a:lnTo>
                      <a:pt x="208" y="52"/>
                    </a:lnTo>
                    <a:lnTo>
                      <a:pt x="208" y="62"/>
                    </a:lnTo>
                    <a:lnTo>
                      <a:pt x="208" y="62"/>
                    </a:lnTo>
                    <a:lnTo>
                      <a:pt x="206" y="66"/>
                    </a:lnTo>
                    <a:lnTo>
                      <a:pt x="204" y="68"/>
                    </a:lnTo>
                    <a:lnTo>
                      <a:pt x="202" y="70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98" y="72"/>
                    </a:lnTo>
                    <a:lnTo>
                      <a:pt x="184" y="72"/>
                    </a:lnTo>
                    <a:lnTo>
                      <a:pt x="172" y="76"/>
                    </a:lnTo>
                    <a:lnTo>
                      <a:pt x="162" y="82"/>
                    </a:lnTo>
                    <a:lnTo>
                      <a:pt x="152" y="90"/>
                    </a:lnTo>
                    <a:lnTo>
                      <a:pt x="146" y="100"/>
                    </a:lnTo>
                    <a:lnTo>
                      <a:pt x="140" y="110"/>
                    </a:lnTo>
                    <a:lnTo>
                      <a:pt x="136" y="122"/>
                    </a:lnTo>
                    <a:lnTo>
                      <a:pt x="134" y="134"/>
                    </a:lnTo>
                    <a:lnTo>
                      <a:pt x="134" y="134"/>
                    </a:lnTo>
                    <a:close/>
                    <a:moveTo>
                      <a:pt x="124" y="10"/>
                    </a:moveTo>
                    <a:lnTo>
                      <a:pt x="124" y="10"/>
                    </a:lnTo>
                    <a:lnTo>
                      <a:pt x="124" y="6"/>
                    </a:lnTo>
                    <a:lnTo>
                      <a:pt x="122" y="2"/>
                    </a:lnTo>
                    <a:lnTo>
                      <a:pt x="118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00" y="0"/>
                    </a:lnTo>
                    <a:lnTo>
                      <a:pt x="86" y="6"/>
                    </a:lnTo>
                    <a:lnTo>
                      <a:pt x="72" y="12"/>
                    </a:lnTo>
                    <a:lnTo>
                      <a:pt x="62" y="20"/>
                    </a:lnTo>
                    <a:lnTo>
                      <a:pt x="52" y="32"/>
                    </a:lnTo>
                    <a:lnTo>
                      <a:pt x="46" y="44"/>
                    </a:lnTo>
                    <a:lnTo>
                      <a:pt x="42" y="58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44" y="80"/>
                    </a:lnTo>
                    <a:lnTo>
                      <a:pt x="46" y="82"/>
                    </a:lnTo>
                    <a:lnTo>
                      <a:pt x="50" y="84"/>
                    </a:lnTo>
                    <a:lnTo>
                      <a:pt x="50" y="84"/>
                    </a:lnTo>
                    <a:lnTo>
                      <a:pt x="54" y="82"/>
                    </a:lnTo>
                    <a:lnTo>
                      <a:pt x="58" y="80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2" y="62"/>
                    </a:lnTo>
                    <a:lnTo>
                      <a:pt x="64" y="52"/>
                    </a:lnTo>
                    <a:lnTo>
                      <a:pt x="70" y="44"/>
                    </a:lnTo>
                    <a:lnTo>
                      <a:pt x="76" y="36"/>
                    </a:lnTo>
                    <a:lnTo>
                      <a:pt x="84" y="28"/>
                    </a:lnTo>
                    <a:lnTo>
                      <a:pt x="94" y="24"/>
                    </a:lnTo>
                    <a:lnTo>
                      <a:pt x="104" y="20"/>
                    </a:lnTo>
                    <a:lnTo>
                      <a:pt x="114" y="20"/>
                    </a:lnTo>
                    <a:lnTo>
                      <a:pt x="114" y="20"/>
                    </a:lnTo>
                    <a:lnTo>
                      <a:pt x="118" y="18"/>
                    </a:lnTo>
                    <a:lnTo>
                      <a:pt x="122" y="16"/>
                    </a:lnTo>
                    <a:lnTo>
                      <a:pt x="124" y="14"/>
                    </a:lnTo>
                    <a:lnTo>
                      <a:pt x="124" y="10"/>
                    </a:lnTo>
                    <a:lnTo>
                      <a:pt x="124" y="10"/>
                    </a:lnTo>
                    <a:close/>
                    <a:moveTo>
                      <a:pt x="250" y="32"/>
                    </a:moveTo>
                    <a:lnTo>
                      <a:pt x="250" y="32"/>
                    </a:lnTo>
                    <a:lnTo>
                      <a:pt x="246" y="34"/>
                    </a:lnTo>
                    <a:lnTo>
                      <a:pt x="242" y="36"/>
                    </a:lnTo>
                    <a:lnTo>
                      <a:pt x="240" y="38"/>
                    </a:lnTo>
                    <a:lnTo>
                      <a:pt x="240" y="42"/>
                    </a:lnTo>
                    <a:lnTo>
                      <a:pt x="240" y="42"/>
                    </a:lnTo>
                    <a:lnTo>
                      <a:pt x="238" y="54"/>
                    </a:lnTo>
                    <a:lnTo>
                      <a:pt x="236" y="62"/>
                    </a:lnTo>
                    <a:lnTo>
                      <a:pt x="230" y="72"/>
                    </a:lnTo>
                    <a:lnTo>
                      <a:pt x="224" y="80"/>
                    </a:lnTo>
                    <a:lnTo>
                      <a:pt x="216" y="86"/>
                    </a:lnTo>
                    <a:lnTo>
                      <a:pt x="208" y="92"/>
                    </a:lnTo>
                    <a:lnTo>
                      <a:pt x="198" y="94"/>
                    </a:lnTo>
                    <a:lnTo>
                      <a:pt x="188" y="96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8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8" y="106"/>
                    </a:lnTo>
                    <a:lnTo>
                      <a:pt x="176" y="112"/>
                    </a:lnTo>
                    <a:lnTo>
                      <a:pt x="172" y="118"/>
                    </a:lnTo>
                    <a:lnTo>
                      <a:pt x="166" y="124"/>
                    </a:lnTo>
                    <a:lnTo>
                      <a:pt x="158" y="124"/>
                    </a:lnTo>
                    <a:lnTo>
                      <a:pt x="158" y="124"/>
                    </a:lnTo>
                    <a:lnTo>
                      <a:pt x="154" y="126"/>
                    </a:lnTo>
                    <a:lnTo>
                      <a:pt x="150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48" y="134"/>
                    </a:lnTo>
                    <a:lnTo>
                      <a:pt x="148" y="138"/>
                    </a:lnTo>
                    <a:lnTo>
                      <a:pt x="150" y="142"/>
                    </a:lnTo>
                    <a:lnTo>
                      <a:pt x="154" y="144"/>
                    </a:lnTo>
                    <a:lnTo>
                      <a:pt x="158" y="144"/>
                    </a:lnTo>
                    <a:lnTo>
                      <a:pt x="158" y="144"/>
                    </a:lnTo>
                    <a:lnTo>
                      <a:pt x="170" y="142"/>
                    </a:lnTo>
                    <a:lnTo>
                      <a:pt x="182" y="136"/>
                    </a:lnTo>
                    <a:lnTo>
                      <a:pt x="190" y="126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208" y="112"/>
                    </a:lnTo>
                    <a:lnTo>
                      <a:pt x="222" y="106"/>
                    </a:lnTo>
                    <a:lnTo>
                      <a:pt x="232" y="100"/>
                    </a:lnTo>
                    <a:lnTo>
                      <a:pt x="242" y="90"/>
                    </a:lnTo>
                    <a:lnTo>
                      <a:pt x="250" y="80"/>
                    </a:lnTo>
                    <a:lnTo>
                      <a:pt x="256" y="68"/>
                    </a:lnTo>
                    <a:lnTo>
                      <a:pt x="258" y="56"/>
                    </a:lnTo>
                    <a:lnTo>
                      <a:pt x="260" y="42"/>
                    </a:lnTo>
                    <a:lnTo>
                      <a:pt x="260" y="42"/>
                    </a:lnTo>
                    <a:lnTo>
                      <a:pt x="260" y="38"/>
                    </a:lnTo>
                    <a:lnTo>
                      <a:pt x="258" y="36"/>
                    </a:lnTo>
                    <a:lnTo>
                      <a:pt x="254" y="34"/>
                    </a:lnTo>
                    <a:lnTo>
                      <a:pt x="250" y="32"/>
                    </a:lnTo>
                    <a:lnTo>
                      <a:pt x="250" y="32"/>
                    </a:lnTo>
                    <a:close/>
                    <a:moveTo>
                      <a:pt x="158" y="10"/>
                    </a:moveTo>
                    <a:lnTo>
                      <a:pt x="158" y="10"/>
                    </a:lnTo>
                    <a:lnTo>
                      <a:pt x="158" y="6"/>
                    </a:lnTo>
                    <a:lnTo>
                      <a:pt x="156" y="2"/>
                    </a:lnTo>
                    <a:lnTo>
                      <a:pt x="152" y="0"/>
                    </a:lnTo>
                    <a:lnTo>
                      <a:pt x="148" y="0"/>
                    </a:lnTo>
                    <a:lnTo>
                      <a:pt x="148" y="0"/>
                    </a:lnTo>
                    <a:lnTo>
                      <a:pt x="144" y="0"/>
                    </a:lnTo>
                    <a:lnTo>
                      <a:pt x="142" y="2"/>
                    </a:lnTo>
                    <a:lnTo>
                      <a:pt x="138" y="6"/>
                    </a:lnTo>
                    <a:lnTo>
                      <a:pt x="138" y="10"/>
                    </a:lnTo>
                    <a:lnTo>
                      <a:pt x="138" y="10"/>
                    </a:lnTo>
                    <a:lnTo>
                      <a:pt x="138" y="16"/>
                    </a:lnTo>
                    <a:lnTo>
                      <a:pt x="136" y="22"/>
                    </a:lnTo>
                    <a:lnTo>
                      <a:pt x="132" y="26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24" y="36"/>
                    </a:lnTo>
                    <a:lnTo>
                      <a:pt x="118" y="38"/>
                    </a:lnTo>
                    <a:lnTo>
                      <a:pt x="112" y="40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2" y="42"/>
                    </a:lnTo>
                    <a:lnTo>
                      <a:pt x="100" y="44"/>
                    </a:lnTo>
                    <a:lnTo>
                      <a:pt x="98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8" y="56"/>
                    </a:lnTo>
                    <a:lnTo>
                      <a:pt x="100" y="58"/>
                    </a:lnTo>
                    <a:lnTo>
                      <a:pt x="102" y="60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06" y="62"/>
                    </a:lnTo>
                    <a:lnTo>
                      <a:pt x="116" y="60"/>
                    </a:lnTo>
                    <a:lnTo>
                      <a:pt x="126" y="58"/>
                    </a:lnTo>
                    <a:lnTo>
                      <a:pt x="136" y="52"/>
                    </a:lnTo>
                    <a:lnTo>
                      <a:pt x="142" y="46"/>
                    </a:lnTo>
                    <a:lnTo>
                      <a:pt x="142" y="46"/>
                    </a:lnTo>
                    <a:lnTo>
                      <a:pt x="150" y="38"/>
                    </a:lnTo>
                    <a:lnTo>
                      <a:pt x="154" y="30"/>
                    </a:lnTo>
                    <a:lnTo>
                      <a:pt x="158" y="20"/>
                    </a:lnTo>
                    <a:lnTo>
                      <a:pt x="158" y="10"/>
                    </a:lnTo>
                    <a:lnTo>
                      <a:pt x="158" y="10"/>
                    </a:lnTo>
                    <a:close/>
                    <a:moveTo>
                      <a:pt x="330" y="268"/>
                    </a:moveTo>
                    <a:lnTo>
                      <a:pt x="330" y="190"/>
                    </a:lnTo>
                    <a:lnTo>
                      <a:pt x="242" y="258"/>
                    </a:lnTo>
                    <a:lnTo>
                      <a:pt x="242" y="190"/>
                    </a:lnTo>
                    <a:lnTo>
                      <a:pt x="154" y="258"/>
                    </a:lnTo>
                    <a:lnTo>
                      <a:pt x="148" y="258"/>
                    </a:lnTo>
                    <a:lnTo>
                      <a:pt x="122" y="258"/>
                    </a:lnTo>
                    <a:lnTo>
                      <a:pt x="128" y="252"/>
                    </a:lnTo>
                    <a:lnTo>
                      <a:pt x="146" y="240"/>
                    </a:lnTo>
                    <a:lnTo>
                      <a:pt x="140" y="172"/>
                    </a:lnTo>
                    <a:lnTo>
                      <a:pt x="140" y="172"/>
                    </a:lnTo>
                    <a:lnTo>
                      <a:pt x="140" y="168"/>
                    </a:lnTo>
                    <a:lnTo>
                      <a:pt x="138" y="164"/>
                    </a:lnTo>
                    <a:lnTo>
                      <a:pt x="134" y="162"/>
                    </a:lnTo>
                    <a:lnTo>
                      <a:pt x="130" y="162"/>
                    </a:lnTo>
                    <a:lnTo>
                      <a:pt x="118" y="162"/>
                    </a:lnTo>
                    <a:lnTo>
                      <a:pt x="118" y="162"/>
                    </a:lnTo>
                    <a:lnTo>
                      <a:pt x="114" y="162"/>
                    </a:lnTo>
                    <a:lnTo>
                      <a:pt x="112" y="164"/>
                    </a:lnTo>
                    <a:lnTo>
                      <a:pt x="110" y="168"/>
                    </a:lnTo>
                    <a:lnTo>
                      <a:pt x="108" y="172"/>
                    </a:lnTo>
                    <a:lnTo>
                      <a:pt x="100" y="258"/>
                    </a:lnTo>
                    <a:lnTo>
                      <a:pt x="82" y="258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6" y="106"/>
                    </a:lnTo>
                    <a:lnTo>
                      <a:pt x="64" y="104"/>
                    </a:lnTo>
                    <a:lnTo>
                      <a:pt x="60" y="102"/>
                    </a:lnTo>
                    <a:lnTo>
                      <a:pt x="56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2"/>
                    </a:lnTo>
                    <a:lnTo>
                      <a:pt x="38" y="104"/>
                    </a:lnTo>
                    <a:lnTo>
                      <a:pt x="36" y="106"/>
                    </a:lnTo>
                    <a:lnTo>
                      <a:pt x="34" y="110"/>
                    </a:lnTo>
                    <a:lnTo>
                      <a:pt x="18" y="258"/>
                    </a:lnTo>
                    <a:lnTo>
                      <a:pt x="10" y="258"/>
                    </a:lnTo>
                    <a:lnTo>
                      <a:pt x="10" y="258"/>
                    </a:lnTo>
                    <a:lnTo>
                      <a:pt x="6" y="260"/>
                    </a:lnTo>
                    <a:lnTo>
                      <a:pt x="2" y="262"/>
                    </a:lnTo>
                    <a:lnTo>
                      <a:pt x="0" y="264"/>
                    </a:lnTo>
                    <a:lnTo>
                      <a:pt x="0" y="268"/>
                    </a:lnTo>
                    <a:lnTo>
                      <a:pt x="0" y="340"/>
                    </a:lnTo>
                    <a:lnTo>
                      <a:pt x="0" y="340"/>
                    </a:lnTo>
                    <a:lnTo>
                      <a:pt x="0" y="344"/>
                    </a:lnTo>
                    <a:lnTo>
                      <a:pt x="2" y="348"/>
                    </a:lnTo>
                    <a:lnTo>
                      <a:pt x="6" y="350"/>
                    </a:lnTo>
                    <a:lnTo>
                      <a:pt x="10" y="350"/>
                    </a:lnTo>
                    <a:lnTo>
                      <a:pt x="320" y="350"/>
                    </a:lnTo>
                    <a:lnTo>
                      <a:pt x="320" y="350"/>
                    </a:lnTo>
                    <a:lnTo>
                      <a:pt x="324" y="350"/>
                    </a:lnTo>
                    <a:lnTo>
                      <a:pt x="328" y="348"/>
                    </a:lnTo>
                    <a:lnTo>
                      <a:pt x="330" y="344"/>
                    </a:lnTo>
                    <a:lnTo>
                      <a:pt x="330" y="340"/>
                    </a:lnTo>
                    <a:lnTo>
                      <a:pt x="330" y="268"/>
                    </a:lnTo>
                    <a:lnTo>
                      <a:pt x="330" y="268"/>
                    </a:lnTo>
                    <a:lnTo>
                      <a:pt x="330" y="268"/>
                    </a:lnTo>
                    <a:lnTo>
                      <a:pt x="330" y="268"/>
                    </a:lnTo>
                    <a:close/>
                    <a:moveTo>
                      <a:pt x="76" y="314"/>
                    </a:moveTo>
                    <a:lnTo>
                      <a:pt x="22" y="314"/>
                    </a:lnTo>
                    <a:lnTo>
                      <a:pt x="22" y="288"/>
                    </a:lnTo>
                    <a:lnTo>
                      <a:pt x="76" y="288"/>
                    </a:lnTo>
                    <a:lnTo>
                      <a:pt x="76" y="314"/>
                    </a:lnTo>
                    <a:close/>
                    <a:moveTo>
                      <a:pt x="154" y="314"/>
                    </a:moveTo>
                    <a:lnTo>
                      <a:pt x="100" y="314"/>
                    </a:lnTo>
                    <a:lnTo>
                      <a:pt x="100" y="288"/>
                    </a:lnTo>
                    <a:lnTo>
                      <a:pt x="154" y="288"/>
                    </a:lnTo>
                    <a:lnTo>
                      <a:pt x="154" y="314"/>
                    </a:lnTo>
                    <a:close/>
                    <a:moveTo>
                      <a:pt x="232" y="314"/>
                    </a:moveTo>
                    <a:lnTo>
                      <a:pt x="176" y="314"/>
                    </a:lnTo>
                    <a:lnTo>
                      <a:pt x="176" y="288"/>
                    </a:lnTo>
                    <a:lnTo>
                      <a:pt x="232" y="288"/>
                    </a:lnTo>
                    <a:lnTo>
                      <a:pt x="232" y="314"/>
                    </a:lnTo>
                    <a:close/>
                    <a:moveTo>
                      <a:pt x="308" y="314"/>
                    </a:moveTo>
                    <a:lnTo>
                      <a:pt x="254" y="314"/>
                    </a:lnTo>
                    <a:lnTo>
                      <a:pt x="254" y="288"/>
                    </a:lnTo>
                    <a:lnTo>
                      <a:pt x="308" y="288"/>
                    </a:lnTo>
                    <a:lnTo>
                      <a:pt x="308" y="31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C42B10FF-9661-4178-AC83-025C22E0E1DF}"/>
                </a:ext>
              </a:extLst>
            </p:cNvPr>
            <p:cNvGrpSpPr/>
            <p:nvPr/>
          </p:nvGrpSpPr>
          <p:grpSpPr>
            <a:xfrm>
              <a:off x="5510105" y="5656163"/>
              <a:ext cx="236321" cy="236321"/>
              <a:chOff x="2257686" y="5993387"/>
              <a:chExt cx="236321" cy="236321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59C5E7B5-7B35-4FF9-ABA8-57A383663C9E}"/>
                  </a:ext>
                </a:extLst>
              </p:cNvPr>
              <p:cNvSpPr/>
              <p:nvPr/>
            </p:nvSpPr>
            <p:spPr bwMode="ltGray">
              <a:xfrm>
                <a:off x="2257686" y="5993387"/>
                <a:ext cx="236321" cy="236321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3175"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01882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211" name="Freeform 107">
                <a:extLst>
                  <a:ext uri="{FF2B5EF4-FFF2-40B4-BE49-F238E27FC236}">
                    <a16:creationId xmlns:a16="http://schemas.microsoft.com/office/drawing/2014/main" id="{5EE45617-CA96-4D9A-88D4-CEC46E68F79F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331313" y="6057752"/>
                <a:ext cx="101280" cy="135189"/>
              </a:xfrm>
              <a:custGeom>
                <a:avLst/>
                <a:gdLst>
                  <a:gd name="T0" fmla="*/ 144 w 150"/>
                  <a:gd name="T1" fmla="*/ 187 h 200"/>
                  <a:gd name="T2" fmla="*/ 144 w 150"/>
                  <a:gd name="T3" fmla="*/ 187 h 200"/>
                  <a:gd name="T4" fmla="*/ 150 w 150"/>
                  <a:gd name="T5" fmla="*/ 193 h 200"/>
                  <a:gd name="T6" fmla="*/ 144 w 150"/>
                  <a:gd name="T7" fmla="*/ 200 h 200"/>
                  <a:gd name="T8" fmla="*/ 7 w 150"/>
                  <a:gd name="T9" fmla="*/ 200 h 200"/>
                  <a:gd name="T10" fmla="*/ 0 w 150"/>
                  <a:gd name="T11" fmla="*/ 193 h 200"/>
                  <a:gd name="T12" fmla="*/ 7 w 150"/>
                  <a:gd name="T13" fmla="*/ 187 h 200"/>
                  <a:gd name="T14" fmla="*/ 7 w 150"/>
                  <a:gd name="T15" fmla="*/ 187 h 200"/>
                  <a:gd name="T16" fmla="*/ 13 w 150"/>
                  <a:gd name="T17" fmla="*/ 187 h 200"/>
                  <a:gd name="T18" fmla="*/ 13 w 150"/>
                  <a:gd name="T19" fmla="*/ 16 h 200"/>
                  <a:gd name="T20" fmla="*/ 29 w 150"/>
                  <a:gd name="T21" fmla="*/ 0 h 200"/>
                  <a:gd name="T22" fmla="*/ 29 w 150"/>
                  <a:gd name="T23" fmla="*/ 0 h 200"/>
                  <a:gd name="T24" fmla="*/ 121 w 150"/>
                  <a:gd name="T25" fmla="*/ 0 h 200"/>
                  <a:gd name="T26" fmla="*/ 138 w 150"/>
                  <a:gd name="T27" fmla="*/ 16 h 200"/>
                  <a:gd name="T28" fmla="*/ 138 w 150"/>
                  <a:gd name="T29" fmla="*/ 16 h 200"/>
                  <a:gd name="T30" fmla="*/ 138 w 150"/>
                  <a:gd name="T31" fmla="*/ 187 h 200"/>
                  <a:gd name="T32" fmla="*/ 144 w 150"/>
                  <a:gd name="T33" fmla="*/ 187 h 200"/>
                  <a:gd name="T34" fmla="*/ 107 w 150"/>
                  <a:gd name="T35" fmla="*/ 81 h 200"/>
                  <a:gd name="T36" fmla="*/ 100 w 150"/>
                  <a:gd name="T37" fmla="*/ 87 h 200"/>
                  <a:gd name="T38" fmla="*/ 100 w 150"/>
                  <a:gd name="T39" fmla="*/ 112 h 200"/>
                  <a:gd name="T40" fmla="*/ 107 w 150"/>
                  <a:gd name="T41" fmla="*/ 118 h 200"/>
                  <a:gd name="T42" fmla="*/ 113 w 150"/>
                  <a:gd name="T43" fmla="*/ 112 h 200"/>
                  <a:gd name="T44" fmla="*/ 113 w 150"/>
                  <a:gd name="T45" fmla="*/ 87 h 200"/>
                  <a:gd name="T46" fmla="*/ 107 w 150"/>
                  <a:gd name="T47" fmla="*/ 8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0" h="200">
                    <a:moveTo>
                      <a:pt x="144" y="187"/>
                    </a:moveTo>
                    <a:cubicBezTo>
                      <a:pt x="144" y="187"/>
                      <a:pt x="144" y="187"/>
                      <a:pt x="144" y="187"/>
                    </a:cubicBezTo>
                    <a:cubicBezTo>
                      <a:pt x="147" y="187"/>
                      <a:pt x="150" y="190"/>
                      <a:pt x="150" y="193"/>
                    </a:cubicBezTo>
                    <a:cubicBezTo>
                      <a:pt x="150" y="197"/>
                      <a:pt x="147" y="200"/>
                      <a:pt x="144" y="200"/>
                    </a:cubicBezTo>
                    <a:cubicBezTo>
                      <a:pt x="7" y="200"/>
                      <a:pt x="7" y="200"/>
                      <a:pt x="7" y="200"/>
                    </a:cubicBezTo>
                    <a:cubicBezTo>
                      <a:pt x="3" y="200"/>
                      <a:pt x="0" y="197"/>
                      <a:pt x="0" y="193"/>
                    </a:cubicBezTo>
                    <a:cubicBezTo>
                      <a:pt x="0" y="190"/>
                      <a:pt x="3" y="187"/>
                      <a:pt x="7" y="187"/>
                    </a:cubicBezTo>
                    <a:cubicBezTo>
                      <a:pt x="7" y="187"/>
                      <a:pt x="7" y="187"/>
                      <a:pt x="7" y="187"/>
                    </a:cubicBezTo>
                    <a:cubicBezTo>
                      <a:pt x="13" y="187"/>
                      <a:pt x="13" y="187"/>
                      <a:pt x="13" y="187"/>
                    </a:cubicBezTo>
                    <a:cubicBezTo>
                      <a:pt x="13" y="16"/>
                      <a:pt x="13" y="16"/>
                      <a:pt x="13" y="16"/>
                    </a:cubicBezTo>
                    <a:cubicBezTo>
                      <a:pt x="13" y="7"/>
                      <a:pt x="20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30" y="0"/>
                      <a:pt x="138" y="7"/>
                      <a:pt x="138" y="16"/>
                    </a:cubicBezTo>
                    <a:cubicBezTo>
                      <a:pt x="138" y="16"/>
                      <a:pt x="138" y="16"/>
                      <a:pt x="138" y="16"/>
                    </a:cubicBezTo>
                    <a:cubicBezTo>
                      <a:pt x="138" y="187"/>
                      <a:pt x="138" y="187"/>
                      <a:pt x="138" y="187"/>
                    </a:cubicBezTo>
                    <a:lnTo>
                      <a:pt x="144" y="187"/>
                    </a:lnTo>
                    <a:close/>
                    <a:moveTo>
                      <a:pt x="107" y="81"/>
                    </a:moveTo>
                    <a:cubicBezTo>
                      <a:pt x="103" y="81"/>
                      <a:pt x="100" y="84"/>
                      <a:pt x="100" y="87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100" y="116"/>
                      <a:pt x="103" y="118"/>
                      <a:pt x="107" y="118"/>
                    </a:cubicBezTo>
                    <a:cubicBezTo>
                      <a:pt x="110" y="118"/>
                      <a:pt x="113" y="116"/>
                      <a:pt x="113" y="112"/>
                    </a:cubicBezTo>
                    <a:cubicBezTo>
                      <a:pt x="113" y="87"/>
                      <a:pt x="113" y="87"/>
                      <a:pt x="113" y="87"/>
                    </a:cubicBezTo>
                    <a:cubicBezTo>
                      <a:pt x="113" y="84"/>
                      <a:pt x="110" y="81"/>
                      <a:pt x="107" y="81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800" dirty="0"/>
              </a:p>
            </p:txBody>
          </p:sp>
        </p:grpSp>
        <p:cxnSp>
          <p:nvCxnSpPr>
            <p:cNvPr id="205" name="Straight Arrow Connector 204">
              <a:extLst>
                <a:ext uri="{FF2B5EF4-FFF2-40B4-BE49-F238E27FC236}">
                  <a16:creationId xmlns:a16="http://schemas.microsoft.com/office/drawing/2014/main" id="{904F8EE9-C9FD-49EB-A54E-5E9224CE518F}"/>
                </a:ext>
              </a:extLst>
            </p:cNvPr>
            <p:cNvCxnSpPr>
              <a:cxnSpLocks/>
              <a:stCxn id="103" idx="7"/>
              <a:endCxn id="162" idx="3"/>
            </p:cNvCxnSpPr>
            <p:nvPr/>
          </p:nvCxnSpPr>
          <p:spPr>
            <a:xfrm flipH="1" flipV="1">
              <a:off x="4882123" y="4322272"/>
              <a:ext cx="483140" cy="5842"/>
            </a:xfrm>
            <a:prstGeom prst="straightConnector1">
              <a:avLst/>
            </a:prstGeom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8F952C1B-E809-48D7-A89D-0D24E99D60D1}"/>
                </a:ext>
              </a:extLst>
            </p:cNvPr>
            <p:cNvSpPr txBox="1"/>
            <p:nvPr/>
          </p:nvSpPr>
          <p:spPr>
            <a:xfrm>
              <a:off x="6984830" y="3738836"/>
              <a:ext cx="58370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Raichur</a:t>
              </a: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BD22EA26-889D-45D6-A9B3-0C05594BE7A2}"/>
                </a:ext>
              </a:extLst>
            </p:cNvPr>
            <p:cNvSpPr txBox="1"/>
            <p:nvPr/>
          </p:nvSpPr>
          <p:spPr>
            <a:xfrm>
              <a:off x="4295728" y="4851383"/>
              <a:ext cx="105753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 err="1">
                  <a:cs typeface="Arial" panose="020B0604020202020204" pitchFamily="34" charset="0"/>
                </a:rPr>
                <a:t>Chikmangaluru</a:t>
              </a:r>
              <a:endParaRPr lang="en-GB" sz="1200" dirty="0">
                <a:cs typeface="Arial" panose="020B0604020202020204" pitchFamily="34" charset="0"/>
              </a:endParaRPr>
            </a:p>
          </p:txBody>
        </p:sp>
        <p:cxnSp>
          <p:nvCxnSpPr>
            <p:cNvPr id="208" name="Connector: Elbow 207">
              <a:extLst>
                <a:ext uri="{FF2B5EF4-FFF2-40B4-BE49-F238E27FC236}">
                  <a16:creationId xmlns:a16="http://schemas.microsoft.com/office/drawing/2014/main" id="{305EF3CB-8B3B-42DB-888E-6C1F3C0A9641}"/>
                </a:ext>
              </a:extLst>
            </p:cNvPr>
            <p:cNvCxnSpPr>
              <a:cxnSpLocks/>
              <a:stCxn id="109" idx="40"/>
              <a:endCxn id="105" idx="0"/>
            </p:cNvCxnSpPr>
            <p:nvPr/>
          </p:nvCxnSpPr>
          <p:spPr>
            <a:xfrm flipH="1" flipV="1">
              <a:off x="5225957" y="5009080"/>
              <a:ext cx="424154" cy="217413"/>
            </a:xfrm>
            <a:prstGeom prst="bentConnector3">
              <a:avLst>
                <a:gd name="adj1" fmla="val -2597"/>
              </a:avLst>
            </a:prstGeom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arrow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E4469CEF-C94F-413A-B70A-5EF088E997B4}"/>
                </a:ext>
              </a:extLst>
            </p:cNvPr>
            <p:cNvSpPr txBox="1"/>
            <p:nvPr/>
          </p:nvSpPr>
          <p:spPr>
            <a:xfrm>
              <a:off x="6085746" y="5669053"/>
              <a:ext cx="70754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200" dirty="0">
                  <a:cs typeface="Arial" panose="020B0604020202020204" pitchFamily="34" charset="0"/>
                </a:rPr>
                <a:t>Hass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20416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98CA6A-1386-420F-9377-55F05FBF36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78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D7958E6-A1B1-4EC8-B109-0FD582772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ln>
            <a:solidFill>
              <a:schemeClr val="accent1"/>
            </a:solidFill>
            <a:prstDash val="sysDash"/>
          </a:ln>
        </p:spPr>
        <p:txBody>
          <a:bodyPr vert="horz"/>
          <a:lstStyle/>
          <a:p>
            <a:pPr algn="ctr"/>
            <a:r>
              <a:rPr lang="en-GB" sz="2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ss state domestic product (GSDP) growth rate of the State is 2nd highest among maritime stat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FF1424E-7D2A-4D7B-AA50-DCD903E71B87}"/>
              </a:ext>
            </a:extLst>
          </p:cNvPr>
          <p:cNvGrpSpPr/>
          <p:nvPr/>
        </p:nvGrpSpPr>
        <p:grpSpPr>
          <a:xfrm>
            <a:off x="523052" y="2006910"/>
            <a:ext cx="11059348" cy="3056404"/>
            <a:chOff x="227078" y="1337198"/>
            <a:chExt cx="7121068" cy="2439498"/>
          </a:xfrm>
        </p:grpSpPr>
        <p:graphicFrame>
          <p:nvGraphicFramePr>
            <p:cNvPr id="9" name="Chart 8">
              <a:extLst>
                <a:ext uri="{FF2B5EF4-FFF2-40B4-BE49-F238E27FC236}">
                  <a16:creationId xmlns:a16="http://schemas.microsoft.com/office/drawing/2014/main" id="{F6FFEAD2-D81C-475C-8E9D-7F13153055B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590324539"/>
                </p:ext>
              </p:extLst>
            </p:nvPr>
          </p:nvGraphicFramePr>
          <p:xfrm>
            <a:off x="227078" y="1491135"/>
            <a:ext cx="7121068" cy="228556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0" name="TextBox 321">
              <a:extLst>
                <a:ext uri="{FF2B5EF4-FFF2-40B4-BE49-F238E27FC236}">
                  <a16:creationId xmlns:a16="http://schemas.microsoft.com/office/drawing/2014/main" id="{0D0A9569-820F-4552-B25D-6A3BCC03CAB4}"/>
                </a:ext>
              </a:extLst>
            </p:cNvPr>
            <p:cNvSpPr txBox="1"/>
            <p:nvPr/>
          </p:nvSpPr>
          <p:spPr>
            <a:xfrm>
              <a:off x="5588822" y="2024986"/>
              <a:ext cx="1495579" cy="1757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400" b="1" dirty="0"/>
                <a:t>India GDP  Growth Rate ~7%</a:t>
              </a:r>
            </a:p>
          </p:txBody>
        </p:sp>
        <p:sp>
          <p:nvSpPr>
            <p:cNvPr id="11" name="TextBox 322">
              <a:extLst>
                <a:ext uri="{FF2B5EF4-FFF2-40B4-BE49-F238E27FC236}">
                  <a16:creationId xmlns:a16="http://schemas.microsoft.com/office/drawing/2014/main" id="{C8E749F5-26F3-4FEF-B3B4-A646453BDD19}"/>
                </a:ext>
              </a:extLst>
            </p:cNvPr>
            <p:cNvSpPr txBox="1"/>
            <p:nvPr/>
          </p:nvSpPr>
          <p:spPr>
            <a:xfrm>
              <a:off x="603511" y="1337198"/>
              <a:ext cx="6483222" cy="4392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GSDP CAGR of Maritime States of India</a:t>
              </a:r>
            </a:p>
            <a:p>
              <a:pPr algn="ctr">
                <a:lnSpc>
                  <a:spcPct val="100000"/>
                </a:lnSpc>
                <a:spcAft>
                  <a:spcPts val="600"/>
                </a:spcAft>
                <a:buSzPct val="100000"/>
              </a:pPr>
              <a:r>
                <a:rPr lang="en-GB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(at constant price FY 12 – FY 19)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DF63895-C65F-4E28-88ED-8A030B388AA8}"/>
              </a:ext>
            </a:extLst>
          </p:cNvPr>
          <p:cNvSpPr/>
          <p:nvPr/>
        </p:nvSpPr>
        <p:spPr>
          <a:xfrm>
            <a:off x="694210" y="5304429"/>
            <a:ext cx="10519890" cy="4412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800" b="1" dirty="0"/>
              <a:t>A high GSDP CAGR indicates good potential for future growth in cargo for the ports</a:t>
            </a:r>
          </a:p>
        </p:txBody>
      </p:sp>
      <p:sp>
        <p:nvSpPr>
          <p:cNvPr id="13" name="TextBox 324">
            <a:extLst>
              <a:ext uri="{FF2B5EF4-FFF2-40B4-BE49-F238E27FC236}">
                <a16:creationId xmlns:a16="http://schemas.microsoft.com/office/drawing/2014/main" id="{72076806-F414-4AE4-A464-5152FFEB2B3E}"/>
              </a:ext>
            </a:extLst>
          </p:cNvPr>
          <p:cNvSpPr txBox="1"/>
          <p:nvPr/>
        </p:nvSpPr>
        <p:spPr>
          <a:xfrm>
            <a:off x="701202" y="6300474"/>
            <a:ext cx="404166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i="1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Source- Economic &amp; Statistical organisation, Punjab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FD3EF7CF-7EAC-4EB5-8010-90913B457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5500024-4057-4F5E-8924-CE629BC19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25646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78AD3A-F8E8-4A94-A804-6B74C02181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9761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17AD8CDD-530E-4F58-B435-A658525D71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5393" r="43286" b="11752"/>
          <a:stretch/>
        </p:blipFill>
        <p:spPr>
          <a:xfrm>
            <a:off x="1056568" y="2173034"/>
            <a:ext cx="3268297" cy="4174435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5667796-ED1C-4E3A-A5A4-9458701ACEE3}"/>
              </a:ext>
            </a:extLst>
          </p:cNvPr>
          <p:cNvSpPr/>
          <p:nvPr/>
        </p:nvSpPr>
        <p:spPr>
          <a:xfrm>
            <a:off x="807587" y="2170443"/>
            <a:ext cx="653143" cy="612950"/>
          </a:xfrm>
          <a:custGeom>
            <a:avLst/>
            <a:gdLst>
              <a:gd name="connsiteX0" fmla="*/ 60290 w 554007"/>
              <a:gd name="connsiteY0" fmla="*/ 20097 h 572756"/>
              <a:gd name="connsiteX1" fmla="*/ 40193 w 554007"/>
              <a:gd name="connsiteY1" fmla="*/ 100483 h 572756"/>
              <a:gd name="connsiteX2" fmla="*/ 30145 w 554007"/>
              <a:gd name="connsiteY2" fmla="*/ 140677 h 572756"/>
              <a:gd name="connsiteX3" fmla="*/ 10048 w 554007"/>
              <a:gd name="connsiteY3" fmla="*/ 200967 h 572756"/>
              <a:gd name="connsiteX4" fmla="*/ 0 w 554007"/>
              <a:gd name="connsiteY4" fmla="*/ 231112 h 572756"/>
              <a:gd name="connsiteX5" fmla="*/ 30145 w 554007"/>
              <a:gd name="connsiteY5" fmla="*/ 241160 h 572756"/>
              <a:gd name="connsiteX6" fmla="*/ 70338 w 554007"/>
              <a:gd name="connsiteY6" fmla="*/ 301450 h 572756"/>
              <a:gd name="connsiteX7" fmla="*/ 110531 w 554007"/>
              <a:gd name="connsiteY7" fmla="*/ 351692 h 572756"/>
              <a:gd name="connsiteX8" fmla="*/ 150725 w 554007"/>
              <a:gd name="connsiteY8" fmla="*/ 401934 h 572756"/>
              <a:gd name="connsiteX9" fmla="*/ 170822 w 554007"/>
              <a:gd name="connsiteY9" fmla="*/ 432079 h 572756"/>
              <a:gd name="connsiteX10" fmla="*/ 231112 w 554007"/>
              <a:gd name="connsiteY10" fmla="*/ 472272 h 572756"/>
              <a:gd name="connsiteX11" fmla="*/ 261257 w 554007"/>
              <a:gd name="connsiteY11" fmla="*/ 532563 h 572756"/>
              <a:gd name="connsiteX12" fmla="*/ 271305 w 554007"/>
              <a:gd name="connsiteY12" fmla="*/ 562708 h 572756"/>
              <a:gd name="connsiteX13" fmla="*/ 301450 w 554007"/>
              <a:gd name="connsiteY13" fmla="*/ 572756 h 572756"/>
              <a:gd name="connsiteX14" fmla="*/ 321547 w 554007"/>
              <a:gd name="connsiteY14" fmla="*/ 542611 h 572756"/>
              <a:gd name="connsiteX15" fmla="*/ 442127 w 554007"/>
              <a:gd name="connsiteY15" fmla="*/ 512466 h 572756"/>
              <a:gd name="connsiteX16" fmla="*/ 472272 w 554007"/>
              <a:gd name="connsiteY16" fmla="*/ 502417 h 572756"/>
              <a:gd name="connsiteX17" fmla="*/ 532562 w 554007"/>
              <a:gd name="connsiteY17" fmla="*/ 462224 h 572756"/>
              <a:gd name="connsiteX18" fmla="*/ 552659 w 554007"/>
              <a:gd name="connsiteY18" fmla="*/ 401934 h 572756"/>
              <a:gd name="connsiteX19" fmla="*/ 532562 w 554007"/>
              <a:gd name="connsiteY19" fmla="*/ 341644 h 572756"/>
              <a:gd name="connsiteX20" fmla="*/ 522514 w 554007"/>
              <a:gd name="connsiteY20" fmla="*/ 311499 h 572756"/>
              <a:gd name="connsiteX21" fmla="*/ 502417 w 554007"/>
              <a:gd name="connsiteY21" fmla="*/ 241160 h 572756"/>
              <a:gd name="connsiteX22" fmla="*/ 492369 w 554007"/>
              <a:gd name="connsiteY22" fmla="*/ 110532 h 572756"/>
              <a:gd name="connsiteX23" fmla="*/ 512466 w 554007"/>
              <a:gd name="connsiteY23" fmla="*/ 20097 h 572756"/>
              <a:gd name="connsiteX24" fmla="*/ 522514 w 554007"/>
              <a:gd name="connsiteY24" fmla="*/ 0 h 572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54007" h="572756">
                <a:moveTo>
                  <a:pt x="60290" y="20097"/>
                </a:moveTo>
                <a:cubicBezTo>
                  <a:pt x="39856" y="122257"/>
                  <a:pt x="60794" y="28378"/>
                  <a:pt x="40193" y="100483"/>
                </a:cubicBezTo>
                <a:cubicBezTo>
                  <a:pt x="36399" y="113762"/>
                  <a:pt x="34113" y="127449"/>
                  <a:pt x="30145" y="140677"/>
                </a:cubicBezTo>
                <a:cubicBezTo>
                  <a:pt x="24058" y="160967"/>
                  <a:pt x="16747" y="180870"/>
                  <a:pt x="10048" y="200967"/>
                </a:cubicBezTo>
                <a:lnTo>
                  <a:pt x="0" y="231112"/>
                </a:lnTo>
                <a:cubicBezTo>
                  <a:pt x="10048" y="234461"/>
                  <a:pt x="22655" y="233670"/>
                  <a:pt x="30145" y="241160"/>
                </a:cubicBezTo>
                <a:cubicBezTo>
                  <a:pt x="47224" y="258239"/>
                  <a:pt x="70338" y="301450"/>
                  <a:pt x="70338" y="301450"/>
                </a:cubicBezTo>
                <a:cubicBezTo>
                  <a:pt x="95593" y="377218"/>
                  <a:pt x="58588" y="286765"/>
                  <a:pt x="110531" y="351692"/>
                </a:cubicBezTo>
                <a:cubicBezTo>
                  <a:pt x="166001" y="421029"/>
                  <a:pt x="64334" y="344339"/>
                  <a:pt x="150725" y="401934"/>
                </a:cubicBezTo>
                <a:cubicBezTo>
                  <a:pt x="157424" y="411982"/>
                  <a:pt x="161733" y="424127"/>
                  <a:pt x="170822" y="432079"/>
                </a:cubicBezTo>
                <a:cubicBezTo>
                  <a:pt x="188999" y="447984"/>
                  <a:pt x="231112" y="472272"/>
                  <a:pt x="231112" y="472272"/>
                </a:cubicBezTo>
                <a:cubicBezTo>
                  <a:pt x="256368" y="548041"/>
                  <a:pt x="222299" y="454646"/>
                  <a:pt x="261257" y="532563"/>
                </a:cubicBezTo>
                <a:cubicBezTo>
                  <a:pt x="265994" y="542037"/>
                  <a:pt x="263815" y="555218"/>
                  <a:pt x="271305" y="562708"/>
                </a:cubicBezTo>
                <a:cubicBezTo>
                  <a:pt x="278795" y="570198"/>
                  <a:pt x="291402" y="569407"/>
                  <a:pt x="301450" y="572756"/>
                </a:cubicBezTo>
                <a:cubicBezTo>
                  <a:pt x="308149" y="562708"/>
                  <a:pt x="311306" y="549012"/>
                  <a:pt x="321547" y="542611"/>
                </a:cubicBezTo>
                <a:cubicBezTo>
                  <a:pt x="350501" y="524515"/>
                  <a:pt x="409669" y="517875"/>
                  <a:pt x="442127" y="512466"/>
                </a:cubicBezTo>
                <a:cubicBezTo>
                  <a:pt x="452175" y="509116"/>
                  <a:pt x="463013" y="507561"/>
                  <a:pt x="472272" y="502417"/>
                </a:cubicBezTo>
                <a:cubicBezTo>
                  <a:pt x="493386" y="490687"/>
                  <a:pt x="532562" y="462224"/>
                  <a:pt x="532562" y="462224"/>
                </a:cubicBezTo>
                <a:cubicBezTo>
                  <a:pt x="539261" y="442127"/>
                  <a:pt x="559358" y="422031"/>
                  <a:pt x="552659" y="401934"/>
                </a:cubicBezTo>
                <a:lnTo>
                  <a:pt x="532562" y="341644"/>
                </a:lnTo>
                <a:cubicBezTo>
                  <a:pt x="529213" y="331596"/>
                  <a:pt x="525083" y="321775"/>
                  <a:pt x="522514" y="311499"/>
                </a:cubicBezTo>
                <a:cubicBezTo>
                  <a:pt x="509897" y="261029"/>
                  <a:pt x="516833" y="284407"/>
                  <a:pt x="502417" y="241160"/>
                </a:cubicBezTo>
                <a:cubicBezTo>
                  <a:pt x="499068" y="197617"/>
                  <a:pt x="492369" y="154203"/>
                  <a:pt x="492369" y="110532"/>
                </a:cubicBezTo>
                <a:cubicBezTo>
                  <a:pt x="492369" y="85123"/>
                  <a:pt x="502103" y="46005"/>
                  <a:pt x="512466" y="20097"/>
                </a:cubicBezTo>
                <a:cubicBezTo>
                  <a:pt x="515248" y="13143"/>
                  <a:pt x="519165" y="6699"/>
                  <a:pt x="522514" y="0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5ECDA76-F5B0-4461-823A-89DA8CD9B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102" y="919779"/>
            <a:ext cx="10839796" cy="806824"/>
          </a:xfrm>
          <a:ln>
            <a:solidFill>
              <a:schemeClr val="accent1"/>
            </a:solidFill>
            <a:prstDash val="sysDash"/>
          </a:ln>
        </p:spPr>
        <p:txBody>
          <a:bodyPr vert="horz" anchor="ctr"/>
          <a:lstStyle/>
          <a:p>
            <a:pPr algn="ctr"/>
            <a:r>
              <a:rPr lang="en-GB" sz="2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has one major and 12 non-major port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4A5276D-324E-4038-AD02-2C99946CCF78}"/>
              </a:ext>
            </a:extLst>
          </p:cNvPr>
          <p:cNvSpPr/>
          <p:nvPr/>
        </p:nvSpPr>
        <p:spPr>
          <a:xfrm>
            <a:off x="4378036" y="1856509"/>
            <a:ext cx="3976255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GB" sz="1400" b="1" i="1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Traffic handled at Karnataka non major port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C993CB7-E585-4BC1-9426-DACF20AFF928}"/>
              </a:ext>
            </a:extLst>
          </p:cNvPr>
          <p:cNvSpPr/>
          <p:nvPr/>
        </p:nvSpPr>
        <p:spPr>
          <a:xfrm>
            <a:off x="4419114" y="2089178"/>
            <a:ext cx="1527982" cy="253916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 b="1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ll figures in ‘000 MT</a:t>
            </a:r>
          </a:p>
        </p:txBody>
      </p:sp>
      <p:sp>
        <p:nvSpPr>
          <p:cNvPr id="42" name="TextBox 386">
            <a:extLst>
              <a:ext uri="{FF2B5EF4-FFF2-40B4-BE49-F238E27FC236}">
                <a16:creationId xmlns:a16="http://schemas.microsoft.com/office/drawing/2014/main" id="{09C17A17-A0C9-4712-8009-49A0178334E2}"/>
              </a:ext>
            </a:extLst>
          </p:cNvPr>
          <p:cNvSpPr txBox="1"/>
          <p:nvPr/>
        </p:nvSpPr>
        <p:spPr>
          <a:xfrm>
            <a:off x="4597388" y="4378768"/>
            <a:ext cx="3451481" cy="10002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on-Major ports in Karnataka have untapped potential and there is a need for infrastructure development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ort at </a:t>
            </a:r>
            <a:r>
              <a:rPr lang="en-GB" sz="1200" dirty="0" err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nnavar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being developed by a private firm</a:t>
            </a:r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2D271FB9-3919-4AB5-B4F1-1E4B95089A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6706720"/>
              </p:ext>
            </p:extLst>
          </p:nvPr>
        </p:nvGraphicFramePr>
        <p:xfrm>
          <a:off x="4225430" y="2054397"/>
          <a:ext cx="4225636" cy="1329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0" name="Rectangle 49">
            <a:extLst>
              <a:ext uri="{FF2B5EF4-FFF2-40B4-BE49-F238E27FC236}">
                <a16:creationId xmlns:a16="http://schemas.microsoft.com/office/drawing/2014/main" id="{03DA3FA2-9A7D-4C5F-8570-B3B13DF741A4}"/>
              </a:ext>
            </a:extLst>
          </p:cNvPr>
          <p:cNvSpPr/>
          <p:nvPr/>
        </p:nvSpPr>
        <p:spPr>
          <a:xfrm>
            <a:off x="8409709" y="1890498"/>
            <a:ext cx="3158836" cy="949684"/>
          </a:xfrm>
          <a:prstGeom prst="rect">
            <a:avLst/>
          </a:prstGeom>
          <a:solidFill>
            <a:schemeClr val="tx2">
              <a:lumMod val="75000"/>
            </a:schemeClr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nataka Maritime Board is constituted to facilitate development of maritime infrastructure in the State</a:t>
            </a:r>
          </a:p>
        </p:txBody>
      </p:sp>
      <p:graphicFrame>
        <p:nvGraphicFramePr>
          <p:cNvPr id="51" name="Table 56">
            <a:extLst>
              <a:ext uri="{FF2B5EF4-FFF2-40B4-BE49-F238E27FC236}">
                <a16:creationId xmlns:a16="http://schemas.microsoft.com/office/drawing/2014/main" id="{74230782-0EEE-43C1-A05E-8B71A775ACCE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7001664"/>
              </p:ext>
            </p:extLst>
          </p:nvPr>
        </p:nvGraphicFramePr>
        <p:xfrm>
          <a:off x="8390865" y="2985341"/>
          <a:ext cx="3257460" cy="3275221"/>
        </p:xfrm>
        <a:graphic>
          <a:graphicData uri="http://schemas.openxmlformats.org/drawingml/2006/table">
            <a:tbl>
              <a:tblPr firstRow="1" firstCol="1" bandRow="1"/>
              <a:tblGrid>
                <a:gridCol w="543832">
                  <a:extLst>
                    <a:ext uri="{9D8B030D-6E8A-4147-A177-3AD203B41FA5}">
                      <a16:colId xmlns:a16="http://schemas.microsoft.com/office/drawing/2014/main" val="1591356766"/>
                    </a:ext>
                  </a:extLst>
                </a:gridCol>
                <a:gridCol w="2713628">
                  <a:extLst>
                    <a:ext uri="{9D8B030D-6E8A-4147-A177-3AD203B41FA5}">
                      <a16:colId xmlns:a16="http://schemas.microsoft.com/office/drawing/2014/main" val="439454126"/>
                    </a:ext>
                  </a:extLst>
                </a:gridCol>
              </a:tblGrid>
              <a:tr h="491637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kern="1200" dirty="0">
                          <a:solidFill>
                            <a:schemeClr val="dk1"/>
                          </a:solidFill>
                          <a:latin typeface="+mn-lt"/>
                          <a:ea typeface="+mj-ea"/>
                          <a:cs typeface="+mj-cs"/>
                        </a:rPr>
                        <a:t>Develop new non-major ports in the State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0896777"/>
                  </a:ext>
                </a:extLst>
              </a:tr>
              <a:tr h="491637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Increase throughput of</a:t>
                      </a:r>
                      <a:r>
                        <a:rPr lang="en-GB" sz="1600" baseline="0" dirty="0">
                          <a:latin typeface="+mn-lt"/>
                        </a:rPr>
                        <a:t> ports</a:t>
                      </a:r>
                      <a:endParaRPr lang="en-GB" sz="1600" dirty="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8805696"/>
                  </a:ext>
                </a:extLst>
              </a:tr>
              <a:tr h="491637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Ship building &amp; Ship breaking infrastructure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908394"/>
                  </a:ext>
                </a:extLst>
              </a:tr>
              <a:tr h="467104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Inland water transport system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362484"/>
                  </a:ext>
                </a:extLst>
              </a:tr>
              <a:tr h="491637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Tourism development - in &amp; around the Coast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772245"/>
                  </a:ext>
                </a:extLst>
              </a:tr>
              <a:tr h="491637">
                <a:tc>
                  <a:txBody>
                    <a:bodyPr/>
                    <a:lstStyle/>
                    <a:p>
                      <a:pPr algn="ctr"/>
                      <a:endParaRPr lang="en-GB" sz="1600" dirty="0"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Fishing harbours and other infrastructure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931075"/>
                  </a:ext>
                </a:extLst>
              </a:tr>
            </a:tbl>
          </a:graphicData>
        </a:graphic>
      </p:graphicFrame>
      <p:sp>
        <p:nvSpPr>
          <p:cNvPr id="52" name="Rectangle 51">
            <a:extLst>
              <a:ext uri="{FF2B5EF4-FFF2-40B4-BE49-F238E27FC236}">
                <a16:creationId xmlns:a16="http://schemas.microsoft.com/office/drawing/2014/main" id="{1F8BBA29-CDFF-4282-A7C7-400875E13C57}"/>
              </a:ext>
            </a:extLst>
          </p:cNvPr>
          <p:cNvSpPr/>
          <p:nvPr/>
        </p:nvSpPr>
        <p:spPr>
          <a:xfrm>
            <a:off x="8580395" y="3713654"/>
            <a:ext cx="185021" cy="183371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403A49E-ABD7-4335-9C6F-67C824C00DA9}"/>
              </a:ext>
            </a:extLst>
          </p:cNvPr>
          <p:cNvSpPr/>
          <p:nvPr/>
        </p:nvSpPr>
        <p:spPr>
          <a:xfrm>
            <a:off x="8580395" y="3151535"/>
            <a:ext cx="185021" cy="183371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7667E8E-DBAA-4FBD-97C5-E276AB486309}"/>
              </a:ext>
            </a:extLst>
          </p:cNvPr>
          <p:cNvSpPr/>
          <p:nvPr/>
        </p:nvSpPr>
        <p:spPr>
          <a:xfrm>
            <a:off x="8580395" y="4837892"/>
            <a:ext cx="185021" cy="183371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6593B28-E29B-4E18-9213-0C774ED79312}"/>
              </a:ext>
            </a:extLst>
          </p:cNvPr>
          <p:cNvSpPr/>
          <p:nvPr/>
        </p:nvSpPr>
        <p:spPr>
          <a:xfrm>
            <a:off x="8580395" y="5962131"/>
            <a:ext cx="185021" cy="183371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AE85E91-D71B-4B0D-9634-2E2C68EADCBF}"/>
              </a:ext>
            </a:extLst>
          </p:cNvPr>
          <p:cNvSpPr/>
          <p:nvPr/>
        </p:nvSpPr>
        <p:spPr>
          <a:xfrm>
            <a:off x="8580395" y="5400011"/>
            <a:ext cx="185021" cy="183371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F695465-34E9-46DB-9A12-9252D02400F7}"/>
              </a:ext>
            </a:extLst>
          </p:cNvPr>
          <p:cNvSpPr/>
          <p:nvPr/>
        </p:nvSpPr>
        <p:spPr>
          <a:xfrm>
            <a:off x="8580395" y="4275773"/>
            <a:ext cx="185021" cy="183371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CFA98F0-176A-4D11-991B-FDFDEFCE843A}"/>
              </a:ext>
            </a:extLst>
          </p:cNvPr>
          <p:cNvSpPr/>
          <p:nvPr/>
        </p:nvSpPr>
        <p:spPr>
          <a:xfrm>
            <a:off x="4588095" y="5419437"/>
            <a:ext cx="3613796" cy="920230"/>
          </a:xfrm>
          <a:prstGeom prst="rect">
            <a:avLst/>
          </a:prstGeom>
          <a:solidFill>
            <a:schemeClr val="tx2">
              <a:lumMod val="75000"/>
            </a:schemeClr>
          </a:solidFill>
          <a:ln w="63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MB is looking forward to private sector participation in the development of requisite infrastructur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FD4310C-8651-4E5B-B028-A88B1F0D5641}"/>
              </a:ext>
            </a:extLst>
          </p:cNvPr>
          <p:cNvGrpSpPr/>
          <p:nvPr/>
        </p:nvGrpSpPr>
        <p:grpSpPr>
          <a:xfrm>
            <a:off x="537100" y="1901737"/>
            <a:ext cx="3791292" cy="4491424"/>
            <a:chOff x="717209" y="1768324"/>
            <a:chExt cx="4272884" cy="5247906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2029526-F05D-4212-9EC7-9766F05DC96D}"/>
                </a:ext>
              </a:extLst>
            </p:cNvPr>
            <p:cNvSpPr/>
            <p:nvPr/>
          </p:nvSpPr>
          <p:spPr>
            <a:xfrm>
              <a:off x="1293016" y="2788148"/>
              <a:ext cx="1296034" cy="3946604"/>
            </a:xfrm>
            <a:custGeom>
              <a:avLst/>
              <a:gdLst>
                <a:gd name="connsiteX0" fmla="*/ 12843 w 873903"/>
                <a:gd name="connsiteY0" fmla="*/ 0 h 2499360"/>
                <a:gd name="connsiteX1" fmla="*/ 5223 w 873903"/>
                <a:gd name="connsiteY1" fmla="*/ 76200 h 2499360"/>
                <a:gd name="connsiteX2" fmla="*/ 81423 w 873903"/>
                <a:gd name="connsiteY2" fmla="*/ 160020 h 2499360"/>
                <a:gd name="connsiteX3" fmla="*/ 58563 w 873903"/>
                <a:gd name="connsiteY3" fmla="*/ 182880 h 2499360"/>
                <a:gd name="connsiteX4" fmla="*/ 142383 w 873903"/>
                <a:gd name="connsiteY4" fmla="*/ 312420 h 2499360"/>
                <a:gd name="connsiteX5" fmla="*/ 203343 w 873903"/>
                <a:gd name="connsiteY5" fmla="*/ 266700 h 2499360"/>
                <a:gd name="connsiteX6" fmla="*/ 271923 w 873903"/>
                <a:gd name="connsiteY6" fmla="*/ 464820 h 2499360"/>
                <a:gd name="connsiteX7" fmla="*/ 332883 w 873903"/>
                <a:gd name="connsiteY7" fmla="*/ 441960 h 2499360"/>
                <a:gd name="connsiteX8" fmla="*/ 287163 w 873903"/>
                <a:gd name="connsiteY8" fmla="*/ 487680 h 2499360"/>
                <a:gd name="connsiteX9" fmla="*/ 340503 w 873903"/>
                <a:gd name="connsiteY9" fmla="*/ 586740 h 2499360"/>
                <a:gd name="connsiteX10" fmla="*/ 378603 w 873903"/>
                <a:gd name="connsiteY10" fmla="*/ 525780 h 2499360"/>
                <a:gd name="connsiteX11" fmla="*/ 424323 w 873903"/>
                <a:gd name="connsiteY11" fmla="*/ 647700 h 2499360"/>
                <a:gd name="connsiteX12" fmla="*/ 355743 w 873903"/>
                <a:gd name="connsiteY12" fmla="*/ 594360 h 2499360"/>
                <a:gd name="connsiteX13" fmla="*/ 454803 w 873903"/>
                <a:gd name="connsiteY13" fmla="*/ 883920 h 2499360"/>
                <a:gd name="connsiteX14" fmla="*/ 591963 w 873903"/>
                <a:gd name="connsiteY14" fmla="*/ 1333500 h 2499360"/>
                <a:gd name="connsiteX15" fmla="*/ 675783 w 873903"/>
                <a:gd name="connsiteY15" fmla="*/ 1447800 h 2499360"/>
                <a:gd name="connsiteX16" fmla="*/ 713883 w 873903"/>
                <a:gd name="connsiteY16" fmla="*/ 1546860 h 2499360"/>
                <a:gd name="connsiteX17" fmla="*/ 729123 w 873903"/>
                <a:gd name="connsiteY17" fmla="*/ 1752600 h 2499360"/>
                <a:gd name="connsiteX18" fmla="*/ 759603 w 873903"/>
                <a:gd name="connsiteY18" fmla="*/ 1805940 h 2499360"/>
                <a:gd name="connsiteX19" fmla="*/ 767223 w 873903"/>
                <a:gd name="connsiteY19" fmla="*/ 1897380 h 2499360"/>
                <a:gd name="connsiteX20" fmla="*/ 797703 w 873903"/>
                <a:gd name="connsiteY20" fmla="*/ 2057400 h 2499360"/>
                <a:gd name="connsiteX21" fmla="*/ 851043 w 873903"/>
                <a:gd name="connsiteY21" fmla="*/ 2072640 h 2499360"/>
                <a:gd name="connsiteX22" fmla="*/ 790083 w 873903"/>
                <a:gd name="connsiteY22" fmla="*/ 2133600 h 2499360"/>
                <a:gd name="connsiteX23" fmla="*/ 805323 w 873903"/>
                <a:gd name="connsiteY23" fmla="*/ 2179320 h 2499360"/>
                <a:gd name="connsiteX24" fmla="*/ 812943 w 873903"/>
                <a:gd name="connsiteY24" fmla="*/ 2263140 h 2499360"/>
                <a:gd name="connsiteX25" fmla="*/ 843423 w 873903"/>
                <a:gd name="connsiteY25" fmla="*/ 2423160 h 2499360"/>
                <a:gd name="connsiteX26" fmla="*/ 873903 w 873903"/>
                <a:gd name="connsiteY26" fmla="*/ 2499360 h 2499360"/>
                <a:gd name="connsiteX0" fmla="*/ 12843 w 874198"/>
                <a:gd name="connsiteY0" fmla="*/ 0 h 2505004"/>
                <a:gd name="connsiteX1" fmla="*/ 5223 w 874198"/>
                <a:gd name="connsiteY1" fmla="*/ 76200 h 2505004"/>
                <a:gd name="connsiteX2" fmla="*/ 81423 w 874198"/>
                <a:gd name="connsiteY2" fmla="*/ 160020 h 2505004"/>
                <a:gd name="connsiteX3" fmla="*/ 58563 w 874198"/>
                <a:gd name="connsiteY3" fmla="*/ 182880 h 2505004"/>
                <a:gd name="connsiteX4" fmla="*/ 142383 w 874198"/>
                <a:gd name="connsiteY4" fmla="*/ 312420 h 2505004"/>
                <a:gd name="connsiteX5" fmla="*/ 203343 w 874198"/>
                <a:gd name="connsiteY5" fmla="*/ 266700 h 2505004"/>
                <a:gd name="connsiteX6" fmla="*/ 271923 w 874198"/>
                <a:gd name="connsiteY6" fmla="*/ 464820 h 2505004"/>
                <a:gd name="connsiteX7" fmla="*/ 332883 w 874198"/>
                <a:gd name="connsiteY7" fmla="*/ 441960 h 2505004"/>
                <a:gd name="connsiteX8" fmla="*/ 287163 w 874198"/>
                <a:gd name="connsiteY8" fmla="*/ 487680 h 2505004"/>
                <a:gd name="connsiteX9" fmla="*/ 340503 w 874198"/>
                <a:gd name="connsiteY9" fmla="*/ 586740 h 2505004"/>
                <a:gd name="connsiteX10" fmla="*/ 378603 w 874198"/>
                <a:gd name="connsiteY10" fmla="*/ 525780 h 2505004"/>
                <a:gd name="connsiteX11" fmla="*/ 424323 w 874198"/>
                <a:gd name="connsiteY11" fmla="*/ 647700 h 2505004"/>
                <a:gd name="connsiteX12" fmla="*/ 355743 w 874198"/>
                <a:gd name="connsiteY12" fmla="*/ 594360 h 2505004"/>
                <a:gd name="connsiteX13" fmla="*/ 454803 w 874198"/>
                <a:gd name="connsiteY13" fmla="*/ 883920 h 2505004"/>
                <a:gd name="connsiteX14" fmla="*/ 591963 w 874198"/>
                <a:gd name="connsiteY14" fmla="*/ 1333500 h 2505004"/>
                <a:gd name="connsiteX15" fmla="*/ 675783 w 874198"/>
                <a:gd name="connsiteY15" fmla="*/ 1447800 h 2505004"/>
                <a:gd name="connsiteX16" fmla="*/ 713883 w 874198"/>
                <a:gd name="connsiteY16" fmla="*/ 1546860 h 2505004"/>
                <a:gd name="connsiteX17" fmla="*/ 729123 w 874198"/>
                <a:gd name="connsiteY17" fmla="*/ 1752600 h 2505004"/>
                <a:gd name="connsiteX18" fmla="*/ 759603 w 874198"/>
                <a:gd name="connsiteY18" fmla="*/ 1805940 h 2505004"/>
                <a:gd name="connsiteX19" fmla="*/ 767223 w 874198"/>
                <a:gd name="connsiteY19" fmla="*/ 1897380 h 2505004"/>
                <a:gd name="connsiteX20" fmla="*/ 797703 w 874198"/>
                <a:gd name="connsiteY20" fmla="*/ 2057400 h 2505004"/>
                <a:gd name="connsiteX21" fmla="*/ 851043 w 874198"/>
                <a:gd name="connsiteY21" fmla="*/ 2072640 h 2505004"/>
                <a:gd name="connsiteX22" fmla="*/ 790083 w 874198"/>
                <a:gd name="connsiteY22" fmla="*/ 2133600 h 2505004"/>
                <a:gd name="connsiteX23" fmla="*/ 805323 w 874198"/>
                <a:gd name="connsiteY23" fmla="*/ 2179320 h 2505004"/>
                <a:gd name="connsiteX24" fmla="*/ 812943 w 874198"/>
                <a:gd name="connsiteY24" fmla="*/ 2263140 h 2505004"/>
                <a:gd name="connsiteX25" fmla="*/ 843423 w 874198"/>
                <a:gd name="connsiteY25" fmla="*/ 2423160 h 2505004"/>
                <a:gd name="connsiteX26" fmla="*/ 873903 w 874198"/>
                <a:gd name="connsiteY26" fmla="*/ 2499360 h 2505004"/>
                <a:gd name="connsiteX27" fmla="*/ 858663 w 874198"/>
                <a:gd name="connsiteY27" fmla="*/ 2499360 h 2505004"/>
                <a:gd name="connsiteX0" fmla="*/ 12843 w 904610"/>
                <a:gd name="connsiteY0" fmla="*/ 0 h 2712720"/>
                <a:gd name="connsiteX1" fmla="*/ 5223 w 904610"/>
                <a:gd name="connsiteY1" fmla="*/ 76200 h 2712720"/>
                <a:gd name="connsiteX2" fmla="*/ 81423 w 904610"/>
                <a:gd name="connsiteY2" fmla="*/ 160020 h 2712720"/>
                <a:gd name="connsiteX3" fmla="*/ 58563 w 904610"/>
                <a:gd name="connsiteY3" fmla="*/ 182880 h 2712720"/>
                <a:gd name="connsiteX4" fmla="*/ 142383 w 904610"/>
                <a:gd name="connsiteY4" fmla="*/ 312420 h 2712720"/>
                <a:gd name="connsiteX5" fmla="*/ 203343 w 904610"/>
                <a:gd name="connsiteY5" fmla="*/ 266700 h 2712720"/>
                <a:gd name="connsiteX6" fmla="*/ 271923 w 904610"/>
                <a:gd name="connsiteY6" fmla="*/ 464820 h 2712720"/>
                <a:gd name="connsiteX7" fmla="*/ 332883 w 904610"/>
                <a:gd name="connsiteY7" fmla="*/ 441960 h 2712720"/>
                <a:gd name="connsiteX8" fmla="*/ 287163 w 904610"/>
                <a:gd name="connsiteY8" fmla="*/ 487680 h 2712720"/>
                <a:gd name="connsiteX9" fmla="*/ 340503 w 904610"/>
                <a:gd name="connsiteY9" fmla="*/ 586740 h 2712720"/>
                <a:gd name="connsiteX10" fmla="*/ 378603 w 904610"/>
                <a:gd name="connsiteY10" fmla="*/ 525780 h 2712720"/>
                <a:gd name="connsiteX11" fmla="*/ 424323 w 904610"/>
                <a:gd name="connsiteY11" fmla="*/ 647700 h 2712720"/>
                <a:gd name="connsiteX12" fmla="*/ 355743 w 904610"/>
                <a:gd name="connsiteY12" fmla="*/ 594360 h 2712720"/>
                <a:gd name="connsiteX13" fmla="*/ 454803 w 904610"/>
                <a:gd name="connsiteY13" fmla="*/ 883920 h 2712720"/>
                <a:gd name="connsiteX14" fmla="*/ 591963 w 904610"/>
                <a:gd name="connsiteY14" fmla="*/ 1333500 h 2712720"/>
                <a:gd name="connsiteX15" fmla="*/ 675783 w 904610"/>
                <a:gd name="connsiteY15" fmla="*/ 1447800 h 2712720"/>
                <a:gd name="connsiteX16" fmla="*/ 713883 w 904610"/>
                <a:gd name="connsiteY16" fmla="*/ 1546860 h 2712720"/>
                <a:gd name="connsiteX17" fmla="*/ 729123 w 904610"/>
                <a:gd name="connsiteY17" fmla="*/ 1752600 h 2712720"/>
                <a:gd name="connsiteX18" fmla="*/ 759603 w 904610"/>
                <a:gd name="connsiteY18" fmla="*/ 1805940 h 2712720"/>
                <a:gd name="connsiteX19" fmla="*/ 767223 w 904610"/>
                <a:gd name="connsiteY19" fmla="*/ 1897380 h 2712720"/>
                <a:gd name="connsiteX20" fmla="*/ 797703 w 904610"/>
                <a:gd name="connsiteY20" fmla="*/ 2057400 h 2712720"/>
                <a:gd name="connsiteX21" fmla="*/ 851043 w 904610"/>
                <a:gd name="connsiteY21" fmla="*/ 2072640 h 2712720"/>
                <a:gd name="connsiteX22" fmla="*/ 790083 w 904610"/>
                <a:gd name="connsiteY22" fmla="*/ 2133600 h 2712720"/>
                <a:gd name="connsiteX23" fmla="*/ 805323 w 904610"/>
                <a:gd name="connsiteY23" fmla="*/ 2179320 h 2712720"/>
                <a:gd name="connsiteX24" fmla="*/ 812943 w 904610"/>
                <a:gd name="connsiteY24" fmla="*/ 2263140 h 2712720"/>
                <a:gd name="connsiteX25" fmla="*/ 843423 w 904610"/>
                <a:gd name="connsiteY25" fmla="*/ 2423160 h 2712720"/>
                <a:gd name="connsiteX26" fmla="*/ 873903 w 904610"/>
                <a:gd name="connsiteY26" fmla="*/ 2499360 h 2712720"/>
                <a:gd name="connsiteX27" fmla="*/ 904383 w 904610"/>
                <a:gd name="connsiteY27" fmla="*/ 2712720 h 2712720"/>
                <a:gd name="connsiteX0" fmla="*/ 12843 w 912002"/>
                <a:gd name="connsiteY0" fmla="*/ 0 h 2728524"/>
                <a:gd name="connsiteX1" fmla="*/ 5223 w 912002"/>
                <a:gd name="connsiteY1" fmla="*/ 76200 h 2728524"/>
                <a:gd name="connsiteX2" fmla="*/ 81423 w 912002"/>
                <a:gd name="connsiteY2" fmla="*/ 160020 h 2728524"/>
                <a:gd name="connsiteX3" fmla="*/ 58563 w 912002"/>
                <a:gd name="connsiteY3" fmla="*/ 182880 h 2728524"/>
                <a:gd name="connsiteX4" fmla="*/ 142383 w 912002"/>
                <a:gd name="connsiteY4" fmla="*/ 312420 h 2728524"/>
                <a:gd name="connsiteX5" fmla="*/ 203343 w 912002"/>
                <a:gd name="connsiteY5" fmla="*/ 266700 h 2728524"/>
                <a:gd name="connsiteX6" fmla="*/ 271923 w 912002"/>
                <a:gd name="connsiteY6" fmla="*/ 464820 h 2728524"/>
                <a:gd name="connsiteX7" fmla="*/ 332883 w 912002"/>
                <a:gd name="connsiteY7" fmla="*/ 441960 h 2728524"/>
                <a:gd name="connsiteX8" fmla="*/ 287163 w 912002"/>
                <a:gd name="connsiteY8" fmla="*/ 487680 h 2728524"/>
                <a:gd name="connsiteX9" fmla="*/ 340503 w 912002"/>
                <a:gd name="connsiteY9" fmla="*/ 586740 h 2728524"/>
                <a:gd name="connsiteX10" fmla="*/ 378603 w 912002"/>
                <a:gd name="connsiteY10" fmla="*/ 525780 h 2728524"/>
                <a:gd name="connsiteX11" fmla="*/ 424323 w 912002"/>
                <a:gd name="connsiteY11" fmla="*/ 647700 h 2728524"/>
                <a:gd name="connsiteX12" fmla="*/ 355743 w 912002"/>
                <a:gd name="connsiteY12" fmla="*/ 594360 h 2728524"/>
                <a:gd name="connsiteX13" fmla="*/ 454803 w 912002"/>
                <a:gd name="connsiteY13" fmla="*/ 883920 h 2728524"/>
                <a:gd name="connsiteX14" fmla="*/ 591963 w 912002"/>
                <a:gd name="connsiteY14" fmla="*/ 1333500 h 2728524"/>
                <a:gd name="connsiteX15" fmla="*/ 675783 w 912002"/>
                <a:gd name="connsiteY15" fmla="*/ 1447800 h 2728524"/>
                <a:gd name="connsiteX16" fmla="*/ 713883 w 912002"/>
                <a:gd name="connsiteY16" fmla="*/ 1546860 h 2728524"/>
                <a:gd name="connsiteX17" fmla="*/ 729123 w 912002"/>
                <a:gd name="connsiteY17" fmla="*/ 1752600 h 2728524"/>
                <a:gd name="connsiteX18" fmla="*/ 759603 w 912002"/>
                <a:gd name="connsiteY18" fmla="*/ 1805940 h 2728524"/>
                <a:gd name="connsiteX19" fmla="*/ 767223 w 912002"/>
                <a:gd name="connsiteY19" fmla="*/ 1897380 h 2728524"/>
                <a:gd name="connsiteX20" fmla="*/ 797703 w 912002"/>
                <a:gd name="connsiteY20" fmla="*/ 2057400 h 2728524"/>
                <a:gd name="connsiteX21" fmla="*/ 851043 w 912002"/>
                <a:gd name="connsiteY21" fmla="*/ 2072640 h 2728524"/>
                <a:gd name="connsiteX22" fmla="*/ 790083 w 912002"/>
                <a:gd name="connsiteY22" fmla="*/ 2133600 h 2728524"/>
                <a:gd name="connsiteX23" fmla="*/ 805323 w 912002"/>
                <a:gd name="connsiteY23" fmla="*/ 2179320 h 2728524"/>
                <a:gd name="connsiteX24" fmla="*/ 812943 w 912002"/>
                <a:gd name="connsiteY24" fmla="*/ 2263140 h 2728524"/>
                <a:gd name="connsiteX25" fmla="*/ 843423 w 912002"/>
                <a:gd name="connsiteY25" fmla="*/ 2423160 h 2728524"/>
                <a:gd name="connsiteX26" fmla="*/ 873903 w 912002"/>
                <a:gd name="connsiteY26" fmla="*/ 2499360 h 2728524"/>
                <a:gd name="connsiteX27" fmla="*/ 904383 w 912002"/>
                <a:gd name="connsiteY27" fmla="*/ 2712720 h 2728524"/>
                <a:gd name="connsiteX28" fmla="*/ 912002 w 912002"/>
                <a:gd name="connsiteY28" fmla="*/ 2712720 h 2728524"/>
                <a:gd name="connsiteX0" fmla="*/ 12843 w 1003442"/>
                <a:gd name="connsiteY0" fmla="*/ 0 h 3055620"/>
                <a:gd name="connsiteX1" fmla="*/ 5223 w 1003442"/>
                <a:gd name="connsiteY1" fmla="*/ 76200 h 3055620"/>
                <a:gd name="connsiteX2" fmla="*/ 81423 w 1003442"/>
                <a:gd name="connsiteY2" fmla="*/ 160020 h 3055620"/>
                <a:gd name="connsiteX3" fmla="*/ 58563 w 1003442"/>
                <a:gd name="connsiteY3" fmla="*/ 182880 h 3055620"/>
                <a:gd name="connsiteX4" fmla="*/ 142383 w 1003442"/>
                <a:gd name="connsiteY4" fmla="*/ 312420 h 3055620"/>
                <a:gd name="connsiteX5" fmla="*/ 203343 w 1003442"/>
                <a:gd name="connsiteY5" fmla="*/ 266700 h 3055620"/>
                <a:gd name="connsiteX6" fmla="*/ 271923 w 1003442"/>
                <a:gd name="connsiteY6" fmla="*/ 464820 h 3055620"/>
                <a:gd name="connsiteX7" fmla="*/ 332883 w 1003442"/>
                <a:gd name="connsiteY7" fmla="*/ 441960 h 3055620"/>
                <a:gd name="connsiteX8" fmla="*/ 287163 w 1003442"/>
                <a:gd name="connsiteY8" fmla="*/ 487680 h 3055620"/>
                <a:gd name="connsiteX9" fmla="*/ 340503 w 1003442"/>
                <a:gd name="connsiteY9" fmla="*/ 586740 h 3055620"/>
                <a:gd name="connsiteX10" fmla="*/ 378603 w 1003442"/>
                <a:gd name="connsiteY10" fmla="*/ 525780 h 3055620"/>
                <a:gd name="connsiteX11" fmla="*/ 424323 w 1003442"/>
                <a:gd name="connsiteY11" fmla="*/ 647700 h 3055620"/>
                <a:gd name="connsiteX12" fmla="*/ 355743 w 1003442"/>
                <a:gd name="connsiteY12" fmla="*/ 594360 h 3055620"/>
                <a:gd name="connsiteX13" fmla="*/ 454803 w 1003442"/>
                <a:gd name="connsiteY13" fmla="*/ 883920 h 3055620"/>
                <a:gd name="connsiteX14" fmla="*/ 591963 w 1003442"/>
                <a:gd name="connsiteY14" fmla="*/ 1333500 h 3055620"/>
                <a:gd name="connsiteX15" fmla="*/ 675783 w 1003442"/>
                <a:gd name="connsiteY15" fmla="*/ 1447800 h 3055620"/>
                <a:gd name="connsiteX16" fmla="*/ 713883 w 1003442"/>
                <a:gd name="connsiteY16" fmla="*/ 1546860 h 3055620"/>
                <a:gd name="connsiteX17" fmla="*/ 729123 w 1003442"/>
                <a:gd name="connsiteY17" fmla="*/ 1752600 h 3055620"/>
                <a:gd name="connsiteX18" fmla="*/ 759603 w 1003442"/>
                <a:gd name="connsiteY18" fmla="*/ 1805940 h 3055620"/>
                <a:gd name="connsiteX19" fmla="*/ 767223 w 1003442"/>
                <a:gd name="connsiteY19" fmla="*/ 1897380 h 3055620"/>
                <a:gd name="connsiteX20" fmla="*/ 797703 w 1003442"/>
                <a:gd name="connsiteY20" fmla="*/ 2057400 h 3055620"/>
                <a:gd name="connsiteX21" fmla="*/ 851043 w 1003442"/>
                <a:gd name="connsiteY21" fmla="*/ 2072640 h 3055620"/>
                <a:gd name="connsiteX22" fmla="*/ 790083 w 1003442"/>
                <a:gd name="connsiteY22" fmla="*/ 2133600 h 3055620"/>
                <a:gd name="connsiteX23" fmla="*/ 805323 w 1003442"/>
                <a:gd name="connsiteY23" fmla="*/ 2179320 h 3055620"/>
                <a:gd name="connsiteX24" fmla="*/ 812943 w 1003442"/>
                <a:gd name="connsiteY24" fmla="*/ 2263140 h 3055620"/>
                <a:gd name="connsiteX25" fmla="*/ 843423 w 1003442"/>
                <a:gd name="connsiteY25" fmla="*/ 2423160 h 3055620"/>
                <a:gd name="connsiteX26" fmla="*/ 873903 w 1003442"/>
                <a:gd name="connsiteY26" fmla="*/ 2499360 h 3055620"/>
                <a:gd name="connsiteX27" fmla="*/ 904383 w 1003442"/>
                <a:gd name="connsiteY27" fmla="*/ 2712720 h 3055620"/>
                <a:gd name="connsiteX28" fmla="*/ 1003442 w 1003442"/>
                <a:gd name="connsiteY28" fmla="*/ 3055620 h 3055620"/>
                <a:gd name="connsiteX0" fmla="*/ 12843 w 1003442"/>
                <a:gd name="connsiteY0" fmla="*/ 0 h 3055620"/>
                <a:gd name="connsiteX1" fmla="*/ 5223 w 1003442"/>
                <a:gd name="connsiteY1" fmla="*/ 76200 h 3055620"/>
                <a:gd name="connsiteX2" fmla="*/ 81423 w 1003442"/>
                <a:gd name="connsiteY2" fmla="*/ 160020 h 3055620"/>
                <a:gd name="connsiteX3" fmla="*/ 124935 w 1003442"/>
                <a:gd name="connsiteY3" fmla="*/ 219753 h 3055620"/>
                <a:gd name="connsiteX4" fmla="*/ 142383 w 1003442"/>
                <a:gd name="connsiteY4" fmla="*/ 312420 h 3055620"/>
                <a:gd name="connsiteX5" fmla="*/ 203343 w 1003442"/>
                <a:gd name="connsiteY5" fmla="*/ 266700 h 3055620"/>
                <a:gd name="connsiteX6" fmla="*/ 271923 w 1003442"/>
                <a:gd name="connsiteY6" fmla="*/ 464820 h 3055620"/>
                <a:gd name="connsiteX7" fmla="*/ 332883 w 1003442"/>
                <a:gd name="connsiteY7" fmla="*/ 441960 h 3055620"/>
                <a:gd name="connsiteX8" fmla="*/ 287163 w 1003442"/>
                <a:gd name="connsiteY8" fmla="*/ 487680 h 3055620"/>
                <a:gd name="connsiteX9" fmla="*/ 340503 w 1003442"/>
                <a:gd name="connsiteY9" fmla="*/ 586740 h 3055620"/>
                <a:gd name="connsiteX10" fmla="*/ 378603 w 1003442"/>
                <a:gd name="connsiteY10" fmla="*/ 525780 h 3055620"/>
                <a:gd name="connsiteX11" fmla="*/ 424323 w 1003442"/>
                <a:gd name="connsiteY11" fmla="*/ 647700 h 3055620"/>
                <a:gd name="connsiteX12" fmla="*/ 355743 w 1003442"/>
                <a:gd name="connsiteY12" fmla="*/ 594360 h 3055620"/>
                <a:gd name="connsiteX13" fmla="*/ 454803 w 1003442"/>
                <a:gd name="connsiteY13" fmla="*/ 883920 h 3055620"/>
                <a:gd name="connsiteX14" fmla="*/ 591963 w 1003442"/>
                <a:gd name="connsiteY14" fmla="*/ 1333500 h 3055620"/>
                <a:gd name="connsiteX15" fmla="*/ 675783 w 1003442"/>
                <a:gd name="connsiteY15" fmla="*/ 1447800 h 3055620"/>
                <a:gd name="connsiteX16" fmla="*/ 713883 w 1003442"/>
                <a:gd name="connsiteY16" fmla="*/ 1546860 h 3055620"/>
                <a:gd name="connsiteX17" fmla="*/ 729123 w 1003442"/>
                <a:gd name="connsiteY17" fmla="*/ 1752600 h 3055620"/>
                <a:gd name="connsiteX18" fmla="*/ 759603 w 1003442"/>
                <a:gd name="connsiteY18" fmla="*/ 1805940 h 3055620"/>
                <a:gd name="connsiteX19" fmla="*/ 767223 w 1003442"/>
                <a:gd name="connsiteY19" fmla="*/ 1897380 h 3055620"/>
                <a:gd name="connsiteX20" fmla="*/ 797703 w 1003442"/>
                <a:gd name="connsiteY20" fmla="*/ 2057400 h 3055620"/>
                <a:gd name="connsiteX21" fmla="*/ 851043 w 1003442"/>
                <a:gd name="connsiteY21" fmla="*/ 2072640 h 3055620"/>
                <a:gd name="connsiteX22" fmla="*/ 790083 w 1003442"/>
                <a:gd name="connsiteY22" fmla="*/ 2133600 h 3055620"/>
                <a:gd name="connsiteX23" fmla="*/ 805323 w 1003442"/>
                <a:gd name="connsiteY23" fmla="*/ 2179320 h 3055620"/>
                <a:gd name="connsiteX24" fmla="*/ 812943 w 1003442"/>
                <a:gd name="connsiteY24" fmla="*/ 2263140 h 3055620"/>
                <a:gd name="connsiteX25" fmla="*/ 843423 w 1003442"/>
                <a:gd name="connsiteY25" fmla="*/ 2423160 h 3055620"/>
                <a:gd name="connsiteX26" fmla="*/ 873903 w 1003442"/>
                <a:gd name="connsiteY26" fmla="*/ 2499360 h 3055620"/>
                <a:gd name="connsiteX27" fmla="*/ 904383 w 1003442"/>
                <a:gd name="connsiteY27" fmla="*/ 2712720 h 3055620"/>
                <a:gd name="connsiteX28" fmla="*/ 1003442 w 1003442"/>
                <a:gd name="connsiteY28" fmla="*/ 3055620 h 3055620"/>
                <a:gd name="connsiteX0" fmla="*/ 12843 w 1003442"/>
                <a:gd name="connsiteY0" fmla="*/ 0 h 3055620"/>
                <a:gd name="connsiteX1" fmla="*/ 5223 w 1003442"/>
                <a:gd name="connsiteY1" fmla="*/ 76200 h 3055620"/>
                <a:gd name="connsiteX2" fmla="*/ 81423 w 1003442"/>
                <a:gd name="connsiteY2" fmla="*/ 160020 h 3055620"/>
                <a:gd name="connsiteX3" fmla="*/ 124935 w 1003442"/>
                <a:gd name="connsiteY3" fmla="*/ 219753 h 3055620"/>
                <a:gd name="connsiteX4" fmla="*/ 157132 w 1003442"/>
                <a:gd name="connsiteY4" fmla="*/ 282921 h 3055620"/>
                <a:gd name="connsiteX5" fmla="*/ 203343 w 1003442"/>
                <a:gd name="connsiteY5" fmla="*/ 266700 h 3055620"/>
                <a:gd name="connsiteX6" fmla="*/ 271923 w 1003442"/>
                <a:gd name="connsiteY6" fmla="*/ 464820 h 3055620"/>
                <a:gd name="connsiteX7" fmla="*/ 332883 w 1003442"/>
                <a:gd name="connsiteY7" fmla="*/ 441960 h 3055620"/>
                <a:gd name="connsiteX8" fmla="*/ 287163 w 1003442"/>
                <a:gd name="connsiteY8" fmla="*/ 487680 h 3055620"/>
                <a:gd name="connsiteX9" fmla="*/ 340503 w 1003442"/>
                <a:gd name="connsiteY9" fmla="*/ 586740 h 3055620"/>
                <a:gd name="connsiteX10" fmla="*/ 378603 w 1003442"/>
                <a:gd name="connsiteY10" fmla="*/ 525780 h 3055620"/>
                <a:gd name="connsiteX11" fmla="*/ 424323 w 1003442"/>
                <a:gd name="connsiteY11" fmla="*/ 647700 h 3055620"/>
                <a:gd name="connsiteX12" fmla="*/ 355743 w 1003442"/>
                <a:gd name="connsiteY12" fmla="*/ 594360 h 3055620"/>
                <a:gd name="connsiteX13" fmla="*/ 454803 w 1003442"/>
                <a:gd name="connsiteY13" fmla="*/ 883920 h 3055620"/>
                <a:gd name="connsiteX14" fmla="*/ 591963 w 1003442"/>
                <a:gd name="connsiteY14" fmla="*/ 1333500 h 3055620"/>
                <a:gd name="connsiteX15" fmla="*/ 675783 w 1003442"/>
                <a:gd name="connsiteY15" fmla="*/ 1447800 h 3055620"/>
                <a:gd name="connsiteX16" fmla="*/ 713883 w 1003442"/>
                <a:gd name="connsiteY16" fmla="*/ 1546860 h 3055620"/>
                <a:gd name="connsiteX17" fmla="*/ 729123 w 1003442"/>
                <a:gd name="connsiteY17" fmla="*/ 1752600 h 3055620"/>
                <a:gd name="connsiteX18" fmla="*/ 759603 w 1003442"/>
                <a:gd name="connsiteY18" fmla="*/ 1805940 h 3055620"/>
                <a:gd name="connsiteX19" fmla="*/ 767223 w 1003442"/>
                <a:gd name="connsiteY19" fmla="*/ 1897380 h 3055620"/>
                <a:gd name="connsiteX20" fmla="*/ 797703 w 1003442"/>
                <a:gd name="connsiteY20" fmla="*/ 2057400 h 3055620"/>
                <a:gd name="connsiteX21" fmla="*/ 851043 w 1003442"/>
                <a:gd name="connsiteY21" fmla="*/ 2072640 h 3055620"/>
                <a:gd name="connsiteX22" fmla="*/ 790083 w 1003442"/>
                <a:gd name="connsiteY22" fmla="*/ 2133600 h 3055620"/>
                <a:gd name="connsiteX23" fmla="*/ 805323 w 1003442"/>
                <a:gd name="connsiteY23" fmla="*/ 2179320 h 3055620"/>
                <a:gd name="connsiteX24" fmla="*/ 812943 w 1003442"/>
                <a:gd name="connsiteY24" fmla="*/ 2263140 h 3055620"/>
                <a:gd name="connsiteX25" fmla="*/ 843423 w 1003442"/>
                <a:gd name="connsiteY25" fmla="*/ 2423160 h 3055620"/>
                <a:gd name="connsiteX26" fmla="*/ 873903 w 1003442"/>
                <a:gd name="connsiteY26" fmla="*/ 2499360 h 3055620"/>
                <a:gd name="connsiteX27" fmla="*/ 904383 w 1003442"/>
                <a:gd name="connsiteY27" fmla="*/ 2712720 h 3055620"/>
                <a:gd name="connsiteX28" fmla="*/ 1003442 w 1003442"/>
                <a:gd name="connsiteY28" fmla="*/ 3055620 h 3055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03442" h="3055620">
                  <a:moveTo>
                    <a:pt x="12843" y="0"/>
                  </a:moveTo>
                  <a:cubicBezTo>
                    <a:pt x="3318" y="24765"/>
                    <a:pt x="-6207" y="49530"/>
                    <a:pt x="5223" y="76200"/>
                  </a:cubicBezTo>
                  <a:cubicBezTo>
                    <a:pt x="16653" y="102870"/>
                    <a:pt x="61471" y="136095"/>
                    <a:pt x="81423" y="160020"/>
                  </a:cubicBezTo>
                  <a:cubicBezTo>
                    <a:pt x="101375" y="183945"/>
                    <a:pt x="112317" y="199270"/>
                    <a:pt x="124935" y="219753"/>
                  </a:cubicBezTo>
                  <a:cubicBezTo>
                    <a:pt x="137553" y="240236"/>
                    <a:pt x="144064" y="275097"/>
                    <a:pt x="157132" y="282921"/>
                  </a:cubicBezTo>
                  <a:cubicBezTo>
                    <a:pt x="170200" y="290745"/>
                    <a:pt x="184211" y="236383"/>
                    <a:pt x="203343" y="266700"/>
                  </a:cubicBezTo>
                  <a:cubicBezTo>
                    <a:pt x="222475" y="297017"/>
                    <a:pt x="250333" y="435610"/>
                    <a:pt x="271923" y="464820"/>
                  </a:cubicBezTo>
                  <a:cubicBezTo>
                    <a:pt x="293513" y="494030"/>
                    <a:pt x="330343" y="438150"/>
                    <a:pt x="332883" y="441960"/>
                  </a:cubicBezTo>
                  <a:cubicBezTo>
                    <a:pt x="335423" y="445770"/>
                    <a:pt x="285893" y="463550"/>
                    <a:pt x="287163" y="487680"/>
                  </a:cubicBezTo>
                  <a:cubicBezTo>
                    <a:pt x="288433" y="511810"/>
                    <a:pt x="325263" y="580390"/>
                    <a:pt x="340503" y="586740"/>
                  </a:cubicBezTo>
                  <a:cubicBezTo>
                    <a:pt x="355743" y="593090"/>
                    <a:pt x="364633" y="515620"/>
                    <a:pt x="378603" y="525780"/>
                  </a:cubicBezTo>
                  <a:cubicBezTo>
                    <a:pt x="392573" y="535940"/>
                    <a:pt x="428133" y="636270"/>
                    <a:pt x="424323" y="647700"/>
                  </a:cubicBezTo>
                  <a:cubicBezTo>
                    <a:pt x="420513" y="659130"/>
                    <a:pt x="350663" y="554990"/>
                    <a:pt x="355743" y="594360"/>
                  </a:cubicBezTo>
                  <a:cubicBezTo>
                    <a:pt x="360823" y="633730"/>
                    <a:pt x="415433" y="760730"/>
                    <a:pt x="454803" y="883920"/>
                  </a:cubicBezTo>
                  <a:cubicBezTo>
                    <a:pt x="494173" y="1007110"/>
                    <a:pt x="555133" y="1239520"/>
                    <a:pt x="591963" y="1333500"/>
                  </a:cubicBezTo>
                  <a:cubicBezTo>
                    <a:pt x="628793" y="1427480"/>
                    <a:pt x="655463" y="1412240"/>
                    <a:pt x="675783" y="1447800"/>
                  </a:cubicBezTo>
                  <a:cubicBezTo>
                    <a:pt x="696103" y="1483360"/>
                    <a:pt x="704993" y="1496060"/>
                    <a:pt x="713883" y="1546860"/>
                  </a:cubicBezTo>
                  <a:cubicBezTo>
                    <a:pt x="722773" y="1597660"/>
                    <a:pt x="721503" y="1709420"/>
                    <a:pt x="729123" y="1752600"/>
                  </a:cubicBezTo>
                  <a:cubicBezTo>
                    <a:pt x="736743" y="1795780"/>
                    <a:pt x="753253" y="1781810"/>
                    <a:pt x="759603" y="1805940"/>
                  </a:cubicBezTo>
                  <a:cubicBezTo>
                    <a:pt x="765953" y="1830070"/>
                    <a:pt x="760873" y="1855470"/>
                    <a:pt x="767223" y="1897380"/>
                  </a:cubicBezTo>
                  <a:cubicBezTo>
                    <a:pt x="773573" y="1939290"/>
                    <a:pt x="783733" y="2028190"/>
                    <a:pt x="797703" y="2057400"/>
                  </a:cubicBezTo>
                  <a:cubicBezTo>
                    <a:pt x="811673" y="2086610"/>
                    <a:pt x="852313" y="2059940"/>
                    <a:pt x="851043" y="2072640"/>
                  </a:cubicBezTo>
                  <a:cubicBezTo>
                    <a:pt x="849773" y="2085340"/>
                    <a:pt x="797703" y="2115820"/>
                    <a:pt x="790083" y="2133600"/>
                  </a:cubicBezTo>
                  <a:cubicBezTo>
                    <a:pt x="782463" y="2151380"/>
                    <a:pt x="801513" y="2157730"/>
                    <a:pt x="805323" y="2179320"/>
                  </a:cubicBezTo>
                  <a:cubicBezTo>
                    <a:pt x="809133" y="2200910"/>
                    <a:pt x="806593" y="2222500"/>
                    <a:pt x="812943" y="2263140"/>
                  </a:cubicBezTo>
                  <a:cubicBezTo>
                    <a:pt x="819293" y="2303780"/>
                    <a:pt x="833263" y="2383790"/>
                    <a:pt x="843423" y="2423160"/>
                  </a:cubicBezTo>
                  <a:cubicBezTo>
                    <a:pt x="853583" y="2462530"/>
                    <a:pt x="863743" y="2480945"/>
                    <a:pt x="873903" y="2499360"/>
                  </a:cubicBezTo>
                  <a:cubicBezTo>
                    <a:pt x="876443" y="2512060"/>
                    <a:pt x="907558" y="2712720"/>
                    <a:pt x="904383" y="2712720"/>
                  </a:cubicBezTo>
                  <a:cubicBezTo>
                    <a:pt x="910733" y="2748280"/>
                    <a:pt x="1001855" y="3055620"/>
                    <a:pt x="1003442" y="3055620"/>
                  </a:cubicBezTo>
                </a:path>
              </a:pathLst>
            </a:custGeom>
            <a:noFill/>
            <a:ln w="38100">
              <a:solidFill>
                <a:srgbClr val="97393D"/>
              </a:solidFill>
            </a:ln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3FE38983-A1BA-4BB3-A9D6-C6E4030D7706}"/>
                </a:ext>
              </a:extLst>
            </p:cNvPr>
            <p:cNvSpPr/>
            <p:nvPr/>
          </p:nvSpPr>
          <p:spPr>
            <a:xfrm>
              <a:off x="1501612" y="3061765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3" name="TextBox 216">
              <a:extLst>
                <a:ext uri="{FF2B5EF4-FFF2-40B4-BE49-F238E27FC236}">
                  <a16:creationId xmlns:a16="http://schemas.microsoft.com/office/drawing/2014/main" id="{FBF6A13B-79AE-459F-91DD-09F0C5E189A1}"/>
                </a:ext>
              </a:extLst>
            </p:cNvPr>
            <p:cNvSpPr txBox="1"/>
            <p:nvPr/>
          </p:nvSpPr>
          <p:spPr>
            <a:xfrm>
              <a:off x="793112" y="2780005"/>
              <a:ext cx="56746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Karwar</a:t>
              </a:r>
              <a:endPara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4" name="TextBox 216">
              <a:extLst>
                <a:ext uri="{FF2B5EF4-FFF2-40B4-BE49-F238E27FC236}">
                  <a16:creationId xmlns:a16="http://schemas.microsoft.com/office/drawing/2014/main" id="{E1334872-5163-4B8C-937A-53BFF985D5DD}"/>
                </a:ext>
              </a:extLst>
            </p:cNvPr>
            <p:cNvSpPr txBox="1"/>
            <p:nvPr/>
          </p:nvSpPr>
          <p:spPr>
            <a:xfrm>
              <a:off x="1744924" y="2952203"/>
              <a:ext cx="64761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Belekeri</a:t>
              </a:r>
              <a:endPara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5D58946E-F3EE-44A3-8BFC-6DBA9F2ACD17}"/>
                </a:ext>
              </a:extLst>
            </p:cNvPr>
            <p:cNvSpPr/>
            <p:nvPr/>
          </p:nvSpPr>
          <p:spPr>
            <a:xfrm>
              <a:off x="1640515" y="3367908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" name="TextBox 216">
              <a:extLst>
                <a:ext uri="{FF2B5EF4-FFF2-40B4-BE49-F238E27FC236}">
                  <a16:creationId xmlns:a16="http://schemas.microsoft.com/office/drawing/2014/main" id="{B4176F9A-17E1-4439-AAFD-6FB106A3AAB0}"/>
                </a:ext>
              </a:extLst>
            </p:cNvPr>
            <p:cNvSpPr txBox="1"/>
            <p:nvPr/>
          </p:nvSpPr>
          <p:spPr>
            <a:xfrm>
              <a:off x="1215030" y="3367908"/>
              <a:ext cx="38728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adri</a:t>
              </a:r>
              <a:endPara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029A5670-BF8D-4FDE-8425-B7E1D999098A}"/>
                </a:ext>
              </a:extLst>
            </p:cNvPr>
            <p:cNvSpPr/>
            <p:nvPr/>
          </p:nvSpPr>
          <p:spPr>
            <a:xfrm>
              <a:off x="1771438" y="3594781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8" name="TextBox 216">
              <a:extLst>
                <a:ext uri="{FF2B5EF4-FFF2-40B4-BE49-F238E27FC236}">
                  <a16:creationId xmlns:a16="http://schemas.microsoft.com/office/drawing/2014/main" id="{2114CF05-119D-49C7-95E2-BE95B2C9BC27}"/>
                </a:ext>
              </a:extLst>
            </p:cNvPr>
            <p:cNvSpPr txBox="1"/>
            <p:nvPr/>
          </p:nvSpPr>
          <p:spPr>
            <a:xfrm>
              <a:off x="2041264" y="3506675"/>
              <a:ext cx="98584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avinkuruve</a:t>
              </a:r>
              <a:endPara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4128EC39-D662-49E5-B403-47DD8E182967}"/>
                </a:ext>
              </a:extLst>
            </p:cNvPr>
            <p:cNvSpPr/>
            <p:nvPr/>
          </p:nvSpPr>
          <p:spPr>
            <a:xfrm>
              <a:off x="1853869" y="3869772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0" name="TextBox 216">
              <a:extLst>
                <a:ext uri="{FF2B5EF4-FFF2-40B4-BE49-F238E27FC236}">
                  <a16:creationId xmlns:a16="http://schemas.microsoft.com/office/drawing/2014/main" id="{586A3A34-2041-4283-9BC3-214B7FDEFD8F}"/>
                </a:ext>
              </a:extLst>
            </p:cNvPr>
            <p:cNvSpPr txBox="1"/>
            <p:nvPr/>
          </p:nvSpPr>
          <p:spPr>
            <a:xfrm>
              <a:off x="789911" y="3759886"/>
              <a:ext cx="825548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Honnavar</a:t>
              </a:r>
              <a:r>
                <a:rPr lang="en-GB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F9C58815-E562-4A4F-918D-5A1E01DFC00C}"/>
                </a:ext>
              </a:extLst>
            </p:cNvPr>
            <p:cNvSpPr/>
            <p:nvPr/>
          </p:nvSpPr>
          <p:spPr>
            <a:xfrm>
              <a:off x="1885851" y="3968193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TextBox 216">
              <a:extLst>
                <a:ext uri="{FF2B5EF4-FFF2-40B4-BE49-F238E27FC236}">
                  <a16:creationId xmlns:a16="http://schemas.microsoft.com/office/drawing/2014/main" id="{C84D3EA5-3B1C-4874-A68A-368495A55537}"/>
                </a:ext>
              </a:extLst>
            </p:cNvPr>
            <p:cNvSpPr txBox="1"/>
            <p:nvPr/>
          </p:nvSpPr>
          <p:spPr>
            <a:xfrm>
              <a:off x="1367390" y="4030043"/>
              <a:ext cx="52738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Manki</a:t>
              </a:r>
              <a:r>
                <a:rPr lang="en-GB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65142DE6-D9FB-4CA0-9309-07D6495313F1}"/>
                </a:ext>
              </a:extLst>
            </p:cNvPr>
            <p:cNvSpPr/>
            <p:nvPr/>
          </p:nvSpPr>
          <p:spPr>
            <a:xfrm>
              <a:off x="1961593" y="4321660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TextBox 216">
              <a:extLst>
                <a:ext uri="{FF2B5EF4-FFF2-40B4-BE49-F238E27FC236}">
                  <a16:creationId xmlns:a16="http://schemas.microsoft.com/office/drawing/2014/main" id="{09B964D1-EF5E-4977-B455-6B9D70F64CF8}"/>
                </a:ext>
              </a:extLst>
            </p:cNvPr>
            <p:cNvSpPr txBox="1"/>
            <p:nvPr/>
          </p:nvSpPr>
          <p:spPr>
            <a:xfrm>
              <a:off x="1331285" y="4482057"/>
              <a:ext cx="59792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Bhatkal</a:t>
              </a: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CF56EE82-4623-4C10-B9CB-458865EFEB91}"/>
                </a:ext>
              </a:extLst>
            </p:cNvPr>
            <p:cNvSpPr/>
            <p:nvPr/>
          </p:nvSpPr>
          <p:spPr>
            <a:xfrm>
              <a:off x="2231419" y="4926597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6" name="TextBox 216">
              <a:extLst>
                <a:ext uri="{FF2B5EF4-FFF2-40B4-BE49-F238E27FC236}">
                  <a16:creationId xmlns:a16="http://schemas.microsoft.com/office/drawing/2014/main" id="{D4AAC35C-809D-4497-AABD-099B543F75E7}"/>
                </a:ext>
              </a:extLst>
            </p:cNvPr>
            <p:cNvSpPr txBox="1"/>
            <p:nvPr/>
          </p:nvSpPr>
          <p:spPr>
            <a:xfrm>
              <a:off x="2567456" y="4954159"/>
              <a:ext cx="77585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Kundapur</a:t>
              </a:r>
              <a:endPara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B4F8088D-3BDA-48ED-811A-7B0D08D78B4C}"/>
                </a:ext>
              </a:extLst>
            </p:cNvPr>
            <p:cNvSpPr/>
            <p:nvPr/>
          </p:nvSpPr>
          <p:spPr>
            <a:xfrm>
              <a:off x="2271375" y="5319573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8" name="TextBox 216">
              <a:extLst>
                <a:ext uri="{FF2B5EF4-FFF2-40B4-BE49-F238E27FC236}">
                  <a16:creationId xmlns:a16="http://schemas.microsoft.com/office/drawing/2014/main" id="{69FA1CAE-52BD-4562-8E4F-AFED03AB959E}"/>
                </a:ext>
              </a:extLst>
            </p:cNvPr>
            <p:cNvSpPr txBox="1"/>
            <p:nvPr/>
          </p:nvSpPr>
          <p:spPr>
            <a:xfrm>
              <a:off x="1229901" y="5273953"/>
              <a:ext cx="97462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Hangarkatta</a:t>
              </a:r>
              <a:endPara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B16EBC6E-83A6-4756-BE7B-362C2C5575B7}"/>
                </a:ext>
              </a:extLst>
            </p:cNvPr>
            <p:cNvSpPr/>
            <p:nvPr/>
          </p:nvSpPr>
          <p:spPr>
            <a:xfrm>
              <a:off x="2249881" y="5566067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0" name="TextBox 216">
              <a:extLst>
                <a:ext uri="{FF2B5EF4-FFF2-40B4-BE49-F238E27FC236}">
                  <a16:creationId xmlns:a16="http://schemas.microsoft.com/office/drawing/2014/main" id="{1A688C11-E525-4458-AE12-E9FCE5B466FE}"/>
                </a:ext>
              </a:extLst>
            </p:cNvPr>
            <p:cNvSpPr txBox="1"/>
            <p:nvPr/>
          </p:nvSpPr>
          <p:spPr>
            <a:xfrm>
              <a:off x="2520825" y="5572830"/>
              <a:ext cx="48731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Malpe</a:t>
              </a:r>
              <a:endPara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72D10220-9A50-4D64-A114-D8A3B510E4A9}"/>
                </a:ext>
              </a:extLst>
            </p:cNvPr>
            <p:cNvSpPr/>
            <p:nvPr/>
          </p:nvSpPr>
          <p:spPr>
            <a:xfrm>
              <a:off x="2314135" y="5841754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2" name="TextBox 216">
              <a:extLst>
                <a:ext uri="{FF2B5EF4-FFF2-40B4-BE49-F238E27FC236}">
                  <a16:creationId xmlns:a16="http://schemas.microsoft.com/office/drawing/2014/main" id="{DE2A20B9-B66D-41E3-98AF-47898BA641E8}"/>
                </a:ext>
              </a:extLst>
            </p:cNvPr>
            <p:cNvSpPr txBox="1"/>
            <p:nvPr/>
          </p:nvSpPr>
          <p:spPr>
            <a:xfrm>
              <a:off x="1435305" y="5820066"/>
              <a:ext cx="75661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adubidri</a:t>
              </a:r>
              <a:endPara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D24BDC41-D21B-4BAC-B40E-0BC3EA363B92}"/>
                </a:ext>
              </a:extLst>
            </p:cNvPr>
            <p:cNvSpPr/>
            <p:nvPr/>
          </p:nvSpPr>
          <p:spPr>
            <a:xfrm>
              <a:off x="2400815" y="6346708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4" name="TextBox 216">
              <a:extLst>
                <a:ext uri="{FF2B5EF4-FFF2-40B4-BE49-F238E27FC236}">
                  <a16:creationId xmlns:a16="http://schemas.microsoft.com/office/drawing/2014/main" id="{83D6FE33-D4F2-48CB-8B71-61D044A560D6}"/>
                </a:ext>
              </a:extLst>
            </p:cNvPr>
            <p:cNvSpPr txBox="1"/>
            <p:nvPr/>
          </p:nvSpPr>
          <p:spPr>
            <a:xfrm>
              <a:off x="2720921" y="6391523"/>
              <a:ext cx="117339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ld Mangalore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C169E48F-06F4-475D-846E-A359DE6AFBF2}"/>
                </a:ext>
              </a:extLst>
            </p:cNvPr>
            <p:cNvSpPr/>
            <p:nvPr/>
          </p:nvSpPr>
          <p:spPr>
            <a:xfrm>
              <a:off x="854602" y="2263517"/>
              <a:ext cx="34785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Goa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D1E891ED-2648-4B1D-B928-9FE8498328A8}"/>
                </a:ext>
              </a:extLst>
            </p:cNvPr>
            <p:cNvGrpSpPr/>
            <p:nvPr/>
          </p:nvGrpSpPr>
          <p:grpSpPr>
            <a:xfrm>
              <a:off x="717209" y="6426836"/>
              <a:ext cx="1397929" cy="355291"/>
              <a:chOff x="540962" y="6594668"/>
              <a:chExt cx="1397929" cy="355291"/>
            </a:xfrm>
          </p:grpSpPr>
          <p:sp>
            <p:nvSpPr>
              <p:cNvPr id="94" name="TextBox 76">
                <a:extLst>
                  <a:ext uri="{FF2B5EF4-FFF2-40B4-BE49-F238E27FC236}">
                    <a16:creationId xmlns:a16="http://schemas.microsoft.com/office/drawing/2014/main" id="{F883C468-6F53-4337-95BA-1D9469AB7E1B}"/>
                  </a:ext>
                </a:extLst>
              </p:cNvPr>
              <p:cNvSpPr txBox="1"/>
              <p:nvPr/>
            </p:nvSpPr>
            <p:spPr>
              <a:xfrm>
                <a:off x="912969" y="6773881"/>
                <a:ext cx="1025922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Non-major Ports</a:t>
                </a: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62F0E88B-53B9-469B-8EF1-A70B3EFA371A}"/>
                  </a:ext>
                </a:extLst>
              </p:cNvPr>
              <p:cNvSpPr/>
              <p:nvPr/>
            </p:nvSpPr>
            <p:spPr>
              <a:xfrm>
                <a:off x="597425" y="6767079"/>
                <a:ext cx="182880" cy="182880"/>
              </a:xfrm>
              <a:prstGeom prst="ellipse">
                <a:avLst/>
              </a:prstGeom>
              <a:solidFill>
                <a:srgbClr val="D04A02"/>
              </a:solidFill>
              <a:ln w="12700" cap="sq" cmpd="sng" algn="ctr">
                <a:solidFill>
                  <a:srgbClr val="DB536A">
                    <a:lumMod val="50000"/>
                  </a:srgbClr>
                </a:solidFill>
                <a:prstDash val="solid"/>
              </a:ln>
              <a:effectLst/>
            </p:spPr>
            <p:txBody>
              <a:bodyPr vert="horz" wrap="square" lIns="91440" tIns="45720" rIns="91440" bIns="45720" rtlCol="0" anchor="ctr">
                <a:no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kern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29E9BD6D-BE28-4AE4-83B9-83DCD270F6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0962" y="6679306"/>
                <a:ext cx="295807" cy="0"/>
              </a:xfrm>
              <a:prstGeom prst="line">
                <a:avLst/>
              </a:prstGeom>
              <a:noFill/>
              <a:ln w="38100">
                <a:solidFill>
                  <a:srgbClr val="97393D"/>
                </a:solidFill>
              </a:ln>
              <a:effectLst/>
            </p:spPr>
          </p:cxnSp>
          <p:sp>
            <p:nvSpPr>
              <p:cNvPr id="97" name="TextBox 76">
                <a:extLst>
                  <a:ext uri="{FF2B5EF4-FFF2-40B4-BE49-F238E27FC236}">
                    <a16:creationId xmlns:a16="http://schemas.microsoft.com/office/drawing/2014/main" id="{E3BEA0E3-8215-48B1-A1BD-8BB65A6B03BD}"/>
                  </a:ext>
                </a:extLst>
              </p:cNvPr>
              <p:cNvSpPr txBox="1"/>
              <p:nvPr/>
            </p:nvSpPr>
            <p:spPr>
              <a:xfrm>
                <a:off x="912969" y="6594668"/>
                <a:ext cx="589905" cy="1692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dirty="0">
                    <a:latin typeface="Arial" panose="020B0604020202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Coastline</a:t>
                </a:r>
              </a:p>
            </p:txBody>
          </p: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3BC5EDE2-A185-4BCD-94BC-E8362EF182AB}"/>
                </a:ext>
              </a:extLst>
            </p:cNvPr>
            <p:cNvSpPr/>
            <p:nvPr/>
          </p:nvSpPr>
          <p:spPr>
            <a:xfrm>
              <a:off x="870477" y="1768324"/>
              <a:ext cx="4119616" cy="251731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GB" sz="1400" b="1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Arial" panose="020B0604020202020204" pitchFamily="34" charset="0"/>
                </a:rPr>
                <a:t>Major and non-major ports in Karnataka</a:t>
              </a: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FA8E762C-5CD4-41DA-B739-3978A7428572}"/>
                </a:ext>
              </a:extLst>
            </p:cNvPr>
            <p:cNvSpPr/>
            <p:nvPr/>
          </p:nvSpPr>
          <p:spPr>
            <a:xfrm>
              <a:off x="1317233" y="2734929"/>
              <a:ext cx="182880" cy="182880"/>
            </a:xfrm>
            <a:prstGeom prst="ellipse">
              <a:avLst/>
            </a:prstGeom>
            <a:solidFill>
              <a:srgbClr val="D04A02"/>
            </a:solidFill>
            <a:ln w="12700" cap="sq" cmpd="sng" algn="ctr">
              <a:solidFill>
                <a:srgbClr val="DB536A">
                  <a:lumMod val="50000"/>
                </a:srgb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D192A0A0-8D44-4566-9305-664F04083E32}"/>
                </a:ext>
              </a:extLst>
            </p:cNvPr>
            <p:cNvSpPr/>
            <p:nvPr/>
          </p:nvSpPr>
          <p:spPr>
            <a:xfrm>
              <a:off x="2384576" y="6245352"/>
              <a:ext cx="182880" cy="18288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 cap="sq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1" name="TextBox 216">
              <a:extLst>
                <a:ext uri="{FF2B5EF4-FFF2-40B4-BE49-F238E27FC236}">
                  <a16:creationId xmlns:a16="http://schemas.microsoft.com/office/drawing/2014/main" id="{C96443AC-4361-4AFD-841B-F718AC17B8DB}"/>
                </a:ext>
              </a:extLst>
            </p:cNvPr>
            <p:cNvSpPr txBox="1"/>
            <p:nvPr/>
          </p:nvSpPr>
          <p:spPr>
            <a:xfrm>
              <a:off x="2641757" y="6191502"/>
              <a:ext cx="161101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>
                <a:spcAft>
                  <a:spcPts val="600"/>
                </a:spcAft>
                <a:buSzPct val="100000"/>
              </a:pPr>
              <a:r>
                <a:rPr lang="en-GB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ew Mangalore port</a:t>
              </a: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1F339102-74AD-4128-A629-EA947018B081}"/>
                </a:ext>
              </a:extLst>
            </p:cNvPr>
            <p:cNvSpPr/>
            <p:nvPr/>
          </p:nvSpPr>
          <p:spPr>
            <a:xfrm>
              <a:off x="768225" y="6833350"/>
              <a:ext cx="182880" cy="18288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 cap="sq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  <p:txBody>
            <a:bodyPr vert="horz"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GB" sz="14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3" name="TextBox 76">
              <a:extLst>
                <a:ext uri="{FF2B5EF4-FFF2-40B4-BE49-F238E27FC236}">
                  <a16:creationId xmlns:a16="http://schemas.microsoft.com/office/drawing/2014/main" id="{D791BCCF-8C47-4BDE-98DE-4D6F4E91EE2D}"/>
                </a:ext>
              </a:extLst>
            </p:cNvPr>
            <p:cNvSpPr txBox="1"/>
            <p:nvPr/>
          </p:nvSpPr>
          <p:spPr>
            <a:xfrm>
              <a:off x="1078706" y="6820938"/>
              <a:ext cx="719749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Major Ports</a:t>
              </a:r>
            </a:p>
          </p:txBody>
        </p:sp>
      </p:grp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E1F46E8-F9BF-4F56-B56A-32988F3D9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10B72-5E04-4806-A111-7D50FDE18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5</a:t>
            </a:fld>
            <a:endParaRPr lang="en-GB"/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1292D12-8277-4338-B59D-B7E79EE7AAC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i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F762C6-DF00-40CE-BAF2-030A314FC171}"/>
              </a:ext>
            </a:extLst>
          </p:cNvPr>
          <p:cNvSpPr/>
          <p:nvPr/>
        </p:nvSpPr>
        <p:spPr>
          <a:xfrm>
            <a:off x="696036" y="4708477"/>
            <a:ext cx="641445" cy="1501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69BDE8A-1230-43BE-B05E-8617FA55252C}"/>
              </a:ext>
            </a:extLst>
          </p:cNvPr>
          <p:cNvSpPr/>
          <p:nvPr/>
        </p:nvSpPr>
        <p:spPr>
          <a:xfrm>
            <a:off x="452651" y="3073020"/>
            <a:ext cx="641445" cy="1501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442583-8AC5-40EC-B5B8-B52EADE7A513}"/>
              </a:ext>
            </a:extLst>
          </p:cNvPr>
          <p:cNvSpPr/>
          <p:nvPr/>
        </p:nvSpPr>
        <p:spPr>
          <a:xfrm>
            <a:off x="4531057" y="3562065"/>
            <a:ext cx="3671248" cy="75062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# Note: During the period APR – DEC 2019-20,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irectorate of Ports, Karnataka, recorded a growth of 25%  against the corresponding period of the previous fiscal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ACCCE23-316B-4A57-A8E8-34B299C2C379}"/>
              </a:ext>
            </a:extLst>
          </p:cNvPr>
          <p:cNvSpPr/>
          <p:nvPr/>
        </p:nvSpPr>
        <p:spPr>
          <a:xfrm>
            <a:off x="504966" y="6578221"/>
            <a:ext cx="2361064" cy="15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# Source: The Hindu Business Line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03158AB6-6FCD-4756-9141-F987D22639B8}"/>
              </a:ext>
            </a:extLst>
          </p:cNvPr>
          <p:cNvSpPr/>
          <p:nvPr/>
        </p:nvSpPr>
        <p:spPr>
          <a:xfrm>
            <a:off x="4424148" y="3345976"/>
            <a:ext cx="2361064" cy="15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- Provisional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D74F4E70-1594-4E04-B009-C9148E32E08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i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3865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BF9D0B-9C97-4D51-994A-D731ABA38A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998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B6772669-CB98-48D7-8F10-0B4F9CCA8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ln>
            <a:solidFill>
              <a:schemeClr val="accent1"/>
            </a:solidFill>
            <a:prstDash val="sysDash"/>
          </a:ln>
        </p:spPr>
        <p:txBody>
          <a:bodyPr vert="horz"/>
          <a:lstStyle/>
          <a:p>
            <a:pPr algn="ctr"/>
            <a:r>
              <a:rPr lang="en-GB" sz="2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time board focuses on 5 areas for development of maritime sector in the Sta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62A0AC1-F693-4A00-A85F-C9FEF899EAA5}"/>
              </a:ext>
            </a:extLst>
          </p:cNvPr>
          <p:cNvSpPr/>
          <p:nvPr/>
        </p:nvSpPr>
        <p:spPr bwMode="ltGray">
          <a:xfrm rot="5400000">
            <a:off x="8174492" y="-552605"/>
            <a:ext cx="397440" cy="62841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vert="vert270" tIns="91440" bIns="91440" rtlCol="0" anchor="ctr">
            <a:noAutofit/>
          </a:bodyPr>
          <a:lstStyle/>
          <a:p>
            <a:pPr lvl="0" defTabSz="762000" eaLnBrk="0" hangingPunct="0">
              <a:spcBef>
                <a:spcPct val="40000"/>
              </a:spcBef>
              <a:buClr>
                <a:srgbClr val="DC6900"/>
              </a:buClr>
              <a:buSzPct val="85000"/>
              <a:tabLst>
                <a:tab pos="1590675" algn="l"/>
                <a:tab pos="2047875" algn="r"/>
              </a:tabLst>
              <a:defRPr/>
            </a:pPr>
            <a:r>
              <a:rPr lang="en-GB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 facilities for existing carg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07C960E-EE8C-451C-B3C8-1A34D5B57F38}"/>
              </a:ext>
            </a:extLst>
          </p:cNvPr>
          <p:cNvSpPr/>
          <p:nvPr/>
        </p:nvSpPr>
        <p:spPr bwMode="ltGray">
          <a:xfrm rot="5400000">
            <a:off x="8133490" y="396823"/>
            <a:ext cx="479443" cy="62841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vert="vert270" tIns="91440" bIns="91440" rtlCol="0" anchor="ctr">
            <a:noAutofit/>
          </a:bodyPr>
          <a:lstStyle/>
          <a:p>
            <a:pPr lvl="0" defTabSz="762000" eaLnBrk="0" hangingPunct="0">
              <a:spcBef>
                <a:spcPct val="40000"/>
              </a:spcBef>
              <a:buClr>
                <a:srgbClr val="DC6900"/>
              </a:buClr>
              <a:buSzPct val="85000"/>
              <a:tabLst>
                <a:tab pos="1590675" algn="l"/>
                <a:tab pos="2047875" algn="r"/>
              </a:tabLst>
              <a:defRPr/>
            </a:pPr>
            <a:r>
              <a:rPr lang="en-GB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stal cargo through port based storage cum distribution centr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5E8D82-9058-4408-9187-8A7A02A8F266}"/>
              </a:ext>
            </a:extLst>
          </p:cNvPr>
          <p:cNvSpPr/>
          <p:nvPr/>
        </p:nvSpPr>
        <p:spPr bwMode="ltGray">
          <a:xfrm rot="5400000">
            <a:off x="8174492" y="2172676"/>
            <a:ext cx="397440" cy="62841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vert="vert270" tIns="91440" bIns="91440" rtlCol="0" anchor="ctr">
            <a:noAutofit/>
          </a:bodyPr>
          <a:lstStyle/>
          <a:p>
            <a:pPr lvl="0" defTabSz="762000" eaLnBrk="0" hangingPunct="0">
              <a:spcBef>
                <a:spcPct val="40000"/>
              </a:spcBef>
              <a:buClr>
                <a:srgbClr val="DC6900"/>
              </a:buClr>
              <a:buSzPct val="85000"/>
              <a:tabLst>
                <a:tab pos="1590675" algn="l"/>
                <a:tab pos="2047875" algn="r"/>
              </a:tabLst>
              <a:defRPr/>
            </a:pPr>
            <a:r>
              <a:rPr lang="en-GB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of alternate hinterland connectivity mod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F55EBC6-B6A8-4FBA-864E-AE8C2F24DC5C}"/>
              </a:ext>
            </a:extLst>
          </p:cNvPr>
          <p:cNvSpPr/>
          <p:nvPr/>
        </p:nvSpPr>
        <p:spPr bwMode="ltGray">
          <a:xfrm rot="5400000">
            <a:off x="8174492" y="1264249"/>
            <a:ext cx="397440" cy="62841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vert="vert270" tIns="91440" bIns="91440" rtlCol="0" anchor="ctr">
            <a:noAutofit/>
          </a:bodyPr>
          <a:lstStyle/>
          <a:p>
            <a:pPr lvl="0" defTabSz="762000" eaLnBrk="0" hangingPunct="0">
              <a:spcBef>
                <a:spcPct val="40000"/>
              </a:spcBef>
              <a:buClr>
                <a:srgbClr val="DC6900"/>
              </a:buClr>
              <a:buSzPct val="85000"/>
              <a:tabLst>
                <a:tab pos="1590675" algn="l"/>
                <a:tab pos="2047875" algn="r"/>
              </a:tabLst>
              <a:defRPr/>
            </a:pPr>
            <a:r>
              <a:rPr lang="en-GB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ouraging development of port based industr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C492998-045E-48F9-9093-9094115E281A}"/>
              </a:ext>
            </a:extLst>
          </p:cNvPr>
          <p:cNvSpPr/>
          <p:nvPr/>
        </p:nvSpPr>
        <p:spPr bwMode="ltGray">
          <a:xfrm rot="5400000">
            <a:off x="8174492" y="3081103"/>
            <a:ext cx="397440" cy="62841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vert="vert270" tIns="91440" bIns="91440" rtlCol="0" anchor="ctr">
            <a:noAutofit/>
          </a:bodyPr>
          <a:lstStyle/>
          <a:p>
            <a:pPr lvl="0" defTabSz="762000" eaLnBrk="0" hangingPunct="0">
              <a:spcBef>
                <a:spcPct val="40000"/>
              </a:spcBef>
              <a:buClr>
                <a:srgbClr val="DC6900"/>
              </a:buClr>
              <a:buSzPct val="85000"/>
              <a:tabLst>
                <a:tab pos="1590675" algn="l"/>
                <a:tab pos="2047875" algn="r"/>
              </a:tabLst>
              <a:defRPr/>
            </a:pPr>
            <a:r>
              <a:rPr lang="en-GB" sz="16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time led tourism</a:t>
            </a:r>
          </a:p>
        </p:txBody>
      </p:sp>
      <p:sp>
        <p:nvSpPr>
          <p:cNvPr id="23" name="Freeform 14">
            <a:extLst>
              <a:ext uri="{FF2B5EF4-FFF2-40B4-BE49-F238E27FC236}">
                <a16:creationId xmlns:a16="http://schemas.microsoft.com/office/drawing/2014/main" id="{3313E3EF-6CFD-4D52-BFE3-BE79A28C99A5}"/>
              </a:ext>
            </a:extLst>
          </p:cNvPr>
          <p:cNvSpPr>
            <a:spLocks noChangeAspect="1"/>
          </p:cNvSpPr>
          <p:nvPr/>
        </p:nvSpPr>
        <p:spPr bwMode="auto">
          <a:xfrm>
            <a:off x="3968276" y="4139430"/>
            <a:ext cx="1083863" cy="504137"/>
          </a:xfrm>
          <a:custGeom>
            <a:avLst/>
            <a:gdLst>
              <a:gd name="T0" fmla="*/ 404637 w 126"/>
              <a:gd name="T1" fmla="*/ 280077 h 136"/>
              <a:gd name="T2" fmla="*/ 391584 w 126"/>
              <a:gd name="T3" fmla="*/ 280077 h 136"/>
              <a:gd name="T4" fmla="*/ 391584 w 126"/>
              <a:gd name="T5" fmla="*/ 221456 h 136"/>
              <a:gd name="T6" fmla="*/ 378531 w 126"/>
              <a:gd name="T7" fmla="*/ 214943 h 136"/>
              <a:gd name="T8" fmla="*/ 296951 w 126"/>
              <a:gd name="T9" fmla="*/ 280077 h 136"/>
              <a:gd name="T10" fmla="*/ 296951 w 126"/>
              <a:gd name="T11" fmla="*/ 221456 h 136"/>
              <a:gd name="T12" fmla="*/ 283898 w 126"/>
              <a:gd name="T13" fmla="*/ 214943 h 136"/>
              <a:gd name="T14" fmla="*/ 202318 w 126"/>
              <a:gd name="T15" fmla="*/ 280077 h 136"/>
              <a:gd name="T16" fmla="*/ 202318 w 126"/>
              <a:gd name="T17" fmla="*/ 221456 h 136"/>
              <a:gd name="T18" fmla="*/ 189266 w 126"/>
              <a:gd name="T19" fmla="*/ 214943 h 136"/>
              <a:gd name="T20" fmla="*/ 104422 w 126"/>
              <a:gd name="T21" fmla="*/ 280077 h 136"/>
              <a:gd name="T22" fmla="*/ 94633 w 126"/>
              <a:gd name="T23" fmla="*/ 6513 h 136"/>
              <a:gd name="T24" fmla="*/ 88106 w 126"/>
              <a:gd name="T25" fmla="*/ 0 h 136"/>
              <a:gd name="T26" fmla="*/ 42422 w 126"/>
              <a:gd name="T27" fmla="*/ 0 h 136"/>
              <a:gd name="T28" fmla="*/ 35895 w 126"/>
              <a:gd name="T29" fmla="*/ 6513 h 136"/>
              <a:gd name="T30" fmla="*/ 22842 w 126"/>
              <a:gd name="T31" fmla="*/ 280077 h 136"/>
              <a:gd name="T32" fmla="*/ 6526 w 126"/>
              <a:gd name="T33" fmla="*/ 280077 h 136"/>
              <a:gd name="T34" fmla="*/ 0 w 126"/>
              <a:gd name="T35" fmla="*/ 286590 h 136"/>
              <a:gd name="T36" fmla="*/ 0 w 126"/>
              <a:gd name="T37" fmla="*/ 436399 h 136"/>
              <a:gd name="T38" fmla="*/ 6526 w 126"/>
              <a:gd name="T39" fmla="*/ 442912 h 136"/>
              <a:gd name="T40" fmla="*/ 404637 w 126"/>
              <a:gd name="T41" fmla="*/ 442912 h 136"/>
              <a:gd name="T42" fmla="*/ 411163 w 126"/>
              <a:gd name="T43" fmla="*/ 436399 h 136"/>
              <a:gd name="T44" fmla="*/ 411163 w 126"/>
              <a:gd name="T45" fmla="*/ 286590 h 136"/>
              <a:gd name="T46" fmla="*/ 404637 w 126"/>
              <a:gd name="T47" fmla="*/ 280077 h 1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26" h="136">
                <a:moveTo>
                  <a:pt x="124" y="86"/>
                </a:moveTo>
                <a:cubicBezTo>
                  <a:pt x="120" y="86"/>
                  <a:pt x="120" y="86"/>
                  <a:pt x="120" y="86"/>
                </a:cubicBezTo>
                <a:cubicBezTo>
                  <a:pt x="120" y="68"/>
                  <a:pt x="120" y="68"/>
                  <a:pt x="120" y="68"/>
                </a:cubicBezTo>
                <a:cubicBezTo>
                  <a:pt x="120" y="67"/>
                  <a:pt x="118" y="65"/>
                  <a:pt x="116" y="66"/>
                </a:cubicBezTo>
                <a:cubicBezTo>
                  <a:pt x="91" y="86"/>
                  <a:pt x="91" y="86"/>
                  <a:pt x="91" y="86"/>
                </a:cubicBezTo>
                <a:cubicBezTo>
                  <a:pt x="91" y="68"/>
                  <a:pt x="91" y="68"/>
                  <a:pt x="91" y="68"/>
                </a:cubicBezTo>
                <a:cubicBezTo>
                  <a:pt x="91" y="67"/>
                  <a:pt x="89" y="65"/>
                  <a:pt x="87" y="66"/>
                </a:cubicBezTo>
                <a:cubicBezTo>
                  <a:pt x="62" y="86"/>
                  <a:pt x="62" y="86"/>
                  <a:pt x="62" y="86"/>
                </a:cubicBezTo>
                <a:cubicBezTo>
                  <a:pt x="62" y="68"/>
                  <a:pt x="62" y="68"/>
                  <a:pt x="62" y="68"/>
                </a:cubicBezTo>
                <a:cubicBezTo>
                  <a:pt x="62" y="67"/>
                  <a:pt x="59" y="65"/>
                  <a:pt x="58" y="66"/>
                </a:cubicBezTo>
                <a:cubicBezTo>
                  <a:pt x="32" y="86"/>
                  <a:pt x="32" y="86"/>
                  <a:pt x="32" y="86"/>
                </a:cubicBezTo>
                <a:cubicBezTo>
                  <a:pt x="29" y="2"/>
                  <a:pt x="29" y="2"/>
                  <a:pt x="29" y="2"/>
                </a:cubicBezTo>
                <a:cubicBezTo>
                  <a:pt x="29" y="1"/>
                  <a:pt x="28" y="0"/>
                  <a:pt x="27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2" y="0"/>
                  <a:pt x="11" y="1"/>
                  <a:pt x="11" y="2"/>
                </a:cubicBezTo>
                <a:cubicBezTo>
                  <a:pt x="7" y="86"/>
                  <a:pt x="7" y="86"/>
                  <a:pt x="7" y="86"/>
                </a:cubicBezTo>
                <a:cubicBezTo>
                  <a:pt x="2" y="86"/>
                  <a:pt x="2" y="86"/>
                  <a:pt x="2" y="86"/>
                </a:cubicBezTo>
                <a:cubicBezTo>
                  <a:pt x="1" y="86"/>
                  <a:pt x="0" y="87"/>
                  <a:pt x="0" y="88"/>
                </a:cubicBezTo>
                <a:cubicBezTo>
                  <a:pt x="0" y="134"/>
                  <a:pt x="0" y="134"/>
                  <a:pt x="0" y="134"/>
                </a:cubicBezTo>
                <a:cubicBezTo>
                  <a:pt x="0" y="135"/>
                  <a:pt x="1" y="136"/>
                  <a:pt x="2" y="136"/>
                </a:cubicBezTo>
                <a:cubicBezTo>
                  <a:pt x="124" y="136"/>
                  <a:pt x="124" y="136"/>
                  <a:pt x="124" y="136"/>
                </a:cubicBezTo>
                <a:cubicBezTo>
                  <a:pt x="125" y="136"/>
                  <a:pt x="126" y="135"/>
                  <a:pt x="126" y="134"/>
                </a:cubicBezTo>
                <a:cubicBezTo>
                  <a:pt x="126" y="88"/>
                  <a:pt x="126" y="88"/>
                  <a:pt x="126" y="88"/>
                </a:cubicBezTo>
                <a:cubicBezTo>
                  <a:pt x="126" y="87"/>
                  <a:pt x="125" y="86"/>
                  <a:pt x="124" y="8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EFCDF99-3D4B-44C1-8F68-91E5B0A4DF14}"/>
              </a:ext>
            </a:extLst>
          </p:cNvPr>
          <p:cNvGrpSpPr/>
          <p:nvPr/>
        </p:nvGrpSpPr>
        <p:grpSpPr>
          <a:xfrm>
            <a:off x="4125328" y="5894048"/>
            <a:ext cx="1017847" cy="575146"/>
            <a:chOff x="4347459" y="2774740"/>
            <a:chExt cx="399099" cy="363806"/>
          </a:xfrm>
          <a:solidFill>
            <a:schemeClr val="tx2"/>
          </a:solidFill>
        </p:grpSpPr>
        <p:sp>
          <p:nvSpPr>
            <p:cNvPr id="25" name="Freeform 36">
              <a:extLst>
                <a:ext uri="{FF2B5EF4-FFF2-40B4-BE49-F238E27FC236}">
                  <a16:creationId xmlns:a16="http://schemas.microsoft.com/office/drawing/2014/main" id="{0D5B0B44-2307-4936-A5B0-C9540C613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976" y="2834469"/>
              <a:ext cx="137105" cy="240275"/>
            </a:xfrm>
            <a:custGeom>
              <a:avLst/>
              <a:gdLst>
                <a:gd name="T0" fmla="*/ 302 w 302"/>
                <a:gd name="T1" fmla="*/ 495 h 529"/>
                <a:gd name="T2" fmla="*/ 256 w 302"/>
                <a:gd name="T3" fmla="*/ 0 h 529"/>
                <a:gd name="T4" fmla="*/ 256 w 302"/>
                <a:gd name="T5" fmla="*/ 0 h 529"/>
                <a:gd name="T6" fmla="*/ 256 w 302"/>
                <a:gd name="T7" fmla="*/ 18 h 529"/>
                <a:gd name="T8" fmla="*/ 255 w 302"/>
                <a:gd name="T9" fmla="*/ 36 h 529"/>
                <a:gd name="T10" fmla="*/ 253 w 302"/>
                <a:gd name="T11" fmla="*/ 55 h 529"/>
                <a:gd name="T12" fmla="*/ 249 w 302"/>
                <a:gd name="T13" fmla="*/ 75 h 529"/>
                <a:gd name="T14" fmla="*/ 240 w 302"/>
                <a:gd name="T15" fmla="*/ 113 h 529"/>
                <a:gd name="T16" fmla="*/ 228 w 302"/>
                <a:gd name="T17" fmla="*/ 153 h 529"/>
                <a:gd name="T18" fmla="*/ 213 w 302"/>
                <a:gd name="T19" fmla="*/ 194 h 529"/>
                <a:gd name="T20" fmla="*/ 196 w 302"/>
                <a:gd name="T21" fmla="*/ 234 h 529"/>
                <a:gd name="T22" fmla="*/ 178 w 302"/>
                <a:gd name="T23" fmla="*/ 275 h 529"/>
                <a:gd name="T24" fmla="*/ 158 w 302"/>
                <a:gd name="T25" fmla="*/ 313 h 529"/>
                <a:gd name="T26" fmla="*/ 138 w 302"/>
                <a:gd name="T27" fmla="*/ 351 h 529"/>
                <a:gd name="T28" fmla="*/ 116 w 302"/>
                <a:gd name="T29" fmla="*/ 386 h 529"/>
                <a:gd name="T30" fmla="*/ 94 w 302"/>
                <a:gd name="T31" fmla="*/ 418 h 529"/>
                <a:gd name="T32" fmla="*/ 74 w 302"/>
                <a:gd name="T33" fmla="*/ 448 h 529"/>
                <a:gd name="T34" fmla="*/ 53 w 302"/>
                <a:gd name="T35" fmla="*/ 475 h 529"/>
                <a:gd name="T36" fmla="*/ 34 w 302"/>
                <a:gd name="T37" fmla="*/ 497 h 529"/>
                <a:gd name="T38" fmla="*/ 16 w 302"/>
                <a:gd name="T39" fmla="*/ 516 h 529"/>
                <a:gd name="T40" fmla="*/ 0 w 302"/>
                <a:gd name="T41" fmla="*/ 529 h 529"/>
                <a:gd name="T42" fmla="*/ 302 w 302"/>
                <a:gd name="T43" fmla="*/ 495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2" h="529">
                  <a:moveTo>
                    <a:pt x="302" y="495"/>
                  </a:moveTo>
                  <a:lnTo>
                    <a:pt x="256" y="0"/>
                  </a:lnTo>
                  <a:lnTo>
                    <a:pt x="256" y="0"/>
                  </a:lnTo>
                  <a:lnTo>
                    <a:pt x="256" y="18"/>
                  </a:lnTo>
                  <a:lnTo>
                    <a:pt x="255" y="36"/>
                  </a:lnTo>
                  <a:lnTo>
                    <a:pt x="253" y="55"/>
                  </a:lnTo>
                  <a:lnTo>
                    <a:pt x="249" y="75"/>
                  </a:lnTo>
                  <a:lnTo>
                    <a:pt x="240" y="113"/>
                  </a:lnTo>
                  <a:lnTo>
                    <a:pt x="228" y="153"/>
                  </a:lnTo>
                  <a:lnTo>
                    <a:pt x="213" y="194"/>
                  </a:lnTo>
                  <a:lnTo>
                    <a:pt x="196" y="234"/>
                  </a:lnTo>
                  <a:lnTo>
                    <a:pt x="178" y="275"/>
                  </a:lnTo>
                  <a:lnTo>
                    <a:pt x="158" y="313"/>
                  </a:lnTo>
                  <a:lnTo>
                    <a:pt x="138" y="351"/>
                  </a:lnTo>
                  <a:lnTo>
                    <a:pt x="116" y="386"/>
                  </a:lnTo>
                  <a:lnTo>
                    <a:pt x="94" y="418"/>
                  </a:lnTo>
                  <a:lnTo>
                    <a:pt x="74" y="448"/>
                  </a:lnTo>
                  <a:lnTo>
                    <a:pt x="53" y="475"/>
                  </a:lnTo>
                  <a:lnTo>
                    <a:pt x="34" y="497"/>
                  </a:lnTo>
                  <a:lnTo>
                    <a:pt x="16" y="516"/>
                  </a:lnTo>
                  <a:lnTo>
                    <a:pt x="0" y="529"/>
                  </a:lnTo>
                  <a:lnTo>
                    <a:pt x="302" y="495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defTabSz="871196"/>
              <a:endParaRPr lang="en-GB" sz="171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37">
              <a:extLst>
                <a:ext uri="{FF2B5EF4-FFF2-40B4-BE49-F238E27FC236}">
                  <a16:creationId xmlns:a16="http://schemas.microsoft.com/office/drawing/2014/main" id="{402089E5-62BA-448E-B1C7-64F1E045B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357" y="2774740"/>
              <a:ext cx="198192" cy="312221"/>
            </a:xfrm>
            <a:custGeom>
              <a:avLst/>
              <a:gdLst>
                <a:gd name="T0" fmla="*/ 421 w 437"/>
                <a:gd name="T1" fmla="*/ 646 h 691"/>
                <a:gd name="T2" fmla="*/ 421 w 437"/>
                <a:gd name="T3" fmla="*/ 646 h 691"/>
                <a:gd name="T4" fmla="*/ 428 w 437"/>
                <a:gd name="T5" fmla="*/ 626 h 691"/>
                <a:gd name="T6" fmla="*/ 433 w 437"/>
                <a:gd name="T7" fmla="*/ 605 h 691"/>
                <a:gd name="T8" fmla="*/ 435 w 437"/>
                <a:gd name="T9" fmla="*/ 584 h 691"/>
                <a:gd name="T10" fmla="*/ 437 w 437"/>
                <a:gd name="T11" fmla="*/ 562 h 691"/>
                <a:gd name="T12" fmla="*/ 435 w 437"/>
                <a:gd name="T13" fmla="*/ 539 h 691"/>
                <a:gd name="T14" fmla="*/ 432 w 437"/>
                <a:gd name="T15" fmla="*/ 516 h 691"/>
                <a:gd name="T16" fmla="*/ 427 w 437"/>
                <a:gd name="T17" fmla="*/ 493 h 691"/>
                <a:gd name="T18" fmla="*/ 420 w 437"/>
                <a:gd name="T19" fmla="*/ 470 h 691"/>
                <a:gd name="T20" fmla="*/ 411 w 437"/>
                <a:gd name="T21" fmla="*/ 447 h 691"/>
                <a:gd name="T22" fmla="*/ 402 w 437"/>
                <a:gd name="T23" fmla="*/ 423 h 691"/>
                <a:gd name="T24" fmla="*/ 391 w 437"/>
                <a:gd name="T25" fmla="*/ 400 h 691"/>
                <a:gd name="T26" fmla="*/ 378 w 437"/>
                <a:gd name="T27" fmla="*/ 377 h 691"/>
                <a:gd name="T28" fmla="*/ 365 w 437"/>
                <a:gd name="T29" fmla="*/ 355 h 691"/>
                <a:gd name="T30" fmla="*/ 349 w 437"/>
                <a:gd name="T31" fmla="*/ 330 h 691"/>
                <a:gd name="T32" fmla="*/ 333 w 437"/>
                <a:gd name="T33" fmla="*/ 308 h 691"/>
                <a:gd name="T34" fmla="*/ 317 w 437"/>
                <a:gd name="T35" fmla="*/ 286 h 691"/>
                <a:gd name="T36" fmla="*/ 298 w 437"/>
                <a:gd name="T37" fmla="*/ 263 h 691"/>
                <a:gd name="T38" fmla="*/ 280 w 437"/>
                <a:gd name="T39" fmla="*/ 241 h 691"/>
                <a:gd name="T40" fmla="*/ 242 w 437"/>
                <a:gd name="T41" fmla="*/ 199 h 691"/>
                <a:gd name="T42" fmla="*/ 201 w 437"/>
                <a:gd name="T43" fmla="*/ 158 h 691"/>
                <a:gd name="T44" fmla="*/ 160 w 437"/>
                <a:gd name="T45" fmla="*/ 120 h 691"/>
                <a:gd name="T46" fmla="*/ 118 w 437"/>
                <a:gd name="T47" fmla="*/ 85 h 691"/>
                <a:gd name="T48" fmla="*/ 77 w 437"/>
                <a:gd name="T49" fmla="*/ 52 h 691"/>
                <a:gd name="T50" fmla="*/ 38 w 437"/>
                <a:gd name="T51" fmla="*/ 24 h 691"/>
                <a:gd name="T52" fmla="*/ 0 w 437"/>
                <a:gd name="T53" fmla="*/ 0 h 691"/>
                <a:gd name="T54" fmla="*/ 0 w 437"/>
                <a:gd name="T55" fmla="*/ 0 h 691"/>
                <a:gd name="T56" fmla="*/ 40 w 437"/>
                <a:gd name="T57" fmla="*/ 99 h 691"/>
                <a:gd name="T58" fmla="*/ 40 w 437"/>
                <a:gd name="T59" fmla="*/ 99 h 691"/>
                <a:gd name="T60" fmla="*/ 51 w 437"/>
                <a:gd name="T61" fmla="*/ 129 h 691"/>
                <a:gd name="T62" fmla="*/ 62 w 437"/>
                <a:gd name="T63" fmla="*/ 161 h 691"/>
                <a:gd name="T64" fmla="*/ 73 w 437"/>
                <a:gd name="T65" fmla="*/ 194 h 691"/>
                <a:gd name="T66" fmla="*/ 82 w 437"/>
                <a:gd name="T67" fmla="*/ 229 h 691"/>
                <a:gd name="T68" fmla="*/ 91 w 437"/>
                <a:gd name="T69" fmla="*/ 264 h 691"/>
                <a:gd name="T70" fmla="*/ 98 w 437"/>
                <a:gd name="T71" fmla="*/ 302 h 691"/>
                <a:gd name="T72" fmla="*/ 103 w 437"/>
                <a:gd name="T73" fmla="*/ 340 h 691"/>
                <a:gd name="T74" fmla="*/ 106 w 437"/>
                <a:gd name="T75" fmla="*/ 379 h 691"/>
                <a:gd name="T76" fmla="*/ 107 w 437"/>
                <a:gd name="T77" fmla="*/ 417 h 691"/>
                <a:gd name="T78" fmla="*/ 107 w 437"/>
                <a:gd name="T79" fmla="*/ 457 h 691"/>
                <a:gd name="T80" fmla="*/ 104 w 437"/>
                <a:gd name="T81" fmla="*/ 497 h 691"/>
                <a:gd name="T82" fmla="*/ 100 w 437"/>
                <a:gd name="T83" fmla="*/ 516 h 691"/>
                <a:gd name="T84" fmla="*/ 97 w 437"/>
                <a:gd name="T85" fmla="*/ 535 h 691"/>
                <a:gd name="T86" fmla="*/ 92 w 437"/>
                <a:gd name="T87" fmla="*/ 556 h 691"/>
                <a:gd name="T88" fmla="*/ 87 w 437"/>
                <a:gd name="T89" fmla="*/ 575 h 691"/>
                <a:gd name="T90" fmla="*/ 81 w 437"/>
                <a:gd name="T91" fmla="*/ 594 h 691"/>
                <a:gd name="T92" fmla="*/ 74 w 437"/>
                <a:gd name="T93" fmla="*/ 614 h 691"/>
                <a:gd name="T94" fmla="*/ 65 w 437"/>
                <a:gd name="T95" fmla="*/ 633 h 691"/>
                <a:gd name="T96" fmla="*/ 57 w 437"/>
                <a:gd name="T97" fmla="*/ 652 h 691"/>
                <a:gd name="T98" fmla="*/ 46 w 437"/>
                <a:gd name="T99" fmla="*/ 671 h 691"/>
                <a:gd name="T100" fmla="*/ 35 w 437"/>
                <a:gd name="T101" fmla="*/ 691 h 691"/>
                <a:gd name="T102" fmla="*/ 421 w 437"/>
                <a:gd name="T103" fmla="*/ 646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7" h="691">
                  <a:moveTo>
                    <a:pt x="421" y="646"/>
                  </a:moveTo>
                  <a:lnTo>
                    <a:pt x="421" y="646"/>
                  </a:lnTo>
                  <a:lnTo>
                    <a:pt x="428" y="626"/>
                  </a:lnTo>
                  <a:lnTo>
                    <a:pt x="433" y="605"/>
                  </a:lnTo>
                  <a:lnTo>
                    <a:pt x="435" y="584"/>
                  </a:lnTo>
                  <a:lnTo>
                    <a:pt x="437" y="562"/>
                  </a:lnTo>
                  <a:lnTo>
                    <a:pt x="435" y="539"/>
                  </a:lnTo>
                  <a:lnTo>
                    <a:pt x="432" y="516"/>
                  </a:lnTo>
                  <a:lnTo>
                    <a:pt x="427" y="493"/>
                  </a:lnTo>
                  <a:lnTo>
                    <a:pt x="420" y="470"/>
                  </a:lnTo>
                  <a:lnTo>
                    <a:pt x="411" y="447"/>
                  </a:lnTo>
                  <a:lnTo>
                    <a:pt x="402" y="423"/>
                  </a:lnTo>
                  <a:lnTo>
                    <a:pt x="391" y="400"/>
                  </a:lnTo>
                  <a:lnTo>
                    <a:pt x="378" y="377"/>
                  </a:lnTo>
                  <a:lnTo>
                    <a:pt x="365" y="355"/>
                  </a:lnTo>
                  <a:lnTo>
                    <a:pt x="349" y="330"/>
                  </a:lnTo>
                  <a:lnTo>
                    <a:pt x="333" y="308"/>
                  </a:lnTo>
                  <a:lnTo>
                    <a:pt x="317" y="286"/>
                  </a:lnTo>
                  <a:lnTo>
                    <a:pt x="298" y="263"/>
                  </a:lnTo>
                  <a:lnTo>
                    <a:pt x="280" y="241"/>
                  </a:lnTo>
                  <a:lnTo>
                    <a:pt x="242" y="199"/>
                  </a:lnTo>
                  <a:lnTo>
                    <a:pt x="201" y="158"/>
                  </a:lnTo>
                  <a:lnTo>
                    <a:pt x="160" y="120"/>
                  </a:lnTo>
                  <a:lnTo>
                    <a:pt x="118" y="85"/>
                  </a:lnTo>
                  <a:lnTo>
                    <a:pt x="77" y="52"/>
                  </a:lnTo>
                  <a:lnTo>
                    <a:pt x="38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51" y="129"/>
                  </a:lnTo>
                  <a:lnTo>
                    <a:pt x="62" y="161"/>
                  </a:lnTo>
                  <a:lnTo>
                    <a:pt x="73" y="194"/>
                  </a:lnTo>
                  <a:lnTo>
                    <a:pt x="82" y="229"/>
                  </a:lnTo>
                  <a:lnTo>
                    <a:pt x="91" y="264"/>
                  </a:lnTo>
                  <a:lnTo>
                    <a:pt x="98" y="302"/>
                  </a:lnTo>
                  <a:lnTo>
                    <a:pt x="103" y="340"/>
                  </a:lnTo>
                  <a:lnTo>
                    <a:pt x="106" y="379"/>
                  </a:lnTo>
                  <a:lnTo>
                    <a:pt x="107" y="417"/>
                  </a:lnTo>
                  <a:lnTo>
                    <a:pt x="107" y="457"/>
                  </a:lnTo>
                  <a:lnTo>
                    <a:pt x="104" y="497"/>
                  </a:lnTo>
                  <a:lnTo>
                    <a:pt x="100" y="516"/>
                  </a:lnTo>
                  <a:lnTo>
                    <a:pt x="97" y="535"/>
                  </a:lnTo>
                  <a:lnTo>
                    <a:pt x="92" y="556"/>
                  </a:lnTo>
                  <a:lnTo>
                    <a:pt x="87" y="575"/>
                  </a:lnTo>
                  <a:lnTo>
                    <a:pt x="81" y="594"/>
                  </a:lnTo>
                  <a:lnTo>
                    <a:pt x="74" y="614"/>
                  </a:lnTo>
                  <a:lnTo>
                    <a:pt x="65" y="633"/>
                  </a:lnTo>
                  <a:lnTo>
                    <a:pt x="57" y="652"/>
                  </a:lnTo>
                  <a:lnTo>
                    <a:pt x="46" y="671"/>
                  </a:lnTo>
                  <a:lnTo>
                    <a:pt x="35" y="691"/>
                  </a:lnTo>
                  <a:lnTo>
                    <a:pt x="421" y="646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defTabSz="871196"/>
              <a:endParaRPr lang="en-GB" sz="171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38">
              <a:extLst>
                <a:ext uri="{FF2B5EF4-FFF2-40B4-BE49-F238E27FC236}">
                  <a16:creationId xmlns:a16="http://schemas.microsoft.com/office/drawing/2014/main" id="{2191869F-9F60-438C-A595-FEB416B62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7145" y="2788315"/>
              <a:ext cx="188690" cy="297289"/>
            </a:xfrm>
            <a:custGeom>
              <a:avLst/>
              <a:gdLst>
                <a:gd name="T0" fmla="*/ 401 w 416"/>
                <a:gd name="T1" fmla="*/ 616 h 658"/>
                <a:gd name="T2" fmla="*/ 401 w 416"/>
                <a:gd name="T3" fmla="*/ 616 h 658"/>
                <a:gd name="T4" fmla="*/ 408 w 416"/>
                <a:gd name="T5" fmla="*/ 597 h 658"/>
                <a:gd name="T6" fmla="*/ 412 w 416"/>
                <a:gd name="T7" fmla="*/ 576 h 658"/>
                <a:gd name="T8" fmla="*/ 416 w 416"/>
                <a:gd name="T9" fmla="*/ 556 h 658"/>
                <a:gd name="T10" fmla="*/ 416 w 416"/>
                <a:gd name="T11" fmla="*/ 535 h 658"/>
                <a:gd name="T12" fmla="*/ 414 w 416"/>
                <a:gd name="T13" fmla="*/ 514 h 658"/>
                <a:gd name="T14" fmla="*/ 412 w 416"/>
                <a:gd name="T15" fmla="*/ 492 h 658"/>
                <a:gd name="T16" fmla="*/ 407 w 416"/>
                <a:gd name="T17" fmla="*/ 470 h 658"/>
                <a:gd name="T18" fmla="*/ 400 w 416"/>
                <a:gd name="T19" fmla="*/ 449 h 658"/>
                <a:gd name="T20" fmla="*/ 393 w 416"/>
                <a:gd name="T21" fmla="*/ 426 h 658"/>
                <a:gd name="T22" fmla="*/ 383 w 416"/>
                <a:gd name="T23" fmla="*/ 404 h 658"/>
                <a:gd name="T24" fmla="*/ 372 w 416"/>
                <a:gd name="T25" fmla="*/ 382 h 658"/>
                <a:gd name="T26" fmla="*/ 360 w 416"/>
                <a:gd name="T27" fmla="*/ 360 h 658"/>
                <a:gd name="T28" fmla="*/ 347 w 416"/>
                <a:gd name="T29" fmla="*/ 338 h 658"/>
                <a:gd name="T30" fmla="*/ 333 w 416"/>
                <a:gd name="T31" fmla="*/ 316 h 658"/>
                <a:gd name="T32" fmla="*/ 317 w 416"/>
                <a:gd name="T33" fmla="*/ 294 h 658"/>
                <a:gd name="T34" fmla="*/ 302 w 416"/>
                <a:gd name="T35" fmla="*/ 273 h 658"/>
                <a:gd name="T36" fmla="*/ 285 w 416"/>
                <a:gd name="T37" fmla="*/ 251 h 658"/>
                <a:gd name="T38" fmla="*/ 267 w 416"/>
                <a:gd name="T39" fmla="*/ 231 h 658"/>
                <a:gd name="T40" fmla="*/ 231 w 416"/>
                <a:gd name="T41" fmla="*/ 190 h 658"/>
                <a:gd name="T42" fmla="*/ 192 w 416"/>
                <a:gd name="T43" fmla="*/ 151 h 658"/>
                <a:gd name="T44" fmla="*/ 152 w 416"/>
                <a:gd name="T45" fmla="*/ 115 h 658"/>
                <a:gd name="T46" fmla="*/ 113 w 416"/>
                <a:gd name="T47" fmla="*/ 81 h 658"/>
                <a:gd name="T48" fmla="*/ 73 w 416"/>
                <a:gd name="T49" fmla="*/ 51 h 658"/>
                <a:gd name="T50" fmla="*/ 36 w 416"/>
                <a:gd name="T51" fmla="*/ 23 h 658"/>
                <a:gd name="T52" fmla="*/ 0 w 416"/>
                <a:gd name="T53" fmla="*/ 0 h 658"/>
                <a:gd name="T54" fmla="*/ 0 w 416"/>
                <a:gd name="T55" fmla="*/ 0 h 658"/>
                <a:gd name="T56" fmla="*/ 38 w 416"/>
                <a:gd name="T57" fmla="*/ 94 h 658"/>
                <a:gd name="T58" fmla="*/ 38 w 416"/>
                <a:gd name="T59" fmla="*/ 94 h 658"/>
                <a:gd name="T60" fmla="*/ 49 w 416"/>
                <a:gd name="T61" fmla="*/ 123 h 658"/>
                <a:gd name="T62" fmla="*/ 59 w 416"/>
                <a:gd name="T63" fmla="*/ 153 h 658"/>
                <a:gd name="T64" fmla="*/ 70 w 416"/>
                <a:gd name="T65" fmla="*/ 185 h 658"/>
                <a:gd name="T66" fmla="*/ 78 w 416"/>
                <a:gd name="T67" fmla="*/ 219 h 658"/>
                <a:gd name="T68" fmla="*/ 86 w 416"/>
                <a:gd name="T69" fmla="*/ 252 h 658"/>
                <a:gd name="T70" fmla="*/ 94 w 416"/>
                <a:gd name="T71" fmla="*/ 288 h 658"/>
                <a:gd name="T72" fmla="*/ 98 w 416"/>
                <a:gd name="T73" fmla="*/ 323 h 658"/>
                <a:gd name="T74" fmla="*/ 102 w 416"/>
                <a:gd name="T75" fmla="*/ 361 h 658"/>
                <a:gd name="T76" fmla="*/ 103 w 416"/>
                <a:gd name="T77" fmla="*/ 398 h 658"/>
                <a:gd name="T78" fmla="*/ 102 w 416"/>
                <a:gd name="T79" fmla="*/ 435 h 658"/>
                <a:gd name="T80" fmla="*/ 98 w 416"/>
                <a:gd name="T81" fmla="*/ 473 h 658"/>
                <a:gd name="T82" fmla="*/ 96 w 416"/>
                <a:gd name="T83" fmla="*/ 492 h 658"/>
                <a:gd name="T84" fmla="*/ 92 w 416"/>
                <a:gd name="T85" fmla="*/ 511 h 658"/>
                <a:gd name="T86" fmla="*/ 88 w 416"/>
                <a:gd name="T87" fmla="*/ 529 h 658"/>
                <a:gd name="T88" fmla="*/ 83 w 416"/>
                <a:gd name="T89" fmla="*/ 549 h 658"/>
                <a:gd name="T90" fmla="*/ 77 w 416"/>
                <a:gd name="T91" fmla="*/ 567 h 658"/>
                <a:gd name="T92" fmla="*/ 71 w 416"/>
                <a:gd name="T93" fmla="*/ 586 h 658"/>
                <a:gd name="T94" fmla="*/ 62 w 416"/>
                <a:gd name="T95" fmla="*/ 604 h 658"/>
                <a:gd name="T96" fmla="*/ 54 w 416"/>
                <a:gd name="T97" fmla="*/ 622 h 658"/>
                <a:gd name="T98" fmla="*/ 44 w 416"/>
                <a:gd name="T99" fmla="*/ 640 h 658"/>
                <a:gd name="T100" fmla="*/ 35 w 416"/>
                <a:gd name="T101" fmla="*/ 658 h 658"/>
                <a:gd name="T102" fmla="*/ 401 w 416"/>
                <a:gd name="T103" fmla="*/ 616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16" h="658">
                  <a:moveTo>
                    <a:pt x="401" y="616"/>
                  </a:moveTo>
                  <a:lnTo>
                    <a:pt x="401" y="616"/>
                  </a:lnTo>
                  <a:lnTo>
                    <a:pt x="408" y="597"/>
                  </a:lnTo>
                  <a:lnTo>
                    <a:pt x="412" y="576"/>
                  </a:lnTo>
                  <a:lnTo>
                    <a:pt x="416" y="556"/>
                  </a:lnTo>
                  <a:lnTo>
                    <a:pt x="416" y="535"/>
                  </a:lnTo>
                  <a:lnTo>
                    <a:pt x="414" y="514"/>
                  </a:lnTo>
                  <a:lnTo>
                    <a:pt x="412" y="492"/>
                  </a:lnTo>
                  <a:lnTo>
                    <a:pt x="407" y="470"/>
                  </a:lnTo>
                  <a:lnTo>
                    <a:pt x="400" y="449"/>
                  </a:lnTo>
                  <a:lnTo>
                    <a:pt x="393" y="426"/>
                  </a:lnTo>
                  <a:lnTo>
                    <a:pt x="383" y="404"/>
                  </a:lnTo>
                  <a:lnTo>
                    <a:pt x="372" y="382"/>
                  </a:lnTo>
                  <a:lnTo>
                    <a:pt x="360" y="360"/>
                  </a:lnTo>
                  <a:lnTo>
                    <a:pt x="347" y="338"/>
                  </a:lnTo>
                  <a:lnTo>
                    <a:pt x="333" y="316"/>
                  </a:lnTo>
                  <a:lnTo>
                    <a:pt x="317" y="294"/>
                  </a:lnTo>
                  <a:lnTo>
                    <a:pt x="302" y="273"/>
                  </a:lnTo>
                  <a:lnTo>
                    <a:pt x="285" y="251"/>
                  </a:lnTo>
                  <a:lnTo>
                    <a:pt x="267" y="231"/>
                  </a:lnTo>
                  <a:lnTo>
                    <a:pt x="231" y="190"/>
                  </a:lnTo>
                  <a:lnTo>
                    <a:pt x="192" y="151"/>
                  </a:lnTo>
                  <a:lnTo>
                    <a:pt x="152" y="115"/>
                  </a:lnTo>
                  <a:lnTo>
                    <a:pt x="113" y="81"/>
                  </a:lnTo>
                  <a:lnTo>
                    <a:pt x="73" y="51"/>
                  </a:lnTo>
                  <a:lnTo>
                    <a:pt x="36" y="2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9" y="123"/>
                  </a:lnTo>
                  <a:lnTo>
                    <a:pt x="59" y="153"/>
                  </a:lnTo>
                  <a:lnTo>
                    <a:pt x="70" y="185"/>
                  </a:lnTo>
                  <a:lnTo>
                    <a:pt x="78" y="219"/>
                  </a:lnTo>
                  <a:lnTo>
                    <a:pt x="86" y="252"/>
                  </a:lnTo>
                  <a:lnTo>
                    <a:pt x="94" y="288"/>
                  </a:lnTo>
                  <a:lnTo>
                    <a:pt x="98" y="323"/>
                  </a:lnTo>
                  <a:lnTo>
                    <a:pt x="102" y="361"/>
                  </a:lnTo>
                  <a:lnTo>
                    <a:pt x="103" y="398"/>
                  </a:lnTo>
                  <a:lnTo>
                    <a:pt x="102" y="435"/>
                  </a:lnTo>
                  <a:lnTo>
                    <a:pt x="98" y="473"/>
                  </a:lnTo>
                  <a:lnTo>
                    <a:pt x="96" y="492"/>
                  </a:lnTo>
                  <a:lnTo>
                    <a:pt x="92" y="511"/>
                  </a:lnTo>
                  <a:lnTo>
                    <a:pt x="88" y="529"/>
                  </a:lnTo>
                  <a:lnTo>
                    <a:pt x="83" y="549"/>
                  </a:lnTo>
                  <a:lnTo>
                    <a:pt x="77" y="567"/>
                  </a:lnTo>
                  <a:lnTo>
                    <a:pt x="71" y="586"/>
                  </a:lnTo>
                  <a:lnTo>
                    <a:pt x="62" y="604"/>
                  </a:lnTo>
                  <a:lnTo>
                    <a:pt x="54" y="622"/>
                  </a:lnTo>
                  <a:lnTo>
                    <a:pt x="44" y="640"/>
                  </a:lnTo>
                  <a:lnTo>
                    <a:pt x="35" y="658"/>
                  </a:lnTo>
                  <a:lnTo>
                    <a:pt x="401" y="61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defTabSz="871196"/>
              <a:endParaRPr lang="en-GB" sz="171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39">
              <a:extLst>
                <a:ext uri="{FF2B5EF4-FFF2-40B4-BE49-F238E27FC236}">
                  <a16:creationId xmlns:a16="http://schemas.microsoft.com/office/drawing/2014/main" id="{9503E082-4F42-4139-B26A-536D886E1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111" y="2991937"/>
              <a:ext cx="362447" cy="105884"/>
            </a:xfrm>
            <a:custGeom>
              <a:avLst/>
              <a:gdLst>
                <a:gd name="T0" fmla="*/ 801 w 801"/>
                <a:gd name="T1" fmla="*/ 0 h 235"/>
                <a:gd name="T2" fmla="*/ 801 w 801"/>
                <a:gd name="T3" fmla="*/ 0 h 235"/>
                <a:gd name="T4" fmla="*/ 799 w 801"/>
                <a:gd name="T5" fmla="*/ 15 h 235"/>
                <a:gd name="T6" fmla="*/ 795 w 801"/>
                <a:gd name="T7" fmla="*/ 31 h 235"/>
                <a:gd name="T8" fmla="*/ 789 w 801"/>
                <a:gd name="T9" fmla="*/ 49 h 235"/>
                <a:gd name="T10" fmla="*/ 779 w 801"/>
                <a:gd name="T11" fmla="*/ 68 h 235"/>
                <a:gd name="T12" fmla="*/ 768 w 801"/>
                <a:gd name="T13" fmla="*/ 87 h 235"/>
                <a:gd name="T14" fmla="*/ 756 w 801"/>
                <a:gd name="T15" fmla="*/ 107 h 235"/>
                <a:gd name="T16" fmla="*/ 742 w 801"/>
                <a:gd name="T17" fmla="*/ 127 h 235"/>
                <a:gd name="T18" fmla="*/ 727 w 801"/>
                <a:gd name="T19" fmla="*/ 145 h 235"/>
                <a:gd name="T20" fmla="*/ 710 w 801"/>
                <a:gd name="T21" fmla="*/ 163 h 235"/>
                <a:gd name="T22" fmla="*/ 694 w 801"/>
                <a:gd name="T23" fmla="*/ 180 h 235"/>
                <a:gd name="T24" fmla="*/ 677 w 801"/>
                <a:gd name="T25" fmla="*/ 195 h 235"/>
                <a:gd name="T26" fmla="*/ 659 w 801"/>
                <a:gd name="T27" fmla="*/ 209 h 235"/>
                <a:gd name="T28" fmla="*/ 642 w 801"/>
                <a:gd name="T29" fmla="*/ 219 h 235"/>
                <a:gd name="T30" fmla="*/ 625 w 801"/>
                <a:gd name="T31" fmla="*/ 228 h 235"/>
                <a:gd name="T32" fmla="*/ 617 w 801"/>
                <a:gd name="T33" fmla="*/ 230 h 235"/>
                <a:gd name="T34" fmla="*/ 608 w 801"/>
                <a:gd name="T35" fmla="*/ 233 h 235"/>
                <a:gd name="T36" fmla="*/ 601 w 801"/>
                <a:gd name="T37" fmla="*/ 234 h 235"/>
                <a:gd name="T38" fmla="*/ 593 w 801"/>
                <a:gd name="T39" fmla="*/ 235 h 235"/>
                <a:gd name="T40" fmla="*/ 99 w 801"/>
                <a:gd name="T41" fmla="*/ 235 h 235"/>
                <a:gd name="T42" fmla="*/ 99 w 801"/>
                <a:gd name="T43" fmla="*/ 235 h 235"/>
                <a:gd name="T44" fmla="*/ 89 w 801"/>
                <a:gd name="T45" fmla="*/ 234 h 235"/>
                <a:gd name="T46" fmla="*/ 78 w 801"/>
                <a:gd name="T47" fmla="*/ 231 h 235"/>
                <a:gd name="T48" fmla="*/ 70 w 801"/>
                <a:gd name="T49" fmla="*/ 227 h 235"/>
                <a:gd name="T50" fmla="*/ 60 w 801"/>
                <a:gd name="T51" fmla="*/ 221 h 235"/>
                <a:gd name="T52" fmla="*/ 52 w 801"/>
                <a:gd name="T53" fmla="*/ 213 h 235"/>
                <a:gd name="T54" fmla="*/ 43 w 801"/>
                <a:gd name="T55" fmla="*/ 205 h 235"/>
                <a:gd name="T56" fmla="*/ 36 w 801"/>
                <a:gd name="T57" fmla="*/ 195 h 235"/>
                <a:gd name="T58" fmla="*/ 29 w 801"/>
                <a:gd name="T59" fmla="*/ 184 h 235"/>
                <a:gd name="T60" fmla="*/ 23 w 801"/>
                <a:gd name="T61" fmla="*/ 172 h 235"/>
                <a:gd name="T62" fmla="*/ 17 w 801"/>
                <a:gd name="T63" fmla="*/ 160 h 235"/>
                <a:gd name="T64" fmla="*/ 12 w 801"/>
                <a:gd name="T65" fmla="*/ 147 h 235"/>
                <a:gd name="T66" fmla="*/ 7 w 801"/>
                <a:gd name="T67" fmla="*/ 134 h 235"/>
                <a:gd name="T68" fmla="*/ 4 w 801"/>
                <a:gd name="T69" fmla="*/ 119 h 235"/>
                <a:gd name="T70" fmla="*/ 1 w 801"/>
                <a:gd name="T71" fmla="*/ 106 h 235"/>
                <a:gd name="T72" fmla="*/ 0 w 801"/>
                <a:gd name="T73" fmla="*/ 92 h 235"/>
                <a:gd name="T74" fmla="*/ 0 w 801"/>
                <a:gd name="T75" fmla="*/ 78 h 235"/>
                <a:gd name="T76" fmla="*/ 801 w 801"/>
                <a:gd name="T77" fmla="*/ 0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01" h="235">
                  <a:moveTo>
                    <a:pt x="801" y="0"/>
                  </a:moveTo>
                  <a:lnTo>
                    <a:pt x="801" y="0"/>
                  </a:lnTo>
                  <a:lnTo>
                    <a:pt x="799" y="15"/>
                  </a:lnTo>
                  <a:lnTo>
                    <a:pt x="795" y="31"/>
                  </a:lnTo>
                  <a:lnTo>
                    <a:pt x="789" y="49"/>
                  </a:lnTo>
                  <a:lnTo>
                    <a:pt x="779" y="68"/>
                  </a:lnTo>
                  <a:lnTo>
                    <a:pt x="768" y="87"/>
                  </a:lnTo>
                  <a:lnTo>
                    <a:pt x="756" y="107"/>
                  </a:lnTo>
                  <a:lnTo>
                    <a:pt x="742" y="127"/>
                  </a:lnTo>
                  <a:lnTo>
                    <a:pt x="727" y="145"/>
                  </a:lnTo>
                  <a:lnTo>
                    <a:pt x="710" y="163"/>
                  </a:lnTo>
                  <a:lnTo>
                    <a:pt x="694" y="180"/>
                  </a:lnTo>
                  <a:lnTo>
                    <a:pt x="677" y="195"/>
                  </a:lnTo>
                  <a:lnTo>
                    <a:pt x="659" y="209"/>
                  </a:lnTo>
                  <a:lnTo>
                    <a:pt x="642" y="219"/>
                  </a:lnTo>
                  <a:lnTo>
                    <a:pt x="625" y="228"/>
                  </a:lnTo>
                  <a:lnTo>
                    <a:pt x="617" y="230"/>
                  </a:lnTo>
                  <a:lnTo>
                    <a:pt x="608" y="233"/>
                  </a:lnTo>
                  <a:lnTo>
                    <a:pt x="601" y="234"/>
                  </a:lnTo>
                  <a:lnTo>
                    <a:pt x="593" y="235"/>
                  </a:lnTo>
                  <a:lnTo>
                    <a:pt x="99" y="235"/>
                  </a:lnTo>
                  <a:lnTo>
                    <a:pt x="99" y="235"/>
                  </a:lnTo>
                  <a:lnTo>
                    <a:pt x="89" y="234"/>
                  </a:lnTo>
                  <a:lnTo>
                    <a:pt x="78" y="231"/>
                  </a:lnTo>
                  <a:lnTo>
                    <a:pt x="70" y="227"/>
                  </a:lnTo>
                  <a:lnTo>
                    <a:pt x="60" y="221"/>
                  </a:lnTo>
                  <a:lnTo>
                    <a:pt x="52" y="213"/>
                  </a:lnTo>
                  <a:lnTo>
                    <a:pt x="43" y="205"/>
                  </a:lnTo>
                  <a:lnTo>
                    <a:pt x="36" y="195"/>
                  </a:lnTo>
                  <a:lnTo>
                    <a:pt x="29" y="184"/>
                  </a:lnTo>
                  <a:lnTo>
                    <a:pt x="23" y="172"/>
                  </a:lnTo>
                  <a:lnTo>
                    <a:pt x="17" y="160"/>
                  </a:lnTo>
                  <a:lnTo>
                    <a:pt x="12" y="147"/>
                  </a:lnTo>
                  <a:lnTo>
                    <a:pt x="7" y="134"/>
                  </a:lnTo>
                  <a:lnTo>
                    <a:pt x="4" y="119"/>
                  </a:lnTo>
                  <a:lnTo>
                    <a:pt x="1" y="106"/>
                  </a:lnTo>
                  <a:lnTo>
                    <a:pt x="0" y="92"/>
                  </a:lnTo>
                  <a:lnTo>
                    <a:pt x="0" y="78"/>
                  </a:lnTo>
                  <a:lnTo>
                    <a:pt x="801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defTabSz="871196"/>
              <a:endParaRPr lang="en-GB" sz="171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40">
              <a:extLst>
                <a:ext uri="{FF2B5EF4-FFF2-40B4-BE49-F238E27FC236}">
                  <a16:creationId xmlns:a16="http://schemas.microsoft.com/office/drawing/2014/main" id="{C112C342-E3E2-44E6-933E-0B14FF015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111" y="3000082"/>
              <a:ext cx="362447" cy="105884"/>
            </a:xfrm>
            <a:custGeom>
              <a:avLst/>
              <a:gdLst>
                <a:gd name="T0" fmla="*/ 801 w 801"/>
                <a:gd name="T1" fmla="*/ 0 h 234"/>
                <a:gd name="T2" fmla="*/ 801 w 801"/>
                <a:gd name="T3" fmla="*/ 0 h 234"/>
                <a:gd name="T4" fmla="*/ 799 w 801"/>
                <a:gd name="T5" fmla="*/ 15 h 234"/>
                <a:gd name="T6" fmla="*/ 795 w 801"/>
                <a:gd name="T7" fmla="*/ 32 h 234"/>
                <a:gd name="T8" fmla="*/ 789 w 801"/>
                <a:gd name="T9" fmla="*/ 49 h 234"/>
                <a:gd name="T10" fmla="*/ 779 w 801"/>
                <a:gd name="T11" fmla="*/ 68 h 234"/>
                <a:gd name="T12" fmla="*/ 768 w 801"/>
                <a:gd name="T13" fmla="*/ 87 h 234"/>
                <a:gd name="T14" fmla="*/ 756 w 801"/>
                <a:gd name="T15" fmla="*/ 106 h 234"/>
                <a:gd name="T16" fmla="*/ 742 w 801"/>
                <a:gd name="T17" fmla="*/ 126 h 234"/>
                <a:gd name="T18" fmla="*/ 727 w 801"/>
                <a:gd name="T19" fmla="*/ 145 h 234"/>
                <a:gd name="T20" fmla="*/ 710 w 801"/>
                <a:gd name="T21" fmla="*/ 163 h 234"/>
                <a:gd name="T22" fmla="*/ 694 w 801"/>
                <a:gd name="T23" fmla="*/ 180 h 234"/>
                <a:gd name="T24" fmla="*/ 677 w 801"/>
                <a:gd name="T25" fmla="*/ 196 h 234"/>
                <a:gd name="T26" fmla="*/ 659 w 801"/>
                <a:gd name="T27" fmla="*/ 209 h 234"/>
                <a:gd name="T28" fmla="*/ 642 w 801"/>
                <a:gd name="T29" fmla="*/ 220 h 234"/>
                <a:gd name="T30" fmla="*/ 625 w 801"/>
                <a:gd name="T31" fmla="*/ 227 h 234"/>
                <a:gd name="T32" fmla="*/ 617 w 801"/>
                <a:gd name="T33" fmla="*/ 231 h 234"/>
                <a:gd name="T34" fmla="*/ 608 w 801"/>
                <a:gd name="T35" fmla="*/ 233 h 234"/>
                <a:gd name="T36" fmla="*/ 601 w 801"/>
                <a:gd name="T37" fmla="*/ 234 h 234"/>
                <a:gd name="T38" fmla="*/ 593 w 801"/>
                <a:gd name="T39" fmla="*/ 234 h 234"/>
                <a:gd name="T40" fmla="*/ 99 w 801"/>
                <a:gd name="T41" fmla="*/ 234 h 234"/>
                <a:gd name="T42" fmla="*/ 99 w 801"/>
                <a:gd name="T43" fmla="*/ 234 h 234"/>
                <a:gd name="T44" fmla="*/ 89 w 801"/>
                <a:gd name="T45" fmla="*/ 234 h 234"/>
                <a:gd name="T46" fmla="*/ 78 w 801"/>
                <a:gd name="T47" fmla="*/ 231 h 234"/>
                <a:gd name="T48" fmla="*/ 70 w 801"/>
                <a:gd name="T49" fmla="*/ 227 h 234"/>
                <a:gd name="T50" fmla="*/ 60 w 801"/>
                <a:gd name="T51" fmla="*/ 221 h 234"/>
                <a:gd name="T52" fmla="*/ 52 w 801"/>
                <a:gd name="T53" fmla="*/ 212 h 234"/>
                <a:gd name="T54" fmla="*/ 43 w 801"/>
                <a:gd name="T55" fmla="*/ 204 h 234"/>
                <a:gd name="T56" fmla="*/ 36 w 801"/>
                <a:gd name="T57" fmla="*/ 194 h 234"/>
                <a:gd name="T58" fmla="*/ 29 w 801"/>
                <a:gd name="T59" fmla="*/ 184 h 234"/>
                <a:gd name="T60" fmla="*/ 23 w 801"/>
                <a:gd name="T61" fmla="*/ 173 h 234"/>
                <a:gd name="T62" fmla="*/ 17 w 801"/>
                <a:gd name="T63" fmla="*/ 159 h 234"/>
                <a:gd name="T64" fmla="*/ 12 w 801"/>
                <a:gd name="T65" fmla="*/ 146 h 234"/>
                <a:gd name="T66" fmla="*/ 7 w 801"/>
                <a:gd name="T67" fmla="*/ 133 h 234"/>
                <a:gd name="T68" fmla="*/ 4 w 801"/>
                <a:gd name="T69" fmla="*/ 120 h 234"/>
                <a:gd name="T70" fmla="*/ 1 w 801"/>
                <a:gd name="T71" fmla="*/ 105 h 234"/>
                <a:gd name="T72" fmla="*/ 0 w 801"/>
                <a:gd name="T73" fmla="*/ 92 h 234"/>
                <a:gd name="T74" fmla="*/ 0 w 801"/>
                <a:gd name="T75" fmla="*/ 77 h 234"/>
                <a:gd name="T76" fmla="*/ 801 w 801"/>
                <a:gd name="T7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01" h="234">
                  <a:moveTo>
                    <a:pt x="801" y="0"/>
                  </a:moveTo>
                  <a:lnTo>
                    <a:pt x="801" y="0"/>
                  </a:lnTo>
                  <a:lnTo>
                    <a:pt x="799" y="15"/>
                  </a:lnTo>
                  <a:lnTo>
                    <a:pt x="795" y="32"/>
                  </a:lnTo>
                  <a:lnTo>
                    <a:pt x="789" y="49"/>
                  </a:lnTo>
                  <a:lnTo>
                    <a:pt x="779" y="68"/>
                  </a:lnTo>
                  <a:lnTo>
                    <a:pt x="768" y="87"/>
                  </a:lnTo>
                  <a:lnTo>
                    <a:pt x="756" y="106"/>
                  </a:lnTo>
                  <a:lnTo>
                    <a:pt x="742" y="126"/>
                  </a:lnTo>
                  <a:lnTo>
                    <a:pt x="727" y="145"/>
                  </a:lnTo>
                  <a:lnTo>
                    <a:pt x="710" y="163"/>
                  </a:lnTo>
                  <a:lnTo>
                    <a:pt x="694" y="180"/>
                  </a:lnTo>
                  <a:lnTo>
                    <a:pt x="677" y="196"/>
                  </a:lnTo>
                  <a:lnTo>
                    <a:pt x="659" y="209"/>
                  </a:lnTo>
                  <a:lnTo>
                    <a:pt x="642" y="220"/>
                  </a:lnTo>
                  <a:lnTo>
                    <a:pt x="625" y="227"/>
                  </a:lnTo>
                  <a:lnTo>
                    <a:pt x="617" y="231"/>
                  </a:lnTo>
                  <a:lnTo>
                    <a:pt x="608" y="233"/>
                  </a:lnTo>
                  <a:lnTo>
                    <a:pt x="601" y="234"/>
                  </a:lnTo>
                  <a:lnTo>
                    <a:pt x="593" y="234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89" y="234"/>
                  </a:lnTo>
                  <a:lnTo>
                    <a:pt x="78" y="231"/>
                  </a:lnTo>
                  <a:lnTo>
                    <a:pt x="70" y="227"/>
                  </a:lnTo>
                  <a:lnTo>
                    <a:pt x="60" y="221"/>
                  </a:lnTo>
                  <a:lnTo>
                    <a:pt x="52" y="212"/>
                  </a:lnTo>
                  <a:lnTo>
                    <a:pt x="43" y="204"/>
                  </a:lnTo>
                  <a:lnTo>
                    <a:pt x="36" y="194"/>
                  </a:lnTo>
                  <a:lnTo>
                    <a:pt x="29" y="184"/>
                  </a:lnTo>
                  <a:lnTo>
                    <a:pt x="23" y="173"/>
                  </a:lnTo>
                  <a:lnTo>
                    <a:pt x="17" y="159"/>
                  </a:lnTo>
                  <a:lnTo>
                    <a:pt x="12" y="146"/>
                  </a:lnTo>
                  <a:lnTo>
                    <a:pt x="7" y="133"/>
                  </a:lnTo>
                  <a:lnTo>
                    <a:pt x="4" y="120"/>
                  </a:lnTo>
                  <a:lnTo>
                    <a:pt x="1" y="105"/>
                  </a:lnTo>
                  <a:lnTo>
                    <a:pt x="0" y="92"/>
                  </a:lnTo>
                  <a:lnTo>
                    <a:pt x="0" y="77"/>
                  </a:lnTo>
                  <a:lnTo>
                    <a:pt x="801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defTabSz="871196"/>
              <a:endParaRPr lang="en-GB" sz="1710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41">
              <a:extLst>
                <a:ext uri="{FF2B5EF4-FFF2-40B4-BE49-F238E27FC236}">
                  <a16:creationId xmlns:a16="http://schemas.microsoft.com/office/drawing/2014/main" id="{2B2005F8-C2B4-4AA2-AA89-C857D5141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7459" y="3055739"/>
              <a:ext cx="376022" cy="77377"/>
            </a:xfrm>
            <a:custGeom>
              <a:avLst/>
              <a:gdLst>
                <a:gd name="T0" fmla="*/ 829 w 829"/>
                <a:gd name="T1" fmla="*/ 0 h 171"/>
                <a:gd name="T2" fmla="*/ 815 w 829"/>
                <a:gd name="T3" fmla="*/ 30 h 171"/>
                <a:gd name="T4" fmla="*/ 795 w 829"/>
                <a:gd name="T5" fmla="*/ 60 h 171"/>
                <a:gd name="T6" fmla="*/ 767 w 829"/>
                <a:gd name="T7" fmla="*/ 93 h 171"/>
                <a:gd name="T8" fmla="*/ 727 w 829"/>
                <a:gd name="T9" fmla="*/ 125 h 171"/>
                <a:gd name="T10" fmla="*/ 703 w 829"/>
                <a:gd name="T11" fmla="*/ 140 h 171"/>
                <a:gd name="T12" fmla="*/ 677 w 829"/>
                <a:gd name="T13" fmla="*/ 152 h 171"/>
                <a:gd name="T14" fmla="*/ 646 w 829"/>
                <a:gd name="T15" fmla="*/ 162 h 171"/>
                <a:gd name="T16" fmla="*/ 613 w 829"/>
                <a:gd name="T17" fmla="*/ 169 h 171"/>
                <a:gd name="T18" fmla="*/ 577 w 829"/>
                <a:gd name="T19" fmla="*/ 171 h 171"/>
                <a:gd name="T20" fmla="*/ 537 w 829"/>
                <a:gd name="T21" fmla="*/ 169 h 171"/>
                <a:gd name="T22" fmla="*/ 509 w 829"/>
                <a:gd name="T23" fmla="*/ 165 h 171"/>
                <a:gd name="T24" fmla="*/ 416 w 829"/>
                <a:gd name="T25" fmla="*/ 143 h 171"/>
                <a:gd name="T26" fmla="*/ 308 w 829"/>
                <a:gd name="T27" fmla="*/ 117 h 171"/>
                <a:gd name="T28" fmla="*/ 233 w 829"/>
                <a:gd name="T29" fmla="*/ 104 h 171"/>
                <a:gd name="T30" fmla="*/ 179 w 829"/>
                <a:gd name="T31" fmla="*/ 100 h 171"/>
                <a:gd name="T32" fmla="*/ 143 w 829"/>
                <a:gd name="T33" fmla="*/ 100 h 171"/>
                <a:gd name="T34" fmla="*/ 108 w 829"/>
                <a:gd name="T35" fmla="*/ 105 h 171"/>
                <a:gd name="T36" fmla="*/ 74 w 829"/>
                <a:gd name="T37" fmla="*/ 113 h 171"/>
                <a:gd name="T38" fmla="*/ 43 w 829"/>
                <a:gd name="T39" fmla="*/ 125 h 171"/>
                <a:gd name="T40" fmla="*/ 14 w 829"/>
                <a:gd name="T41" fmla="*/ 143 h 171"/>
                <a:gd name="T42" fmla="*/ 0 w 829"/>
                <a:gd name="T43" fmla="*/ 154 h 171"/>
                <a:gd name="T44" fmla="*/ 17 w 829"/>
                <a:gd name="T45" fmla="*/ 130 h 171"/>
                <a:gd name="T46" fmla="*/ 36 w 829"/>
                <a:gd name="T47" fmla="*/ 109 h 171"/>
                <a:gd name="T48" fmla="*/ 58 w 829"/>
                <a:gd name="T49" fmla="*/ 89 h 171"/>
                <a:gd name="T50" fmla="*/ 82 w 829"/>
                <a:gd name="T51" fmla="*/ 74 h 171"/>
                <a:gd name="T52" fmla="*/ 107 w 829"/>
                <a:gd name="T53" fmla="*/ 60 h 171"/>
                <a:gd name="T54" fmla="*/ 163 w 829"/>
                <a:gd name="T55" fmla="*/ 41 h 171"/>
                <a:gd name="T56" fmla="*/ 223 w 829"/>
                <a:gd name="T57" fmla="*/ 30 h 171"/>
                <a:gd name="T58" fmla="*/ 284 w 829"/>
                <a:gd name="T59" fmla="*/ 27 h 171"/>
                <a:gd name="T60" fmla="*/ 342 w 829"/>
                <a:gd name="T61" fmla="*/ 30 h 171"/>
                <a:gd name="T62" fmla="*/ 396 w 829"/>
                <a:gd name="T63" fmla="*/ 37 h 171"/>
                <a:gd name="T64" fmla="*/ 421 w 829"/>
                <a:gd name="T65" fmla="*/ 43 h 171"/>
                <a:gd name="T66" fmla="*/ 520 w 829"/>
                <a:gd name="T67" fmla="*/ 71 h 171"/>
                <a:gd name="T68" fmla="*/ 571 w 829"/>
                <a:gd name="T69" fmla="*/ 84 h 171"/>
                <a:gd name="T70" fmla="*/ 622 w 829"/>
                <a:gd name="T71" fmla="*/ 92 h 171"/>
                <a:gd name="T72" fmla="*/ 675 w 829"/>
                <a:gd name="T73" fmla="*/ 89 h 171"/>
                <a:gd name="T74" fmla="*/ 701 w 829"/>
                <a:gd name="T75" fmla="*/ 84 h 171"/>
                <a:gd name="T76" fmla="*/ 727 w 829"/>
                <a:gd name="T77" fmla="*/ 76 h 171"/>
                <a:gd name="T78" fmla="*/ 752 w 829"/>
                <a:gd name="T79" fmla="*/ 64 h 171"/>
                <a:gd name="T80" fmla="*/ 779 w 829"/>
                <a:gd name="T81" fmla="*/ 47 h 171"/>
                <a:gd name="T82" fmla="*/ 804 w 829"/>
                <a:gd name="T83" fmla="*/ 27 h 171"/>
                <a:gd name="T84" fmla="*/ 829 w 829"/>
                <a:gd name="T85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29" h="171">
                  <a:moveTo>
                    <a:pt x="829" y="0"/>
                  </a:moveTo>
                  <a:lnTo>
                    <a:pt x="829" y="0"/>
                  </a:lnTo>
                  <a:lnTo>
                    <a:pt x="826" y="9"/>
                  </a:lnTo>
                  <a:lnTo>
                    <a:pt x="815" y="30"/>
                  </a:lnTo>
                  <a:lnTo>
                    <a:pt x="806" y="45"/>
                  </a:lnTo>
                  <a:lnTo>
                    <a:pt x="795" y="60"/>
                  </a:lnTo>
                  <a:lnTo>
                    <a:pt x="782" y="76"/>
                  </a:lnTo>
                  <a:lnTo>
                    <a:pt x="767" y="93"/>
                  </a:lnTo>
                  <a:lnTo>
                    <a:pt x="749" y="110"/>
                  </a:lnTo>
                  <a:lnTo>
                    <a:pt x="727" y="125"/>
                  </a:lnTo>
                  <a:lnTo>
                    <a:pt x="716" y="133"/>
                  </a:lnTo>
                  <a:lnTo>
                    <a:pt x="703" y="140"/>
                  </a:lnTo>
                  <a:lnTo>
                    <a:pt x="690" y="147"/>
                  </a:lnTo>
                  <a:lnTo>
                    <a:pt x="677" y="152"/>
                  </a:lnTo>
                  <a:lnTo>
                    <a:pt x="662" y="158"/>
                  </a:lnTo>
                  <a:lnTo>
                    <a:pt x="646" y="162"/>
                  </a:lnTo>
                  <a:lnTo>
                    <a:pt x="631" y="165"/>
                  </a:lnTo>
                  <a:lnTo>
                    <a:pt x="613" y="169"/>
                  </a:lnTo>
                  <a:lnTo>
                    <a:pt x="596" y="170"/>
                  </a:lnTo>
                  <a:lnTo>
                    <a:pt x="577" y="171"/>
                  </a:lnTo>
                  <a:lnTo>
                    <a:pt x="558" y="171"/>
                  </a:lnTo>
                  <a:lnTo>
                    <a:pt x="537" y="169"/>
                  </a:lnTo>
                  <a:lnTo>
                    <a:pt x="537" y="169"/>
                  </a:lnTo>
                  <a:lnTo>
                    <a:pt x="509" y="165"/>
                  </a:lnTo>
                  <a:lnTo>
                    <a:pt x="481" y="159"/>
                  </a:lnTo>
                  <a:lnTo>
                    <a:pt x="416" y="143"/>
                  </a:lnTo>
                  <a:lnTo>
                    <a:pt x="345" y="125"/>
                  </a:lnTo>
                  <a:lnTo>
                    <a:pt x="308" y="117"/>
                  </a:lnTo>
                  <a:lnTo>
                    <a:pt x="270" y="110"/>
                  </a:lnTo>
                  <a:lnTo>
                    <a:pt x="233" y="104"/>
                  </a:lnTo>
                  <a:lnTo>
                    <a:pt x="197" y="100"/>
                  </a:lnTo>
                  <a:lnTo>
                    <a:pt x="179" y="100"/>
                  </a:lnTo>
                  <a:lnTo>
                    <a:pt x="161" y="100"/>
                  </a:lnTo>
                  <a:lnTo>
                    <a:pt x="143" y="100"/>
                  </a:lnTo>
                  <a:lnTo>
                    <a:pt x="125" y="102"/>
                  </a:lnTo>
                  <a:lnTo>
                    <a:pt x="108" y="105"/>
                  </a:lnTo>
                  <a:lnTo>
                    <a:pt x="91" y="109"/>
                  </a:lnTo>
                  <a:lnTo>
                    <a:pt x="74" y="113"/>
                  </a:lnTo>
                  <a:lnTo>
                    <a:pt x="59" y="118"/>
                  </a:lnTo>
                  <a:lnTo>
                    <a:pt x="43" y="125"/>
                  </a:lnTo>
                  <a:lnTo>
                    <a:pt x="29" y="134"/>
                  </a:lnTo>
                  <a:lnTo>
                    <a:pt x="14" y="143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8" y="142"/>
                  </a:lnTo>
                  <a:lnTo>
                    <a:pt x="17" y="130"/>
                  </a:lnTo>
                  <a:lnTo>
                    <a:pt x="26" y="118"/>
                  </a:lnTo>
                  <a:lnTo>
                    <a:pt x="36" y="109"/>
                  </a:lnTo>
                  <a:lnTo>
                    <a:pt x="47" y="99"/>
                  </a:lnTo>
                  <a:lnTo>
                    <a:pt x="58" y="89"/>
                  </a:lnTo>
                  <a:lnTo>
                    <a:pt x="70" y="81"/>
                  </a:lnTo>
                  <a:lnTo>
                    <a:pt x="82" y="74"/>
                  </a:lnTo>
                  <a:lnTo>
                    <a:pt x="95" y="66"/>
                  </a:lnTo>
                  <a:lnTo>
                    <a:pt x="107" y="60"/>
                  </a:lnTo>
                  <a:lnTo>
                    <a:pt x="134" y="49"/>
                  </a:lnTo>
                  <a:lnTo>
                    <a:pt x="163" y="41"/>
                  </a:lnTo>
                  <a:lnTo>
                    <a:pt x="193" y="35"/>
                  </a:lnTo>
                  <a:lnTo>
                    <a:pt x="223" y="30"/>
                  </a:lnTo>
                  <a:lnTo>
                    <a:pt x="253" y="28"/>
                  </a:lnTo>
                  <a:lnTo>
                    <a:pt x="284" y="27"/>
                  </a:lnTo>
                  <a:lnTo>
                    <a:pt x="314" y="28"/>
                  </a:lnTo>
                  <a:lnTo>
                    <a:pt x="342" y="30"/>
                  </a:lnTo>
                  <a:lnTo>
                    <a:pt x="370" y="33"/>
                  </a:lnTo>
                  <a:lnTo>
                    <a:pt x="396" y="37"/>
                  </a:lnTo>
                  <a:lnTo>
                    <a:pt x="421" y="43"/>
                  </a:lnTo>
                  <a:lnTo>
                    <a:pt x="421" y="43"/>
                  </a:lnTo>
                  <a:lnTo>
                    <a:pt x="470" y="57"/>
                  </a:lnTo>
                  <a:lnTo>
                    <a:pt x="520" y="71"/>
                  </a:lnTo>
                  <a:lnTo>
                    <a:pt x="546" y="78"/>
                  </a:lnTo>
                  <a:lnTo>
                    <a:pt x="571" y="84"/>
                  </a:lnTo>
                  <a:lnTo>
                    <a:pt x="597" y="88"/>
                  </a:lnTo>
                  <a:lnTo>
                    <a:pt x="622" y="92"/>
                  </a:lnTo>
                  <a:lnTo>
                    <a:pt x="649" y="92"/>
                  </a:lnTo>
                  <a:lnTo>
                    <a:pt x="675" y="89"/>
                  </a:lnTo>
                  <a:lnTo>
                    <a:pt x="689" y="88"/>
                  </a:lnTo>
                  <a:lnTo>
                    <a:pt x="701" y="84"/>
                  </a:lnTo>
                  <a:lnTo>
                    <a:pt x="714" y="81"/>
                  </a:lnTo>
                  <a:lnTo>
                    <a:pt x="727" y="76"/>
                  </a:lnTo>
                  <a:lnTo>
                    <a:pt x="740" y="70"/>
                  </a:lnTo>
                  <a:lnTo>
                    <a:pt x="752" y="64"/>
                  </a:lnTo>
                  <a:lnTo>
                    <a:pt x="765" y="57"/>
                  </a:lnTo>
                  <a:lnTo>
                    <a:pt x="779" y="47"/>
                  </a:lnTo>
                  <a:lnTo>
                    <a:pt x="791" y="37"/>
                  </a:lnTo>
                  <a:lnTo>
                    <a:pt x="804" y="27"/>
                  </a:lnTo>
                  <a:lnTo>
                    <a:pt x="817" y="15"/>
                  </a:lnTo>
                  <a:lnTo>
                    <a:pt x="829" y="0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defTabSz="871196"/>
              <a:endParaRPr lang="en-GB" sz="171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42">
              <a:extLst>
                <a:ext uri="{FF2B5EF4-FFF2-40B4-BE49-F238E27FC236}">
                  <a16:creationId xmlns:a16="http://schemas.microsoft.com/office/drawing/2014/main" id="{46F5DE1C-91B1-46B1-9C96-F39523310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5107" y="3063884"/>
              <a:ext cx="355660" cy="74662"/>
            </a:xfrm>
            <a:custGeom>
              <a:avLst/>
              <a:gdLst>
                <a:gd name="T0" fmla="*/ 787 w 787"/>
                <a:gd name="T1" fmla="*/ 0 h 163"/>
                <a:gd name="T2" fmla="*/ 773 w 787"/>
                <a:gd name="T3" fmla="*/ 28 h 163"/>
                <a:gd name="T4" fmla="*/ 755 w 787"/>
                <a:gd name="T5" fmla="*/ 57 h 163"/>
                <a:gd name="T6" fmla="*/ 727 w 787"/>
                <a:gd name="T7" fmla="*/ 88 h 163"/>
                <a:gd name="T8" fmla="*/ 690 w 787"/>
                <a:gd name="T9" fmla="*/ 120 h 163"/>
                <a:gd name="T10" fmla="*/ 667 w 787"/>
                <a:gd name="T11" fmla="*/ 133 h 163"/>
                <a:gd name="T12" fmla="*/ 642 w 787"/>
                <a:gd name="T13" fmla="*/ 145 h 163"/>
                <a:gd name="T14" fmla="*/ 613 w 787"/>
                <a:gd name="T15" fmla="*/ 155 h 163"/>
                <a:gd name="T16" fmla="*/ 582 w 787"/>
                <a:gd name="T17" fmla="*/ 161 h 163"/>
                <a:gd name="T18" fmla="*/ 547 w 787"/>
                <a:gd name="T19" fmla="*/ 163 h 163"/>
                <a:gd name="T20" fmla="*/ 510 w 787"/>
                <a:gd name="T21" fmla="*/ 161 h 163"/>
                <a:gd name="T22" fmla="*/ 483 w 787"/>
                <a:gd name="T23" fmla="*/ 157 h 163"/>
                <a:gd name="T24" fmla="*/ 393 w 787"/>
                <a:gd name="T25" fmla="*/ 137 h 163"/>
                <a:gd name="T26" fmla="*/ 291 w 787"/>
                <a:gd name="T27" fmla="*/ 111 h 163"/>
                <a:gd name="T28" fmla="*/ 221 w 787"/>
                <a:gd name="T29" fmla="*/ 99 h 163"/>
                <a:gd name="T30" fmla="*/ 152 w 787"/>
                <a:gd name="T31" fmla="*/ 94 h 163"/>
                <a:gd name="T32" fmla="*/ 118 w 787"/>
                <a:gd name="T33" fmla="*/ 97 h 163"/>
                <a:gd name="T34" fmla="*/ 85 w 787"/>
                <a:gd name="T35" fmla="*/ 103 h 163"/>
                <a:gd name="T36" fmla="*/ 55 w 787"/>
                <a:gd name="T37" fmla="*/ 112 h 163"/>
                <a:gd name="T38" fmla="*/ 27 w 787"/>
                <a:gd name="T39" fmla="*/ 127 h 163"/>
                <a:gd name="T40" fmla="*/ 0 w 787"/>
                <a:gd name="T41" fmla="*/ 147 h 163"/>
                <a:gd name="T42" fmla="*/ 7 w 787"/>
                <a:gd name="T43" fmla="*/ 135 h 163"/>
                <a:gd name="T44" fmla="*/ 24 w 787"/>
                <a:gd name="T45" fmla="*/ 112 h 163"/>
                <a:gd name="T46" fmla="*/ 43 w 787"/>
                <a:gd name="T47" fmla="*/ 93 h 163"/>
                <a:gd name="T48" fmla="*/ 65 w 787"/>
                <a:gd name="T49" fmla="*/ 77 h 163"/>
                <a:gd name="T50" fmla="*/ 89 w 787"/>
                <a:gd name="T51" fmla="*/ 63 h 163"/>
                <a:gd name="T52" fmla="*/ 128 w 787"/>
                <a:gd name="T53" fmla="*/ 47 h 163"/>
                <a:gd name="T54" fmla="*/ 183 w 787"/>
                <a:gd name="T55" fmla="*/ 33 h 163"/>
                <a:gd name="T56" fmla="*/ 239 w 787"/>
                <a:gd name="T57" fmla="*/ 27 h 163"/>
                <a:gd name="T58" fmla="*/ 297 w 787"/>
                <a:gd name="T59" fmla="*/ 27 h 163"/>
                <a:gd name="T60" fmla="*/ 351 w 787"/>
                <a:gd name="T61" fmla="*/ 32 h 163"/>
                <a:gd name="T62" fmla="*/ 399 w 787"/>
                <a:gd name="T63" fmla="*/ 41 h 163"/>
                <a:gd name="T64" fmla="*/ 446 w 787"/>
                <a:gd name="T65" fmla="*/ 53 h 163"/>
                <a:gd name="T66" fmla="*/ 517 w 787"/>
                <a:gd name="T67" fmla="*/ 74 h 163"/>
                <a:gd name="T68" fmla="*/ 566 w 787"/>
                <a:gd name="T69" fmla="*/ 83 h 163"/>
                <a:gd name="T70" fmla="*/ 615 w 787"/>
                <a:gd name="T71" fmla="*/ 87 h 163"/>
                <a:gd name="T72" fmla="*/ 653 w 787"/>
                <a:gd name="T73" fmla="*/ 83 h 163"/>
                <a:gd name="T74" fmla="*/ 678 w 787"/>
                <a:gd name="T75" fmla="*/ 77 h 163"/>
                <a:gd name="T76" fmla="*/ 702 w 787"/>
                <a:gd name="T77" fmla="*/ 67 h 163"/>
                <a:gd name="T78" fmla="*/ 726 w 787"/>
                <a:gd name="T79" fmla="*/ 53 h 163"/>
                <a:gd name="T80" fmla="*/ 751 w 787"/>
                <a:gd name="T81" fmla="*/ 35 h 163"/>
                <a:gd name="T82" fmla="*/ 775 w 787"/>
                <a:gd name="T83" fmla="*/ 14 h 163"/>
                <a:gd name="T84" fmla="*/ 787 w 787"/>
                <a:gd name="T85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87" h="163">
                  <a:moveTo>
                    <a:pt x="787" y="0"/>
                  </a:moveTo>
                  <a:lnTo>
                    <a:pt x="787" y="0"/>
                  </a:lnTo>
                  <a:lnTo>
                    <a:pt x="784" y="9"/>
                  </a:lnTo>
                  <a:lnTo>
                    <a:pt x="773" y="28"/>
                  </a:lnTo>
                  <a:lnTo>
                    <a:pt x="766" y="43"/>
                  </a:lnTo>
                  <a:lnTo>
                    <a:pt x="755" y="57"/>
                  </a:lnTo>
                  <a:lnTo>
                    <a:pt x="743" y="73"/>
                  </a:lnTo>
                  <a:lnTo>
                    <a:pt x="727" y="88"/>
                  </a:lnTo>
                  <a:lnTo>
                    <a:pt x="710" y="105"/>
                  </a:lnTo>
                  <a:lnTo>
                    <a:pt x="690" y="120"/>
                  </a:lnTo>
                  <a:lnTo>
                    <a:pt x="679" y="127"/>
                  </a:lnTo>
                  <a:lnTo>
                    <a:pt x="667" y="133"/>
                  </a:lnTo>
                  <a:lnTo>
                    <a:pt x="655" y="139"/>
                  </a:lnTo>
                  <a:lnTo>
                    <a:pt x="642" y="145"/>
                  </a:lnTo>
                  <a:lnTo>
                    <a:pt x="627" y="150"/>
                  </a:lnTo>
                  <a:lnTo>
                    <a:pt x="613" y="155"/>
                  </a:lnTo>
                  <a:lnTo>
                    <a:pt x="599" y="157"/>
                  </a:lnTo>
                  <a:lnTo>
                    <a:pt x="582" y="161"/>
                  </a:lnTo>
                  <a:lnTo>
                    <a:pt x="565" y="162"/>
                  </a:lnTo>
                  <a:lnTo>
                    <a:pt x="547" y="163"/>
                  </a:lnTo>
                  <a:lnTo>
                    <a:pt x="529" y="162"/>
                  </a:lnTo>
                  <a:lnTo>
                    <a:pt x="510" y="161"/>
                  </a:lnTo>
                  <a:lnTo>
                    <a:pt x="510" y="161"/>
                  </a:lnTo>
                  <a:lnTo>
                    <a:pt x="483" y="157"/>
                  </a:lnTo>
                  <a:lnTo>
                    <a:pt x="456" y="151"/>
                  </a:lnTo>
                  <a:lnTo>
                    <a:pt x="393" y="137"/>
                  </a:lnTo>
                  <a:lnTo>
                    <a:pt x="326" y="120"/>
                  </a:lnTo>
                  <a:lnTo>
                    <a:pt x="291" y="111"/>
                  </a:lnTo>
                  <a:lnTo>
                    <a:pt x="256" y="104"/>
                  </a:lnTo>
                  <a:lnTo>
                    <a:pt x="221" y="99"/>
                  </a:lnTo>
                  <a:lnTo>
                    <a:pt x="186" y="96"/>
                  </a:lnTo>
                  <a:lnTo>
                    <a:pt x="152" y="94"/>
                  </a:lnTo>
                  <a:lnTo>
                    <a:pt x="135" y="96"/>
                  </a:lnTo>
                  <a:lnTo>
                    <a:pt x="118" y="97"/>
                  </a:lnTo>
                  <a:lnTo>
                    <a:pt x="102" y="99"/>
                  </a:lnTo>
                  <a:lnTo>
                    <a:pt x="85" y="103"/>
                  </a:lnTo>
                  <a:lnTo>
                    <a:pt x="70" y="108"/>
                  </a:lnTo>
                  <a:lnTo>
                    <a:pt x="55" y="112"/>
                  </a:lnTo>
                  <a:lnTo>
                    <a:pt x="40" y="120"/>
                  </a:lnTo>
                  <a:lnTo>
                    <a:pt x="27" y="127"/>
                  </a:lnTo>
                  <a:lnTo>
                    <a:pt x="12" y="137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7" y="135"/>
                  </a:lnTo>
                  <a:lnTo>
                    <a:pt x="15" y="123"/>
                  </a:lnTo>
                  <a:lnTo>
                    <a:pt x="24" y="112"/>
                  </a:lnTo>
                  <a:lnTo>
                    <a:pt x="34" y="103"/>
                  </a:lnTo>
                  <a:lnTo>
                    <a:pt x="43" y="93"/>
                  </a:lnTo>
                  <a:lnTo>
                    <a:pt x="54" y="85"/>
                  </a:lnTo>
                  <a:lnTo>
                    <a:pt x="65" y="77"/>
                  </a:lnTo>
                  <a:lnTo>
                    <a:pt x="77" y="70"/>
                  </a:lnTo>
                  <a:lnTo>
                    <a:pt x="89" y="63"/>
                  </a:lnTo>
                  <a:lnTo>
                    <a:pt x="101" y="57"/>
                  </a:lnTo>
                  <a:lnTo>
                    <a:pt x="128" y="47"/>
                  </a:lnTo>
                  <a:lnTo>
                    <a:pt x="154" y="39"/>
                  </a:lnTo>
                  <a:lnTo>
                    <a:pt x="183" y="33"/>
                  </a:lnTo>
                  <a:lnTo>
                    <a:pt x="212" y="29"/>
                  </a:lnTo>
                  <a:lnTo>
                    <a:pt x="239" y="27"/>
                  </a:lnTo>
                  <a:lnTo>
                    <a:pt x="268" y="26"/>
                  </a:lnTo>
                  <a:lnTo>
                    <a:pt x="297" y="27"/>
                  </a:lnTo>
                  <a:lnTo>
                    <a:pt x="325" y="28"/>
                  </a:lnTo>
                  <a:lnTo>
                    <a:pt x="351" y="32"/>
                  </a:lnTo>
                  <a:lnTo>
                    <a:pt x="376" y="35"/>
                  </a:lnTo>
                  <a:lnTo>
                    <a:pt x="399" y="41"/>
                  </a:lnTo>
                  <a:lnTo>
                    <a:pt x="399" y="41"/>
                  </a:lnTo>
                  <a:lnTo>
                    <a:pt x="446" y="53"/>
                  </a:lnTo>
                  <a:lnTo>
                    <a:pt x="493" y="68"/>
                  </a:lnTo>
                  <a:lnTo>
                    <a:pt x="517" y="74"/>
                  </a:lnTo>
                  <a:lnTo>
                    <a:pt x="542" y="80"/>
                  </a:lnTo>
                  <a:lnTo>
                    <a:pt x="566" y="83"/>
                  </a:lnTo>
                  <a:lnTo>
                    <a:pt x="591" y="87"/>
                  </a:lnTo>
                  <a:lnTo>
                    <a:pt x="615" y="87"/>
                  </a:lnTo>
                  <a:lnTo>
                    <a:pt x="641" y="85"/>
                  </a:lnTo>
                  <a:lnTo>
                    <a:pt x="653" y="83"/>
                  </a:lnTo>
                  <a:lnTo>
                    <a:pt x="665" y="80"/>
                  </a:lnTo>
                  <a:lnTo>
                    <a:pt x="678" y="77"/>
                  </a:lnTo>
                  <a:lnTo>
                    <a:pt x="690" y="73"/>
                  </a:lnTo>
                  <a:lnTo>
                    <a:pt x="702" y="67"/>
                  </a:lnTo>
                  <a:lnTo>
                    <a:pt x="714" y="61"/>
                  </a:lnTo>
                  <a:lnTo>
                    <a:pt x="726" y="53"/>
                  </a:lnTo>
                  <a:lnTo>
                    <a:pt x="739" y="45"/>
                  </a:lnTo>
                  <a:lnTo>
                    <a:pt x="751" y="35"/>
                  </a:lnTo>
                  <a:lnTo>
                    <a:pt x="763" y="26"/>
                  </a:lnTo>
                  <a:lnTo>
                    <a:pt x="775" y="14"/>
                  </a:lnTo>
                  <a:lnTo>
                    <a:pt x="787" y="0"/>
                  </a:lnTo>
                  <a:lnTo>
                    <a:pt x="787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defTabSz="871196"/>
              <a:endParaRPr lang="en-GB" sz="1710" dirty="0">
                <a:solidFill>
                  <a:srgbClr val="000000"/>
                </a:solidFill>
              </a:endParaRPr>
            </a:p>
          </p:txBody>
        </p:sp>
      </p:grpSp>
      <p:sp>
        <p:nvSpPr>
          <p:cNvPr id="32" name="Freeform 27">
            <a:extLst>
              <a:ext uri="{FF2B5EF4-FFF2-40B4-BE49-F238E27FC236}">
                <a16:creationId xmlns:a16="http://schemas.microsoft.com/office/drawing/2014/main" id="{AF65CAAC-EBBA-4291-B183-A8387D00DA88}"/>
              </a:ext>
            </a:extLst>
          </p:cNvPr>
          <p:cNvSpPr>
            <a:spLocks noEditPoints="1"/>
          </p:cNvSpPr>
          <p:nvPr/>
        </p:nvSpPr>
        <p:spPr bwMode="auto">
          <a:xfrm>
            <a:off x="4055657" y="2331545"/>
            <a:ext cx="1104337" cy="495796"/>
          </a:xfrm>
          <a:custGeom>
            <a:avLst/>
            <a:gdLst>
              <a:gd name="T0" fmla="*/ 350167 w 381"/>
              <a:gd name="T1" fmla="*/ 534960 h 171"/>
              <a:gd name="T2" fmla="*/ 1203300 w 381"/>
              <a:gd name="T3" fmla="*/ 544513 h 171"/>
              <a:gd name="T4" fmla="*/ 1212850 w 381"/>
              <a:gd name="T5" fmla="*/ 391667 h 171"/>
              <a:gd name="T6" fmla="*/ 1104617 w 381"/>
              <a:gd name="T7" fmla="*/ 382114 h 171"/>
              <a:gd name="T8" fmla="*/ 1088700 w 381"/>
              <a:gd name="T9" fmla="*/ 0 h 171"/>
              <a:gd name="T10" fmla="*/ 1025033 w 381"/>
              <a:gd name="T11" fmla="*/ 15921 h 171"/>
              <a:gd name="T12" fmla="*/ 754450 w 381"/>
              <a:gd name="T13" fmla="*/ 35027 h 171"/>
              <a:gd name="T14" fmla="*/ 754450 w 381"/>
              <a:gd name="T15" fmla="*/ 57317 h 171"/>
              <a:gd name="T16" fmla="*/ 767183 w 381"/>
              <a:gd name="T17" fmla="*/ 162399 h 171"/>
              <a:gd name="T18" fmla="*/ 716250 w 381"/>
              <a:gd name="T19" fmla="*/ 178320 h 171"/>
              <a:gd name="T20" fmla="*/ 732167 w 381"/>
              <a:gd name="T21" fmla="*/ 242006 h 171"/>
              <a:gd name="T22" fmla="*/ 837217 w 381"/>
              <a:gd name="T23" fmla="*/ 226084 h 171"/>
              <a:gd name="T24" fmla="*/ 821300 w 381"/>
              <a:gd name="T25" fmla="*/ 162399 h 171"/>
              <a:gd name="T26" fmla="*/ 786283 w 381"/>
              <a:gd name="T27" fmla="*/ 57317 h 171"/>
              <a:gd name="T28" fmla="*/ 1025033 w 381"/>
              <a:gd name="T29" fmla="*/ 382114 h 171"/>
              <a:gd name="T30" fmla="*/ 725800 w 381"/>
              <a:gd name="T31" fmla="*/ 334350 h 171"/>
              <a:gd name="T32" fmla="*/ 703517 w 381"/>
              <a:gd name="T33" fmla="*/ 324797 h 171"/>
              <a:gd name="T34" fmla="*/ 690783 w 381"/>
              <a:gd name="T35" fmla="*/ 382114 h 171"/>
              <a:gd name="T36" fmla="*/ 350167 w 381"/>
              <a:gd name="T37" fmla="*/ 391667 h 171"/>
              <a:gd name="T38" fmla="*/ 0 w 381"/>
              <a:gd name="T39" fmla="*/ 423510 h 171"/>
              <a:gd name="T40" fmla="*/ 136883 w 381"/>
              <a:gd name="T41" fmla="*/ 442616 h 171"/>
              <a:gd name="T42" fmla="*/ 334250 w 381"/>
              <a:gd name="T43" fmla="*/ 433063 h 171"/>
              <a:gd name="T44" fmla="*/ 359717 w 381"/>
              <a:gd name="T45" fmla="*/ 366193 h 171"/>
              <a:gd name="T46" fmla="*/ 674867 w 381"/>
              <a:gd name="T47" fmla="*/ 334350 h 171"/>
              <a:gd name="T48" fmla="*/ 716250 w 381"/>
              <a:gd name="T49" fmla="*/ 305692 h 171"/>
              <a:gd name="T50" fmla="*/ 744900 w 381"/>
              <a:gd name="T51" fmla="*/ 366193 h 171"/>
              <a:gd name="T52" fmla="*/ 808567 w 381"/>
              <a:gd name="T53" fmla="*/ 353456 h 171"/>
              <a:gd name="T54" fmla="*/ 875417 w 381"/>
              <a:gd name="T55" fmla="*/ 280217 h 171"/>
              <a:gd name="T56" fmla="*/ 617567 w 381"/>
              <a:gd name="T57" fmla="*/ 296139 h 171"/>
              <a:gd name="T58" fmla="*/ 585733 w 381"/>
              <a:gd name="T59" fmla="*/ 312060 h 171"/>
              <a:gd name="T60" fmla="*/ 515700 w 381"/>
              <a:gd name="T61" fmla="*/ 312060 h 171"/>
              <a:gd name="T62" fmla="*/ 471133 w 381"/>
              <a:gd name="T63" fmla="*/ 203794 h 171"/>
              <a:gd name="T64" fmla="*/ 254667 w 381"/>
              <a:gd name="T65" fmla="*/ 187873 h 171"/>
              <a:gd name="T66" fmla="*/ 248300 w 381"/>
              <a:gd name="T67" fmla="*/ 73239 h 171"/>
              <a:gd name="T68" fmla="*/ 241933 w 381"/>
              <a:gd name="T69" fmla="*/ 187873 h 171"/>
              <a:gd name="T70" fmla="*/ 178267 w 381"/>
              <a:gd name="T71" fmla="*/ 200610 h 171"/>
              <a:gd name="T72" fmla="*/ 98683 w 381"/>
              <a:gd name="T73" fmla="*/ 299323 h 171"/>
              <a:gd name="T74" fmla="*/ 6367 w 381"/>
              <a:gd name="T75" fmla="*/ 312060 h 17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81" h="171">
                <a:moveTo>
                  <a:pt x="110" y="123"/>
                </a:moveTo>
                <a:cubicBezTo>
                  <a:pt x="110" y="168"/>
                  <a:pt x="110" y="168"/>
                  <a:pt x="110" y="168"/>
                </a:cubicBezTo>
                <a:cubicBezTo>
                  <a:pt x="110" y="170"/>
                  <a:pt x="112" y="171"/>
                  <a:pt x="113" y="171"/>
                </a:cubicBezTo>
                <a:cubicBezTo>
                  <a:pt x="378" y="171"/>
                  <a:pt x="378" y="171"/>
                  <a:pt x="378" y="171"/>
                </a:cubicBezTo>
                <a:cubicBezTo>
                  <a:pt x="380" y="171"/>
                  <a:pt x="381" y="170"/>
                  <a:pt x="381" y="168"/>
                </a:cubicBezTo>
                <a:cubicBezTo>
                  <a:pt x="381" y="123"/>
                  <a:pt x="381" y="123"/>
                  <a:pt x="381" y="123"/>
                </a:cubicBezTo>
                <a:cubicBezTo>
                  <a:pt x="381" y="121"/>
                  <a:pt x="380" y="120"/>
                  <a:pt x="378" y="120"/>
                </a:cubicBezTo>
                <a:cubicBezTo>
                  <a:pt x="347" y="120"/>
                  <a:pt x="347" y="120"/>
                  <a:pt x="347" y="120"/>
                </a:cubicBezTo>
                <a:cubicBezTo>
                  <a:pt x="347" y="5"/>
                  <a:pt x="347" y="5"/>
                  <a:pt x="347" y="5"/>
                </a:cubicBezTo>
                <a:cubicBezTo>
                  <a:pt x="347" y="2"/>
                  <a:pt x="344" y="0"/>
                  <a:pt x="342" y="0"/>
                </a:cubicBezTo>
                <a:cubicBezTo>
                  <a:pt x="328" y="0"/>
                  <a:pt x="328" y="0"/>
                  <a:pt x="328" y="0"/>
                </a:cubicBezTo>
                <a:cubicBezTo>
                  <a:pt x="325" y="0"/>
                  <a:pt x="322" y="2"/>
                  <a:pt x="322" y="5"/>
                </a:cubicBezTo>
                <a:cubicBezTo>
                  <a:pt x="322" y="11"/>
                  <a:pt x="322" y="11"/>
                  <a:pt x="322" y="11"/>
                </a:cubicBezTo>
                <a:cubicBezTo>
                  <a:pt x="237" y="11"/>
                  <a:pt x="237" y="11"/>
                  <a:pt x="237" y="11"/>
                </a:cubicBezTo>
                <a:cubicBezTo>
                  <a:pt x="235" y="11"/>
                  <a:pt x="234" y="13"/>
                  <a:pt x="234" y="15"/>
                </a:cubicBezTo>
                <a:cubicBezTo>
                  <a:pt x="234" y="17"/>
                  <a:pt x="235" y="18"/>
                  <a:pt x="237" y="18"/>
                </a:cubicBezTo>
                <a:cubicBezTo>
                  <a:pt x="241" y="18"/>
                  <a:pt x="241" y="18"/>
                  <a:pt x="241" y="18"/>
                </a:cubicBezTo>
                <a:cubicBezTo>
                  <a:pt x="241" y="51"/>
                  <a:pt x="241" y="51"/>
                  <a:pt x="241" y="51"/>
                </a:cubicBezTo>
                <a:cubicBezTo>
                  <a:pt x="230" y="51"/>
                  <a:pt x="230" y="51"/>
                  <a:pt x="230" y="51"/>
                </a:cubicBezTo>
                <a:cubicBezTo>
                  <a:pt x="227" y="51"/>
                  <a:pt x="225" y="53"/>
                  <a:pt x="225" y="56"/>
                </a:cubicBezTo>
                <a:cubicBezTo>
                  <a:pt x="225" y="71"/>
                  <a:pt x="225" y="71"/>
                  <a:pt x="225" y="71"/>
                </a:cubicBezTo>
                <a:cubicBezTo>
                  <a:pt x="225" y="74"/>
                  <a:pt x="227" y="76"/>
                  <a:pt x="230" y="76"/>
                </a:cubicBezTo>
                <a:cubicBezTo>
                  <a:pt x="258" y="76"/>
                  <a:pt x="258" y="76"/>
                  <a:pt x="258" y="76"/>
                </a:cubicBezTo>
                <a:cubicBezTo>
                  <a:pt x="261" y="76"/>
                  <a:pt x="263" y="74"/>
                  <a:pt x="263" y="71"/>
                </a:cubicBezTo>
                <a:cubicBezTo>
                  <a:pt x="263" y="56"/>
                  <a:pt x="263" y="56"/>
                  <a:pt x="263" y="56"/>
                </a:cubicBezTo>
                <a:cubicBezTo>
                  <a:pt x="263" y="53"/>
                  <a:pt x="261" y="51"/>
                  <a:pt x="258" y="51"/>
                </a:cubicBezTo>
                <a:cubicBezTo>
                  <a:pt x="247" y="51"/>
                  <a:pt x="247" y="51"/>
                  <a:pt x="247" y="51"/>
                </a:cubicBezTo>
                <a:cubicBezTo>
                  <a:pt x="247" y="18"/>
                  <a:pt x="247" y="18"/>
                  <a:pt x="247" y="18"/>
                </a:cubicBezTo>
                <a:cubicBezTo>
                  <a:pt x="322" y="18"/>
                  <a:pt x="322" y="18"/>
                  <a:pt x="322" y="18"/>
                </a:cubicBezTo>
                <a:cubicBezTo>
                  <a:pt x="322" y="120"/>
                  <a:pt x="322" y="120"/>
                  <a:pt x="322" y="120"/>
                </a:cubicBezTo>
                <a:cubicBezTo>
                  <a:pt x="228" y="120"/>
                  <a:pt x="228" y="120"/>
                  <a:pt x="228" y="120"/>
                </a:cubicBezTo>
                <a:cubicBezTo>
                  <a:pt x="228" y="105"/>
                  <a:pt x="228" y="105"/>
                  <a:pt x="228" y="105"/>
                </a:cubicBezTo>
                <a:cubicBezTo>
                  <a:pt x="228" y="103"/>
                  <a:pt x="227" y="102"/>
                  <a:pt x="225" y="102"/>
                </a:cubicBezTo>
                <a:cubicBezTo>
                  <a:pt x="221" y="102"/>
                  <a:pt x="221" y="102"/>
                  <a:pt x="221" y="102"/>
                </a:cubicBezTo>
                <a:cubicBezTo>
                  <a:pt x="219" y="102"/>
                  <a:pt x="217" y="103"/>
                  <a:pt x="217" y="105"/>
                </a:cubicBezTo>
                <a:cubicBezTo>
                  <a:pt x="217" y="120"/>
                  <a:pt x="217" y="120"/>
                  <a:pt x="217" y="120"/>
                </a:cubicBezTo>
                <a:cubicBezTo>
                  <a:pt x="113" y="120"/>
                  <a:pt x="113" y="120"/>
                  <a:pt x="113" y="120"/>
                </a:cubicBezTo>
                <a:cubicBezTo>
                  <a:pt x="112" y="120"/>
                  <a:pt x="110" y="121"/>
                  <a:pt x="110" y="123"/>
                </a:cubicBezTo>
                <a:close/>
                <a:moveTo>
                  <a:pt x="0" y="100"/>
                </a:moveTo>
                <a:cubicBezTo>
                  <a:pt x="0" y="133"/>
                  <a:pt x="0" y="133"/>
                  <a:pt x="0" y="133"/>
                </a:cubicBezTo>
                <a:cubicBezTo>
                  <a:pt x="0" y="134"/>
                  <a:pt x="2" y="137"/>
                  <a:pt x="4" y="140"/>
                </a:cubicBezTo>
                <a:cubicBezTo>
                  <a:pt x="22" y="128"/>
                  <a:pt x="27" y="152"/>
                  <a:pt x="43" y="139"/>
                </a:cubicBezTo>
                <a:cubicBezTo>
                  <a:pt x="60" y="125"/>
                  <a:pt x="71" y="151"/>
                  <a:pt x="84" y="141"/>
                </a:cubicBezTo>
                <a:cubicBezTo>
                  <a:pt x="91" y="135"/>
                  <a:pt x="99" y="135"/>
                  <a:pt x="105" y="136"/>
                </a:cubicBezTo>
                <a:cubicBezTo>
                  <a:pt x="105" y="123"/>
                  <a:pt x="105" y="123"/>
                  <a:pt x="105" y="123"/>
                </a:cubicBezTo>
                <a:cubicBezTo>
                  <a:pt x="105" y="118"/>
                  <a:pt x="109" y="115"/>
                  <a:pt x="113" y="115"/>
                </a:cubicBezTo>
                <a:cubicBezTo>
                  <a:pt x="212" y="115"/>
                  <a:pt x="212" y="115"/>
                  <a:pt x="212" y="11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0"/>
                  <a:pt x="216" y="96"/>
                  <a:pt x="221" y="96"/>
                </a:cubicBezTo>
                <a:cubicBezTo>
                  <a:pt x="225" y="96"/>
                  <a:pt x="225" y="96"/>
                  <a:pt x="225" y="96"/>
                </a:cubicBezTo>
                <a:cubicBezTo>
                  <a:pt x="230" y="96"/>
                  <a:pt x="234" y="100"/>
                  <a:pt x="234" y="105"/>
                </a:cubicBezTo>
                <a:cubicBezTo>
                  <a:pt x="234" y="115"/>
                  <a:pt x="234" y="115"/>
                  <a:pt x="234" y="115"/>
                </a:cubicBezTo>
                <a:cubicBezTo>
                  <a:pt x="252" y="115"/>
                  <a:pt x="252" y="115"/>
                  <a:pt x="252" y="115"/>
                </a:cubicBezTo>
                <a:cubicBezTo>
                  <a:pt x="253" y="113"/>
                  <a:pt x="253" y="112"/>
                  <a:pt x="254" y="111"/>
                </a:cubicBezTo>
                <a:cubicBezTo>
                  <a:pt x="258" y="99"/>
                  <a:pt x="276" y="90"/>
                  <a:pt x="276" y="90"/>
                </a:cubicBezTo>
                <a:cubicBezTo>
                  <a:pt x="277" y="89"/>
                  <a:pt x="276" y="88"/>
                  <a:pt x="275" y="88"/>
                </a:cubicBezTo>
                <a:cubicBezTo>
                  <a:pt x="201" y="88"/>
                  <a:pt x="201" y="88"/>
                  <a:pt x="201" y="88"/>
                </a:cubicBezTo>
                <a:cubicBezTo>
                  <a:pt x="200" y="88"/>
                  <a:pt x="197" y="90"/>
                  <a:pt x="194" y="93"/>
                </a:cubicBezTo>
                <a:cubicBezTo>
                  <a:pt x="190" y="96"/>
                  <a:pt x="189" y="97"/>
                  <a:pt x="189" y="97"/>
                </a:cubicBezTo>
                <a:cubicBezTo>
                  <a:pt x="188" y="98"/>
                  <a:pt x="186" y="98"/>
                  <a:pt x="184" y="98"/>
                </a:cubicBezTo>
                <a:cubicBezTo>
                  <a:pt x="162" y="98"/>
                  <a:pt x="162" y="98"/>
                  <a:pt x="162" y="98"/>
                </a:cubicBezTo>
                <a:cubicBezTo>
                  <a:pt x="162" y="98"/>
                  <a:pt x="162" y="98"/>
                  <a:pt x="162" y="98"/>
                </a:cubicBezTo>
                <a:cubicBezTo>
                  <a:pt x="148" y="98"/>
                  <a:pt x="148" y="98"/>
                  <a:pt x="148" y="98"/>
                </a:cubicBezTo>
                <a:cubicBezTo>
                  <a:pt x="148" y="64"/>
                  <a:pt x="148" y="64"/>
                  <a:pt x="148" y="64"/>
                </a:cubicBezTo>
                <a:cubicBezTo>
                  <a:pt x="148" y="61"/>
                  <a:pt x="146" y="59"/>
                  <a:pt x="143" y="59"/>
                </a:cubicBezTo>
                <a:cubicBezTo>
                  <a:pt x="80" y="59"/>
                  <a:pt x="80" y="59"/>
                  <a:pt x="80" y="59"/>
                </a:cubicBezTo>
                <a:cubicBezTo>
                  <a:pt x="80" y="25"/>
                  <a:pt x="80" y="25"/>
                  <a:pt x="80" y="25"/>
                </a:cubicBezTo>
                <a:cubicBezTo>
                  <a:pt x="80" y="24"/>
                  <a:pt x="80" y="23"/>
                  <a:pt x="78" y="23"/>
                </a:cubicBezTo>
                <a:cubicBezTo>
                  <a:pt x="77" y="23"/>
                  <a:pt x="76" y="24"/>
                  <a:pt x="76" y="25"/>
                </a:cubicBezTo>
                <a:cubicBezTo>
                  <a:pt x="76" y="59"/>
                  <a:pt x="76" y="59"/>
                  <a:pt x="76" y="59"/>
                </a:cubicBezTo>
                <a:cubicBezTo>
                  <a:pt x="65" y="59"/>
                  <a:pt x="65" y="59"/>
                  <a:pt x="65" y="59"/>
                </a:cubicBezTo>
                <a:cubicBezTo>
                  <a:pt x="62" y="59"/>
                  <a:pt x="58" y="61"/>
                  <a:pt x="56" y="63"/>
                </a:cubicBezTo>
                <a:cubicBezTo>
                  <a:pt x="35" y="84"/>
                  <a:pt x="35" y="84"/>
                  <a:pt x="35" y="84"/>
                </a:cubicBezTo>
                <a:cubicBezTo>
                  <a:pt x="32" y="86"/>
                  <a:pt x="31" y="90"/>
                  <a:pt x="31" y="94"/>
                </a:cubicBezTo>
                <a:cubicBezTo>
                  <a:pt x="31" y="98"/>
                  <a:pt x="31" y="98"/>
                  <a:pt x="31" y="98"/>
                </a:cubicBezTo>
                <a:cubicBezTo>
                  <a:pt x="2" y="98"/>
                  <a:pt x="2" y="98"/>
                  <a:pt x="2" y="98"/>
                </a:cubicBezTo>
                <a:cubicBezTo>
                  <a:pt x="1" y="98"/>
                  <a:pt x="0" y="99"/>
                  <a:pt x="0" y="10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4861CF5F-907B-4CC3-9B01-A6698F80001D}"/>
              </a:ext>
            </a:extLst>
          </p:cNvPr>
          <p:cNvSpPr>
            <a:spLocks/>
          </p:cNvSpPr>
          <p:nvPr/>
        </p:nvSpPr>
        <p:spPr bwMode="auto">
          <a:xfrm>
            <a:off x="3938575" y="3255996"/>
            <a:ext cx="1221419" cy="454779"/>
          </a:xfrm>
          <a:custGeom>
            <a:avLst/>
            <a:gdLst>
              <a:gd name="T0" fmla="*/ 6373 w 421"/>
              <a:gd name="T1" fmla="*/ 226552 h 100"/>
              <a:gd name="T2" fmla="*/ 79658 w 421"/>
              <a:gd name="T3" fmla="*/ 226552 h 100"/>
              <a:gd name="T4" fmla="*/ 79658 w 421"/>
              <a:gd name="T5" fmla="*/ 185071 h 100"/>
              <a:gd name="T6" fmla="*/ 92403 w 421"/>
              <a:gd name="T7" fmla="*/ 159544 h 100"/>
              <a:gd name="T8" fmla="*/ 146570 w 421"/>
              <a:gd name="T9" fmla="*/ 105299 h 100"/>
              <a:gd name="T10" fmla="*/ 172061 w 421"/>
              <a:gd name="T11" fmla="*/ 92536 h 100"/>
              <a:gd name="T12" fmla="*/ 200738 w 421"/>
              <a:gd name="T13" fmla="*/ 92536 h 100"/>
              <a:gd name="T14" fmla="*/ 200738 w 421"/>
              <a:gd name="T15" fmla="*/ 6382 h 100"/>
              <a:gd name="T16" fmla="*/ 207110 w 421"/>
              <a:gd name="T17" fmla="*/ 0 h 100"/>
              <a:gd name="T18" fmla="*/ 210297 w 421"/>
              <a:gd name="T19" fmla="*/ 6382 h 100"/>
              <a:gd name="T20" fmla="*/ 210297 w 421"/>
              <a:gd name="T21" fmla="*/ 92536 h 100"/>
              <a:gd name="T22" fmla="*/ 375985 w 421"/>
              <a:gd name="T23" fmla="*/ 92536 h 100"/>
              <a:gd name="T24" fmla="*/ 388730 w 421"/>
              <a:gd name="T25" fmla="*/ 108490 h 100"/>
              <a:gd name="T26" fmla="*/ 388730 w 421"/>
              <a:gd name="T27" fmla="*/ 149971 h 100"/>
              <a:gd name="T28" fmla="*/ 681871 w 421"/>
              <a:gd name="T29" fmla="*/ 149971 h 100"/>
              <a:gd name="T30" fmla="*/ 681871 w 421"/>
              <a:gd name="T31" fmla="*/ 149971 h 100"/>
              <a:gd name="T32" fmla="*/ 1045110 w 421"/>
              <a:gd name="T33" fmla="*/ 149971 h 100"/>
              <a:gd name="T34" fmla="*/ 1061042 w 421"/>
              <a:gd name="T35" fmla="*/ 165926 h 100"/>
              <a:gd name="T36" fmla="*/ 1061042 w 421"/>
              <a:gd name="T37" fmla="*/ 210598 h 100"/>
              <a:gd name="T38" fmla="*/ 1159817 w 421"/>
              <a:gd name="T39" fmla="*/ 210598 h 100"/>
              <a:gd name="T40" fmla="*/ 1172563 w 421"/>
              <a:gd name="T41" fmla="*/ 207407 h 100"/>
              <a:gd name="T42" fmla="*/ 1182121 w 421"/>
              <a:gd name="T43" fmla="*/ 201025 h 100"/>
              <a:gd name="T44" fmla="*/ 1198053 w 421"/>
              <a:gd name="T45" fmla="*/ 188262 h 100"/>
              <a:gd name="T46" fmla="*/ 1338251 w 421"/>
              <a:gd name="T47" fmla="*/ 188262 h 100"/>
              <a:gd name="T48" fmla="*/ 1341437 w 421"/>
              <a:gd name="T49" fmla="*/ 194644 h 100"/>
              <a:gd name="T50" fmla="*/ 1319133 w 421"/>
              <a:gd name="T51" fmla="*/ 239316 h 100"/>
              <a:gd name="T52" fmla="*/ 1306388 w 421"/>
              <a:gd name="T53" fmla="*/ 293561 h 100"/>
              <a:gd name="T54" fmla="*/ 1312760 w 421"/>
              <a:gd name="T55" fmla="*/ 303134 h 100"/>
              <a:gd name="T56" fmla="*/ 1325505 w 421"/>
              <a:gd name="T57" fmla="*/ 312706 h 100"/>
              <a:gd name="T58" fmla="*/ 1325505 w 421"/>
              <a:gd name="T59" fmla="*/ 319088 h 100"/>
              <a:gd name="T60" fmla="*/ 25490 w 421"/>
              <a:gd name="T61" fmla="*/ 319088 h 100"/>
              <a:gd name="T62" fmla="*/ 15932 w 421"/>
              <a:gd name="T63" fmla="*/ 312706 h 100"/>
              <a:gd name="T64" fmla="*/ 0 w 421"/>
              <a:gd name="T65" fmla="*/ 287179 h 100"/>
              <a:gd name="T66" fmla="*/ 0 w 421"/>
              <a:gd name="T67" fmla="*/ 232934 h 100"/>
              <a:gd name="T68" fmla="*/ 6373 w 421"/>
              <a:gd name="T69" fmla="*/ 226552 h 10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421" h="100">
                <a:moveTo>
                  <a:pt x="2" y="71"/>
                </a:moveTo>
                <a:cubicBezTo>
                  <a:pt x="25" y="71"/>
                  <a:pt x="25" y="71"/>
                  <a:pt x="25" y="71"/>
                </a:cubicBezTo>
                <a:cubicBezTo>
                  <a:pt x="25" y="58"/>
                  <a:pt x="25" y="58"/>
                  <a:pt x="25" y="58"/>
                </a:cubicBezTo>
                <a:cubicBezTo>
                  <a:pt x="25" y="55"/>
                  <a:pt x="27" y="52"/>
                  <a:pt x="29" y="50"/>
                </a:cubicBezTo>
                <a:cubicBezTo>
                  <a:pt x="46" y="33"/>
                  <a:pt x="46" y="33"/>
                  <a:pt x="46" y="33"/>
                </a:cubicBezTo>
                <a:cubicBezTo>
                  <a:pt x="48" y="31"/>
                  <a:pt x="51" y="29"/>
                  <a:pt x="54" y="29"/>
                </a:cubicBezTo>
                <a:cubicBezTo>
                  <a:pt x="63" y="29"/>
                  <a:pt x="63" y="29"/>
                  <a:pt x="63" y="29"/>
                </a:cubicBezTo>
                <a:cubicBezTo>
                  <a:pt x="63" y="2"/>
                  <a:pt x="63" y="2"/>
                  <a:pt x="63" y="2"/>
                </a:cubicBezTo>
                <a:cubicBezTo>
                  <a:pt x="63" y="1"/>
                  <a:pt x="64" y="0"/>
                  <a:pt x="65" y="0"/>
                </a:cubicBezTo>
                <a:cubicBezTo>
                  <a:pt x="66" y="0"/>
                  <a:pt x="66" y="1"/>
                  <a:pt x="66" y="2"/>
                </a:cubicBezTo>
                <a:cubicBezTo>
                  <a:pt x="66" y="29"/>
                  <a:pt x="66" y="29"/>
                  <a:pt x="66" y="29"/>
                </a:cubicBezTo>
                <a:cubicBezTo>
                  <a:pt x="118" y="29"/>
                  <a:pt x="118" y="29"/>
                  <a:pt x="118" y="29"/>
                </a:cubicBezTo>
                <a:cubicBezTo>
                  <a:pt x="120" y="29"/>
                  <a:pt x="122" y="31"/>
                  <a:pt x="122" y="34"/>
                </a:cubicBezTo>
                <a:cubicBezTo>
                  <a:pt x="122" y="47"/>
                  <a:pt x="122" y="47"/>
                  <a:pt x="122" y="47"/>
                </a:cubicBezTo>
                <a:cubicBezTo>
                  <a:pt x="214" y="47"/>
                  <a:pt x="214" y="47"/>
                  <a:pt x="214" y="47"/>
                </a:cubicBezTo>
                <a:cubicBezTo>
                  <a:pt x="214" y="47"/>
                  <a:pt x="214" y="47"/>
                  <a:pt x="214" y="47"/>
                </a:cubicBezTo>
                <a:cubicBezTo>
                  <a:pt x="328" y="47"/>
                  <a:pt x="328" y="47"/>
                  <a:pt x="328" y="47"/>
                </a:cubicBezTo>
                <a:cubicBezTo>
                  <a:pt x="330" y="47"/>
                  <a:pt x="333" y="49"/>
                  <a:pt x="333" y="52"/>
                </a:cubicBezTo>
                <a:cubicBezTo>
                  <a:pt x="333" y="66"/>
                  <a:pt x="333" y="66"/>
                  <a:pt x="333" y="66"/>
                </a:cubicBezTo>
                <a:cubicBezTo>
                  <a:pt x="364" y="66"/>
                  <a:pt x="364" y="66"/>
                  <a:pt x="364" y="66"/>
                </a:cubicBezTo>
                <a:cubicBezTo>
                  <a:pt x="365" y="66"/>
                  <a:pt x="367" y="66"/>
                  <a:pt x="368" y="65"/>
                </a:cubicBezTo>
                <a:cubicBezTo>
                  <a:pt x="368" y="65"/>
                  <a:pt x="369" y="65"/>
                  <a:pt x="371" y="63"/>
                </a:cubicBezTo>
                <a:cubicBezTo>
                  <a:pt x="374" y="60"/>
                  <a:pt x="375" y="59"/>
                  <a:pt x="376" y="59"/>
                </a:cubicBezTo>
                <a:cubicBezTo>
                  <a:pt x="420" y="59"/>
                  <a:pt x="420" y="59"/>
                  <a:pt x="420" y="59"/>
                </a:cubicBezTo>
                <a:cubicBezTo>
                  <a:pt x="421" y="59"/>
                  <a:pt x="421" y="60"/>
                  <a:pt x="421" y="61"/>
                </a:cubicBezTo>
                <a:cubicBezTo>
                  <a:pt x="421" y="61"/>
                  <a:pt x="417" y="67"/>
                  <a:pt x="414" y="75"/>
                </a:cubicBezTo>
                <a:cubicBezTo>
                  <a:pt x="412" y="84"/>
                  <a:pt x="410" y="89"/>
                  <a:pt x="410" y="92"/>
                </a:cubicBezTo>
                <a:cubicBezTo>
                  <a:pt x="410" y="93"/>
                  <a:pt x="411" y="94"/>
                  <a:pt x="412" y="95"/>
                </a:cubicBezTo>
                <a:cubicBezTo>
                  <a:pt x="416" y="98"/>
                  <a:pt x="416" y="98"/>
                  <a:pt x="416" y="98"/>
                </a:cubicBezTo>
                <a:cubicBezTo>
                  <a:pt x="417" y="99"/>
                  <a:pt x="417" y="100"/>
                  <a:pt x="416" y="100"/>
                </a:cubicBezTo>
                <a:cubicBezTo>
                  <a:pt x="8" y="100"/>
                  <a:pt x="8" y="100"/>
                  <a:pt x="8" y="100"/>
                </a:cubicBezTo>
                <a:cubicBezTo>
                  <a:pt x="7" y="100"/>
                  <a:pt x="6" y="99"/>
                  <a:pt x="5" y="98"/>
                </a:cubicBezTo>
                <a:cubicBezTo>
                  <a:pt x="5" y="98"/>
                  <a:pt x="0" y="92"/>
                  <a:pt x="0" y="90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2"/>
                  <a:pt x="1" y="71"/>
                  <a:pt x="2" y="7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id="{BE7D72DD-395D-481E-879F-C5F4CCB00D1C}"/>
              </a:ext>
            </a:extLst>
          </p:cNvPr>
          <p:cNvSpPr>
            <a:spLocks noEditPoints="1"/>
          </p:cNvSpPr>
          <p:nvPr/>
        </p:nvSpPr>
        <p:spPr bwMode="auto">
          <a:xfrm>
            <a:off x="3939937" y="5072222"/>
            <a:ext cx="1221419" cy="393170"/>
          </a:xfrm>
          <a:custGeom>
            <a:avLst/>
            <a:gdLst>
              <a:gd name="T0" fmla="*/ 605228 w 305"/>
              <a:gd name="T1" fmla="*/ 255296 h 98"/>
              <a:gd name="T2" fmla="*/ 605228 w 305"/>
              <a:gd name="T3" fmla="*/ 280826 h 98"/>
              <a:gd name="T4" fmla="*/ 611599 w 305"/>
              <a:gd name="T5" fmla="*/ 287208 h 98"/>
              <a:gd name="T6" fmla="*/ 815465 w 305"/>
              <a:gd name="T7" fmla="*/ 287208 h 98"/>
              <a:gd name="T8" fmla="*/ 828207 w 305"/>
              <a:gd name="T9" fmla="*/ 284017 h 98"/>
              <a:gd name="T10" fmla="*/ 844134 w 305"/>
              <a:gd name="T11" fmla="*/ 264870 h 98"/>
              <a:gd name="T12" fmla="*/ 853690 w 305"/>
              <a:gd name="T13" fmla="*/ 261679 h 98"/>
              <a:gd name="T14" fmla="*/ 856875 w 305"/>
              <a:gd name="T15" fmla="*/ 261679 h 98"/>
              <a:gd name="T16" fmla="*/ 856875 w 305"/>
              <a:gd name="T17" fmla="*/ 268061 h 98"/>
              <a:gd name="T18" fmla="*/ 898286 w 305"/>
              <a:gd name="T19" fmla="*/ 312738 h 98"/>
              <a:gd name="T20" fmla="*/ 942881 w 305"/>
              <a:gd name="T21" fmla="*/ 268061 h 98"/>
              <a:gd name="T22" fmla="*/ 939696 w 305"/>
              <a:gd name="T23" fmla="*/ 261679 h 98"/>
              <a:gd name="T24" fmla="*/ 965179 w 305"/>
              <a:gd name="T25" fmla="*/ 261679 h 98"/>
              <a:gd name="T26" fmla="*/ 971550 w 305"/>
              <a:gd name="T27" fmla="*/ 255296 h 98"/>
              <a:gd name="T28" fmla="*/ 971550 w 305"/>
              <a:gd name="T29" fmla="*/ 140413 h 98"/>
              <a:gd name="T30" fmla="*/ 971550 w 305"/>
              <a:gd name="T31" fmla="*/ 127648 h 98"/>
              <a:gd name="T32" fmla="*/ 930140 w 305"/>
              <a:gd name="T33" fmla="*/ 38294 h 98"/>
              <a:gd name="T34" fmla="*/ 920583 w 305"/>
              <a:gd name="T35" fmla="*/ 31912 h 98"/>
              <a:gd name="T36" fmla="*/ 735830 w 305"/>
              <a:gd name="T37" fmla="*/ 31912 h 98"/>
              <a:gd name="T38" fmla="*/ 729459 w 305"/>
              <a:gd name="T39" fmla="*/ 38294 h 98"/>
              <a:gd name="T40" fmla="*/ 729459 w 305"/>
              <a:gd name="T41" fmla="*/ 242532 h 98"/>
              <a:gd name="T42" fmla="*/ 723088 w 305"/>
              <a:gd name="T43" fmla="*/ 248914 h 98"/>
              <a:gd name="T44" fmla="*/ 611599 w 305"/>
              <a:gd name="T45" fmla="*/ 248914 h 98"/>
              <a:gd name="T46" fmla="*/ 605228 w 305"/>
              <a:gd name="T47" fmla="*/ 255296 h 98"/>
              <a:gd name="T48" fmla="*/ 872802 w 305"/>
              <a:gd name="T49" fmla="*/ 57442 h 98"/>
              <a:gd name="T50" fmla="*/ 879173 w 305"/>
              <a:gd name="T51" fmla="*/ 51059 h 98"/>
              <a:gd name="T52" fmla="*/ 904656 w 305"/>
              <a:gd name="T53" fmla="*/ 51059 h 98"/>
              <a:gd name="T54" fmla="*/ 914213 w 305"/>
              <a:gd name="T55" fmla="*/ 57442 h 98"/>
              <a:gd name="T56" fmla="*/ 942881 w 305"/>
              <a:gd name="T57" fmla="*/ 118075 h 98"/>
              <a:gd name="T58" fmla="*/ 936510 w 305"/>
              <a:gd name="T59" fmla="*/ 124457 h 98"/>
              <a:gd name="T60" fmla="*/ 879173 w 305"/>
              <a:gd name="T61" fmla="*/ 124457 h 98"/>
              <a:gd name="T62" fmla="*/ 872802 w 305"/>
              <a:gd name="T63" fmla="*/ 118075 h 98"/>
              <a:gd name="T64" fmla="*/ 872802 w 305"/>
              <a:gd name="T65" fmla="*/ 57442 h 98"/>
              <a:gd name="T66" fmla="*/ 0 w 305"/>
              <a:gd name="T67" fmla="*/ 6382 h 98"/>
              <a:gd name="T68" fmla="*/ 0 w 305"/>
              <a:gd name="T69" fmla="*/ 258488 h 98"/>
              <a:gd name="T70" fmla="*/ 6371 w 305"/>
              <a:gd name="T71" fmla="*/ 268061 h 98"/>
              <a:gd name="T72" fmla="*/ 140158 w 305"/>
              <a:gd name="T73" fmla="*/ 268061 h 98"/>
              <a:gd name="T74" fmla="*/ 140158 w 305"/>
              <a:gd name="T75" fmla="*/ 268061 h 98"/>
              <a:gd name="T76" fmla="*/ 184754 w 305"/>
              <a:gd name="T77" fmla="*/ 312738 h 98"/>
              <a:gd name="T78" fmla="*/ 226164 w 305"/>
              <a:gd name="T79" fmla="*/ 268061 h 98"/>
              <a:gd name="T80" fmla="*/ 226164 w 305"/>
              <a:gd name="T81" fmla="*/ 268061 h 98"/>
              <a:gd name="T82" fmla="*/ 258018 w 305"/>
              <a:gd name="T83" fmla="*/ 268061 h 98"/>
              <a:gd name="T84" fmla="*/ 258018 w 305"/>
              <a:gd name="T85" fmla="*/ 268061 h 98"/>
              <a:gd name="T86" fmla="*/ 299429 w 305"/>
              <a:gd name="T87" fmla="*/ 312738 h 98"/>
              <a:gd name="T88" fmla="*/ 340839 w 305"/>
              <a:gd name="T89" fmla="*/ 268061 h 98"/>
              <a:gd name="T90" fmla="*/ 340839 w 305"/>
              <a:gd name="T91" fmla="*/ 268061 h 98"/>
              <a:gd name="T92" fmla="*/ 535149 w 305"/>
              <a:gd name="T93" fmla="*/ 268061 h 98"/>
              <a:gd name="T94" fmla="*/ 547890 w 305"/>
              <a:gd name="T95" fmla="*/ 261679 h 98"/>
              <a:gd name="T96" fmla="*/ 579745 w 305"/>
              <a:gd name="T97" fmla="*/ 229767 h 98"/>
              <a:gd name="T98" fmla="*/ 592486 w 305"/>
              <a:gd name="T99" fmla="*/ 223384 h 98"/>
              <a:gd name="T100" fmla="*/ 703976 w 305"/>
              <a:gd name="T101" fmla="*/ 223384 h 98"/>
              <a:gd name="T102" fmla="*/ 710346 w 305"/>
              <a:gd name="T103" fmla="*/ 217002 h 98"/>
              <a:gd name="T104" fmla="*/ 710346 w 305"/>
              <a:gd name="T105" fmla="*/ 6382 h 98"/>
              <a:gd name="T106" fmla="*/ 703976 w 305"/>
              <a:gd name="T107" fmla="*/ 0 h 98"/>
              <a:gd name="T108" fmla="*/ 6371 w 305"/>
              <a:gd name="T109" fmla="*/ 0 h 98"/>
              <a:gd name="T110" fmla="*/ 0 w 305"/>
              <a:gd name="T111" fmla="*/ 6382 h 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305" h="98">
                <a:moveTo>
                  <a:pt x="190" y="80"/>
                </a:moveTo>
                <a:cubicBezTo>
                  <a:pt x="190" y="88"/>
                  <a:pt x="190" y="88"/>
                  <a:pt x="190" y="88"/>
                </a:cubicBezTo>
                <a:cubicBezTo>
                  <a:pt x="190" y="89"/>
                  <a:pt x="191" y="90"/>
                  <a:pt x="192" y="90"/>
                </a:cubicBezTo>
                <a:cubicBezTo>
                  <a:pt x="256" y="90"/>
                  <a:pt x="256" y="90"/>
                  <a:pt x="256" y="90"/>
                </a:cubicBezTo>
                <a:cubicBezTo>
                  <a:pt x="257" y="90"/>
                  <a:pt x="259" y="89"/>
                  <a:pt x="260" y="89"/>
                </a:cubicBezTo>
                <a:cubicBezTo>
                  <a:pt x="265" y="83"/>
                  <a:pt x="265" y="83"/>
                  <a:pt x="265" y="83"/>
                </a:cubicBezTo>
                <a:cubicBezTo>
                  <a:pt x="266" y="83"/>
                  <a:pt x="267" y="82"/>
                  <a:pt x="268" y="82"/>
                </a:cubicBezTo>
                <a:cubicBezTo>
                  <a:pt x="269" y="82"/>
                  <a:pt x="269" y="82"/>
                  <a:pt x="269" y="82"/>
                </a:cubicBezTo>
                <a:cubicBezTo>
                  <a:pt x="269" y="83"/>
                  <a:pt x="269" y="84"/>
                  <a:pt x="269" y="84"/>
                </a:cubicBezTo>
                <a:cubicBezTo>
                  <a:pt x="269" y="92"/>
                  <a:pt x="275" y="98"/>
                  <a:pt x="282" y="98"/>
                </a:cubicBezTo>
                <a:cubicBezTo>
                  <a:pt x="290" y="98"/>
                  <a:pt x="296" y="92"/>
                  <a:pt x="296" y="84"/>
                </a:cubicBezTo>
                <a:cubicBezTo>
                  <a:pt x="296" y="84"/>
                  <a:pt x="295" y="83"/>
                  <a:pt x="295" y="82"/>
                </a:cubicBezTo>
                <a:cubicBezTo>
                  <a:pt x="303" y="82"/>
                  <a:pt x="303" y="82"/>
                  <a:pt x="303" y="82"/>
                </a:cubicBezTo>
                <a:cubicBezTo>
                  <a:pt x="304" y="82"/>
                  <a:pt x="305" y="81"/>
                  <a:pt x="305" y="80"/>
                </a:cubicBezTo>
                <a:cubicBezTo>
                  <a:pt x="305" y="44"/>
                  <a:pt x="305" y="44"/>
                  <a:pt x="305" y="44"/>
                </a:cubicBezTo>
                <a:cubicBezTo>
                  <a:pt x="305" y="43"/>
                  <a:pt x="305" y="41"/>
                  <a:pt x="305" y="40"/>
                </a:cubicBezTo>
                <a:cubicBezTo>
                  <a:pt x="292" y="12"/>
                  <a:pt x="292" y="12"/>
                  <a:pt x="292" y="12"/>
                </a:cubicBezTo>
                <a:cubicBezTo>
                  <a:pt x="291" y="11"/>
                  <a:pt x="290" y="10"/>
                  <a:pt x="289" y="10"/>
                </a:cubicBezTo>
                <a:cubicBezTo>
                  <a:pt x="231" y="10"/>
                  <a:pt x="231" y="10"/>
                  <a:pt x="231" y="10"/>
                </a:cubicBezTo>
                <a:cubicBezTo>
                  <a:pt x="230" y="10"/>
                  <a:pt x="229" y="11"/>
                  <a:pt x="229" y="12"/>
                </a:cubicBezTo>
                <a:cubicBezTo>
                  <a:pt x="229" y="76"/>
                  <a:pt x="229" y="76"/>
                  <a:pt x="229" y="76"/>
                </a:cubicBezTo>
                <a:cubicBezTo>
                  <a:pt x="229" y="77"/>
                  <a:pt x="228" y="78"/>
                  <a:pt x="227" y="78"/>
                </a:cubicBezTo>
                <a:cubicBezTo>
                  <a:pt x="192" y="78"/>
                  <a:pt x="192" y="78"/>
                  <a:pt x="192" y="78"/>
                </a:cubicBezTo>
                <a:cubicBezTo>
                  <a:pt x="191" y="78"/>
                  <a:pt x="190" y="79"/>
                  <a:pt x="190" y="80"/>
                </a:cubicBezTo>
                <a:close/>
                <a:moveTo>
                  <a:pt x="274" y="18"/>
                </a:moveTo>
                <a:cubicBezTo>
                  <a:pt x="274" y="17"/>
                  <a:pt x="274" y="16"/>
                  <a:pt x="276" y="16"/>
                </a:cubicBezTo>
                <a:cubicBezTo>
                  <a:pt x="284" y="16"/>
                  <a:pt x="284" y="16"/>
                  <a:pt x="284" y="16"/>
                </a:cubicBezTo>
                <a:cubicBezTo>
                  <a:pt x="286" y="16"/>
                  <a:pt x="287" y="17"/>
                  <a:pt x="287" y="18"/>
                </a:cubicBezTo>
                <a:cubicBezTo>
                  <a:pt x="296" y="37"/>
                  <a:pt x="296" y="37"/>
                  <a:pt x="296" y="37"/>
                </a:cubicBezTo>
                <a:cubicBezTo>
                  <a:pt x="296" y="38"/>
                  <a:pt x="296" y="39"/>
                  <a:pt x="294" y="39"/>
                </a:cubicBezTo>
                <a:cubicBezTo>
                  <a:pt x="276" y="39"/>
                  <a:pt x="276" y="39"/>
                  <a:pt x="276" y="39"/>
                </a:cubicBezTo>
                <a:cubicBezTo>
                  <a:pt x="274" y="39"/>
                  <a:pt x="274" y="38"/>
                  <a:pt x="274" y="37"/>
                </a:cubicBezTo>
                <a:lnTo>
                  <a:pt x="274" y="18"/>
                </a:lnTo>
                <a:close/>
                <a:moveTo>
                  <a:pt x="0" y="2"/>
                </a:moveTo>
                <a:cubicBezTo>
                  <a:pt x="0" y="81"/>
                  <a:pt x="0" y="81"/>
                  <a:pt x="0" y="81"/>
                </a:cubicBezTo>
                <a:cubicBezTo>
                  <a:pt x="0" y="83"/>
                  <a:pt x="1" y="84"/>
                  <a:pt x="2" y="84"/>
                </a:cubicBezTo>
                <a:cubicBezTo>
                  <a:pt x="44" y="84"/>
                  <a:pt x="44" y="84"/>
                  <a:pt x="44" y="84"/>
                </a:cubicBezTo>
                <a:cubicBezTo>
                  <a:pt x="44" y="84"/>
                  <a:pt x="44" y="84"/>
                  <a:pt x="44" y="84"/>
                </a:cubicBezTo>
                <a:cubicBezTo>
                  <a:pt x="44" y="92"/>
                  <a:pt x="50" y="98"/>
                  <a:pt x="58" y="98"/>
                </a:cubicBezTo>
                <a:cubicBezTo>
                  <a:pt x="65" y="98"/>
                  <a:pt x="71" y="92"/>
                  <a:pt x="71" y="84"/>
                </a:cubicBezTo>
                <a:cubicBezTo>
                  <a:pt x="71" y="84"/>
                  <a:pt x="71" y="84"/>
                  <a:pt x="71" y="84"/>
                </a:cubicBezTo>
                <a:cubicBezTo>
                  <a:pt x="81" y="84"/>
                  <a:pt x="81" y="84"/>
                  <a:pt x="81" y="84"/>
                </a:cubicBezTo>
                <a:cubicBezTo>
                  <a:pt x="81" y="84"/>
                  <a:pt x="81" y="84"/>
                  <a:pt x="81" y="84"/>
                </a:cubicBezTo>
                <a:cubicBezTo>
                  <a:pt x="81" y="92"/>
                  <a:pt x="87" y="98"/>
                  <a:pt x="94" y="98"/>
                </a:cubicBezTo>
                <a:cubicBezTo>
                  <a:pt x="101" y="98"/>
                  <a:pt x="107" y="92"/>
                  <a:pt x="107" y="84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68" y="84"/>
                  <a:pt x="168" y="84"/>
                  <a:pt x="168" y="84"/>
                </a:cubicBezTo>
                <a:cubicBezTo>
                  <a:pt x="170" y="84"/>
                  <a:pt x="171" y="83"/>
                  <a:pt x="172" y="82"/>
                </a:cubicBezTo>
                <a:cubicBezTo>
                  <a:pt x="182" y="72"/>
                  <a:pt x="182" y="72"/>
                  <a:pt x="182" y="72"/>
                </a:cubicBezTo>
                <a:cubicBezTo>
                  <a:pt x="183" y="71"/>
                  <a:pt x="185" y="70"/>
                  <a:pt x="186" y="70"/>
                </a:cubicBezTo>
                <a:cubicBezTo>
                  <a:pt x="221" y="70"/>
                  <a:pt x="221" y="70"/>
                  <a:pt x="221" y="70"/>
                </a:cubicBezTo>
                <a:cubicBezTo>
                  <a:pt x="222" y="70"/>
                  <a:pt x="223" y="69"/>
                  <a:pt x="223" y="68"/>
                </a:cubicBezTo>
                <a:cubicBezTo>
                  <a:pt x="223" y="2"/>
                  <a:pt x="223" y="2"/>
                  <a:pt x="223" y="2"/>
                </a:cubicBezTo>
                <a:cubicBezTo>
                  <a:pt x="223" y="1"/>
                  <a:pt x="222" y="0"/>
                  <a:pt x="221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9CAB0743-0B9B-4233-891E-4B6071D0F973}"/>
              </a:ext>
            </a:extLst>
          </p:cNvPr>
          <p:cNvSpPr/>
          <p:nvPr/>
        </p:nvSpPr>
        <p:spPr>
          <a:xfrm rot="10800000">
            <a:off x="2327564" y="1800969"/>
            <a:ext cx="1539514" cy="4773009"/>
          </a:xfrm>
          <a:prstGeom prst="homePlate">
            <a:avLst>
              <a:gd name="adj" fmla="val 51936"/>
            </a:avLst>
          </a:prstGeom>
          <a:solidFill>
            <a:schemeClr val="tx2">
              <a:lumMod val="40000"/>
              <a:lumOff val="60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0F33F43-7952-48E3-94DC-B90D61192CC4}"/>
              </a:ext>
            </a:extLst>
          </p:cNvPr>
          <p:cNvSpPr/>
          <p:nvPr/>
        </p:nvSpPr>
        <p:spPr>
          <a:xfrm>
            <a:off x="651164" y="1824181"/>
            <a:ext cx="1856509" cy="47498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200000"/>
              </a:lnSpc>
            </a:pPr>
            <a:r>
              <a:rPr lang="en-GB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nataka Maritime Board developed Maritime Perspective Plan for the State to identify opportunities for maritime sector developmen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0CF1634-6536-4DD5-BB39-C3C65B9E49E3}"/>
              </a:ext>
            </a:extLst>
          </p:cNvPr>
          <p:cNvSpPr txBox="1"/>
          <p:nvPr/>
        </p:nvSpPr>
        <p:spPr>
          <a:xfrm>
            <a:off x="2539013" y="3372993"/>
            <a:ext cx="1309797" cy="165667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GB" sz="1400" b="1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ctive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 plan provided outputs across 5 themes</a:t>
            </a:r>
            <a:endParaRPr lang="en-GB" sz="1400" b="1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E40A5B4-8A01-49CC-9B6D-F29523737289}"/>
              </a:ext>
            </a:extLst>
          </p:cNvPr>
          <p:cNvSpPr/>
          <p:nvPr/>
        </p:nvSpPr>
        <p:spPr bwMode="ltGray">
          <a:xfrm rot="5400000">
            <a:off x="7574652" y="-1681216"/>
            <a:ext cx="373037" cy="7420787"/>
          </a:xfrm>
          <a:prstGeom prst="rect">
            <a:avLst/>
          </a:prstGeom>
          <a:solidFill>
            <a:schemeClr val="tx2">
              <a:lumMod val="7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vert="vert270" tIns="91440" bIns="91440" rtlCol="0" anchor="ctr">
            <a:noAutofit/>
          </a:bodyPr>
          <a:lstStyle/>
          <a:p>
            <a:pPr lvl="0" algn="ctr" defTabSz="762000" eaLnBrk="0" hangingPunct="0">
              <a:spcBef>
                <a:spcPct val="40000"/>
              </a:spcBef>
              <a:buClr>
                <a:srgbClr val="DC6900"/>
              </a:buClr>
              <a:buSzPct val="85000"/>
              <a:tabLst>
                <a:tab pos="1590675" algn="l"/>
                <a:tab pos="2047875" algn="r"/>
              </a:tabLst>
              <a:defRPr/>
            </a:pPr>
            <a:r>
              <a:rPr lang="en-GB" sz="1800" b="1" kern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s for maritime sector developmen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6A53CFB-35B8-46E3-8A30-4B10A44AE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80495B4-C09A-4A63-806E-83DD31B65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78020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C5FF4CE-10C0-43A7-9DAD-4EDD6B6DB6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338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ECEC13A5-37A6-4E9A-A250-E3488B945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ln>
            <a:solidFill>
              <a:schemeClr val="accent1"/>
            </a:solidFill>
            <a:prstDash val="sysDash"/>
          </a:ln>
        </p:spPr>
        <p:txBody>
          <a:bodyPr vert="horz"/>
          <a:lstStyle/>
          <a:p>
            <a:pPr algn="ctr"/>
            <a:r>
              <a:rPr lang="en-GB" sz="2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time perspective plan provided outputs highlighting requirement of maritime sector development across 5 themes</a:t>
            </a:r>
          </a:p>
        </p:txBody>
      </p:sp>
      <p:graphicFrame>
        <p:nvGraphicFramePr>
          <p:cNvPr id="9" name="Table 59">
            <a:extLst>
              <a:ext uri="{FF2B5EF4-FFF2-40B4-BE49-F238E27FC236}">
                <a16:creationId xmlns:a16="http://schemas.microsoft.com/office/drawing/2014/main" id="{B4825461-FBBE-4C95-BF46-86805A7BE202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14106115"/>
              </p:ext>
            </p:extLst>
          </p:nvPr>
        </p:nvGraphicFramePr>
        <p:xfrm>
          <a:off x="778843" y="1988603"/>
          <a:ext cx="10637301" cy="4190525"/>
        </p:xfrm>
        <a:graphic>
          <a:graphicData uri="http://schemas.openxmlformats.org/drawingml/2006/table">
            <a:tbl>
              <a:tblPr firstRow="1" firstCol="1" bandRow="1"/>
              <a:tblGrid>
                <a:gridCol w="690454">
                  <a:extLst>
                    <a:ext uri="{9D8B030D-6E8A-4147-A177-3AD203B41FA5}">
                      <a16:colId xmlns:a16="http://schemas.microsoft.com/office/drawing/2014/main" val="2599783154"/>
                    </a:ext>
                  </a:extLst>
                </a:gridCol>
                <a:gridCol w="2475924">
                  <a:extLst>
                    <a:ext uri="{9D8B030D-6E8A-4147-A177-3AD203B41FA5}">
                      <a16:colId xmlns:a16="http://schemas.microsoft.com/office/drawing/2014/main" val="2914237243"/>
                    </a:ext>
                  </a:extLst>
                </a:gridCol>
                <a:gridCol w="7470923">
                  <a:extLst>
                    <a:ext uri="{9D8B030D-6E8A-4147-A177-3AD203B41FA5}">
                      <a16:colId xmlns:a16="http://schemas.microsoft.com/office/drawing/2014/main" val="2666932148"/>
                    </a:ext>
                  </a:extLst>
                </a:gridCol>
              </a:tblGrid>
              <a:tr h="670836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bg2"/>
                          </a:solidFill>
                          <a:latin typeface="+mn-lt"/>
                        </a:rPr>
                        <a:t>Theme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bg2"/>
                          </a:solidFill>
                          <a:latin typeface="+mn-lt"/>
                        </a:rPr>
                        <a:t>Output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989627"/>
                  </a:ext>
                </a:extLst>
              </a:tr>
              <a:tr h="670836"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bg2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bg2"/>
                          </a:solidFill>
                          <a:latin typeface="+mn-lt"/>
                        </a:rPr>
                        <a:t>Port facilities for existing cargo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~ 10 MTPA of cargo including thermal coal, pet coke, liquid bulk, general cargo and container  by FY’35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306742"/>
                  </a:ext>
                </a:extLst>
              </a:tr>
              <a:tr h="836345"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bg2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2"/>
                          </a:solidFill>
                          <a:latin typeface="+mn-lt"/>
                        </a:rPr>
                        <a:t>Coastal cargo through port-based storage cum distribution center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~3 MTPA of coastal cargo including cement, food grains and fertilizers by FY‘35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041771"/>
                  </a:ext>
                </a:extLst>
              </a:tr>
              <a:tr h="670836"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bg2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bg2"/>
                          </a:solidFill>
                          <a:latin typeface="+mn-lt"/>
                        </a:rPr>
                        <a:t>Port based industries development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Establishing fish processing units, warehouse &amp; VAS facilities for </a:t>
                      </a:r>
                      <a:r>
                        <a:rPr lang="en-GB" sz="1600" dirty="0" err="1">
                          <a:latin typeface="+mn-lt"/>
                        </a:rPr>
                        <a:t>agro</a:t>
                      </a:r>
                      <a:r>
                        <a:rPr lang="en-GB" sz="1600" dirty="0">
                          <a:latin typeface="+mn-lt"/>
                        </a:rPr>
                        <a:t> trade, fertilizers, etc., logistics parks and industrial parks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125520"/>
                  </a:ext>
                </a:extLst>
              </a:tr>
              <a:tr h="670836"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bg2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bg2"/>
                          </a:solidFill>
                          <a:latin typeface="+mn-lt"/>
                        </a:rPr>
                        <a:t>Alternate hinterland connectivity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+mn-lt"/>
                        </a:rPr>
                        <a:t>Movement of iron ore through slurry pipeline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9205898"/>
                  </a:ext>
                </a:extLst>
              </a:tr>
              <a:tr h="670836"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chemeClr val="bg2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bg2"/>
                          </a:solidFill>
                          <a:latin typeface="+mn-lt"/>
                        </a:rPr>
                        <a:t>Maritime led tourism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+mn-lt"/>
                        </a:rPr>
                        <a:t>Houseboats, river cruise, luxury yachts &amp; sailing boats, marine, cruise ship, catamarans, </a:t>
                      </a:r>
                      <a:r>
                        <a:rPr lang="en-GB" sz="1600" dirty="0" err="1">
                          <a:latin typeface="+mn-lt"/>
                        </a:rPr>
                        <a:t>heli</a:t>
                      </a:r>
                      <a:r>
                        <a:rPr lang="en-GB" sz="1600" dirty="0">
                          <a:latin typeface="+mn-lt"/>
                        </a:rPr>
                        <a:t>-tourism, water sports institute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641730"/>
                  </a:ext>
                </a:extLst>
              </a:tr>
            </a:tbl>
          </a:graphicData>
        </a:graphic>
      </p:graphicFrame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42C0C0FF-88B6-456B-A1EB-766951384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77F9C4F-837E-4924-9B2E-1F06E2FF0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8257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7A460F-548D-4AB0-A1AB-AA06817AA1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84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871ADD09-43F8-4A06-A5CE-9223644F0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ln>
            <a:solidFill>
              <a:schemeClr val="accent1"/>
            </a:solidFill>
            <a:prstDash val="sysDash"/>
          </a:ln>
        </p:spPr>
        <p:txBody>
          <a:bodyPr vert="horz"/>
          <a:lstStyle/>
          <a:p>
            <a:pPr algn="ctr"/>
            <a:r>
              <a:rPr lang="en-GB" sz="2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ed infrastructure development will boost economic growth and create direct and indirect job opportuniti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1989B34-3F5A-4DB0-992B-89BB2D125EF9}"/>
              </a:ext>
            </a:extLst>
          </p:cNvPr>
          <p:cNvGrpSpPr/>
          <p:nvPr/>
        </p:nvGrpSpPr>
        <p:grpSpPr>
          <a:xfrm>
            <a:off x="2840180" y="2031838"/>
            <a:ext cx="4428677" cy="3773216"/>
            <a:chOff x="4194953" y="2148887"/>
            <a:chExt cx="5427693" cy="485519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380D677-C980-48B0-9590-DCF09FAF4701}"/>
                </a:ext>
              </a:extLst>
            </p:cNvPr>
            <p:cNvGrpSpPr/>
            <p:nvPr/>
          </p:nvGrpSpPr>
          <p:grpSpPr>
            <a:xfrm>
              <a:off x="4194953" y="2148887"/>
              <a:ext cx="5427693" cy="4855199"/>
              <a:chOff x="522164" y="2298700"/>
              <a:chExt cx="4598988" cy="4322763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21CF5EEF-BFC1-44AD-862A-C2DB2202E99C}"/>
                  </a:ext>
                </a:extLst>
              </p:cNvPr>
              <p:cNvGrpSpPr/>
              <p:nvPr/>
            </p:nvGrpSpPr>
            <p:grpSpPr>
              <a:xfrm>
                <a:off x="522164" y="2298700"/>
                <a:ext cx="4598988" cy="4322763"/>
                <a:chOff x="531688" y="2298700"/>
                <a:chExt cx="4598988" cy="4322763"/>
              </a:xfrm>
            </p:grpSpPr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ABFCA8D8-C4DD-47A5-8F06-E23D969B4344}"/>
                    </a:ext>
                  </a:extLst>
                </p:cNvPr>
                <p:cNvSpPr/>
                <p:nvPr/>
              </p:nvSpPr>
              <p:spPr bwMode="ltGray">
                <a:xfrm>
                  <a:off x="2084513" y="2832751"/>
                  <a:ext cx="1476000" cy="1476000"/>
                </a:xfrm>
                <a:prstGeom prst="ellipse">
                  <a:avLst/>
                </a:prstGeom>
                <a:noFill/>
                <a:ln w="3175">
                  <a:solidFill>
                    <a:srgbClr val="D5D1C5"/>
                  </a:solidFill>
                </a:ln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F92F591B-635E-48FF-9095-FC88B57F01D9}"/>
                    </a:ext>
                  </a:extLst>
                </p:cNvPr>
                <p:cNvSpPr/>
                <p:nvPr/>
              </p:nvSpPr>
              <p:spPr bwMode="ltGray">
                <a:xfrm>
                  <a:off x="3111224" y="4596771"/>
                  <a:ext cx="1476000" cy="1476000"/>
                </a:xfrm>
                <a:prstGeom prst="ellipse">
                  <a:avLst/>
                </a:prstGeom>
                <a:noFill/>
                <a:ln w="3175">
                  <a:solidFill>
                    <a:srgbClr val="D5D1C5"/>
                  </a:solidFill>
                </a:ln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8545EA99-CCBB-40EC-A218-11A58AF96F5E}"/>
                    </a:ext>
                  </a:extLst>
                </p:cNvPr>
                <p:cNvSpPr/>
                <p:nvPr/>
              </p:nvSpPr>
              <p:spPr bwMode="ltGray">
                <a:xfrm>
                  <a:off x="1067884" y="4596771"/>
                  <a:ext cx="1476000" cy="1476000"/>
                </a:xfrm>
                <a:prstGeom prst="ellipse">
                  <a:avLst/>
                </a:prstGeom>
                <a:noFill/>
                <a:ln w="3175">
                  <a:solidFill>
                    <a:srgbClr val="D5D1C5"/>
                  </a:solidFill>
                </a:ln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9" name="Freeform 2210">
                  <a:extLst>
                    <a:ext uri="{FF2B5EF4-FFF2-40B4-BE49-F238E27FC236}">
                      <a16:creationId xmlns:a16="http://schemas.microsoft.com/office/drawing/2014/main" id="{D46897ED-6539-4223-AA1D-D1D61DD66A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1688" y="4037013"/>
                  <a:ext cx="2300287" cy="2584450"/>
                </a:xfrm>
                <a:custGeom>
                  <a:avLst/>
                  <a:gdLst>
                    <a:gd name="T0" fmla="*/ 1268 w 1449"/>
                    <a:gd name="T1" fmla="*/ 851 h 1628"/>
                    <a:gd name="T2" fmla="*/ 1252 w 1449"/>
                    <a:gd name="T3" fmla="*/ 939 h 1628"/>
                    <a:gd name="T4" fmla="*/ 1220 w 1449"/>
                    <a:gd name="T5" fmla="*/ 1020 h 1628"/>
                    <a:gd name="T6" fmla="*/ 1174 w 1449"/>
                    <a:gd name="T7" fmla="*/ 1093 h 1628"/>
                    <a:gd name="T8" fmla="*/ 1116 w 1449"/>
                    <a:gd name="T9" fmla="*/ 1155 h 1628"/>
                    <a:gd name="T10" fmla="*/ 1046 w 1449"/>
                    <a:gd name="T11" fmla="*/ 1206 h 1628"/>
                    <a:gd name="T12" fmla="*/ 967 w 1449"/>
                    <a:gd name="T13" fmla="*/ 1242 h 1628"/>
                    <a:gd name="T14" fmla="*/ 882 w 1449"/>
                    <a:gd name="T15" fmla="*/ 1264 h 1628"/>
                    <a:gd name="T16" fmla="*/ 814 w 1449"/>
                    <a:gd name="T17" fmla="*/ 1269 h 1628"/>
                    <a:gd name="T18" fmla="*/ 722 w 1449"/>
                    <a:gd name="T19" fmla="*/ 1260 h 1628"/>
                    <a:gd name="T20" fmla="*/ 637 w 1449"/>
                    <a:gd name="T21" fmla="*/ 1234 h 1628"/>
                    <a:gd name="T22" fmla="*/ 560 w 1449"/>
                    <a:gd name="T23" fmla="*/ 1192 h 1628"/>
                    <a:gd name="T24" fmla="*/ 492 w 1449"/>
                    <a:gd name="T25" fmla="*/ 1136 h 1628"/>
                    <a:gd name="T26" fmla="*/ 436 w 1449"/>
                    <a:gd name="T27" fmla="*/ 1068 h 1628"/>
                    <a:gd name="T28" fmla="*/ 394 w 1449"/>
                    <a:gd name="T29" fmla="*/ 991 h 1628"/>
                    <a:gd name="T30" fmla="*/ 368 w 1449"/>
                    <a:gd name="T31" fmla="*/ 906 h 1628"/>
                    <a:gd name="T32" fmla="*/ 359 w 1449"/>
                    <a:gd name="T33" fmla="*/ 814 h 1628"/>
                    <a:gd name="T34" fmla="*/ 364 w 1449"/>
                    <a:gd name="T35" fmla="*/ 745 h 1628"/>
                    <a:gd name="T36" fmla="*/ 387 w 1449"/>
                    <a:gd name="T37" fmla="*/ 658 h 1628"/>
                    <a:gd name="T38" fmla="*/ 425 w 1449"/>
                    <a:gd name="T39" fmla="*/ 578 h 1628"/>
                    <a:gd name="T40" fmla="*/ 477 w 1449"/>
                    <a:gd name="T41" fmla="*/ 508 h 1628"/>
                    <a:gd name="T42" fmla="*/ 542 w 1449"/>
                    <a:gd name="T43" fmla="*/ 450 h 1628"/>
                    <a:gd name="T44" fmla="*/ 617 w 1449"/>
                    <a:gd name="T45" fmla="*/ 404 h 1628"/>
                    <a:gd name="T46" fmla="*/ 701 w 1449"/>
                    <a:gd name="T47" fmla="*/ 374 h 1628"/>
                    <a:gd name="T48" fmla="*/ 791 w 1449"/>
                    <a:gd name="T49" fmla="*/ 360 h 1628"/>
                    <a:gd name="T50" fmla="*/ 866 w 1449"/>
                    <a:gd name="T51" fmla="*/ 362 h 1628"/>
                    <a:gd name="T52" fmla="*/ 962 w 1449"/>
                    <a:gd name="T53" fmla="*/ 384 h 1628"/>
                    <a:gd name="T54" fmla="*/ 1015 w 1449"/>
                    <a:gd name="T55" fmla="*/ 406 h 1628"/>
                    <a:gd name="T56" fmla="*/ 1188 w 1449"/>
                    <a:gd name="T57" fmla="*/ 91 h 1628"/>
                    <a:gd name="T58" fmla="*/ 1009 w 1449"/>
                    <a:gd name="T59" fmla="*/ 25 h 1628"/>
                    <a:gd name="T60" fmla="*/ 839 w 1449"/>
                    <a:gd name="T61" fmla="*/ 0 h 1628"/>
                    <a:gd name="T62" fmla="*/ 750 w 1449"/>
                    <a:gd name="T63" fmla="*/ 3 h 1628"/>
                    <a:gd name="T64" fmla="*/ 652 w 1449"/>
                    <a:gd name="T65" fmla="*/ 17 h 1628"/>
                    <a:gd name="T66" fmla="*/ 514 w 1449"/>
                    <a:gd name="T67" fmla="*/ 58 h 1628"/>
                    <a:gd name="T68" fmla="*/ 386 w 1449"/>
                    <a:gd name="T69" fmla="*/ 122 h 1628"/>
                    <a:gd name="T70" fmla="*/ 273 w 1449"/>
                    <a:gd name="T71" fmla="*/ 206 h 1628"/>
                    <a:gd name="T72" fmla="*/ 176 w 1449"/>
                    <a:gd name="T73" fmla="*/ 309 h 1628"/>
                    <a:gd name="T74" fmla="*/ 97 w 1449"/>
                    <a:gd name="T75" fmla="*/ 427 h 1628"/>
                    <a:gd name="T76" fmla="*/ 40 w 1449"/>
                    <a:gd name="T77" fmla="*/ 559 h 1628"/>
                    <a:gd name="T78" fmla="*/ 7 w 1449"/>
                    <a:gd name="T79" fmla="*/ 701 h 1628"/>
                    <a:gd name="T80" fmla="*/ 0 w 1449"/>
                    <a:gd name="T81" fmla="*/ 814 h 1628"/>
                    <a:gd name="T82" fmla="*/ 16 w 1449"/>
                    <a:gd name="T83" fmla="*/ 978 h 1628"/>
                    <a:gd name="T84" fmla="*/ 64 w 1449"/>
                    <a:gd name="T85" fmla="*/ 1131 h 1628"/>
                    <a:gd name="T86" fmla="*/ 139 w 1449"/>
                    <a:gd name="T87" fmla="*/ 1269 h 1628"/>
                    <a:gd name="T88" fmla="*/ 238 w 1449"/>
                    <a:gd name="T89" fmla="*/ 1390 h 1628"/>
                    <a:gd name="T90" fmla="*/ 359 w 1449"/>
                    <a:gd name="T91" fmla="*/ 1489 h 1628"/>
                    <a:gd name="T92" fmla="*/ 497 w 1449"/>
                    <a:gd name="T93" fmla="*/ 1564 h 1628"/>
                    <a:gd name="T94" fmla="*/ 650 w 1449"/>
                    <a:gd name="T95" fmla="*/ 1612 h 1628"/>
                    <a:gd name="T96" fmla="*/ 814 w 1449"/>
                    <a:gd name="T97" fmla="*/ 1628 h 1628"/>
                    <a:gd name="T98" fmla="*/ 955 w 1449"/>
                    <a:gd name="T99" fmla="*/ 1616 h 1628"/>
                    <a:gd name="T100" fmla="*/ 1131 w 1449"/>
                    <a:gd name="T101" fmla="*/ 1564 h 1628"/>
                    <a:gd name="T102" fmla="*/ 1287 w 1449"/>
                    <a:gd name="T103" fmla="*/ 1476 h 1628"/>
                    <a:gd name="T104" fmla="*/ 1419 w 1449"/>
                    <a:gd name="T105" fmla="*/ 1358 h 1628"/>
                    <a:gd name="T106" fmla="*/ 1409 w 1449"/>
                    <a:gd name="T107" fmla="*/ 1272 h 1628"/>
                    <a:gd name="T108" fmla="*/ 1344 w 1449"/>
                    <a:gd name="T109" fmla="*/ 1157 h 1628"/>
                    <a:gd name="T110" fmla="*/ 1299 w 1449"/>
                    <a:gd name="T111" fmla="*/ 1032 h 1628"/>
                    <a:gd name="T112" fmla="*/ 1273 w 1449"/>
                    <a:gd name="T113" fmla="*/ 898 h 16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49" h="1628">
                      <a:moveTo>
                        <a:pt x="1269" y="828"/>
                      </a:moveTo>
                      <a:lnTo>
                        <a:pt x="1269" y="828"/>
                      </a:lnTo>
                      <a:lnTo>
                        <a:pt x="1269" y="828"/>
                      </a:lnTo>
                      <a:lnTo>
                        <a:pt x="1268" y="851"/>
                      </a:lnTo>
                      <a:lnTo>
                        <a:pt x="1266" y="874"/>
                      </a:lnTo>
                      <a:lnTo>
                        <a:pt x="1262" y="896"/>
                      </a:lnTo>
                      <a:lnTo>
                        <a:pt x="1257" y="917"/>
                      </a:lnTo>
                      <a:lnTo>
                        <a:pt x="1252" y="939"/>
                      </a:lnTo>
                      <a:lnTo>
                        <a:pt x="1245" y="960"/>
                      </a:lnTo>
                      <a:lnTo>
                        <a:pt x="1238" y="981"/>
                      </a:lnTo>
                      <a:lnTo>
                        <a:pt x="1229" y="1001"/>
                      </a:lnTo>
                      <a:lnTo>
                        <a:pt x="1220" y="1020"/>
                      </a:lnTo>
                      <a:lnTo>
                        <a:pt x="1210" y="1039"/>
                      </a:lnTo>
                      <a:lnTo>
                        <a:pt x="1198" y="1058"/>
                      </a:lnTo>
                      <a:lnTo>
                        <a:pt x="1187" y="1076"/>
                      </a:lnTo>
                      <a:lnTo>
                        <a:pt x="1174" y="1093"/>
                      </a:lnTo>
                      <a:lnTo>
                        <a:pt x="1160" y="1109"/>
                      </a:lnTo>
                      <a:lnTo>
                        <a:pt x="1146" y="1126"/>
                      </a:lnTo>
                      <a:lnTo>
                        <a:pt x="1131" y="1141"/>
                      </a:lnTo>
                      <a:lnTo>
                        <a:pt x="1116" y="1155"/>
                      </a:lnTo>
                      <a:lnTo>
                        <a:pt x="1099" y="1169"/>
                      </a:lnTo>
                      <a:lnTo>
                        <a:pt x="1081" y="1183"/>
                      </a:lnTo>
                      <a:lnTo>
                        <a:pt x="1064" y="1194"/>
                      </a:lnTo>
                      <a:lnTo>
                        <a:pt x="1046" y="1206"/>
                      </a:lnTo>
                      <a:lnTo>
                        <a:pt x="1027" y="1217"/>
                      </a:lnTo>
                      <a:lnTo>
                        <a:pt x="1008" y="1226"/>
                      </a:lnTo>
                      <a:lnTo>
                        <a:pt x="988" y="1235"/>
                      </a:lnTo>
                      <a:lnTo>
                        <a:pt x="967" y="1242"/>
                      </a:lnTo>
                      <a:lnTo>
                        <a:pt x="947" y="1250"/>
                      </a:lnTo>
                      <a:lnTo>
                        <a:pt x="925" y="1255"/>
                      </a:lnTo>
                      <a:lnTo>
                        <a:pt x="904" y="1260"/>
                      </a:lnTo>
                      <a:lnTo>
                        <a:pt x="882" y="1264"/>
                      </a:lnTo>
                      <a:lnTo>
                        <a:pt x="859" y="1268"/>
                      </a:lnTo>
                      <a:lnTo>
                        <a:pt x="836" y="1269"/>
                      </a:lnTo>
                      <a:lnTo>
                        <a:pt x="814" y="1269"/>
                      </a:lnTo>
                      <a:lnTo>
                        <a:pt x="814" y="1269"/>
                      </a:lnTo>
                      <a:lnTo>
                        <a:pt x="791" y="1269"/>
                      </a:lnTo>
                      <a:lnTo>
                        <a:pt x="768" y="1267"/>
                      </a:lnTo>
                      <a:lnTo>
                        <a:pt x="745" y="1264"/>
                      </a:lnTo>
                      <a:lnTo>
                        <a:pt x="722" y="1260"/>
                      </a:lnTo>
                      <a:lnTo>
                        <a:pt x="701" y="1255"/>
                      </a:lnTo>
                      <a:lnTo>
                        <a:pt x="679" y="1249"/>
                      </a:lnTo>
                      <a:lnTo>
                        <a:pt x="657" y="1242"/>
                      </a:lnTo>
                      <a:lnTo>
                        <a:pt x="637" y="1234"/>
                      </a:lnTo>
                      <a:lnTo>
                        <a:pt x="617" y="1225"/>
                      </a:lnTo>
                      <a:lnTo>
                        <a:pt x="596" y="1214"/>
                      </a:lnTo>
                      <a:lnTo>
                        <a:pt x="577" y="1203"/>
                      </a:lnTo>
                      <a:lnTo>
                        <a:pt x="560" y="1192"/>
                      </a:lnTo>
                      <a:lnTo>
                        <a:pt x="542" y="1179"/>
                      </a:lnTo>
                      <a:lnTo>
                        <a:pt x="524" y="1165"/>
                      </a:lnTo>
                      <a:lnTo>
                        <a:pt x="508" y="1151"/>
                      </a:lnTo>
                      <a:lnTo>
                        <a:pt x="492" y="1136"/>
                      </a:lnTo>
                      <a:lnTo>
                        <a:pt x="477" y="1121"/>
                      </a:lnTo>
                      <a:lnTo>
                        <a:pt x="463" y="1104"/>
                      </a:lnTo>
                      <a:lnTo>
                        <a:pt x="449" y="1086"/>
                      </a:lnTo>
                      <a:lnTo>
                        <a:pt x="436" y="1068"/>
                      </a:lnTo>
                      <a:lnTo>
                        <a:pt x="425" y="1051"/>
                      </a:lnTo>
                      <a:lnTo>
                        <a:pt x="414" y="1032"/>
                      </a:lnTo>
                      <a:lnTo>
                        <a:pt x="403" y="1011"/>
                      </a:lnTo>
                      <a:lnTo>
                        <a:pt x="394" y="991"/>
                      </a:lnTo>
                      <a:lnTo>
                        <a:pt x="387" y="971"/>
                      </a:lnTo>
                      <a:lnTo>
                        <a:pt x="379" y="949"/>
                      </a:lnTo>
                      <a:lnTo>
                        <a:pt x="373" y="927"/>
                      </a:lnTo>
                      <a:lnTo>
                        <a:pt x="368" y="906"/>
                      </a:lnTo>
                      <a:lnTo>
                        <a:pt x="364" y="883"/>
                      </a:lnTo>
                      <a:lnTo>
                        <a:pt x="361" y="860"/>
                      </a:lnTo>
                      <a:lnTo>
                        <a:pt x="359" y="837"/>
                      </a:lnTo>
                      <a:lnTo>
                        <a:pt x="359" y="814"/>
                      </a:lnTo>
                      <a:lnTo>
                        <a:pt x="359" y="814"/>
                      </a:lnTo>
                      <a:lnTo>
                        <a:pt x="359" y="790"/>
                      </a:lnTo>
                      <a:lnTo>
                        <a:pt x="361" y="767"/>
                      </a:lnTo>
                      <a:lnTo>
                        <a:pt x="364" y="745"/>
                      </a:lnTo>
                      <a:lnTo>
                        <a:pt x="368" y="723"/>
                      </a:lnTo>
                      <a:lnTo>
                        <a:pt x="373" y="700"/>
                      </a:lnTo>
                      <a:lnTo>
                        <a:pt x="379" y="679"/>
                      </a:lnTo>
                      <a:lnTo>
                        <a:pt x="387" y="658"/>
                      </a:lnTo>
                      <a:lnTo>
                        <a:pt x="394" y="637"/>
                      </a:lnTo>
                      <a:lnTo>
                        <a:pt x="403" y="616"/>
                      </a:lnTo>
                      <a:lnTo>
                        <a:pt x="414" y="597"/>
                      </a:lnTo>
                      <a:lnTo>
                        <a:pt x="425" y="578"/>
                      </a:lnTo>
                      <a:lnTo>
                        <a:pt x="436" y="559"/>
                      </a:lnTo>
                      <a:lnTo>
                        <a:pt x="449" y="541"/>
                      </a:lnTo>
                      <a:lnTo>
                        <a:pt x="463" y="525"/>
                      </a:lnTo>
                      <a:lnTo>
                        <a:pt x="477" y="508"/>
                      </a:lnTo>
                      <a:lnTo>
                        <a:pt x="492" y="492"/>
                      </a:lnTo>
                      <a:lnTo>
                        <a:pt x="508" y="477"/>
                      </a:lnTo>
                      <a:lnTo>
                        <a:pt x="524" y="463"/>
                      </a:lnTo>
                      <a:lnTo>
                        <a:pt x="542" y="450"/>
                      </a:lnTo>
                      <a:lnTo>
                        <a:pt x="560" y="437"/>
                      </a:lnTo>
                      <a:lnTo>
                        <a:pt x="577" y="425"/>
                      </a:lnTo>
                      <a:lnTo>
                        <a:pt x="596" y="414"/>
                      </a:lnTo>
                      <a:lnTo>
                        <a:pt x="617" y="404"/>
                      </a:lnTo>
                      <a:lnTo>
                        <a:pt x="637" y="394"/>
                      </a:lnTo>
                      <a:lnTo>
                        <a:pt x="657" y="387"/>
                      </a:lnTo>
                      <a:lnTo>
                        <a:pt x="679" y="379"/>
                      </a:lnTo>
                      <a:lnTo>
                        <a:pt x="701" y="374"/>
                      </a:lnTo>
                      <a:lnTo>
                        <a:pt x="722" y="369"/>
                      </a:lnTo>
                      <a:lnTo>
                        <a:pt x="745" y="364"/>
                      </a:lnTo>
                      <a:lnTo>
                        <a:pt x="768" y="361"/>
                      </a:lnTo>
                      <a:lnTo>
                        <a:pt x="791" y="360"/>
                      </a:lnTo>
                      <a:lnTo>
                        <a:pt x="814" y="359"/>
                      </a:lnTo>
                      <a:lnTo>
                        <a:pt x="814" y="359"/>
                      </a:lnTo>
                      <a:lnTo>
                        <a:pt x="840" y="360"/>
                      </a:lnTo>
                      <a:lnTo>
                        <a:pt x="866" y="362"/>
                      </a:lnTo>
                      <a:lnTo>
                        <a:pt x="890" y="365"/>
                      </a:lnTo>
                      <a:lnTo>
                        <a:pt x="915" y="370"/>
                      </a:lnTo>
                      <a:lnTo>
                        <a:pt x="938" y="376"/>
                      </a:lnTo>
                      <a:lnTo>
                        <a:pt x="962" y="384"/>
                      </a:lnTo>
                      <a:lnTo>
                        <a:pt x="985" y="393"/>
                      </a:lnTo>
                      <a:lnTo>
                        <a:pt x="1008" y="402"/>
                      </a:lnTo>
                      <a:lnTo>
                        <a:pt x="1008" y="402"/>
                      </a:lnTo>
                      <a:lnTo>
                        <a:pt x="1015" y="406"/>
                      </a:lnTo>
                      <a:lnTo>
                        <a:pt x="1200" y="98"/>
                      </a:lnTo>
                      <a:lnTo>
                        <a:pt x="1200" y="98"/>
                      </a:lnTo>
                      <a:lnTo>
                        <a:pt x="1188" y="91"/>
                      </a:lnTo>
                      <a:lnTo>
                        <a:pt x="1188" y="91"/>
                      </a:lnTo>
                      <a:lnTo>
                        <a:pt x="1145" y="70"/>
                      </a:lnTo>
                      <a:lnTo>
                        <a:pt x="1101" y="53"/>
                      </a:lnTo>
                      <a:lnTo>
                        <a:pt x="1056" y="37"/>
                      </a:lnTo>
                      <a:lnTo>
                        <a:pt x="1009" y="25"/>
                      </a:lnTo>
                      <a:lnTo>
                        <a:pt x="962" y="13"/>
                      </a:lnTo>
                      <a:lnTo>
                        <a:pt x="914" y="7"/>
                      </a:lnTo>
                      <a:lnTo>
                        <a:pt x="864" y="2"/>
                      </a:lnTo>
                      <a:lnTo>
                        <a:pt x="839" y="0"/>
                      </a:lnTo>
                      <a:lnTo>
                        <a:pt x="814" y="0"/>
                      </a:lnTo>
                      <a:lnTo>
                        <a:pt x="814" y="0"/>
                      </a:lnTo>
                      <a:lnTo>
                        <a:pt x="782" y="0"/>
                      </a:lnTo>
                      <a:lnTo>
                        <a:pt x="750" y="3"/>
                      </a:lnTo>
                      <a:lnTo>
                        <a:pt x="720" y="6"/>
                      </a:lnTo>
                      <a:lnTo>
                        <a:pt x="689" y="9"/>
                      </a:lnTo>
                      <a:lnTo>
                        <a:pt x="689" y="9"/>
                      </a:lnTo>
                      <a:lnTo>
                        <a:pt x="652" y="17"/>
                      </a:lnTo>
                      <a:lnTo>
                        <a:pt x="617" y="25"/>
                      </a:lnTo>
                      <a:lnTo>
                        <a:pt x="581" y="33"/>
                      </a:lnTo>
                      <a:lnTo>
                        <a:pt x="547" y="45"/>
                      </a:lnTo>
                      <a:lnTo>
                        <a:pt x="514" y="58"/>
                      </a:lnTo>
                      <a:lnTo>
                        <a:pt x="480" y="72"/>
                      </a:lnTo>
                      <a:lnTo>
                        <a:pt x="448" y="87"/>
                      </a:lnTo>
                      <a:lnTo>
                        <a:pt x="416" y="103"/>
                      </a:lnTo>
                      <a:lnTo>
                        <a:pt x="386" y="122"/>
                      </a:lnTo>
                      <a:lnTo>
                        <a:pt x="356" y="141"/>
                      </a:lnTo>
                      <a:lnTo>
                        <a:pt x="327" y="162"/>
                      </a:lnTo>
                      <a:lnTo>
                        <a:pt x="299" y="183"/>
                      </a:lnTo>
                      <a:lnTo>
                        <a:pt x="273" y="206"/>
                      </a:lnTo>
                      <a:lnTo>
                        <a:pt x="246" y="230"/>
                      </a:lnTo>
                      <a:lnTo>
                        <a:pt x="222" y="256"/>
                      </a:lnTo>
                      <a:lnTo>
                        <a:pt x="198" y="282"/>
                      </a:lnTo>
                      <a:lnTo>
                        <a:pt x="176" y="309"/>
                      </a:lnTo>
                      <a:lnTo>
                        <a:pt x="154" y="337"/>
                      </a:lnTo>
                      <a:lnTo>
                        <a:pt x="134" y="366"/>
                      </a:lnTo>
                      <a:lnTo>
                        <a:pt x="115" y="397"/>
                      </a:lnTo>
                      <a:lnTo>
                        <a:pt x="97" y="427"/>
                      </a:lnTo>
                      <a:lnTo>
                        <a:pt x="81" y="459"/>
                      </a:lnTo>
                      <a:lnTo>
                        <a:pt x="66" y="492"/>
                      </a:lnTo>
                      <a:lnTo>
                        <a:pt x="53" y="525"/>
                      </a:lnTo>
                      <a:lnTo>
                        <a:pt x="40" y="559"/>
                      </a:lnTo>
                      <a:lnTo>
                        <a:pt x="30" y="593"/>
                      </a:lnTo>
                      <a:lnTo>
                        <a:pt x="21" y="629"/>
                      </a:lnTo>
                      <a:lnTo>
                        <a:pt x="14" y="666"/>
                      </a:lnTo>
                      <a:lnTo>
                        <a:pt x="7" y="701"/>
                      </a:lnTo>
                      <a:lnTo>
                        <a:pt x="3" y="738"/>
                      </a:lnTo>
                      <a:lnTo>
                        <a:pt x="1" y="776"/>
                      </a:lnTo>
                      <a:lnTo>
                        <a:pt x="0" y="814"/>
                      </a:lnTo>
                      <a:lnTo>
                        <a:pt x="0" y="814"/>
                      </a:lnTo>
                      <a:lnTo>
                        <a:pt x="1" y="856"/>
                      </a:lnTo>
                      <a:lnTo>
                        <a:pt x="5" y="897"/>
                      </a:lnTo>
                      <a:lnTo>
                        <a:pt x="10" y="938"/>
                      </a:lnTo>
                      <a:lnTo>
                        <a:pt x="16" y="978"/>
                      </a:lnTo>
                      <a:lnTo>
                        <a:pt x="25" y="1018"/>
                      </a:lnTo>
                      <a:lnTo>
                        <a:pt x="36" y="1056"/>
                      </a:lnTo>
                      <a:lnTo>
                        <a:pt x="49" y="1094"/>
                      </a:lnTo>
                      <a:lnTo>
                        <a:pt x="64" y="1131"/>
                      </a:lnTo>
                      <a:lnTo>
                        <a:pt x="81" y="1167"/>
                      </a:lnTo>
                      <a:lnTo>
                        <a:pt x="99" y="1202"/>
                      </a:lnTo>
                      <a:lnTo>
                        <a:pt x="118" y="1236"/>
                      </a:lnTo>
                      <a:lnTo>
                        <a:pt x="139" y="1269"/>
                      </a:lnTo>
                      <a:lnTo>
                        <a:pt x="162" y="1301"/>
                      </a:lnTo>
                      <a:lnTo>
                        <a:pt x="186" y="1333"/>
                      </a:lnTo>
                      <a:lnTo>
                        <a:pt x="212" y="1362"/>
                      </a:lnTo>
                      <a:lnTo>
                        <a:pt x="238" y="1390"/>
                      </a:lnTo>
                      <a:lnTo>
                        <a:pt x="266" y="1416"/>
                      </a:lnTo>
                      <a:lnTo>
                        <a:pt x="297" y="1442"/>
                      </a:lnTo>
                      <a:lnTo>
                        <a:pt x="327" y="1466"/>
                      </a:lnTo>
                      <a:lnTo>
                        <a:pt x="359" y="1489"/>
                      </a:lnTo>
                      <a:lnTo>
                        <a:pt x="392" y="1510"/>
                      </a:lnTo>
                      <a:lnTo>
                        <a:pt x="426" y="1529"/>
                      </a:lnTo>
                      <a:lnTo>
                        <a:pt x="461" y="1548"/>
                      </a:lnTo>
                      <a:lnTo>
                        <a:pt x="497" y="1564"/>
                      </a:lnTo>
                      <a:lnTo>
                        <a:pt x="534" y="1579"/>
                      </a:lnTo>
                      <a:lnTo>
                        <a:pt x="572" y="1592"/>
                      </a:lnTo>
                      <a:lnTo>
                        <a:pt x="610" y="1603"/>
                      </a:lnTo>
                      <a:lnTo>
                        <a:pt x="650" y="1612"/>
                      </a:lnTo>
                      <a:lnTo>
                        <a:pt x="690" y="1618"/>
                      </a:lnTo>
                      <a:lnTo>
                        <a:pt x="731" y="1623"/>
                      </a:lnTo>
                      <a:lnTo>
                        <a:pt x="772" y="1627"/>
                      </a:lnTo>
                      <a:lnTo>
                        <a:pt x="814" y="1628"/>
                      </a:lnTo>
                      <a:lnTo>
                        <a:pt x="814" y="1628"/>
                      </a:lnTo>
                      <a:lnTo>
                        <a:pt x="862" y="1627"/>
                      </a:lnTo>
                      <a:lnTo>
                        <a:pt x="909" y="1622"/>
                      </a:lnTo>
                      <a:lnTo>
                        <a:pt x="955" y="1616"/>
                      </a:lnTo>
                      <a:lnTo>
                        <a:pt x="1000" y="1607"/>
                      </a:lnTo>
                      <a:lnTo>
                        <a:pt x="1045" y="1595"/>
                      </a:lnTo>
                      <a:lnTo>
                        <a:pt x="1088" y="1580"/>
                      </a:lnTo>
                      <a:lnTo>
                        <a:pt x="1131" y="1564"/>
                      </a:lnTo>
                      <a:lnTo>
                        <a:pt x="1172" y="1546"/>
                      </a:lnTo>
                      <a:lnTo>
                        <a:pt x="1211" y="1524"/>
                      </a:lnTo>
                      <a:lnTo>
                        <a:pt x="1250" y="1501"/>
                      </a:lnTo>
                      <a:lnTo>
                        <a:pt x="1287" y="1476"/>
                      </a:lnTo>
                      <a:lnTo>
                        <a:pt x="1323" y="1449"/>
                      </a:lnTo>
                      <a:lnTo>
                        <a:pt x="1357" y="1421"/>
                      </a:lnTo>
                      <a:lnTo>
                        <a:pt x="1389" y="1390"/>
                      </a:lnTo>
                      <a:lnTo>
                        <a:pt x="1419" y="1358"/>
                      </a:lnTo>
                      <a:lnTo>
                        <a:pt x="1449" y="1324"/>
                      </a:lnTo>
                      <a:lnTo>
                        <a:pt x="1449" y="1324"/>
                      </a:lnTo>
                      <a:lnTo>
                        <a:pt x="1428" y="1298"/>
                      </a:lnTo>
                      <a:lnTo>
                        <a:pt x="1409" y="1272"/>
                      </a:lnTo>
                      <a:lnTo>
                        <a:pt x="1391" y="1244"/>
                      </a:lnTo>
                      <a:lnTo>
                        <a:pt x="1375" y="1216"/>
                      </a:lnTo>
                      <a:lnTo>
                        <a:pt x="1360" y="1187"/>
                      </a:lnTo>
                      <a:lnTo>
                        <a:pt x="1344" y="1157"/>
                      </a:lnTo>
                      <a:lnTo>
                        <a:pt x="1332" y="1127"/>
                      </a:lnTo>
                      <a:lnTo>
                        <a:pt x="1319" y="1095"/>
                      </a:lnTo>
                      <a:lnTo>
                        <a:pt x="1309" y="1063"/>
                      </a:lnTo>
                      <a:lnTo>
                        <a:pt x="1299" y="1032"/>
                      </a:lnTo>
                      <a:lnTo>
                        <a:pt x="1290" y="999"/>
                      </a:lnTo>
                      <a:lnTo>
                        <a:pt x="1283" y="966"/>
                      </a:lnTo>
                      <a:lnTo>
                        <a:pt x="1278" y="933"/>
                      </a:lnTo>
                      <a:lnTo>
                        <a:pt x="1273" y="898"/>
                      </a:lnTo>
                      <a:lnTo>
                        <a:pt x="1271" y="864"/>
                      </a:lnTo>
                      <a:lnTo>
                        <a:pt x="1269" y="828"/>
                      </a:lnTo>
                      <a:lnTo>
                        <a:pt x="1269" y="828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7938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03632" tIns="51816" rIns="103632" bIns="5181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/>
                </a:p>
              </p:txBody>
            </p:sp>
            <p:sp>
              <p:nvSpPr>
                <p:cNvPr id="40" name="Freeform 2211">
                  <a:extLst>
                    <a:ext uri="{FF2B5EF4-FFF2-40B4-BE49-F238E27FC236}">
                      <a16:creationId xmlns:a16="http://schemas.microsoft.com/office/drawing/2014/main" id="{838BC05B-BD37-4043-AB4E-CED2986F83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6226" y="4051300"/>
                  <a:ext cx="2584450" cy="2570162"/>
                </a:xfrm>
                <a:custGeom>
                  <a:avLst/>
                  <a:gdLst>
                    <a:gd name="T0" fmla="*/ 239 w 1628"/>
                    <a:gd name="T1" fmla="*/ 1381 h 1619"/>
                    <a:gd name="T2" fmla="*/ 379 w 1628"/>
                    <a:gd name="T3" fmla="*/ 1492 h 1619"/>
                    <a:gd name="T4" fmla="*/ 540 w 1628"/>
                    <a:gd name="T5" fmla="*/ 1571 h 1619"/>
                    <a:gd name="T6" fmla="*/ 719 w 1628"/>
                    <a:gd name="T7" fmla="*/ 1613 h 1619"/>
                    <a:gd name="T8" fmla="*/ 856 w 1628"/>
                    <a:gd name="T9" fmla="*/ 1618 h 1619"/>
                    <a:gd name="T10" fmla="*/ 1018 w 1628"/>
                    <a:gd name="T11" fmla="*/ 1594 h 1619"/>
                    <a:gd name="T12" fmla="*/ 1167 w 1628"/>
                    <a:gd name="T13" fmla="*/ 1539 h 1619"/>
                    <a:gd name="T14" fmla="*/ 1301 w 1628"/>
                    <a:gd name="T15" fmla="*/ 1457 h 1619"/>
                    <a:gd name="T16" fmla="*/ 1416 w 1628"/>
                    <a:gd name="T17" fmla="*/ 1353 h 1619"/>
                    <a:gd name="T18" fmla="*/ 1510 w 1628"/>
                    <a:gd name="T19" fmla="*/ 1227 h 1619"/>
                    <a:gd name="T20" fmla="*/ 1579 w 1628"/>
                    <a:gd name="T21" fmla="*/ 1085 h 1619"/>
                    <a:gd name="T22" fmla="*/ 1618 w 1628"/>
                    <a:gd name="T23" fmla="*/ 929 h 1619"/>
                    <a:gd name="T24" fmla="*/ 1628 w 1628"/>
                    <a:gd name="T25" fmla="*/ 805 h 1619"/>
                    <a:gd name="T26" fmla="*/ 1614 w 1628"/>
                    <a:gd name="T27" fmla="*/ 657 h 1619"/>
                    <a:gd name="T28" fmla="*/ 1575 w 1628"/>
                    <a:gd name="T29" fmla="*/ 516 h 1619"/>
                    <a:gd name="T30" fmla="*/ 1513 w 1628"/>
                    <a:gd name="T31" fmla="*/ 388 h 1619"/>
                    <a:gd name="T32" fmla="*/ 1430 w 1628"/>
                    <a:gd name="T33" fmla="*/ 273 h 1619"/>
                    <a:gd name="T34" fmla="*/ 1329 w 1628"/>
                    <a:gd name="T35" fmla="*/ 174 h 1619"/>
                    <a:gd name="T36" fmla="*/ 1212 w 1628"/>
                    <a:gd name="T37" fmla="*/ 94 h 1619"/>
                    <a:gd name="T38" fmla="*/ 1081 w 1628"/>
                    <a:gd name="T39" fmla="*/ 36 h 1619"/>
                    <a:gd name="T40" fmla="*/ 940 w 1628"/>
                    <a:gd name="T41" fmla="*/ 0 h 1619"/>
                    <a:gd name="T42" fmla="*/ 900 w 1628"/>
                    <a:gd name="T43" fmla="*/ 89 h 1619"/>
                    <a:gd name="T44" fmla="*/ 831 w 1628"/>
                    <a:gd name="T45" fmla="*/ 197 h 1619"/>
                    <a:gd name="T46" fmla="*/ 746 w 1628"/>
                    <a:gd name="T47" fmla="*/ 294 h 1619"/>
                    <a:gd name="T48" fmla="*/ 647 w 1628"/>
                    <a:gd name="T49" fmla="*/ 375 h 1619"/>
                    <a:gd name="T50" fmla="*/ 666 w 1628"/>
                    <a:gd name="T51" fmla="*/ 375 h 1619"/>
                    <a:gd name="T52" fmla="*/ 764 w 1628"/>
                    <a:gd name="T53" fmla="*/ 353 h 1619"/>
                    <a:gd name="T54" fmla="*/ 837 w 1628"/>
                    <a:gd name="T55" fmla="*/ 351 h 1619"/>
                    <a:gd name="T56" fmla="*/ 927 w 1628"/>
                    <a:gd name="T57" fmla="*/ 365 h 1619"/>
                    <a:gd name="T58" fmla="*/ 1011 w 1628"/>
                    <a:gd name="T59" fmla="*/ 395 h 1619"/>
                    <a:gd name="T60" fmla="*/ 1086 w 1628"/>
                    <a:gd name="T61" fmla="*/ 441 h 1619"/>
                    <a:gd name="T62" fmla="*/ 1151 w 1628"/>
                    <a:gd name="T63" fmla="*/ 499 h 1619"/>
                    <a:gd name="T64" fmla="*/ 1203 w 1628"/>
                    <a:gd name="T65" fmla="*/ 569 h 1619"/>
                    <a:gd name="T66" fmla="*/ 1242 w 1628"/>
                    <a:gd name="T67" fmla="*/ 649 h 1619"/>
                    <a:gd name="T68" fmla="*/ 1264 w 1628"/>
                    <a:gd name="T69" fmla="*/ 736 h 1619"/>
                    <a:gd name="T70" fmla="*/ 1269 w 1628"/>
                    <a:gd name="T71" fmla="*/ 805 h 1619"/>
                    <a:gd name="T72" fmla="*/ 1260 w 1628"/>
                    <a:gd name="T73" fmla="*/ 897 h 1619"/>
                    <a:gd name="T74" fmla="*/ 1234 w 1628"/>
                    <a:gd name="T75" fmla="*/ 982 h 1619"/>
                    <a:gd name="T76" fmla="*/ 1192 w 1628"/>
                    <a:gd name="T77" fmla="*/ 1059 h 1619"/>
                    <a:gd name="T78" fmla="*/ 1136 w 1628"/>
                    <a:gd name="T79" fmla="*/ 1127 h 1619"/>
                    <a:gd name="T80" fmla="*/ 1068 w 1628"/>
                    <a:gd name="T81" fmla="*/ 1183 h 1619"/>
                    <a:gd name="T82" fmla="*/ 991 w 1628"/>
                    <a:gd name="T83" fmla="*/ 1225 h 1619"/>
                    <a:gd name="T84" fmla="*/ 906 w 1628"/>
                    <a:gd name="T85" fmla="*/ 1251 h 1619"/>
                    <a:gd name="T86" fmla="*/ 814 w 1628"/>
                    <a:gd name="T87" fmla="*/ 1260 h 1619"/>
                    <a:gd name="T88" fmla="*/ 746 w 1628"/>
                    <a:gd name="T89" fmla="*/ 1255 h 1619"/>
                    <a:gd name="T90" fmla="*/ 661 w 1628"/>
                    <a:gd name="T91" fmla="*/ 1233 h 1619"/>
                    <a:gd name="T92" fmla="*/ 582 w 1628"/>
                    <a:gd name="T93" fmla="*/ 1197 h 1619"/>
                    <a:gd name="T94" fmla="*/ 512 w 1628"/>
                    <a:gd name="T95" fmla="*/ 1146 h 1619"/>
                    <a:gd name="T96" fmla="*/ 454 w 1628"/>
                    <a:gd name="T97" fmla="*/ 1084 h 1619"/>
                    <a:gd name="T98" fmla="*/ 408 w 1628"/>
                    <a:gd name="T99" fmla="*/ 1011 h 1619"/>
                    <a:gd name="T100" fmla="*/ 376 w 1628"/>
                    <a:gd name="T101" fmla="*/ 930 h 1619"/>
                    <a:gd name="T102" fmla="*/ 361 w 1628"/>
                    <a:gd name="T103" fmla="*/ 842 h 1619"/>
                    <a:gd name="T104" fmla="*/ 0 w 1628"/>
                    <a:gd name="T105" fmla="*/ 819 h 1619"/>
                    <a:gd name="T106" fmla="*/ 14 w 1628"/>
                    <a:gd name="T107" fmla="*/ 957 h 1619"/>
                    <a:gd name="T108" fmla="*/ 50 w 1628"/>
                    <a:gd name="T109" fmla="*/ 1086 h 1619"/>
                    <a:gd name="T110" fmla="*/ 106 w 1628"/>
                    <a:gd name="T111" fmla="*/ 1207 h 1619"/>
                    <a:gd name="T112" fmla="*/ 180 w 1628"/>
                    <a:gd name="T113" fmla="*/ 1315 h 16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628" h="1619">
                      <a:moveTo>
                        <a:pt x="180" y="1315"/>
                      </a:moveTo>
                      <a:lnTo>
                        <a:pt x="180" y="1315"/>
                      </a:lnTo>
                      <a:lnTo>
                        <a:pt x="209" y="1349"/>
                      </a:lnTo>
                      <a:lnTo>
                        <a:pt x="239" y="1381"/>
                      </a:lnTo>
                      <a:lnTo>
                        <a:pt x="271" y="1412"/>
                      </a:lnTo>
                      <a:lnTo>
                        <a:pt x="305" y="1440"/>
                      </a:lnTo>
                      <a:lnTo>
                        <a:pt x="341" y="1467"/>
                      </a:lnTo>
                      <a:lnTo>
                        <a:pt x="379" y="1492"/>
                      </a:lnTo>
                      <a:lnTo>
                        <a:pt x="417" y="1515"/>
                      </a:lnTo>
                      <a:lnTo>
                        <a:pt x="456" y="1537"/>
                      </a:lnTo>
                      <a:lnTo>
                        <a:pt x="498" y="1555"/>
                      </a:lnTo>
                      <a:lnTo>
                        <a:pt x="540" y="1571"/>
                      </a:lnTo>
                      <a:lnTo>
                        <a:pt x="583" y="1586"/>
                      </a:lnTo>
                      <a:lnTo>
                        <a:pt x="628" y="1598"/>
                      </a:lnTo>
                      <a:lnTo>
                        <a:pt x="673" y="1607"/>
                      </a:lnTo>
                      <a:lnTo>
                        <a:pt x="719" y="1613"/>
                      </a:lnTo>
                      <a:lnTo>
                        <a:pt x="766" y="1618"/>
                      </a:lnTo>
                      <a:lnTo>
                        <a:pt x="814" y="1619"/>
                      </a:lnTo>
                      <a:lnTo>
                        <a:pt x="814" y="1619"/>
                      </a:lnTo>
                      <a:lnTo>
                        <a:pt x="856" y="1618"/>
                      </a:lnTo>
                      <a:lnTo>
                        <a:pt x="897" y="1614"/>
                      </a:lnTo>
                      <a:lnTo>
                        <a:pt x="938" y="1609"/>
                      </a:lnTo>
                      <a:lnTo>
                        <a:pt x="978" y="1603"/>
                      </a:lnTo>
                      <a:lnTo>
                        <a:pt x="1018" y="1594"/>
                      </a:lnTo>
                      <a:lnTo>
                        <a:pt x="1056" y="1583"/>
                      </a:lnTo>
                      <a:lnTo>
                        <a:pt x="1094" y="1570"/>
                      </a:lnTo>
                      <a:lnTo>
                        <a:pt x="1131" y="1555"/>
                      </a:lnTo>
                      <a:lnTo>
                        <a:pt x="1167" y="1539"/>
                      </a:lnTo>
                      <a:lnTo>
                        <a:pt x="1202" y="1520"/>
                      </a:lnTo>
                      <a:lnTo>
                        <a:pt x="1236" y="1501"/>
                      </a:lnTo>
                      <a:lnTo>
                        <a:pt x="1269" y="1480"/>
                      </a:lnTo>
                      <a:lnTo>
                        <a:pt x="1301" y="1457"/>
                      </a:lnTo>
                      <a:lnTo>
                        <a:pt x="1333" y="1433"/>
                      </a:lnTo>
                      <a:lnTo>
                        <a:pt x="1362" y="1407"/>
                      </a:lnTo>
                      <a:lnTo>
                        <a:pt x="1390" y="1381"/>
                      </a:lnTo>
                      <a:lnTo>
                        <a:pt x="1416" y="1353"/>
                      </a:lnTo>
                      <a:lnTo>
                        <a:pt x="1442" y="1324"/>
                      </a:lnTo>
                      <a:lnTo>
                        <a:pt x="1466" y="1292"/>
                      </a:lnTo>
                      <a:lnTo>
                        <a:pt x="1489" y="1260"/>
                      </a:lnTo>
                      <a:lnTo>
                        <a:pt x="1510" y="1227"/>
                      </a:lnTo>
                      <a:lnTo>
                        <a:pt x="1529" y="1193"/>
                      </a:lnTo>
                      <a:lnTo>
                        <a:pt x="1548" y="1158"/>
                      </a:lnTo>
                      <a:lnTo>
                        <a:pt x="1564" y="1122"/>
                      </a:lnTo>
                      <a:lnTo>
                        <a:pt x="1579" y="1085"/>
                      </a:lnTo>
                      <a:lnTo>
                        <a:pt x="1592" y="1047"/>
                      </a:lnTo>
                      <a:lnTo>
                        <a:pt x="1603" y="1009"/>
                      </a:lnTo>
                      <a:lnTo>
                        <a:pt x="1612" y="969"/>
                      </a:lnTo>
                      <a:lnTo>
                        <a:pt x="1618" y="929"/>
                      </a:lnTo>
                      <a:lnTo>
                        <a:pt x="1623" y="888"/>
                      </a:lnTo>
                      <a:lnTo>
                        <a:pt x="1627" y="847"/>
                      </a:lnTo>
                      <a:lnTo>
                        <a:pt x="1628" y="805"/>
                      </a:lnTo>
                      <a:lnTo>
                        <a:pt x="1628" y="805"/>
                      </a:lnTo>
                      <a:lnTo>
                        <a:pt x="1627" y="767"/>
                      </a:lnTo>
                      <a:lnTo>
                        <a:pt x="1625" y="729"/>
                      </a:lnTo>
                      <a:lnTo>
                        <a:pt x="1621" y="692"/>
                      </a:lnTo>
                      <a:lnTo>
                        <a:pt x="1614" y="657"/>
                      </a:lnTo>
                      <a:lnTo>
                        <a:pt x="1607" y="620"/>
                      </a:lnTo>
                      <a:lnTo>
                        <a:pt x="1598" y="584"/>
                      </a:lnTo>
                      <a:lnTo>
                        <a:pt x="1588" y="550"/>
                      </a:lnTo>
                      <a:lnTo>
                        <a:pt x="1575" y="516"/>
                      </a:lnTo>
                      <a:lnTo>
                        <a:pt x="1562" y="483"/>
                      </a:lnTo>
                      <a:lnTo>
                        <a:pt x="1547" y="450"/>
                      </a:lnTo>
                      <a:lnTo>
                        <a:pt x="1531" y="418"/>
                      </a:lnTo>
                      <a:lnTo>
                        <a:pt x="1513" y="388"/>
                      </a:lnTo>
                      <a:lnTo>
                        <a:pt x="1494" y="357"/>
                      </a:lnTo>
                      <a:lnTo>
                        <a:pt x="1474" y="328"/>
                      </a:lnTo>
                      <a:lnTo>
                        <a:pt x="1453" y="300"/>
                      </a:lnTo>
                      <a:lnTo>
                        <a:pt x="1430" y="273"/>
                      </a:lnTo>
                      <a:lnTo>
                        <a:pt x="1406" y="247"/>
                      </a:lnTo>
                      <a:lnTo>
                        <a:pt x="1382" y="221"/>
                      </a:lnTo>
                      <a:lnTo>
                        <a:pt x="1355" y="197"/>
                      </a:lnTo>
                      <a:lnTo>
                        <a:pt x="1329" y="174"/>
                      </a:lnTo>
                      <a:lnTo>
                        <a:pt x="1301" y="153"/>
                      </a:lnTo>
                      <a:lnTo>
                        <a:pt x="1272" y="132"/>
                      </a:lnTo>
                      <a:lnTo>
                        <a:pt x="1242" y="113"/>
                      </a:lnTo>
                      <a:lnTo>
                        <a:pt x="1212" y="94"/>
                      </a:lnTo>
                      <a:lnTo>
                        <a:pt x="1180" y="78"/>
                      </a:lnTo>
                      <a:lnTo>
                        <a:pt x="1148" y="63"/>
                      </a:lnTo>
                      <a:lnTo>
                        <a:pt x="1115" y="49"/>
                      </a:lnTo>
                      <a:lnTo>
                        <a:pt x="1081" y="36"/>
                      </a:lnTo>
                      <a:lnTo>
                        <a:pt x="1047" y="24"/>
                      </a:lnTo>
                      <a:lnTo>
                        <a:pt x="1011" y="16"/>
                      </a:lnTo>
                      <a:lnTo>
                        <a:pt x="976" y="8"/>
                      </a:lnTo>
                      <a:lnTo>
                        <a:pt x="940" y="0"/>
                      </a:lnTo>
                      <a:lnTo>
                        <a:pt x="940" y="0"/>
                      </a:lnTo>
                      <a:lnTo>
                        <a:pt x="927" y="31"/>
                      </a:lnTo>
                      <a:lnTo>
                        <a:pt x="914" y="60"/>
                      </a:lnTo>
                      <a:lnTo>
                        <a:pt x="900" y="89"/>
                      </a:lnTo>
                      <a:lnTo>
                        <a:pt x="884" y="117"/>
                      </a:lnTo>
                      <a:lnTo>
                        <a:pt x="867" y="145"/>
                      </a:lnTo>
                      <a:lnTo>
                        <a:pt x="849" y="172"/>
                      </a:lnTo>
                      <a:lnTo>
                        <a:pt x="831" y="197"/>
                      </a:lnTo>
                      <a:lnTo>
                        <a:pt x="811" y="223"/>
                      </a:lnTo>
                      <a:lnTo>
                        <a:pt x="790" y="247"/>
                      </a:lnTo>
                      <a:lnTo>
                        <a:pt x="769" y="271"/>
                      </a:lnTo>
                      <a:lnTo>
                        <a:pt x="746" y="294"/>
                      </a:lnTo>
                      <a:lnTo>
                        <a:pt x="723" y="315"/>
                      </a:lnTo>
                      <a:lnTo>
                        <a:pt x="699" y="337"/>
                      </a:lnTo>
                      <a:lnTo>
                        <a:pt x="673" y="356"/>
                      </a:lnTo>
                      <a:lnTo>
                        <a:pt x="647" y="375"/>
                      </a:lnTo>
                      <a:lnTo>
                        <a:pt x="621" y="393"/>
                      </a:lnTo>
                      <a:lnTo>
                        <a:pt x="621" y="393"/>
                      </a:lnTo>
                      <a:lnTo>
                        <a:pt x="643" y="384"/>
                      </a:lnTo>
                      <a:lnTo>
                        <a:pt x="666" y="375"/>
                      </a:lnTo>
                      <a:lnTo>
                        <a:pt x="690" y="367"/>
                      </a:lnTo>
                      <a:lnTo>
                        <a:pt x="714" y="361"/>
                      </a:lnTo>
                      <a:lnTo>
                        <a:pt x="738" y="356"/>
                      </a:lnTo>
                      <a:lnTo>
                        <a:pt x="764" y="353"/>
                      </a:lnTo>
                      <a:lnTo>
                        <a:pt x="788" y="351"/>
                      </a:lnTo>
                      <a:lnTo>
                        <a:pt x="814" y="350"/>
                      </a:lnTo>
                      <a:lnTo>
                        <a:pt x="814" y="350"/>
                      </a:lnTo>
                      <a:lnTo>
                        <a:pt x="837" y="351"/>
                      </a:lnTo>
                      <a:lnTo>
                        <a:pt x="860" y="352"/>
                      </a:lnTo>
                      <a:lnTo>
                        <a:pt x="883" y="355"/>
                      </a:lnTo>
                      <a:lnTo>
                        <a:pt x="906" y="360"/>
                      </a:lnTo>
                      <a:lnTo>
                        <a:pt x="927" y="365"/>
                      </a:lnTo>
                      <a:lnTo>
                        <a:pt x="949" y="370"/>
                      </a:lnTo>
                      <a:lnTo>
                        <a:pt x="971" y="378"/>
                      </a:lnTo>
                      <a:lnTo>
                        <a:pt x="991" y="385"/>
                      </a:lnTo>
                      <a:lnTo>
                        <a:pt x="1011" y="395"/>
                      </a:lnTo>
                      <a:lnTo>
                        <a:pt x="1032" y="405"/>
                      </a:lnTo>
                      <a:lnTo>
                        <a:pt x="1051" y="416"/>
                      </a:lnTo>
                      <a:lnTo>
                        <a:pt x="1068" y="428"/>
                      </a:lnTo>
                      <a:lnTo>
                        <a:pt x="1086" y="441"/>
                      </a:lnTo>
                      <a:lnTo>
                        <a:pt x="1104" y="454"/>
                      </a:lnTo>
                      <a:lnTo>
                        <a:pt x="1120" y="468"/>
                      </a:lnTo>
                      <a:lnTo>
                        <a:pt x="1136" y="483"/>
                      </a:lnTo>
                      <a:lnTo>
                        <a:pt x="1151" y="499"/>
                      </a:lnTo>
                      <a:lnTo>
                        <a:pt x="1165" y="516"/>
                      </a:lnTo>
                      <a:lnTo>
                        <a:pt x="1179" y="532"/>
                      </a:lnTo>
                      <a:lnTo>
                        <a:pt x="1192" y="550"/>
                      </a:lnTo>
                      <a:lnTo>
                        <a:pt x="1203" y="569"/>
                      </a:lnTo>
                      <a:lnTo>
                        <a:pt x="1214" y="588"/>
                      </a:lnTo>
                      <a:lnTo>
                        <a:pt x="1225" y="607"/>
                      </a:lnTo>
                      <a:lnTo>
                        <a:pt x="1234" y="628"/>
                      </a:lnTo>
                      <a:lnTo>
                        <a:pt x="1242" y="649"/>
                      </a:lnTo>
                      <a:lnTo>
                        <a:pt x="1249" y="670"/>
                      </a:lnTo>
                      <a:lnTo>
                        <a:pt x="1255" y="691"/>
                      </a:lnTo>
                      <a:lnTo>
                        <a:pt x="1260" y="714"/>
                      </a:lnTo>
                      <a:lnTo>
                        <a:pt x="1264" y="736"/>
                      </a:lnTo>
                      <a:lnTo>
                        <a:pt x="1267" y="758"/>
                      </a:lnTo>
                      <a:lnTo>
                        <a:pt x="1269" y="781"/>
                      </a:lnTo>
                      <a:lnTo>
                        <a:pt x="1269" y="805"/>
                      </a:lnTo>
                      <a:lnTo>
                        <a:pt x="1269" y="805"/>
                      </a:lnTo>
                      <a:lnTo>
                        <a:pt x="1269" y="828"/>
                      </a:lnTo>
                      <a:lnTo>
                        <a:pt x="1267" y="851"/>
                      </a:lnTo>
                      <a:lnTo>
                        <a:pt x="1264" y="874"/>
                      </a:lnTo>
                      <a:lnTo>
                        <a:pt x="1260" y="897"/>
                      </a:lnTo>
                      <a:lnTo>
                        <a:pt x="1255" y="918"/>
                      </a:lnTo>
                      <a:lnTo>
                        <a:pt x="1249" y="940"/>
                      </a:lnTo>
                      <a:lnTo>
                        <a:pt x="1242" y="962"/>
                      </a:lnTo>
                      <a:lnTo>
                        <a:pt x="1234" y="982"/>
                      </a:lnTo>
                      <a:lnTo>
                        <a:pt x="1225" y="1002"/>
                      </a:lnTo>
                      <a:lnTo>
                        <a:pt x="1214" y="1023"/>
                      </a:lnTo>
                      <a:lnTo>
                        <a:pt x="1203" y="1042"/>
                      </a:lnTo>
                      <a:lnTo>
                        <a:pt x="1192" y="1059"/>
                      </a:lnTo>
                      <a:lnTo>
                        <a:pt x="1179" y="1077"/>
                      </a:lnTo>
                      <a:lnTo>
                        <a:pt x="1165" y="1095"/>
                      </a:lnTo>
                      <a:lnTo>
                        <a:pt x="1151" y="1112"/>
                      </a:lnTo>
                      <a:lnTo>
                        <a:pt x="1136" y="1127"/>
                      </a:lnTo>
                      <a:lnTo>
                        <a:pt x="1120" y="1142"/>
                      </a:lnTo>
                      <a:lnTo>
                        <a:pt x="1104" y="1156"/>
                      </a:lnTo>
                      <a:lnTo>
                        <a:pt x="1086" y="1170"/>
                      </a:lnTo>
                      <a:lnTo>
                        <a:pt x="1068" y="1183"/>
                      </a:lnTo>
                      <a:lnTo>
                        <a:pt x="1051" y="1194"/>
                      </a:lnTo>
                      <a:lnTo>
                        <a:pt x="1032" y="1205"/>
                      </a:lnTo>
                      <a:lnTo>
                        <a:pt x="1011" y="1216"/>
                      </a:lnTo>
                      <a:lnTo>
                        <a:pt x="991" y="1225"/>
                      </a:lnTo>
                      <a:lnTo>
                        <a:pt x="971" y="1233"/>
                      </a:lnTo>
                      <a:lnTo>
                        <a:pt x="949" y="1240"/>
                      </a:lnTo>
                      <a:lnTo>
                        <a:pt x="927" y="1246"/>
                      </a:lnTo>
                      <a:lnTo>
                        <a:pt x="906" y="1251"/>
                      </a:lnTo>
                      <a:lnTo>
                        <a:pt x="883" y="1255"/>
                      </a:lnTo>
                      <a:lnTo>
                        <a:pt x="860" y="1258"/>
                      </a:lnTo>
                      <a:lnTo>
                        <a:pt x="837" y="1260"/>
                      </a:lnTo>
                      <a:lnTo>
                        <a:pt x="814" y="1260"/>
                      </a:lnTo>
                      <a:lnTo>
                        <a:pt x="814" y="1260"/>
                      </a:lnTo>
                      <a:lnTo>
                        <a:pt x="792" y="1260"/>
                      </a:lnTo>
                      <a:lnTo>
                        <a:pt x="769" y="1259"/>
                      </a:lnTo>
                      <a:lnTo>
                        <a:pt x="746" y="1255"/>
                      </a:lnTo>
                      <a:lnTo>
                        <a:pt x="724" y="1251"/>
                      </a:lnTo>
                      <a:lnTo>
                        <a:pt x="703" y="1246"/>
                      </a:lnTo>
                      <a:lnTo>
                        <a:pt x="681" y="1241"/>
                      </a:lnTo>
                      <a:lnTo>
                        <a:pt x="661" y="1233"/>
                      </a:lnTo>
                      <a:lnTo>
                        <a:pt x="640" y="1226"/>
                      </a:lnTo>
                      <a:lnTo>
                        <a:pt x="620" y="1217"/>
                      </a:lnTo>
                      <a:lnTo>
                        <a:pt x="601" y="1208"/>
                      </a:lnTo>
                      <a:lnTo>
                        <a:pt x="582" y="1197"/>
                      </a:lnTo>
                      <a:lnTo>
                        <a:pt x="564" y="1185"/>
                      </a:lnTo>
                      <a:lnTo>
                        <a:pt x="547" y="1174"/>
                      </a:lnTo>
                      <a:lnTo>
                        <a:pt x="529" y="1160"/>
                      </a:lnTo>
                      <a:lnTo>
                        <a:pt x="512" y="1146"/>
                      </a:lnTo>
                      <a:lnTo>
                        <a:pt x="497" y="1132"/>
                      </a:lnTo>
                      <a:lnTo>
                        <a:pt x="482" y="1117"/>
                      </a:lnTo>
                      <a:lnTo>
                        <a:pt x="468" y="1100"/>
                      </a:lnTo>
                      <a:lnTo>
                        <a:pt x="454" y="1084"/>
                      </a:lnTo>
                      <a:lnTo>
                        <a:pt x="441" y="1067"/>
                      </a:lnTo>
                      <a:lnTo>
                        <a:pt x="430" y="1049"/>
                      </a:lnTo>
                      <a:lnTo>
                        <a:pt x="418" y="1030"/>
                      </a:lnTo>
                      <a:lnTo>
                        <a:pt x="408" y="1011"/>
                      </a:lnTo>
                      <a:lnTo>
                        <a:pt x="399" y="992"/>
                      </a:lnTo>
                      <a:lnTo>
                        <a:pt x="390" y="972"/>
                      </a:lnTo>
                      <a:lnTo>
                        <a:pt x="383" y="951"/>
                      </a:lnTo>
                      <a:lnTo>
                        <a:pt x="376" y="930"/>
                      </a:lnTo>
                      <a:lnTo>
                        <a:pt x="371" y="908"/>
                      </a:lnTo>
                      <a:lnTo>
                        <a:pt x="366" y="887"/>
                      </a:lnTo>
                      <a:lnTo>
                        <a:pt x="362" y="865"/>
                      </a:lnTo>
                      <a:lnTo>
                        <a:pt x="361" y="842"/>
                      </a:lnTo>
                      <a:lnTo>
                        <a:pt x="360" y="819"/>
                      </a:lnTo>
                      <a:lnTo>
                        <a:pt x="359" y="819"/>
                      </a:lnTo>
                      <a:lnTo>
                        <a:pt x="0" y="819"/>
                      </a:lnTo>
                      <a:lnTo>
                        <a:pt x="0" y="819"/>
                      </a:lnTo>
                      <a:lnTo>
                        <a:pt x="2" y="855"/>
                      </a:lnTo>
                      <a:lnTo>
                        <a:pt x="4" y="889"/>
                      </a:lnTo>
                      <a:lnTo>
                        <a:pt x="9" y="924"/>
                      </a:lnTo>
                      <a:lnTo>
                        <a:pt x="14" y="957"/>
                      </a:lnTo>
                      <a:lnTo>
                        <a:pt x="21" y="990"/>
                      </a:lnTo>
                      <a:lnTo>
                        <a:pt x="30" y="1023"/>
                      </a:lnTo>
                      <a:lnTo>
                        <a:pt x="40" y="1054"/>
                      </a:lnTo>
                      <a:lnTo>
                        <a:pt x="50" y="1086"/>
                      </a:lnTo>
                      <a:lnTo>
                        <a:pt x="63" y="1118"/>
                      </a:lnTo>
                      <a:lnTo>
                        <a:pt x="75" y="1148"/>
                      </a:lnTo>
                      <a:lnTo>
                        <a:pt x="91" y="1178"/>
                      </a:lnTo>
                      <a:lnTo>
                        <a:pt x="106" y="1207"/>
                      </a:lnTo>
                      <a:lnTo>
                        <a:pt x="122" y="1235"/>
                      </a:lnTo>
                      <a:lnTo>
                        <a:pt x="140" y="1263"/>
                      </a:lnTo>
                      <a:lnTo>
                        <a:pt x="159" y="1289"/>
                      </a:lnTo>
                      <a:lnTo>
                        <a:pt x="180" y="1315"/>
                      </a:lnTo>
                      <a:lnTo>
                        <a:pt x="180" y="1315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 w="7938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03632" tIns="51816" rIns="103632" bIns="5181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/>
                </a:p>
              </p:txBody>
            </p:sp>
            <p:sp>
              <p:nvSpPr>
                <p:cNvPr id="41" name="Freeform 2212">
                  <a:extLst>
                    <a:ext uri="{FF2B5EF4-FFF2-40B4-BE49-F238E27FC236}">
                      <a16:creationId xmlns:a16="http://schemas.microsoft.com/office/drawing/2014/main" id="{68E6AB24-8F33-4EF7-9912-21D15FF09D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8163" y="2298700"/>
                  <a:ext cx="2586037" cy="2382837"/>
                </a:xfrm>
                <a:custGeom>
                  <a:avLst/>
                  <a:gdLst>
                    <a:gd name="T0" fmla="*/ 116 w 1629"/>
                    <a:gd name="T1" fmla="*/ 1098 h 1501"/>
                    <a:gd name="T2" fmla="*/ 205 w 1629"/>
                    <a:gd name="T3" fmla="*/ 1095 h 1501"/>
                    <a:gd name="T4" fmla="*/ 375 w 1629"/>
                    <a:gd name="T5" fmla="*/ 1120 h 1501"/>
                    <a:gd name="T6" fmla="*/ 554 w 1629"/>
                    <a:gd name="T7" fmla="*/ 1186 h 1501"/>
                    <a:gd name="T8" fmla="*/ 492 w 1629"/>
                    <a:gd name="T9" fmla="*/ 1135 h 1501"/>
                    <a:gd name="T10" fmla="*/ 426 w 1629"/>
                    <a:gd name="T11" fmla="*/ 1050 h 1501"/>
                    <a:gd name="T12" fmla="*/ 380 w 1629"/>
                    <a:gd name="T13" fmla="*/ 952 h 1501"/>
                    <a:gd name="T14" fmla="*/ 360 w 1629"/>
                    <a:gd name="T15" fmla="*/ 841 h 1501"/>
                    <a:gd name="T16" fmla="*/ 361 w 1629"/>
                    <a:gd name="T17" fmla="*/ 767 h 1501"/>
                    <a:gd name="T18" fmla="*/ 380 w 1629"/>
                    <a:gd name="T19" fmla="*/ 678 h 1501"/>
                    <a:gd name="T20" fmla="*/ 414 w 1629"/>
                    <a:gd name="T21" fmla="*/ 596 h 1501"/>
                    <a:gd name="T22" fmla="*/ 463 w 1629"/>
                    <a:gd name="T23" fmla="*/ 524 h 1501"/>
                    <a:gd name="T24" fmla="*/ 525 w 1629"/>
                    <a:gd name="T25" fmla="*/ 462 h 1501"/>
                    <a:gd name="T26" fmla="*/ 597 w 1629"/>
                    <a:gd name="T27" fmla="*/ 412 h 1501"/>
                    <a:gd name="T28" fmla="*/ 679 w 1629"/>
                    <a:gd name="T29" fmla="*/ 378 h 1501"/>
                    <a:gd name="T30" fmla="*/ 768 w 1629"/>
                    <a:gd name="T31" fmla="*/ 360 h 1501"/>
                    <a:gd name="T32" fmla="*/ 837 w 1629"/>
                    <a:gd name="T33" fmla="*/ 359 h 1501"/>
                    <a:gd name="T34" fmla="*/ 929 w 1629"/>
                    <a:gd name="T35" fmla="*/ 372 h 1501"/>
                    <a:gd name="T36" fmla="*/ 1011 w 1629"/>
                    <a:gd name="T37" fmla="*/ 402 h 1501"/>
                    <a:gd name="T38" fmla="*/ 1088 w 1629"/>
                    <a:gd name="T39" fmla="*/ 448 h 1501"/>
                    <a:gd name="T40" fmla="*/ 1151 w 1629"/>
                    <a:gd name="T41" fmla="*/ 507 h 1501"/>
                    <a:gd name="T42" fmla="*/ 1204 w 1629"/>
                    <a:gd name="T43" fmla="*/ 577 h 1501"/>
                    <a:gd name="T44" fmla="*/ 1242 w 1629"/>
                    <a:gd name="T45" fmla="*/ 656 h 1501"/>
                    <a:gd name="T46" fmla="*/ 1264 w 1629"/>
                    <a:gd name="T47" fmla="*/ 744 h 1501"/>
                    <a:gd name="T48" fmla="*/ 1270 w 1629"/>
                    <a:gd name="T49" fmla="*/ 814 h 1501"/>
                    <a:gd name="T50" fmla="*/ 1256 w 1629"/>
                    <a:gd name="T51" fmla="*/ 925 h 1501"/>
                    <a:gd name="T52" fmla="*/ 1217 w 1629"/>
                    <a:gd name="T53" fmla="*/ 1027 h 1501"/>
                    <a:gd name="T54" fmla="*/ 1155 w 1629"/>
                    <a:gd name="T55" fmla="*/ 1115 h 1501"/>
                    <a:gd name="T56" fmla="*/ 1075 w 1629"/>
                    <a:gd name="T57" fmla="*/ 1186 h 1501"/>
                    <a:gd name="T58" fmla="*/ 1248 w 1629"/>
                    <a:gd name="T59" fmla="*/ 1501 h 1501"/>
                    <a:gd name="T60" fmla="*/ 1308 w 1629"/>
                    <a:gd name="T61" fmla="*/ 1460 h 1501"/>
                    <a:gd name="T62" fmla="*/ 1404 w 1629"/>
                    <a:gd name="T63" fmla="*/ 1375 h 1501"/>
                    <a:gd name="T64" fmla="*/ 1484 w 1629"/>
                    <a:gd name="T65" fmla="*/ 1276 h 1501"/>
                    <a:gd name="T66" fmla="*/ 1549 w 1629"/>
                    <a:gd name="T67" fmla="*/ 1164 h 1501"/>
                    <a:gd name="T68" fmla="*/ 1587 w 1629"/>
                    <a:gd name="T69" fmla="*/ 1070 h 1501"/>
                    <a:gd name="T70" fmla="*/ 1621 w 1629"/>
                    <a:gd name="T71" fmla="*/ 927 h 1501"/>
                    <a:gd name="T72" fmla="*/ 1629 w 1629"/>
                    <a:gd name="T73" fmla="*/ 814 h 1501"/>
                    <a:gd name="T74" fmla="*/ 1612 w 1629"/>
                    <a:gd name="T75" fmla="*/ 648 h 1501"/>
                    <a:gd name="T76" fmla="*/ 1565 w 1629"/>
                    <a:gd name="T77" fmla="*/ 496 h 1501"/>
                    <a:gd name="T78" fmla="*/ 1490 w 1629"/>
                    <a:gd name="T79" fmla="*/ 358 h 1501"/>
                    <a:gd name="T80" fmla="*/ 1390 w 1629"/>
                    <a:gd name="T81" fmla="*/ 237 h 1501"/>
                    <a:gd name="T82" fmla="*/ 1269 w 1629"/>
                    <a:gd name="T83" fmla="*/ 138 h 1501"/>
                    <a:gd name="T84" fmla="*/ 1132 w 1629"/>
                    <a:gd name="T85" fmla="*/ 63 h 1501"/>
                    <a:gd name="T86" fmla="*/ 978 w 1629"/>
                    <a:gd name="T87" fmla="*/ 16 h 1501"/>
                    <a:gd name="T88" fmla="*/ 815 w 1629"/>
                    <a:gd name="T89" fmla="*/ 0 h 1501"/>
                    <a:gd name="T90" fmla="*/ 690 w 1629"/>
                    <a:gd name="T91" fmla="*/ 8 h 1501"/>
                    <a:gd name="T92" fmla="*/ 535 w 1629"/>
                    <a:gd name="T93" fmla="*/ 49 h 1501"/>
                    <a:gd name="T94" fmla="*/ 393 w 1629"/>
                    <a:gd name="T95" fmla="*/ 116 h 1501"/>
                    <a:gd name="T96" fmla="*/ 267 w 1629"/>
                    <a:gd name="T97" fmla="*/ 210 h 1501"/>
                    <a:gd name="T98" fmla="*/ 162 w 1629"/>
                    <a:gd name="T99" fmla="*/ 326 h 1501"/>
                    <a:gd name="T100" fmla="*/ 80 w 1629"/>
                    <a:gd name="T101" fmla="*/ 461 h 1501"/>
                    <a:gd name="T102" fmla="*/ 26 w 1629"/>
                    <a:gd name="T103" fmla="*/ 609 h 1501"/>
                    <a:gd name="T104" fmla="*/ 2 w 1629"/>
                    <a:gd name="T105" fmla="*/ 772 h 1501"/>
                    <a:gd name="T106" fmla="*/ 4 w 1629"/>
                    <a:gd name="T107" fmla="*/ 890 h 1501"/>
                    <a:gd name="T108" fmla="*/ 31 w 1629"/>
                    <a:gd name="T109" fmla="*/ 1036 h 15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629" h="1501">
                      <a:moveTo>
                        <a:pt x="55" y="1104"/>
                      </a:moveTo>
                      <a:lnTo>
                        <a:pt x="55" y="1104"/>
                      </a:lnTo>
                      <a:lnTo>
                        <a:pt x="86" y="1101"/>
                      </a:lnTo>
                      <a:lnTo>
                        <a:pt x="116" y="1098"/>
                      </a:lnTo>
                      <a:lnTo>
                        <a:pt x="148" y="1095"/>
                      </a:lnTo>
                      <a:lnTo>
                        <a:pt x="180" y="1095"/>
                      </a:lnTo>
                      <a:lnTo>
                        <a:pt x="180" y="1095"/>
                      </a:lnTo>
                      <a:lnTo>
                        <a:pt x="205" y="1095"/>
                      </a:lnTo>
                      <a:lnTo>
                        <a:pt x="230" y="1097"/>
                      </a:lnTo>
                      <a:lnTo>
                        <a:pt x="280" y="1102"/>
                      </a:lnTo>
                      <a:lnTo>
                        <a:pt x="328" y="1108"/>
                      </a:lnTo>
                      <a:lnTo>
                        <a:pt x="375" y="1120"/>
                      </a:lnTo>
                      <a:lnTo>
                        <a:pt x="422" y="1132"/>
                      </a:lnTo>
                      <a:lnTo>
                        <a:pt x="467" y="1148"/>
                      </a:lnTo>
                      <a:lnTo>
                        <a:pt x="511" y="1165"/>
                      </a:lnTo>
                      <a:lnTo>
                        <a:pt x="554" y="1186"/>
                      </a:lnTo>
                      <a:lnTo>
                        <a:pt x="554" y="1186"/>
                      </a:lnTo>
                      <a:lnTo>
                        <a:pt x="533" y="1170"/>
                      </a:lnTo>
                      <a:lnTo>
                        <a:pt x="511" y="1153"/>
                      </a:lnTo>
                      <a:lnTo>
                        <a:pt x="492" y="1135"/>
                      </a:lnTo>
                      <a:lnTo>
                        <a:pt x="474" y="1115"/>
                      </a:lnTo>
                      <a:lnTo>
                        <a:pt x="456" y="1094"/>
                      </a:lnTo>
                      <a:lnTo>
                        <a:pt x="441" y="1073"/>
                      </a:lnTo>
                      <a:lnTo>
                        <a:pt x="426" y="1050"/>
                      </a:lnTo>
                      <a:lnTo>
                        <a:pt x="412" y="1027"/>
                      </a:lnTo>
                      <a:lnTo>
                        <a:pt x="401" y="1003"/>
                      </a:lnTo>
                      <a:lnTo>
                        <a:pt x="390" y="977"/>
                      </a:lnTo>
                      <a:lnTo>
                        <a:pt x="380" y="952"/>
                      </a:lnTo>
                      <a:lnTo>
                        <a:pt x="373" y="925"/>
                      </a:lnTo>
                      <a:lnTo>
                        <a:pt x="367" y="897"/>
                      </a:lnTo>
                      <a:lnTo>
                        <a:pt x="362" y="869"/>
                      </a:lnTo>
                      <a:lnTo>
                        <a:pt x="360" y="841"/>
                      </a:lnTo>
                      <a:lnTo>
                        <a:pt x="360" y="814"/>
                      </a:lnTo>
                      <a:lnTo>
                        <a:pt x="360" y="814"/>
                      </a:lnTo>
                      <a:lnTo>
                        <a:pt x="360" y="789"/>
                      </a:lnTo>
                      <a:lnTo>
                        <a:pt x="361" y="767"/>
                      </a:lnTo>
                      <a:lnTo>
                        <a:pt x="365" y="744"/>
                      </a:lnTo>
                      <a:lnTo>
                        <a:pt x="369" y="721"/>
                      </a:lnTo>
                      <a:lnTo>
                        <a:pt x="374" y="699"/>
                      </a:lnTo>
                      <a:lnTo>
                        <a:pt x="380" y="678"/>
                      </a:lnTo>
                      <a:lnTo>
                        <a:pt x="387" y="656"/>
                      </a:lnTo>
                      <a:lnTo>
                        <a:pt x="395" y="636"/>
                      </a:lnTo>
                      <a:lnTo>
                        <a:pt x="404" y="615"/>
                      </a:lnTo>
                      <a:lnTo>
                        <a:pt x="414" y="596"/>
                      </a:lnTo>
                      <a:lnTo>
                        <a:pt x="425" y="577"/>
                      </a:lnTo>
                      <a:lnTo>
                        <a:pt x="437" y="558"/>
                      </a:lnTo>
                      <a:lnTo>
                        <a:pt x="450" y="541"/>
                      </a:lnTo>
                      <a:lnTo>
                        <a:pt x="463" y="524"/>
                      </a:lnTo>
                      <a:lnTo>
                        <a:pt x="478" y="507"/>
                      </a:lnTo>
                      <a:lnTo>
                        <a:pt x="493" y="491"/>
                      </a:lnTo>
                      <a:lnTo>
                        <a:pt x="508" y="476"/>
                      </a:lnTo>
                      <a:lnTo>
                        <a:pt x="525" y="462"/>
                      </a:lnTo>
                      <a:lnTo>
                        <a:pt x="543" y="448"/>
                      </a:lnTo>
                      <a:lnTo>
                        <a:pt x="561" y="435"/>
                      </a:lnTo>
                      <a:lnTo>
                        <a:pt x="578" y="424"/>
                      </a:lnTo>
                      <a:lnTo>
                        <a:pt x="597" y="412"/>
                      </a:lnTo>
                      <a:lnTo>
                        <a:pt x="618" y="402"/>
                      </a:lnTo>
                      <a:lnTo>
                        <a:pt x="637" y="393"/>
                      </a:lnTo>
                      <a:lnTo>
                        <a:pt x="658" y="386"/>
                      </a:lnTo>
                      <a:lnTo>
                        <a:pt x="679" y="378"/>
                      </a:lnTo>
                      <a:lnTo>
                        <a:pt x="700" y="372"/>
                      </a:lnTo>
                      <a:lnTo>
                        <a:pt x="723" y="367"/>
                      </a:lnTo>
                      <a:lnTo>
                        <a:pt x="745" y="363"/>
                      </a:lnTo>
                      <a:lnTo>
                        <a:pt x="768" y="360"/>
                      </a:lnTo>
                      <a:lnTo>
                        <a:pt x="792" y="359"/>
                      </a:lnTo>
                      <a:lnTo>
                        <a:pt x="815" y="358"/>
                      </a:lnTo>
                      <a:lnTo>
                        <a:pt x="815" y="358"/>
                      </a:lnTo>
                      <a:lnTo>
                        <a:pt x="837" y="359"/>
                      </a:lnTo>
                      <a:lnTo>
                        <a:pt x="861" y="360"/>
                      </a:lnTo>
                      <a:lnTo>
                        <a:pt x="884" y="363"/>
                      </a:lnTo>
                      <a:lnTo>
                        <a:pt x="906" y="367"/>
                      </a:lnTo>
                      <a:lnTo>
                        <a:pt x="929" y="372"/>
                      </a:lnTo>
                      <a:lnTo>
                        <a:pt x="950" y="378"/>
                      </a:lnTo>
                      <a:lnTo>
                        <a:pt x="971" y="386"/>
                      </a:lnTo>
                      <a:lnTo>
                        <a:pt x="992" y="393"/>
                      </a:lnTo>
                      <a:lnTo>
                        <a:pt x="1011" y="402"/>
                      </a:lnTo>
                      <a:lnTo>
                        <a:pt x="1032" y="412"/>
                      </a:lnTo>
                      <a:lnTo>
                        <a:pt x="1051" y="424"/>
                      </a:lnTo>
                      <a:lnTo>
                        <a:pt x="1068" y="435"/>
                      </a:lnTo>
                      <a:lnTo>
                        <a:pt x="1088" y="448"/>
                      </a:lnTo>
                      <a:lnTo>
                        <a:pt x="1104" y="462"/>
                      </a:lnTo>
                      <a:lnTo>
                        <a:pt x="1121" y="476"/>
                      </a:lnTo>
                      <a:lnTo>
                        <a:pt x="1137" y="491"/>
                      </a:lnTo>
                      <a:lnTo>
                        <a:pt x="1151" y="507"/>
                      </a:lnTo>
                      <a:lnTo>
                        <a:pt x="1166" y="524"/>
                      </a:lnTo>
                      <a:lnTo>
                        <a:pt x="1179" y="541"/>
                      </a:lnTo>
                      <a:lnTo>
                        <a:pt x="1192" y="558"/>
                      </a:lnTo>
                      <a:lnTo>
                        <a:pt x="1204" y="577"/>
                      </a:lnTo>
                      <a:lnTo>
                        <a:pt x="1215" y="596"/>
                      </a:lnTo>
                      <a:lnTo>
                        <a:pt x="1225" y="615"/>
                      </a:lnTo>
                      <a:lnTo>
                        <a:pt x="1234" y="636"/>
                      </a:lnTo>
                      <a:lnTo>
                        <a:pt x="1242" y="656"/>
                      </a:lnTo>
                      <a:lnTo>
                        <a:pt x="1249" y="678"/>
                      </a:lnTo>
                      <a:lnTo>
                        <a:pt x="1255" y="699"/>
                      </a:lnTo>
                      <a:lnTo>
                        <a:pt x="1260" y="721"/>
                      </a:lnTo>
                      <a:lnTo>
                        <a:pt x="1264" y="744"/>
                      </a:lnTo>
                      <a:lnTo>
                        <a:pt x="1268" y="767"/>
                      </a:lnTo>
                      <a:lnTo>
                        <a:pt x="1269" y="789"/>
                      </a:lnTo>
                      <a:lnTo>
                        <a:pt x="1270" y="814"/>
                      </a:lnTo>
                      <a:lnTo>
                        <a:pt x="1270" y="814"/>
                      </a:lnTo>
                      <a:lnTo>
                        <a:pt x="1269" y="841"/>
                      </a:lnTo>
                      <a:lnTo>
                        <a:pt x="1267" y="869"/>
                      </a:lnTo>
                      <a:lnTo>
                        <a:pt x="1262" y="897"/>
                      </a:lnTo>
                      <a:lnTo>
                        <a:pt x="1256" y="925"/>
                      </a:lnTo>
                      <a:lnTo>
                        <a:pt x="1249" y="952"/>
                      </a:lnTo>
                      <a:lnTo>
                        <a:pt x="1240" y="977"/>
                      </a:lnTo>
                      <a:lnTo>
                        <a:pt x="1228" y="1003"/>
                      </a:lnTo>
                      <a:lnTo>
                        <a:pt x="1217" y="1027"/>
                      </a:lnTo>
                      <a:lnTo>
                        <a:pt x="1203" y="1050"/>
                      </a:lnTo>
                      <a:lnTo>
                        <a:pt x="1189" y="1073"/>
                      </a:lnTo>
                      <a:lnTo>
                        <a:pt x="1173" y="1094"/>
                      </a:lnTo>
                      <a:lnTo>
                        <a:pt x="1155" y="1115"/>
                      </a:lnTo>
                      <a:lnTo>
                        <a:pt x="1137" y="1135"/>
                      </a:lnTo>
                      <a:lnTo>
                        <a:pt x="1118" y="1153"/>
                      </a:lnTo>
                      <a:lnTo>
                        <a:pt x="1096" y="1170"/>
                      </a:lnTo>
                      <a:lnTo>
                        <a:pt x="1075" y="1186"/>
                      </a:lnTo>
                      <a:lnTo>
                        <a:pt x="1075" y="1186"/>
                      </a:lnTo>
                      <a:lnTo>
                        <a:pt x="1065" y="1193"/>
                      </a:lnTo>
                      <a:lnTo>
                        <a:pt x="1248" y="1501"/>
                      </a:lnTo>
                      <a:lnTo>
                        <a:pt x="1248" y="1501"/>
                      </a:lnTo>
                      <a:lnTo>
                        <a:pt x="1256" y="1497"/>
                      </a:lnTo>
                      <a:lnTo>
                        <a:pt x="1256" y="1497"/>
                      </a:lnTo>
                      <a:lnTo>
                        <a:pt x="1282" y="1479"/>
                      </a:lnTo>
                      <a:lnTo>
                        <a:pt x="1308" y="1460"/>
                      </a:lnTo>
                      <a:lnTo>
                        <a:pt x="1334" y="1441"/>
                      </a:lnTo>
                      <a:lnTo>
                        <a:pt x="1358" y="1419"/>
                      </a:lnTo>
                      <a:lnTo>
                        <a:pt x="1381" y="1398"/>
                      </a:lnTo>
                      <a:lnTo>
                        <a:pt x="1404" y="1375"/>
                      </a:lnTo>
                      <a:lnTo>
                        <a:pt x="1425" y="1351"/>
                      </a:lnTo>
                      <a:lnTo>
                        <a:pt x="1446" y="1327"/>
                      </a:lnTo>
                      <a:lnTo>
                        <a:pt x="1466" y="1301"/>
                      </a:lnTo>
                      <a:lnTo>
                        <a:pt x="1484" y="1276"/>
                      </a:lnTo>
                      <a:lnTo>
                        <a:pt x="1502" y="1249"/>
                      </a:lnTo>
                      <a:lnTo>
                        <a:pt x="1519" y="1221"/>
                      </a:lnTo>
                      <a:lnTo>
                        <a:pt x="1535" y="1193"/>
                      </a:lnTo>
                      <a:lnTo>
                        <a:pt x="1549" y="1164"/>
                      </a:lnTo>
                      <a:lnTo>
                        <a:pt x="1562" y="1135"/>
                      </a:lnTo>
                      <a:lnTo>
                        <a:pt x="1575" y="1104"/>
                      </a:lnTo>
                      <a:lnTo>
                        <a:pt x="1575" y="1104"/>
                      </a:lnTo>
                      <a:lnTo>
                        <a:pt x="1587" y="1070"/>
                      </a:lnTo>
                      <a:lnTo>
                        <a:pt x="1598" y="1036"/>
                      </a:lnTo>
                      <a:lnTo>
                        <a:pt x="1607" y="1000"/>
                      </a:lnTo>
                      <a:lnTo>
                        <a:pt x="1615" y="963"/>
                      </a:lnTo>
                      <a:lnTo>
                        <a:pt x="1621" y="927"/>
                      </a:lnTo>
                      <a:lnTo>
                        <a:pt x="1625" y="890"/>
                      </a:lnTo>
                      <a:lnTo>
                        <a:pt x="1627" y="852"/>
                      </a:lnTo>
                      <a:lnTo>
                        <a:pt x="1629" y="814"/>
                      </a:lnTo>
                      <a:lnTo>
                        <a:pt x="1629" y="814"/>
                      </a:lnTo>
                      <a:lnTo>
                        <a:pt x="1627" y="772"/>
                      </a:lnTo>
                      <a:lnTo>
                        <a:pt x="1625" y="730"/>
                      </a:lnTo>
                      <a:lnTo>
                        <a:pt x="1620" y="689"/>
                      </a:lnTo>
                      <a:lnTo>
                        <a:pt x="1612" y="648"/>
                      </a:lnTo>
                      <a:lnTo>
                        <a:pt x="1603" y="609"/>
                      </a:lnTo>
                      <a:lnTo>
                        <a:pt x="1592" y="571"/>
                      </a:lnTo>
                      <a:lnTo>
                        <a:pt x="1579" y="533"/>
                      </a:lnTo>
                      <a:lnTo>
                        <a:pt x="1565" y="496"/>
                      </a:lnTo>
                      <a:lnTo>
                        <a:pt x="1549" y="461"/>
                      </a:lnTo>
                      <a:lnTo>
                        <a:pt x="1531" y="425"/>
                      </a:lnTo>
                      <a:lnTo>
                        <a:pt x="1510" y="391"/>
                      </a:lnTo>
                      <a:lnTo>
                        <a:pt x="1490" y="358"/>
                      </a:lnTo>
                      <a:lnTo>
                        <a:pt x="1467" y="326"/>
                      </a:lnTo>
                      <a:lnTo>
                        <a:pt x="1443" y="295"/>
                      </a:lnTo>
                      <a:lnTo>
                        <a:pt x="1418" y="266"/>
                      </a:lnTo>
                      <a:lnTo>
                        <a:pt x="1390" y="237"/>
                      </a:lnTo>
                      <a:lnTo>
                        <a:pt x="1362" y="210"/>
                      </a:lnTo>
                      <a:lnTo>
                        <a:pt x="1333" y="185"/>
                      </a:lnTo>
                      <a:lnTo>
                        <a:pt x="1302" y="161"/>
                      </a:lnTo>
                      <a:lnTo>
                        <a:pt x="1269" y="138"/>
                      </a:lnTo>
                      <a:lnTo>
                        <a:pt x="1236" y="116"/>
                      </a:lnTo>
                      <a:lnTo>
                        <a:pt x="1203" y="97"/>
                      </a:lnTo>
                      <a:lnTo>
                        <a:pt x="1168" y="80"/>
                      </a:lnTo>
                      <a:lnTo>
                        <a:pt x="1132" y="63"/>
                      </a:lnTo>
                      <a:lnTo>
                        <a:pt x="1094" y="49"/>
                      </a:lnTo>
                      <a:lnTo>
                        <a:pt x="1057" y="35"/>
                      </a:lnTo>
                      <a:lnTo>
                        <a:pt x="1018" y="25"/>
                      </a:lnTo>
                      <a:lnTo>
                        <a:pt x="978" y="16"/>
                      </a:lnTo>
                      <a:lnTo>
                        <a:pt x="939" y="8"/>
                      </a:lnTo>
                      <a:lnTo>
                        <a:pt x="898" y="3"/>
                      </a:lnTo>
                      <a:lnTo>
                        <a:pt x="856" y="1"/>
                      </a:lnTo>
                      <a:lnTo>
                        <a:pt x="815" y="0"/>
                      </a:lnTo>
                      <a:lnTo>
                        <a:pt x="815" y="0"/>
                      </a:lnTo>
                      <a:lnTo>
                        <a:pt x="773" y="1"/>
                      </a:lnTo>
                      <a:lnTo>
                        <a:pt x="732" y="3"/>
                      </a:lnTo>
                      <a:lnTo>
                        <a:pt x="690" y="8"/>
                      </a:lnTo>
                      <a:lnTo>
                        <a:pt x="651" y="16"/>
                      </a:lnTo>
                      <a:lnTo>
                        <a:pt x="611" y="25"/>
                      </a:lnTo>
                      <a:lnTo>
                        <a:pt x="572" y="35"/>
                      </a:lnTo>
                      <a:lnTo>
                        <a:pt x="535" y="49"/>
                      </a:lnTo>
                      <a:lnTo>
                        <a:pt x="498" y="63"/>
                      </a:lnTo>
                      <a:lnTo>
                        <a:pt x="461" y="80"/>
                      </a:lnTo>
                      <a:lnTo>
                        <a:pt x="427" y="97"/>
                      </a:lnTo>
                      <a:lnTo>
                        <a:pt x="393" y="116"/>
                      </a:lnTo>
                      <a:lnTo>
                        <a:pt x="360" y="138"/>
                      </a:lnTo>
                      <a:lnTo>
                        <a:pt x="328" y="161"/>
                      </a:lnTo>
                      <a:lnTo>
                        <a:pt x="296" y="185"/>
                      </a:lnTo>
                      <a:lnTo>
                        <a:pt x="267" y="210"/>
                      </a:lnTo>
                      <a:lnTo>
                        <a:pt x="239" y="237"/>
                      </a:lnTo>
                      <a:lnTo>
                        <a:pt x="213" y="266"/>
                      </a:lnTo>
                      <a:lnTo>
                        <a:pt x="186" y="295"/>
                      </a:lnTo>
                      <a:lnTo>
                        <a:pt x="162" y="326"/>
                      </a:lnTo>
                      <a:lnTo>
                        <a:pt x="140" y="358"/>
                      </a:lnTo>
                      <a:lnTo>
                        <a:pt x="119" y="391"/>
                      </a:lnTo>
                      <a:lnTo>
                        <a:pt x="98" y="425"/>
                      </a:lnTo>
                      <a:lnTo>
                        <a:pt x="80" y="461"/>
                      </a:lnTo>
                      <a:lnTo>
                        <a:pt x="64" y="496"/>
                      </a:lnTo>
                      <a:lnTo>
                        <a:pt x="50" y="533"/>
                      </a:lnTo>
                      <a:lnTo>
                        <a:pt x="37" y="571"/>
                      </a:lnTo>
                      <a:lnTo>
                        <a:pt x="26" y="609"/>
                      </a:lnTo>
                      <a:lnTo>
                        <a:pt x="17" y="648"/>
                      </a:lnTo>
                      <a:lnTo>
                        <a:pt x="9" y="689"/>
                      </a:lnTo>
                      <a:lnTo>
                        <a:pt x="4" y="730"/>
                      </a:lnTo>
                      <a:lnTo>
                        <a:pt x="2" y="772"/>
                      </a:lnTo>
                      <a:lnTo>
                        <a:pt x="0" y="814"/>
                      </a:lnTo>
                      <a:lnTo>
                        <a:pt x="0" y="814"/>
                      </a:lnTo>
                      <a:lnTo>
                        <a:pt x="2" y="852"/>
                      </a:lnTo>
                      <a:lnTo>
                        <a:pt x="4" y="890"/>
                      </a:lnTo>
                      <a:lnTo>
                        <a:pt x="8" y="927"/>
                      </a:lnTo>
                      <a:lnTo>
                        <a:pt x="14" y="963"/>
                      </a:lnTo>
                      <a:lnTo>
                        <a:pt x="22" y="1000"/>
                      </a:lnTo>
                      <a:lnTo>
                        <a:pt x="31" y="1036"/>
                      </a:lnTo>
                      <a:lnTo>
                        <a:pt x="42" y="1070"/>
                      </a:lnTo>
                      <a:lnTo>
                        <a:pt x="55" y="1104"/>
                      </a:lnTo>
                      <a:lnTo>
                        <a:pt x="55" y="1104"/>
                      </a:lnTo>
                      <a:close/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7938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103632" tIns="51816" rIns="103632" bIns="51816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/>
                </a:p>
              </p:txBody>
            </p:sp>
          </p:grpSp>
          <p:sp>
            <p:nvSpPr>
              <p:cNvPr id="29" name="TextBox 71">
                <a:extLst>
                  <a:ext uri="{FF2B5EF4-FFF2-40B4-BE49-F238E27FC236}">
                    <a16:creationId xmlns:a16="http://schemas.microsoft.com/office/drawing/2014/main" id="{6C80A16A-F5E5-4B5B-9EDC-FE689C39F8AF}"/>
                  </a:ext>
                </a:extLst>
              </p:cNvPr>
              <p:cNvSpPr txBox="1"/>
              <p:nvPr/>
            </p:nvSpPr>
            <p:spPr>
              <a:xfrm>
                <a:off x="898968" y="4443943"/>
                <a:ext cx="1800200" cy="1784960"/>
              </a:xfrm>
              <a:prstGeom prst="rect">
                <a:avLst/>
              </a:prstGeom>
              <a:noFill/>
            </p:spPr>
            <p:txBody>
              <a:bodyPr spcFirstLastPara="1" wrap="square" lIns="0" tIns="0" rIns="0" bIns="0" numCol="1" rtlCol="0">
                <a:prstTxWarp prst="textArchUp">
                  <a:avLst>
                    <a:gd name="adj" fmla="val 14699110"/>
                  </a:avLst>
                </a:prstTxWarp>
                <a:no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1020"/>
                  </a:spcAft>
                </a:pPr>
                <a:endParaRPr lang="en-GB" sz="16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0" name="TextBox 72">
                <a:extLst>
                  <a:ext uri="{FF2B5EF4-FFF2-40B4-BE49-F238E27FC236}">
                    <a16:creationId xmlns:a16="http://schemas.microsoft.com/office/drawing/2014/main" id="{55175BF9-6163-4D8B-8FA5-37C649A76F78}"/>
                  </a:ext>
                </a:extLst>
              </p:cNvPr>
              <p:cNvSpPr txBox="1"/>
              <p:nvPr/>
            </p:nvSpPr>
            <p:spPr>
              <a:xfrm rot="18956009">
                <a:off x="2119818" y="2701793"/>
                <a:ext cx="1917869" cy="1790011"/>
              </a:xfrm>
              <a:prstGeom prst="rect">
                <a:avLst/>
              </a:prstGeom>
              <a:noFill/>
            </p:spPr>
            <p:txBody>
              <a:bodyPr spcFirstLastPara="1" wrap="square" lIns="0" tIns="0" rIns="0" bIns="0" numCol="1" rtlCol="0">
                <a:prstTxWarp prst="textArchDown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1020"/>
                  </a:spcAft>
                </a:pPr>
                <a:endParaRPr lang="en-GB" sz="16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7A70C8D5-F0EC-4C9D-90D0-9650902595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917" y="5294203"/>
                <a:ext cx="2109087" cy="5230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04955" eaLnBrk="0" hangingPunct="0">
                  <a:spcAft>
                    <a:spcPts val="227"/>
                  </a:spcAft>
                  <a:defRPr/>
                </a:pPr>
                <a:r>
                  <a:rPr lang="en-GB" sz="1400" b="1" i="1" kern="0" dirty="0">
                    <a:solidFill>
                      <a:schemeClr val="accent4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ogistics cost savings</a:t>
                </a:r>
              </a:p>
              <a:p>
                <a:pPr algn="ctr" defTabSz="904955" eaLnBrk="0" hangingPunct="0">
                  <a:spcAft>
                    <a:spcPts val="227"/>
                  </a:spcAft>
                  <a:defRPr/>
                </a:pPr>
                <a:r>
                  <a:rPr lang="en-GB" sz="1400" b="1" kern="0" dirty="0">
                    <a:solidFill>
                      <a:schemeClr val="accent4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~Rs 660 crore per Year</a:t>
                </a:r>
              </a:p>
            </p:txBody>
          </p:sp>
          <p:sp>
            <p:nvSpPr>
              <p:cNvPr id="32" name="TextBox 77">
                <a:extLst>
                  <a:ext uri="{FF2B5EF4-FFF2-40B4-BE49-F238E27FC236}">
                    <a16:creationId xmlns:a16="http://schemas.microsoft.com/office/drawing/2014/main" id="{AACA9DF1-5A15-4E3E-9BF3-70D411FAA345}"/>
                  </a:ext>
                </a:extLst>
              </p:cNvPr>
              <p:cNvSpPr txBox="1"/>
              <p:nvPr/>
            </p:nvSpPr>
            <p:spPr>
              <a:xfrm rot="3885720">
                <a:off x="2710040" y="4501482"/>
                <a:ext cx="1917869" cy="1790011"/>
              </a:xfrm>
              <a:prstGeom prst="rect">
                <a:avLst/>
              </a:prstGeom>
              <a:noFill/>
            </p:spPr>
            <p:txBody>
              <a:bodyPr spcFirstLastPara="1" wrap="square" lIns="0" tIns="0" rIns="0" bIns="0" numCol="1" rtlCol="0">
                <a:prstTxWarp prst="textArchDown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1020"/>
                  </a:spcAft>
                </a:pPr>
                <a:endParaRPr lang="en-GB" sz="16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79CD14A5-911A-403E-8326-44E01B66FF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5544" y="5278798"/>
                <a:ext cx="2386230" cy="5230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04955" eaLnBrk="0" hangingPunct="0">
                  <a:spcAft>
                    <a:spcPts val="227"/>
                  </a:spcAft>
                  <a:defRPr/>
                </a:pPr>
                <a:r>
                  <a:rPr lang="en-GB" sz="1400" b="1" i="1" kern="0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Jobs created</a:t>
                </a:r>
              </a:p>
              <a:p>
                <a:pPr algn="ctr" defTabSz="904955" eaLnBrk="0" hangingPunct="0">
                  <a:spcAft>
                    <a:spcPts val="227"/>
                  </a:spcAft>
                  <a:defRPr/>
                </a:pPr>
                <a:r>
                  <a:rPr lang="en-GB" sz="1400" b="1" kern="0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0,000 – 15,000 by FY’35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E2C1612-AE21-4985-A45B-15E6272720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2017" y="3499027"/>
                <a:ext cx="2345982" cy="5230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04955" eaLnBrk="0" hangingPunct="0">
                  <a:spcAft>
                    <a:spcPts val="227"/>
                  </a:spcAft>
                  <a:defRPr/>
                </a:pPr>
                <a:r>
                  <a:rPr lang="en-GB" sz="1400" b="1" i="1" kern="0" dirty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conomic Value Addition</a:t>
                </a:r>
              </a:p>
              <a:p>
                <a:pPr algn="ctr" defTabSz="904955" eaLnBrk="0" hangingPunct="0">
                  <a:spcAft>
                    <a:spcPts val="227"/>
                  </a:spcAft>
                  <a:defRPr/>
                </a:pPr>
                <a:r>
                  <a:rPr lang="en-GB" sz="1400" b="1" kern="0" dirty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~Rs 15,000 crore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813D1FA6-443F-4273-A300-984E29D26D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3750" y="4459234"/>
                <a:ext cx="764875" cy="4596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04955" eaLnBrk="0" hangingPunct="0">
                  <a:spcAft>
                    <a:spcPts val="227"/>
                  </a:spcAft>
                  <a:defRPr/>
                </a:pPr>
                <a:r>
                  <a:rPr lang="en-GB" sz="1800" b="1" i="1" kern="0" dirty="0">
                    <a:cs typeface="Arial" charset="0"/>
                  </a:rPr>
                  <a:t>Port Impact</a:t>
                </a:r>
                <a:endParaRPr lang="en-GB" sz="1800" kern="0" dirty="0">
                  <a:cs typeface="Arial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9E7EDEF-D1DF-48FE-B59D-DC70AA59049B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792628" y="4756934"/>
              <a:ext cx="663799" cy="663799"/>
              <a:chOff x="2583317" y="2071783"/>
              <a:chExt cx="1656183" cy="1656183"/>
            </a:xfrm>
          </p:grpSpPr>
          <p:sp>
            <p:nvSpPr>
              <p:cNvPr id="19" name="Ellipse 24">
                <a:extLst>
                  <a:ext uri="{FF2B5EF4-FFF2-40B4-BE49-F238E27FC236}">
                    <a16:creationId xmlns:a16="http://schemas.microsoft.com/office/drawing/2014/main" id="{3438E724-1B10-472B-9EA5-4C6F901217C6}"/>
                  </a:ext>
                </a:extLst>
              </p:cNvPr>
              <p:cNvSpPr/>
              <p:nvPr/>
            </p:nvSpPr>
            <p:spPr bwMode="gray">
              <a:xfrm>
                <a:off x="2583317" y="2071783"/>
                <a:ext cx="1656183" cy="1656183"/>
              </a:xfrm>
              <a:prstGeom prst="ellipse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Ellipse 30">
                <a:extLst>
                  <a:ext uri="{FF2B5EF4-FFF2-40B4-BE49-F238E27FC236}">
                    <a16:creationId xmlns:a16="http://schemas.microsoft.com/office/drawing/2014/main" id="{A4B0C37A-BAA5-4241-993B-892DF46AD373}"/>
                  </a:ext>
                </a:extLst>
              </p:cNvPr>
              <p:cNvSpPr/>
              <p:nvPr/>
            </p:nvSpPr>
            <p:spPr bwMode="gray">
              <a:xfrm>
                <a:off x="3081635" y="2350425"/>
                <a:ext cx="210286" cy="210286"/>
              </a:xfrm>
              <a:prstGeom prst="ellipse">
                <a:avLst/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Torte 31">
                <a:extLst>
                  <a:ext uri="{FF2B5EF4-FFF2-40B4-BE49-F238E27FC236}">
                    <a16:creationId xmlns:a16="http://schemas.microsoft.com/office/drawing/2014/main" id="{83266531-EFC3-4B1A-A4EE-83FA1CD4C914}"/>
                  </a:ext>
                </a:extLst>
              </p:cNvPr>
              <p:cNvSpPr/>
              <p:nvPr/>
            </p:nvSpPr>
            <p:spPr bwMode="gray">
              <a:xfrm>
                <a:off x="2963588" y="2560711"/>
                <a:ext cx="446379" cy="446379"/>
              </a:xfrm>
              <a:prstGeom prst="pie">
                <a:avLst>
                  <a:gd name="adj1" fmla="val 10800006"/>
                  <a:gd name="adj2" fmla="val 21593516"/>
                </a:avLst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Ellipse 28">
                <a:extLst>
                  <a:ext uri="{FF2B5EF4-FFF2-40B4-BE49-F238E27FC236}">
                    <a16:creationId xmlns:a16="http://schemas.microsoft.com/office/drawing/2014/main" id="{45E56756-C61D-4C05-8895-830329B2726A}"/>
                  </a:ext>
                </a:extLst>
              </p:cNvPr>
              <p:cNvSpPr/>
              <p:nvPr/>
            </p:nvSpPr>
            <p:spPr bwMode="gray">
              <a:xfrm>
                <a:off x="3530898" y="2350425"/>
                <a:ext cx="210286" cy="210286"/>
              </a:xfrm>
              <a:prstGeom prst="ellipse">
                <a:avLst/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Torte 29">
                <a:extLst>
                  <a:ext uri="{FF2B5EF4-FFF2-40B4-BE49-F238E27FC236}">
                    <a16:creationId xmlns:a16="http://schemas.microsoft.com/office/drawing/2014/main" id="{1F2EF272-B3AF-4D80-8DE4-FA4AD360728B}"/>
                  </a:ext>
                </a:extLst>
              </p:cNvPr>
              <p:cNvSpPr/>
              <p:nvPr/>
            </p:nvSpPr>
            <p:spPr bwMode="gray">
              <a:xfrm>
                <a:off x="3412851" y="2560711"/>
                <a:ext cx="446379" cy="446379"/>
              </a:xfrm>
              <a:prstGeom prst="pie">
                <a:avLst>
                  <a:gd name="adj1" fmla="val 10800006"/>
                  <a:gd name="adj2" fmla="val 21593516"/>
                </a:avLst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Ellipse 37">
                <a:extLst>
                  <a:ext uri="{FF2B5EF4-FFF2-40B4-BE49-F238E27FC236}">
                    <a16:creationId xmlns:a16="http://schemas.microsoft.com/office/drawing/2014/main" id="{D62B0AA5-F6D1-400C-AC44-6C5810AC7592}"/>
                  </a:ext>
                </a:extLst>
              </p:cNvPr>
              <p:cNvSpPr/>
              <p:nvPr/>
            </p:nvSpPr>
            <p:spPr bwMode="gray">
              <a:xfrm>
                <a:off x="3081635" y="2962407"/>
                <a:ext cx="210286" cy="210286"/>
              </a:xfrm>
              <a:prstGeom prst="ellipse">
                <a:avLst/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Torte 38">
                <a:extLst>
                  <a:ext uri="{FF2B5EF4-FFF2-40B4-BE49-F238E27FC236}">
                    <a16:creationId xmlns:a16="http://schemas.microsoft.com/office/drawing/2014/main" id="{21BA629E-C89F-47A2-BE23-DFED2660985B}"/>
                  </a:ext>
                </a:extLst>
              </p:cNvPr>
              <p:cNvSpPr/>
              <p:nvPr/>
            </p:nvSpPr>
            <p:spPr bwMode="gray">
              <a:xfrm>
                <a:off x="2963588" y="3172693"/>
                <a:ext cx="446379" cy="446379"/>
              </a:xfrm>
              <a:prstGeom prst="pie">
                <a:avLst>
                  <a:gd name="adj1" fmla="val 10800006"/>
                  <a:gd name="adj2" fmla="val 21593516"/>
                </a:avLst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Ellipse 35">
                <a:extLst>
                  <a:ext uri="{FF2B5EF4-FFF2-40B4-BE49-F238E27FC236}">
                    <a16:creationId xmlns:a16="http://schemas.microsoft.com/office/drawing/2014/main" id="{F09EE2DA-85C2-4688-A953-EDF98E55C245}"/>
                  </a:ext>
                </a:extLst>
              </p:cNvPr>
              <p:cNvSpPr/>
              <p:nvPr/>
            </p:nvSpPr>
            <p:spPr bwMode="gray">
              <a:xfrm>
                <a:off x="3530899" y="2962407"/>
                <a:ext cx="210286" cy="210286"/>
              </a:xfrm>
              <a:prstGeom prst="ellipse">
                <a:avLst/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Torte 36">
                <a:extLst>
                  <a:ext uri="{FF2B5EF4-FFF2-40B4-BE49-F238E27FC236}">
                    <a16:creationId xmlns:a16="http://schemas.microsoft.com/office/drawing/2014/main" id="{AC0138D3-AB8E-4E33-9C98-74C128140CAB}"/>
                  </a:ext>
                </a:extLst>
              </p:cNvPr>
              <p:cNvSpPr/>
              <p:nvPr/>
            </p:nvSpPr>
            <p:spPr bwMode="gray">
              <a:xfrm>
                <a:off x="3412852" y="3172693"/>
                <a:ext cx="446379" cy="446379"/>
              </a:xfrm>
              <a:prstGeom prst="pie">
                <a:avLst>
                  <a:gd name="adj1" fmla="val 10800006"/>
                  <a:gd name="adj2" fmla="val 21593516"/>
                </a:avLst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9391170-2E6B-446C-AF79-19FBF018512B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339861" y="4773192"/>
              <a:ext cx="663799" cy="663799"/>
              <a:chOff x="533400" y="2059200"/>
              <a:chExt cx="1656184" cy="1656184"/>
            </a:xfrm>
          </p:grpSpPr>
          <p:sp>
            <p:nvSpPr>
              <p:cNvPr id="17" name="Ellipse 59">
                <a:extLst>
                  <a:ext uri="{FF2B5EF4-FFF2-40B4-BE49-F238E27FC236}">
                    <a16:creationId xmlns:a16="http://schemas.microsoft.com/office/drawing/2014/main" id="{250D4F13-62F6-4354-A45B-CC1D8A9A7038}"/>
                  </a:ext>
                </a:extLst>
              </p:cNvPr>
              <p:cNvSpPr/>
              <p:nvPr/>
            </p:nvSpPr>
            <p:spPr bwMode="gray">
              <a:xfrm>
                <a:off x="533400" y="2059200"/>
                <a:ext cx="1656184" cy="1656184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7B73333A-9498-4A96-AD75-4F7F2B07042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69400" y="2734075"/>
                <a:ext cx="1412320" cy="356129"/>
              </a:xfrm>
              <a:custGeom>
                <a:avLst/>
                <a:gdLst>
                  <a:gd name="T0" fmla="*/ 218 w 282"/>
                  <a:gd name="T1" fmla="*/ 25 h 71"/>
                  <a:gd name="T2" fmla="*/ 17 w 282"/>
                  <a:gd name="T3" fmla="*/ 0 h 71"/>
                  <a:gd name="T4" fmla="*/ 17 w 282"/>
                  <a:gd name="T5" fmla="*/ 50 h 71"/>
                  <a:gd name="T6" fmla="*/ 282 w 282"/>
                  <a:gd name="T7" fmla="*/ 29 h 71"/>
                  <a:gd name="T8" fmla="*/ 271 w 282"/>
                  <a:gd name="T9" fmla="*/ 8 h 71"/>
                  <a:gd name="T10" fmla="*/ 228 w 282"/>
                  <a:gd name="T11" fmla="*/ 9 h 71"/>
                  <a:gd name="T12" fmla="*/ 226 w 282"/>
                  <a:gd name="T13" fmla="*/ 57 h 71"/>
                  <a:gd name="T14" fmla="*/ 213 w 282"/>
                  <a:gd name="T15" fmla="*/ 51 h 71"/>
                  <a:gd name="T16" fmla="*/ 198 w 282"/>
                  <a:gd name="T17" fmla="*/ 57 h 71"/>
                  <a:gd name="T18" fmla="*/ 179 w 282"/>
                  <a:gd name="T19" fmla="*/ 61 h 71"/>
                  <a:gd name="T20" fmla="*/ 198 w 282"/>
                  <a:gd name="T21" fmla="*/ 65 h 71"/>
                  <a:gd name="T22" fmla="*/ 213 w 282"/>
                  <a:gd name="T23" fmla="*/ 71 h 71"/>
                  <a:gd name="T24" fmla="*/ 247 w 282"/>
                  <a:gd name="T25" fmla="*/ 65 h 71"/>
                  <a:gd name="T26" fmla="*/ 253 w 282"/>
                  <a:gd name="T27" fmla="*/ 61 h 71"/>
                  <a:gd name="T28" fmla="*/ 256 w 282"/>
                  <a:gd name="T29" fmla="*/ 59 h 71"/>
                  <a:gd name="T30" fmla="*/ 266 w 282"/>
                  <a:gd name="T31" fmla="*/ 71 h 71"/>
                  <a:gd name="T32" fmla="*/ 275 w 282"/>
                  <a:gd name="T33" fmla="*/ 59 h 71"/>
                  <a:gd name="T34" fmla="*/ 282 w 282"/>
                  <a:gd name="T35" fmla="*/ 58 h 71"/>
                  <a:gd name="T36" fmla="*/ 282 w 282"/>
                  <a:gd name="T37" fmla="*/ 29 h 71"/>
                  <a:gd name="T38" fmla="*/ 261 w 282"/>
                  <a:gd name="T39" fmla="*/ 28 h 71"/>
                  <a:gd name="T40" fmla="*/ 259 w 282"/>
                  <a:gd name="T41" fmla="*/ 14 h 71"/>
                  <a:gd name="T42" fmla="*/ 267 w 282"/>
                  <a:gd name="T43" fmla="*/ 12 h 71"/>
                  <a:gd name="T44" fmla="*/ 275 w 282"/>
                  <a:gd name="T45" fmla="*/ 27 h 71"/>
                  <a:gd name="T46" fmla="*/ 73 w 282"/>
                  <a:gd name="T47" fmla="*/ 51 h 71"/>
                  <a:gd name="T48" fmla="*/ 57 w 282"/>
                  <a:gd name="T49" fmla="*/ 57 h 71"/>
                  <a:gd name="T50" fmla="*/ 40 w 282"/>
                  <a:gd name="T51" fmla="*/ 57 h 71"/>
                  <a:gd name="T52" fmla="*/ 24 w 282"/>
                  <a:gd name="T53" fmla="*/ 51 h 71"/>
                  <a:gd name="T54" fmla="*/ 24 w 282"/>
                  <a:gd name="T55" fmla="*/ 71 h 71"/>
                  <a:gd name="T56" fmla="*/ 40 w 282"/>
                  <a:gd name="T57" fmla="*/ 65 h 71"/>
                  <a:gd name="T58" fmla="*/ 57 w 282"/>
                  <a:gd name="T59" fmla="*/ 65 h 71"/>
                  <a:gd name="T60" fmla="*/ 73 w 282"/>
                  <a:gd name="T61" fmla="*/ 71 h 71"/>
                  <a:gd name="T62" fmla="*/ 73 w 282"/>
                  <a:gd name="T63" fmla="*/ 51 h 7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82"/>
                  <a:gd name="T97" fmla="*/ 0 h 71"/>
                  <a:gd name="T98" fmla="*/ 282 w 282"/>
                  <a:gd name="T99" fmla="*/ 71 h 7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82" h="71">
                    <a:moveTo>
                      <a:pt x="201" y="50"/>
                    </a:moveTo>
                    <a:cubicBezTo>
                      <a:pt x="210" y="50"/>
                      <a:pt x="218" y="39"/>
                      <a:pt x="218" y="25"/>
                    </a:cubicBezTo>
                    <a:cubicBezTo>
                      <a:pt x="218" y="11"/>
                      <a:pt x="210" y="0"/>
                      <a:pt x="201" y="0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11"/>
                      <a:pt x="0" y="25"/>
                    </a:cubicBezTo>
                    <a:cubicBezTo>
                      <a:pt x="0" y="39"/>
                      <a:pt x="7" y="50"/>
                      <a:pt x="17" y="50"/>
                    </a:cubicBezTo>
                    <a:lnTo>
                      <a:pt x="201" y="50"/>
                    </a:lnTo>
                    <a:close/>
                    <a:moveTo>
                      <a:pt x="282" y="29"/>
                    </a:moveTo>
                    <a:cubicBezTo>
                      <a:pt x="273" y="9"/>
                      <a:pt x="273" y="9"/>
                      <a:pt x="273" y="9"/>
                    </a:cubicBezTo>
                    <a:cubicBezTo>
                      <a:pt x="272" y="8"/>
                      <a:pt x="271" y="8"/>
                      <a:pt x="271" y="8"/>
                    </a:cubicBezTo>
                    <a:cubicBezTo>
                      <a:pt x="229" y="8"/>
                      <a:pt x="229" y="8"/>
                      <a:pt x="229" y="8"/>
                    </a:cubicBezTo>
                    <a:cubicBezTo>
                      <a:pt x="228" y="8"/>
                      <a:pt x="228" y="8"/>
                      <a:pt x="228" y="9"/>
                    </a:cubicBezTo>
                    <a:cubicBezTo>
                      <a:pt x="228" y="55"/>
                      <a:pt x="228" y="55"/>
                      <a:pt x="228" y="55"/>
                    </a:cubicBezTo>
                    <a:cubicBezTo>
                      <a:pt x="228" y="56"/>
                      <a:pt x="227" y="57"/>
                      <a:pt x="226" y="57"/>
                    </a:cubicBezTo>
                    <a:cubicBezTo>
                      <a:pt x="221" y="57"/>
                      <a:pt x="221" y="57"/>
                      <a:pt x="221" y="57"/>
                    </a:cubicBezTo>
                    <a:cubicBezTo>
                      <a:pt x="219" y="53"/>
                      <a:pt x="216" y="51"/>
                      <a:pt x="213" y="51"/>
                    </a:cubicBezTo>
                    <a:cubicBezTo>
                      <a:pt x="209" y="51"/>
                      <a:pt x="206" y="53"/>
                      <a:pt x="204" y="57"/>
                    </a:cubicBezTo>
                    <a:cubicBezTo>
                      <a:pt x="198" y="57"/>
                      <a:pt x="198" y="57"/>
                      <a:pt x="198" y="57"/>
                    </a:cubicBezTo>
                    <a:cubicBezTo>
                      <a:pt x="196" y="53"/>
                      <a:pt x="193" y="51"/>
                      <a:pt x="189" y="51"/>
                    </a:cubicBezTo>
                    <a:cubicBezTo>
                      <a:pt x="184" y="51"/>
                      <a:pt x="179" y="56"/>
                      <a:pt x="179" y="61"/>
                    </a:cubicBezTo>
                    <a:cubicBezTo>
                      <a:pt x="179" y="67"/>
                      <a:pt x="184" y="71"/>
                      <a:pt x="189" y="71"/>
                    </a:cubicBezTo>
                    <a:cubicBezTo>
                      <a:pt x="193" y="71"/>
                      <a:pt x="196" y="69"/>
                      <a:pt x="198" y="65"/>
                    </a:cubicBezTo>
                    <a:cubicBezTo>
                      <a:pt x="204" y="65"/>
                      <a:pt x="204" y="65"/>
                      <a:pt x="204" y="65"/>
                    </a:cubicBezTo>
                    <a:cubicBezTo>
                      <a:pt x="205" y="69"/>
                      <a:pt x="209" y="71"/>
                      <a:pt x="213" y="71"/>
                    </a:cubicBezTo>
                    <a:cubicBezTo>
                      <a:pt x="216" y="71"/>
                      <a:pt x="220" y="69"/>
                      <a:pt x="221" y="65"/>
                    </a:cubicBezTo>
                    <a:cubicBezTo>
                      <a:pt x="247" y="65"/>
                      <a:pt x="247" y="65"/>
                      <a:pt x="247" y="65"/>
                    </a:cubicBezTo>
                    <a:cubicBezTo>
                      <a:pt x="248" y="65"/>
                      <a:pt x="249" y="65"/>
                      <a:pt x="249" y="64"/>
                    </a:cubicBezTo>
                    <a:cubicBezTo>
                      <a:pt x="253" y="61"/>
                      <a:pt x="253" y="61"/>
                      <a:pt x="253" y="61"/>
                    </a:cubicBezTo>
                    <a:cubicBezTo>
                      <a:pt x="254" y="60"/>
                      <a:pt x="255" y="59"/>
                      <a:pt x="256" y="59"/>
                    </a:cubicBezTo>
                    <a:cubicBezTo>
                      <a:pt x="256" y="59"/>
                      <a:pt x="256" y="59"/>
                      <a:pt x="256" y="59"/>
                    </a:cubicBezTo>
                    <a:cubicBezTo>
                      <a:pt x="256" y="60"/>
                      <a:pt x="256" y="61"/>
                      <a:pt x="256" y="61"/>
                    </a:cubicBezTo>
                    <a:cubicBezTo>
                      <a:pt x="256" y="67"/>
                      <a:pt x="260" y="71"/>
                      <a:pt x="266" y="71"/>
                    </a:cubicBezTo>
                    <a:cubicBezTo>
                      <a:pt x="271" y="71"/>
                      <a:pt x="275" y="67"/>
                      <a:pt x="275" y="61"/>
                    </a:cubicBezTo>
                    <a:cubicBezTo>
                      <a:pt x="275" y="61"/>
                      <a:pt x="275" y="60"/>
                      <a:pt x="275" y="59"/>
                    </a:cubicBezTo>
                    <a:cubicBezTo>
                      <a:pt x="281" y="59"/>
                      <a:pt x="281" y="59"/>
                      <a:pt x="281" y="59"/>
                    </a:cubicBezTo>
                    <a:cubicBezTo>
                      <a:pt x="282" y="59"/>
                      <a:pt x="282" y="59"/>
                      <a:pt x="282" y="58"/>
                    </a:cubicBezTo>
                    <a:cubicBezTo>
                      <a:pt x="282" y="32"/>
                      <a:pt x="282" y="32"/>
                      <a:pt x="282" y="32"/>
                    </a:cubicBezTo>
                    <a:cubicBezTo>
                      <a:pt x="282" y="31"/>
                      <a:pt x="282" y="30"/>
                      <a:pt x="282" y="29"/>
                    </a:cubicBezTo>
                    <a:close/>
                    <a:moveTo>
                      <a:pt x="275" y="28"/>
                    </a:moveTo>
                    <a:cubicBezTo>
                      <a:pt x="261" y="28"/>
                      <a:pt x="261" y="28"/>
                      <a:pt x="261" y="28"/>
                    </a:cubicBezTo>
                    <a:cubicBezTo>
                      <a:pt x="260" y="28"/>
                      <a:pt x="259" y="28"/>
                      <a:pt x="259" y="27"/>
                    </a:cubicBezTo>
                    <a:cubicBezTo>
                      <a:pt x="259" y="14"/>
                      <a:pt x="259" y="14"/>
                      <a:pt x="259" y="14"/>
                    </a:cubicBezTo>
                    <a:cubicBezTo>
                      <a:pt x="259" y="13"/>
                      <a:pt x="260" y="12"/>
                      <a:pt x="261" y="12"/>
                    </a:cubicBezTo>
                    <a:cubicBezTo>
                      <a:pt x="267" y="12"/>
                      <a:pt x="267" y="12"/>
                      <a:pt x="267" y="12"/>
                    </a:cubicBezTo>
                    <a:cubicBezTo>
                      <a:pt x="268" y="12"/>
                      <a:pt x="269" y="13"/>
                      <a:pt x="269" y="14"/>
                    </a:cubicBezTo>
                    <a:cubicBezTo>
                      <a:pt x="275" y="27"/>
                      <a:pt x="275" y="27"/>
                      <a:pt x="275" y="27"/>
                    </a:cubicBezTo>
                    <a:cubicBezTo>
                      <a:pt x="276" y="28"/>
                      <a:pt x="275" y="28"/>
                      <a:pt x="275" y="28"/>
                    </a:cubicBezTo>
                    <a:close/>
                    <a:moveTo>
                      <a:pt x="73" y="51"/>
                    </a:moveTo>
                    <a:cubicBezTo>
                      <a:pt x="69" y="51"/>
                      <a:pt x="66" y="54"/>
                      <a:pt x="64" y="57"/>
                    </a:cubicBezTo>
                    <a:cubicBezTo>
                      <a:pt x="57" y="57"/>
                      <a:pt x="57" y="57"/>
                      <a:pt x="57" y="57"/>
                    </a:cubicBezTo>
                    <a:cubicBezTo>
                      <a:pt x="56" y="54"/>
                      <a:pt x="52" y="51"/>
                      <a:pt x="49" y="51"/>
                    </a:cubicBezTo>
                    <a:cubicBezTo>
                      <a:pt x="45" y="51"/>
                      <a:pt x="42" y="54"/>
                      <a:pt x="40" y="57"/>
                    </a:cubicBezTo>
                    <a:cubicBezTo>
                      <a:pt x="33" y="57"/>
                      <a:pt x="33" y="57"/>
                      <a:pt x="33" y="57"/>
                    </a:cubicBezTo>
                    <a:cubicBezTo>
                      <a:pt x="31" y="54"/>
                      <a:pt x="28" y="51"/>
                      <a:pt x="24" y="51"/>
                    </a:cubicBezTo>
                    <a:cubicBezTo>
                      <a:pt x="19" y="51"/>
                      <a:pt x="15" y="56"/>
                      <a:pt x="15" y="61"/>
                    </a:cubicBezTo>
                    <a:cubicBezTo>
                      <a:pt x="15" y="67"/>
                      <a:pt x="19" y="71"/>
                      <a:pt x="24" y="71"/>
                    </a:cubicBezTo>
                    <a:cubicBezTo>
                      <a:pt x="28" y="71"/>
                      <a:pt x="31" y="69"/>
                      <a:pt x="33" y="65"/>
                    </a:cubicBezTo>
                    <a:cubicBezTo>
                      <a:pt x="40" y="65"/>
                      <a:pt x="40" y="65"/>
                      <a:pt x="40" y="65"/>
                    </a:cubicBezTo>
                    <a:cubicBezTo>
                      <a:pt x="42" y="69"/>
                      <a:pt x="45" y="71"/>
                      <a:pt x="49" y="71"/>
                    </a:cubicBezTo>
                    <a:cubicBezTo>
                      <a:pt x="53" y="71"/>
                      <a:pt x="56" y="69"/>
                      <a:pt x="57" y="65"/>
                    </a:cubicBezTo>
                    <a:cubicBezTo>
                      <a:pt x="64" y="65"/>
                      <a:pt x="64" y="65"/>
                      <a:pt x="64" y="65"/>
                    </a:cubicBezTo>
                    <a:cubicBezTo>
                      <a:pt x="66" y="69"/>
                      <a:pt x="69" y="71"/>
                      <a:pt x="73" y="71"/>
                    </a:cubicBezTo>
                    <a:cubicBezTo>
                      <a:pt x="79" y="71"/>
                      <a:pt x="83" y="67"/>
                      <a:pt x="83" y="61"/>
                    </a:cubicBezTo>
                    <a:cubicBezTo>
                      <a:pt x="83" y="56"/>
                      <a:pt x="79" y="51"/>
                      <a:pt x="73" y="5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600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FE262AA-4BD2-4282-B5FD-94051EFB389B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573935" y="2801222"/>
              <a:ext cx="663799" cy="663799"/>
              <a:chOff x="2978539" y="2059200"/>
              <a:chExt cx="1656184" cy="1656184"/>
            </a:xfrm>
          </p:grpSpPr>
          <p:sp>
            <p:nvSpPr>
              <p:cNvPr id="11" name="Ellipse 71">
                <a:extLst>
                  <a:ext uri="{FF2B5EF4-FFF2-40B4-BE49-F238E27FC236}">
                    <a16:creationId xmlns:a16="http://schemas.microsoft.com/office/drawing/2014/main" id="{6999EF4F-657F-487A-8B24-4D8CF490425F}"/>
                  </a:ext>
                </a:extLst>
              </p:cNvPr>
              <p:cNvSpPr/>
              <p:nvPr/>
            </p:nvSpPr>
            <p:spPr bwMode="gray">
              <a:xfrm>
                <a:off x="2978539" y="2059200"/>
                <a:ext cx="1656184" cy="1656184"/>
              </a:xfrm>
              <a:prstGeom prst="ellipse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A613759E-C77D-42A1-9415-C0EE65C346A0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141220" y="2322480"/>
                <a:ext cx="1274567" cy="962332"/>
                <a:chOff x="-1282" y="1831"/>
                <a:chExt cx="723" cy="547"/>
              </a:xfrm>
              <a:solidFill>
                <a:schemeClr val="bg2"/>
              </a:solidFill>
            </p:grpSpPr>
            <p:sp>
              <p:nvSpPr>
                <p:cNvPr id="13" name="Freeform 2431">
                  <a:extLst>
                    <a:ext uri="{FF2B5EF4-FFF2-40B4-BE49-F238E27FC236}">
                      <a16:creationId xmlns:a16="http://schemas.microsoft.com/office/drawing/2014/main" id="{33AAE8A1-7AA6-4AE7-AEB8-4B7C6ACBD8A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-724" y="1937"/>
                  <a:ext cx="52" cy="255"/>
                </a:xfrm>
                <a:custGeom>
                  <a:avLst/>
                  <a:gdLst>
                    <a:gd name="T0" fmla="*/ 44 w 52"/>
                    <a:gd name="T1" fmla="*/ 0 h 255"/>
                    <a:gd name="T2" fmla="*/ 9 w 52"/>
                    <a:gd name="T3" fmla="*/ 0 h 255"/>
                    <a:gd name="T4" fmla="*/ 0 w 52"/>
                    <a:gd name="T5" fmla="*/ 255 h 255"/>
                    <a:gd name="T6" fmla="*/ 9 w 52"/>
                    <a:gd name="T7" fmla="*/ 255 h 255"/>
                    <a:gd name="T8" fmla="*/ 44 w 52"/>
                    <a:gd name="T9" fmla="*/ 255 h 255"/>
                    <a:gd name="T10" fmla="*/ 52 w 52"/>
                    <a:gd name="T11" fmla="*/ 255 h 255"/>
                    <a:gd name="T12" fmla="*/ 44 w 52"/>
                    <a:gd name="T13" fmla="*/ 0 h 25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" h="255">
                      <a:moveTo>
                        <a:pt x="44" y="0"/>
                      </a:moveTo>
                      <a:lnTo>
                        <a:pt x="9" y="0"/>
                      </a:lnTo>
                      <a:lnTo>
                        <a:pt x="0" y="255"/>
                      </a:lnTo>
                      <a:lnTo>
                        <a:pt x="9" y="255"/>
                      </a:lnTo>
                      <a:lnTo>
                        <a:pt x="44" y="255"/>
                      </a:lnTo>
                      <a:lnTo>
                        <a:pt x="52" y="255"/>
                      </a:lnTo>
                      <a:lnTo>
                        <a:pt x="4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/>
                </a:p>
              </p:txBody>
            </p:sp>
            <p:sp>
              <p:nvSpPr>
                <p:cNvPr id="14" name="Freeform 2432">
                  <a:extLst>
                    <a:ext uri="{FF2B5EF4-FFF2-40B4-BE49-F238E27FC236}">
                      <a16:creationId xmlns:a16="http://schemas.microsoft.com/office/drawing/2014/main" id="{E2AC69E1-1A43-4119-853C-6A082F9F403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-656" y="1831"/>
                  <a:ext cx="92" cy="358"/>
                </a:xfrm>
                <a:custGeom>
                  <a:avLst/>
                  <a:gdLst>
                    <a:gd name="T0" fmla="*/ 78 w 92"/>
                    <a:gd name="T1" fmla="*/ 0 h 358"/>
                    <a:gd name="T2" fmla="*/ 14 w 92"/>
                    <a:gd name="T3" fmla="*/ 0 h 358"/>
                    <a:gd name="T4" fmla="*/ 0 w 92"/>
                    <a:gd name="T5" fmla="*/ 358 h 358"/>
                    <a:gd name="T6" fmla="*/ 14 w 92"/>
                    <a:gd name="T7" fmla="*/ 358 h 358"/>
                    <a:gd name="T8" fmla="*/ 78 w 92"/>
                    <a:gd name="T9" fmla="*/ 358 h 358"/>
                    <a:gd name="T10" fmla="*/ 92 w 92"/>
                    <a:gd name="T11" fmla="*/ 358 h 358"/>
                    <a:gd name="T12" fmla="*/ 78 w 92"/>
                    <a:gd name="T13" fmla="*/ 0 h 35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92" h="358">
                      <a:moveTo>
                        <a:pt x="78" y="0"/>
                      </a:moveTo>
                      <a:lnTo>
                        <a:pt x="14" y="0"/>
                      </a:lnTo>
                      <a:lnTo>
                        <a:pt x="0" y="358"/>
                      </a:lnTo>
                      <a:lnTo>
                        <a:pt x="14" y="358"/>
                      </a:lnTo>
                      <a:lnTo>
                        <a:pt x="78" y="358"/>
                      </a:lnTo>
                      <a:lnTo>
                        <a:pt x="92" y="358"/>
                      </a:lnTo>
                      <a:lnTo>
                        <a:pt x="7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/>
                </a:p>
              </p:txBody>
            </p:sp>
            <p:sp>
              <p:nvSpPr>
                <p:cNvPr id="15" name="Freeform 2433">
                  <a:extLst>
                    <a:ext uri="{FF2B5EF4-FFF2-40B4-BE49-F238E27FC236}">
                      <a16:creationId xmlns:a16="http://schemas.microsoft.com/office/drawing/2014/main" id="{731EDB71-0F85-46D3-A699-4A9F9510F59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-1282" y="2291"/>
                  <a:ext cx="480" cy="87"/>
                </a:xfrm>
                <a:custGeom>
                  <a:avLst/>
                  <a:gdLst>
                    <a:gd name="T0" fmla="*/ 0 w 480"/>
                    <a:gd name="T1" fmla="*/ 0 h 87"/>
                    <a:gd name="T2" fmla="*/ 0 w 480"/>
                    <a:gd name="T3" fmla="*/ 87 h 87"/>
                    <a:gd name="T4" fmla="*/ 480 w 480"/>
                    <a:gd name="T5" fmla="*/ 87 h 87"/>
                    <a:gd name="T6" fmla="*/ 480 w 480"/>
                    <a:gd name="T7" fmla="*/ 0 h 87"/>
                    <a:gd name="T8" fmla="*/ 0 w 480"/>
                    <a:gd name="T9" fmla="*/ 0 h 87"/>
                    <a:gd name="T10" fmla="*/ 76 w 480"/>
                    <a:gd name="T11" fmla="*/ 68 h 87"/>
                    <a:gd name="T12" fmla="*/ 43 w 480"/>
                    <a:gd name="T13" fmla="*/ 68 h 87"/>
                    <a:gd name="T14" fmla="*/ 43 w 480"/>
                    <a:gd name="T15" fmla="*/ 19 h 87"/>
                    <a:gd name="T16" fmla="*/ 76 w 480"/>
                    <a:gd name="T17" fmla="*/ 19 h 87"/>
                    <a:gd name="T18" fmla="*/ 76 w 480"/>
                    <a:gd name="T19" fmla="*/ 68 h 87"/>
                    <a:gd name="T20" fmla="*/ 137 w 480"/>
                    <a:gd name="T21" fmla="*/ 68 h 87"/>
                    <a:gd name="T22" fmla="*/ 102 w 480"/>
                    <a:gd name="T23" fmla="*/ 68 h 87"/>
                    <a:gd name="T24" fmla="*/ 102 w 480"/>
                    <a:gd name="T25" fmla="*/ 19 h 87"/>
                    <a:gd name="T26" fmla="*/ 137 w 480"/>
                    <a:gd name="T27" fmla="*/ 19 h 87"/>
                    <a:gd name="T28" fmla="*/ 137 w 480"/>
                    <a:gd name="T29" fmla="*/ 68 h 87"/>
                    <a:gd name="T30" fmla="*/ 196 w 480"/>
                    <a:gd name="T31" fmla="*/ 68 h 87"/>
                    <a:gd name="T32" fmla="*/ 163 w 480"/>
                    <a:gd name="T33" fmla="*/ 68 h 87"/>
                    <a:gd name="T34" fmla="*/ 163 w 480"/>
                    <a:gd name="T35" fmla="*/ 19 h 87"/>
                    <a:gd name="T36" fmla="*/ 196 w 480"/>
                    <a:gd name="T37" fmla="*/ 19 h 87"/>
                    <a:gd name="T38" fmla="*/ 196 w 480"/>
                    <a:gd name="T39" fmla="*/ 68 h 87"/>
                    <a:gd name="T40" fmla="*/ 258 w 480"/>
                    <a:gd name="T41" fmla="*/ 68 h 87"/>
                    <a:gd name="T42" fmla="*/ 222 w 480"/>
                    <a:gd name="T43" fmla="*/ 68 h 87"/>
                    <a:gd name="T44" fmla="*/ 222 w 480"/>
                    <a:gd name="T45" fmla="*/ 19 h 87"/>
                    <a:gd name="T46" fmla="*/ 258 w 480"/>
                    <a:gd name="T47" fmla="*/ 19 h 87"/>
                    <a:gd name="T48" fmla="*/ 258 w 480"/>
                    <a:gd name="T49" fmla="*/ 68 h 87"/>
                    <a:gd name="T50" fmla="*/ 317 w 480"/>
                    <a:gd name="T51" fmla="*/ 68 h 87"/>
                    <a:gd name="T52" fmla="*/ 284 w 480"/>
                    <a:gd name="T53" fmla="*/ 68 h 87"/>
                    <a:gd name="T54" fmla="*/ 284 w 480"/>
                    <a:gd name="T55" fmla="*/ 19 h 87"/>
                    <a:gd name="T56" fmla="*/ 317 w 480"/>
                    <a:gd name="T57" fmla="*/ 19 h 87"/>
                    <a:gd name="T58" fmla="*/ 317 w 480"/>
                    <a:gd name="T59" fmla="*/ 68 h 87"/>
                    <a:gd name="T60" fmla="*/ 378 w 480"/>
                    <a:gd name="T61" fmla="*/ 68 h 87"/>
                    <a:gd name="T62" fmla="*/ 343 w 480"/>
                    <a:gd name="T63" fmla="*/ 68 h 87"/>
                    <a:gd name="T64" fmla="*/ 343 w 480"/>
                    <a:gd name="T65" fmla="*/ 19 h 87"/>
                    <a:gd name="T66" fmla="*/ 378 w 480"/>
                    <a:gd name="T67" fmla="*/ 19 h 87"/>
                    <a:gd name="T68" fmla="*/ 378 w 480"/>
                    <a:gd name="T69" fmla="*/ 68 h 87"/>
                    <a:gd name="T70" fmla="*/ 437 w 480"/>
                    <a:gd name="T71" fmla="*/ 68 h 87"/>
                    <a:gd name="T72" fmla="*/ 404 w 480"/>
                    <a:gd name="T73" fmla="*/ 68 h 87"/>
                    <a:gd name="T74" fmla="*/ 404 w 480"/>
                    <a:gd name="T75" fmla="*/ 19 h 87"/>
                    <a:gd name="T76" fmla="*/ 437 w 480"/>
                    <a:gd name="T77" fmla="*/ 19 h 87"/>
                    <a:gd name="T78" fmla="*/ 437 w 480"/>
                    <a:gd name="T79" fmla="*/ 68 h 87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0" t="0" r="r" b="b"/>
                  <a:pathLst>
                    <a:path w="480" h="87">
                      <a:moveTo>
                        <a:pt x="0" y="0"/>
                      </a:moveTo>
                      <a:lnTo>
                        <a:pt x="0" y="87"/>
                      </a:lnTo>
                      <a:lnTo>
                        <a:pt x="480" y="87"/>
                      </a:lnTo>
                      <a:lnTo>
                        <a:pt x="480" y="0"/>
                      </a:lnTo>
                      <a:lnTo>
                        <a:pt x="0" y="0"/>
                      </a:lnTo>
                      <a:close/>
                      <a:moveTo>
                        <a:pt x="76" y="68"/>
                      </a:moveTo>
                      <a:lnTo>
                        <a:pt x="43" y="68"/>
                      </a:lnTo>
                      <a:lnTo>
                        <a:pt x="43" y="19"/>
                      </a:lnTo>
                      <a:lnTo>
                        <a:pt x="76" y="19"/>
                      </a:lnTo>
                      <a:lnTo>
                        <a:pt x="76" y="68"/>
                      </a:lnTo>
                      <a:close/>
                      <a:moveTo>
                        <a:pt x="137" y="68"/>
                      </a:moveTo>
                      <a:lnTo>
                        <a:pt x="102" y="68"/>
                      </a:lnTo>
                      <a:lnTo>
                        <a:pt x="102" y="19"/>
                      </a:lnTo>
                      <a:lnTo>
                        <a:pt x="137" y="19"/>
                      </a:lnTo>
                      <a:lnTo>
                        <a:pt x="137" y="68"/>
                      </a:lnTo>
                      <a:close/>
                      <a:moveTo>
                        <a:pt x="196" y="68"/>
                      </a:moveTo>
                      <a:lnTo>
                        <a:pt x="163" y="68"/>
                      </a:lnTo>
                      <a:lnTo>
                        <a:pt x="163" y="19"/>
                      </a:lnTo>
                      <a:lnTo>
                        <a:pt x="196" y="19"/>
                      </a:lnTo>
                      <a:lnTo>
                        <a:pt x="196" y="68"/>
                      </a:lnTo>
                      <a:close/>
                      <a:moveTo>
                        <a:pt x="258" y="68"/>
                      </a:moveTo>
                      <a:lnTo>
                        <a:pt x="222" y="68"/>
                      </a:lnTo>
                      <a:lnTo>
                        <a:pt x="222" y="19"/>
                      </a:lnTo>
                      <a:lnTo>
                        <a:pt x="258" y="19"/>
                      </a:lnTo>
                      <a:lnTo>
                        <a:pt x="258" y="68"/>
                      </a:lnTo>
                      <a:close/>
                      <a:moveTo>
                        <a:pt x="317" y="68"/>
                      </a:moveTo>
                      <a:lnTo>
                        <a:pt x="284" y="68"/>
                      </a:lnTo>
                      <a:lnTo>
                        <a:pt x="284" y="19"/>
                      </a:lnTo>
                      <a:lnTo>
                        <a:pt x="317" y="19"/>
                      </a:lnTo>
                      <a:lnTo>
                        <a:pt x="317" y="68"/>
                      </a:lnTo>
                      <a:close/>
                      <a:moveTo>
                        <a:pt x="378" y="68"/>
                      </a:moveTo>
                      <a:lnTo>
                        <a:pt x="343" y="68"/>
                      </a:lnTo>
                      <a:lnTo>
                        <a:pt x="343" y="19"/>
                      </a:lnTo>
                      <a:lnTo>
                        <a:pt x="378" y="19"/>
                      </a:lnTo>
                      <a:lnTo>
                        <a:pt x="378" y="68"/>
                      </a:lnTo>
                      <a:close/>
                      <a:moveTo>
                        <a:pt x="437" y="68"/>
                      </a:moveTo>
                      <a:lnTo>
                        <a:pt x="404" y="68"/>
                      </a:lnTo>
                      <a:lnTo>
                        <a:pt x="404" y="19"/>
                      </a:lnTo>
                      <a:lnTo>
                        <a:pt x="437" y="19"/>
                      </a:lnTo>
                      <a:lnTo>
                        <a:pt x="437" y="6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/>
                </a:p>
              </p:txBody>
            </p:sp>
            <p:sp>
              <p:nvSpPr>
                <p:cNvPr id="16" name="Freeform 2434">
                  <a:extLst>
                    <a:ext uri="{FF2B5EF4-FFF2-40B4-BE49-F238E27FC236}">
                      <a16:creationId xmlns:a16="http://schemas.microsoft.com/office/drawing/2014/main" id="{8D44E7F4-76D4-4786-AED4-01E85971F8AD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-1280" y="1951"/>
                  <a:ext cx="721" cy="427"/>
                </a:xfrm>
                <a:custGeom>
                  <a:avLst/>
                  <a:gdLst>
                    <a:gd name="T0" fmla="*/ 721 w 721"/>
                    <a:gd name="T1" fmla="*/ 255 h 427"/>
                    <a:gd name="T2" fmla="*/ 534 w 721"/>
                    <a:gd name="T3" fmla="*/ 255 h 427"/>
                    <a:gd name="T4" fmla="*/ 534 w 721"/>
                    <a:gd name="T5" fmla="*/ 94 h 427"/>
                    <a:gd name="T6" fmla="*/ 371 w 721"/>
                    <a:gd name="T7" fmla="*/ 205 h 427"/>
                    <a:gd name="T8" fmla="*/ 371 w 721"/>
                    <a:gd name="T9" fmla="*/ 94 h 427"/>
                    <a:gd name="T10" fmla="*/ 208 w 721"/>
                    <a:gd name="T11" fmla="*/ 205 h 427"/>
                    <a:gd name="T12" fmla="*/ 208 w 721"/>
                    <a:gd name="T13" fmla="*/ 0 h 427"/>
                    <a:gd name="T14" fmla="*/ 173 w 721"/>
                    <a:gd name="T15" fmla="*/ 0 h 427"/>
                    <a:gd name="T16" fmla="*/ 173 w 721"/>
                    <a:gd name="T17" fmla="*/ 90 h 427"/>
                    <a:gd name="T18" fmla="*/ 0 w 721"/>
                    <a:gd name="T19" fmla="*/ 205 h 427"/>
                    <a:gd name="T20" fmla="*/ 0 w 721"/>
                    <a:gd name="T21" fmla="*/ 326 h 427"/>
                    <a:gd name="T22" fmla="*/ 499 w 721"/>
                    <a:gd name="T23" fmla="*/ 326 h 427"/>
                    <a:gd name="T24" fmla="*/ 499 w 721"/>
                    <a:gd name="T25" fmla="*/ 427 h 427"/>
                    <a:gd name="T26" fmla="*/ 650 w 721"/>
                    <a:gd name="T27" fmla="*/ 427 h 427"/>
                    <a:gd name="T28" fmla="*/ 650 w 721"/>
                    <a:gd name="T29" fmla="*/ 375 h 427"/>
                    <a:gd name="T30" fmla="*/ 688 w 721"/>
                    <a:gd name="T31" fmla="*/ 375 h 427"/>
                    <a:gd name="T32" fmla="*/ 688 w 721"/>
                    <a:gd name="T33" fmla="*/ 427 h 427"/>
                    <a:gd name="T34" fmla="*/ 721 w 721"/>
                    <a:gd name="T35" fmla="*/ 427 h 427"/>
                    <a:gd name="T36" fmla="*/ 721 w 721"/>
                    <a:gd name="T37" fmla="*/ 255 h 427"/>
                    <a:gd name="T38" fmla="*/ 600 w 721"/>
                    <a:gd name="T39" fmla="*/ 408 h 427"/>
                    <a:gd name="T40" fmla="*/ 532 w 721"/>
                    <a:gd name="T41" fmla="*/ 408 h 427"/>
                    <a:gd name="T42" fmla="*/ 532 w 721"/>
                    <a:gd name="T43" fmla="*/ 357 h 427"/>
                    <a:gd name="T44" fmla="*/ 600 w 721"/>
                    <a:gd name="T45" fmla="*/ 357 h 427"/>
                    <a:gd name="T46" fmla="*/ 600 w 721"/>
                    <a:gd name="T47" fmla="*/ 408 h 427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21" h="427">
                      <a:moveTo>
                        <a:pt x="721" y="255"/>
                      </a:moveTo>
                      <a:lnTo>
                        <a:pt x="534" y="255"/>
                      </a:lnTo>
                      <a:lnTo>
                        <a:pt x="534" y="94"/>
                      </a:lnTo>
                      <a:lnTo>
                        <a:pt x="371" y="205"/>
                      </a:lnTo>
                      <a:lnTo>
                        <a:pt x="371" y="94"/>
                      </a:lnTo>
                      <a:lnTo>
                        <a:pt x="208" y="205"/>
                      </a:lnTo>
                      <a:lnTo>
                        <a:pt x="208" y="0"/>
                      </a:lnTo>
                      <a:lnTo>
                        <a:pt x="173" y="0"/>
                      </a:lnTo>
                      <a:lnTo>
                        <a:pt x="173" y="90"/>
                      </a:lnTo>
                      <a:lnTo>
                        <a:pt x="0" y="205"/>
                      </a:lnTo>
                      <a:lnTo>
                        <a:pt x="0" y="326"/>
                      </a:lnTo>
                      <a:lnTo>
                        <a:pt x="499" y="326"/>
                      </a:lnTo>
                      <a:lnTo>
                        <a:pt x="499" y="427"/>
                      </a:lnTo>
                      <a:lnTo>
                        <a:pt x="650" y="427"/>
                      </a:lnTo>
                      <a:lnTo>
                        <a:pt x="650" y="375"/>
                      </a:lnTo>
                      <a:lnTo>
                        <a:pt x="688" y="375"/>
                      </a:lnTo>
                      <a:lnTo>
                        <a:pt x="688" y="427"/>
                      </a:lnTo>
                      <a:lnTo>
                        <a:pt x="721" y="427"/>
                      </a:lnTo>
                      <a:lnTo>
                        <a:pt x="721" y="255"/>
                      </a:lnTo>
                      <a:close/>
                      <a:moveTo>
                        <a:pt x="600" y="408"/>
                      </a:moveTo>
                      <a:lnTo>
                        <a:pt x="532" y="408"/>
                      </a:lnTo>
                      <a:lnTo>
                        <a:pt x="532" y="357"/>
                      </a:lnTo>
                      <a:lnTo>
                        <a:pt x="600" y="357"/>
                      </a:lnTo>
                      <a:lnTo>
                        <a:pt x="600" y="4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600" dirty="0"/>
                </a:p>
              </p:txBody>
            </p:sp>
          </p:grpSp>
        </p:grpSp>
      </p:grp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F89D12DC-B9B7-49A5-B597-B3D86205053C}"/>
              </a:ext>
            </a:extLst>
          </p:cNvPr>
          <p:cNvSpPr/>
          <p:nvPr/>
        </p:nvSpPr>
        <p:spPr>
          <a:xfrm>
            <a:off x="665018" y="1918853"/>
            <a:ext cx="1843605" cy="4759038"/>
          </a:xfrm>
          <a:prstGeom prst="homePlate">
            <a:avLst>
              <a:gd name="adj" fmla="val 27804"/>
            </a:avLst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200000"/>
              </a:lnSpc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impact from port infrastructure developmen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F21B58-0EEE-4774-B199-162D61756F01}"/>
              </a:ext>
            </a:extLst>
          </p:cNvPr>
          <p:cNvSpPr/>
          <p:nvPr/>
        </p:nvSpPr>
        <p:spPr>
          <a:xfrm>
            <a:off x="7412183" y="4883486"/>
            <a:ext cx="4128653" cy="18221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Economic value addition and jobs created are based on OECD report titled </a:t>
            </a:r>
            <a:b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r>
              <a:rPr lang="en-GB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The Competitiveness Of Global Port-cities: Synthesis Report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’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On average, 1 MT of throughput is associated with USD 100 of economic value addition and 1 MMT of port throughput is associated with 800 direct and indirect job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70D4EF7-F0FE-4853-9D03-246BE1EE34B6}"/>
              </a:ext>
            </a:extLst>
          </p:cNvPr>
          <p:cNvSpPr/>
          <p:nvPr/>
        </p:nvSpPr>
        <p:spPr>
          <a:xfrm>
            <a:off x="7398328" y="1794161"/>
            <a:ext cx="4114800" cy="30272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kern="0" dirty="0">
                <a:latin typeface="Arial" panose="020B0604020202020204" pitchFamily="34" charset="0"/>
                <a:cs typeface="Arial" panose="020B0604020202020204" pitchFamily="34" charset="0"/>
              </a:rPr>
              <a:t>Proposed infrastructure will bring ~ </a:t>
            </a:r>
            <a:r>
              <a:rPr lang="en-GB" sz="1400" kern="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GB" sz="1400" kern="0" dirty="0">
                <a:latin typeface="Arial" panose="020B0604020202020204" pitchFamily="34" charset="0"/>
                <a:cs typeface="Arial" panose="020B0604020202020204" pitchFamily="34" charset="0"/>
              </a:rPr>
              <a:t> 15,000 crore of economic value addition (direct and indirect) by FY’3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kern="0" dirty="0">
                <a:latin typeface="Arial" panose="020B0604020202020204" pitchFamily="34" charset="0"/>
                <a:cs typeface="Arial" panose="020B0604020202020204" pitchFamily="34" charset="0"/>
              </a:rPr>
              <a:t>Logistics cost saving including coastal movement of goods and slurry pipeline – Rs 130 crore/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indent="-182880" defTabSz="904955" eaLnBrk="0" hangingPunct="0">
              <a:spcAft>
                <a:spcPts val="227"/>
              </a:spcAft>
              <a:buFont typeface="Arial" panose="020B0604020202020204" pitchFamily="34" charset="0"/>
              <a:buChar char="•"/>
              <a:defRPr/>
            </a:pPr>
            <a:r>
              <a:rPr lang="en-GB" sz="1400" kern="0" dirty="0">
                <a:latin typeface="Arial" panose="020B0604020202020204" pitchFamily="34" charset="0"/>
                <a:cs typeface="Arial" panose="020B0604020202020204" pitchFamily="34" charset="0"/>
              </a:rPr>
              <a:t>Each direct port employment is directly associated with about 3-4 indirect jobs; Expected to create ~ 10-15,000 direct and indirect job opportunities</a:t>
            </a:r>
          </a:p>
        </p:txBody>
      </p:sp>
      <p:sp>
        <p:nvSpPr>
          <p:cNvPr id="49" name="Footer Placeholder 48">
            <a:extLst>
              <a:ext uri="{FF2B5EF4-FFF2-40B4-BE49-F238E27FC236}">
                <a16:creationId xmlns:a16="http://schemas.microsoft.com/office/drawing/2014/main" id="{7E726103-D2AD-4ED8-B61A-B421497FC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50" name="Slide Number Placeholder 49">
            <a:extLst>
              <a:ext uri="{FF2B5EF4-FFF2-40B4-BE49-F238E27FC236}">
                <a16:creationId xmlns:a16="http://schemas.microsoft.com/office/drawing/2014/main" id="{F46C8378-71F7-48D2-B4DE-37F300808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02507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959DEB-7AE8-421E-A38A-BD5EF5F588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5186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C9A1C9B6-08AA-4DBC-8C72-45836C085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ln>
            <a:solidFill>
              <a:schemeClr val="accent1"/>
            </a:solidFill>
            <a:prstDash val="sysDash"/>
          </a:ln>
        </p:spPr>
        <p:txBody>
          <a:bodyPr vert="horz"/>
          <a:lstStyle/>
          <a:p>
            <a:pPr algn="ctr"/>
            <a:r>
              <a:rPr lang="en-GB" sz="2400" b="1" i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invite private players to participate in the development of maritime infrastructure in the state of Karnatak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E32D277-A610-4B21-B565-AE62DE6E9ACF}"/>
              </a:ext>
            </a:extLst>
          </p:cNvPr>
          <p:cNvSpPr/>
          <p:nvPr/>
        </p:nvSpPr>
        <p:spPr>
          <a:xfrm>
            <a:off x="8276007" y="1932708"/>
            <a:ext cx="3278721" cy="1092295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MB has taken initiatives to enhance ease of doing business and increase private participatio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591540-199A-4A16-BFF0-08CD92343FC1}"/>
              </a:ext>
            </a:extLst>
          </p:cNvPr>
          <p:cNvGrpSpPr/>
          <p:nvPr/>
        </p:nvGrpSpPr>
        <p:grpSpPr>
          <a:xfrm>
            <a:off x="654791" y="1910022"/>
            <a:ext cx="2425589" cy="2232487"/>
            <a:chOff x="3657600" y="2306320"/>
            <a:chExt cx="2936240" cy="2464368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D057407-C785-4D3B-B9D4-0E1FDA27BE77}"/>
                </a:ext>
              </a:extLst>
            </p:cNvPr>
            <p:cNvSpPr/>
            <p:nvPr/>
          </p:nvSpPr>
          <p:spPr>
            <a:xfrm>
              <a:off x="3657600" y="3107308"/>
              <a:ext cx="2936240" cy="166338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We are evaluating non major port development at </a:t>
              </a:r>
              <a:r>
                <a:rPr lang="en-GB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Belekeri</a:t>
              </a:r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 and </a:t>
              </a:r>
              <a:r>
                <a:rPr lang="en-GB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Pavinkurve</a:t>
              </a:r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 in Uttar </a:t>
              </a:r>
              <a:r>
                <a:rPr lang="en-GB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Kanada</a:t>
              </a:r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 district</a:t>
              </a:r>
            </a:p>
            <a:p>
              <a:pPr algn="ctr"/>
              <a:endParaRPr lang="en-GB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Open to any unsolicited proposal as well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BA20CFA-738A-4FD0-97C2-92E90E81C8DD}"/>
                </a:ext>
              </a:extLst>
            </p:cNvPr>
            <p:cNvSpPr/>
            <p:nvPr/>
          </p:nvSpPr>
          <p:spPr>
            <a:xfrm>
              <a:off x="3657600" y="2306320"/>
              <a:ext cx="2936240" cy="800988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n major port developmen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15FE12B-0386-4F5D-ADB8-4997F7E0E123}"/>
              </a:ext>
            </a:extLst>
          </p:cNvPr>
          <p:cNvGrpSpPr/>
          <p:nvPr/>
        </p:nvGrpSpPr>
        <p:grpSpPr>
          <a:xfrm>
            <a:off x="5688935" y="3220873"/>
            <a:ext cx="2425589" cy="2136502"/>
            <a:chOff x="7884160" y="2360712"/>
            <a:chExt cx="2936240" cy="198680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C7462A0-AF0E-4206-8CF4-D851B80429C8}"/>
                </a:ext>
              </a:extLst>
            </p:cNvPr>
            <p:cNvSpPr/>
            <p:nvPr/>
          </p:nvSpPr>
          <p:spPr>
            <a:xfrm>
              <a:off x="7884160" y="3072440"/>
              <a:ext cx="2936240" cy="127508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Cement silos for bulk movement of cement</a:t>
              </a:r>
            </a:p>
            <a:p>
              <a:pPr algn="ctr"/>
              <a:endParaRPr lang="en-GB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Warehouse cum distribution centre for </a:t>
              </a:r>
              <a:r>
                <a:rPr lang="en-GB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agro</a:t>
              </a:r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 and other industrie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30A0BBE-E3BC-47D6-96D6-C723678F2920}"/>
                </a:ext>
              </a:extLst>
            </p:cNvPr>
            <p:cNvSpPr/>
            <p:nvPr/>
          </p:nvSpPr>
          <p:spPr>
            <a:xfrm>
              <a:off x="7884160" y="2360712"/>
              <a:ext cx="2936240" cy="702519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 based storage cum distribution centre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D37017-DEE2-4686-BE58-8FE216290576}"/>
              </a:ext>
            </a:extLst>
          </p:cNvPr>
          <p:cNvGrpSpPr/>
          <p:nvPr/>
        </p:nvGrpSpPr>
        <p:grpSpPr>
          <a:xfrm>
            <a:off x="654791" y="4267537"/>
            <a:ext cx="2425589" cy="2232487"/>
            <a:chOff x="5518951" y="4689201"/>
            <a:chExt cx="2936240" cy="244390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342BA44-14E9-4460-9C80-5F439311C728}"/>
                </a:ext>
              </a:extLst>
            </p:cNvPr>
            <p:cNvSpPr/>
            <p:nvPr/>
          </p:nvSpPr>
          <p:spPr>
            <a:xfrm>
              <a:off x="5518951" y="5490189"/>
              <a:ext cx="2936240" cy="164291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Development of fishing harbour such as </a:t>
              </a:r>
              <a:r>
                <a:rPr lang="en-GB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Majali</a:t>
              </a:r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, etc. and associated logistics infrastructur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EAC90A4-D670-42CE-BE5F-E0DD6A330AD7}"/>
                </a:ext>
              </a:extLst>
            </p:cNvPr>
            <p:cNvSpPr/>
            <p:nvPr/>
          </p:nvSpPr>
          <p:spPr>
            <a:xfrm>
              <a:off x="5518951" y="4689201"/>
              <a:ext cx="2936240" cy="800988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sheries infrastructure development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0902EDD-8301-4A39-B78C-4ECE013BE490}"/>
              </a:ext>
            </a:extLst>
          </p:cNvPr>
          <p:cNvGrpSpPr/>
          <p:nvPr/>
        </p:nvGrpSpPr>
        <p:grpSpPr>
          <a:xfrm>
            <a:off x="3157944" y="4258422"/>
            <a:ext cx="2425589" cy="2232487"/>
            <a:chOff x="5518951" y="4689201"/>
            <a:chExt cx="2936240" cy="248365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796ACB2-68F0-4FD2-B97D-9BDE29361563}"/>
                </a:ext>
              </a:extLst>
            </p:cNvPr>
            <p:cNvSpPr/>
            <p:nvPr/>
          </p:nvSpPr>
          <p:spPr>
            <a:xfrm>
              <a:off x="5518951" y="5490189"/>
              <a:ext cx="2936240" cy="168266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</a:rPr>
                <a:t>Maritime led tourism projects such as houseboat, river cruise, luxury yacht, catamarans, marina, cruise tourism etc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3CE0804-5B9F-4A98-9000-5CD4FD67EE30}"/>
                </a:ext>
              </a:extLst>
            </p:cNvPr>
            <p:cNvSpPr/>
            <p:nvPr/>
          </p:nvSpPr>
          <p:spPr>
            <a:xfrm>
              <a:off x="5518951" y="4689201"/>
              <a:ext cx="2936240" cy="800988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itime led tourism development</a:t>
              </a:r>
            </a:p>
          </p:txBody>
        </p:sp>
      </p:grp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04E47DD4-344F-4B5C-AD6B-9B31184E427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8354291" y="3944585"/>
            <a:ext cx="3283566" cy="22761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6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6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680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6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94800" marR="0" indent="-2304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6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6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4000" indent="-2304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680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94800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vision of state port policy to encourage private investment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CA development aligned with the state port policy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velopment of guideline document for port-based logistics infrastructure and maritime led touris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F1DF0B6-3AAA-46DF-9FDD-FC70EF11939F}"/>
              </a:ext>
            </a:extLst>
          </p:cNvPr>
          <p:cNvGrpSpPr/>
          <p:nvPr/>
        </p:nvGrpSpPr>
        <p:grpSpPr>
          <a:xfrm>
            <a:off x="3157661" y="1909438"/>
            <a:ext cx="2425589" cy="2232487"/>
            <a:chOff x="3657600" y="2306320"/>
            <a:chExt cx="2936240" cy="248075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0BC6012-E7D3-4AE7-9B9F-BE0C291F40D0}"/>
                </a:ext>
              </a:extLst>
            </p:cNvPr>
            <p:cNvSpPr/>
            <p:nvPr/>
          </p:nvSpPr>
          <p:spPr>
            <a:xfrm>
              <a:off x="3657600" y="3107306"/>
              <a:ext cx="2936240" cy="167977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>
                  <a:lumMod val="95000"/>
                </a:schemeClr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hase 2 development of Karwar port is underway</a:t>
              </a:r>
            </a:p>
            <a:p>
              <a:pPr algn="ctr"/>
              <a:endParaRPr lang="en-GB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algn="ctr"/>
              <a:r>
                <a:rPr lang="en-GB" sz="1400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evelopment works at Old Mangalore port under consideration</a:t>
              </a:r>
              <a:endParaRPr lang="en-GB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B2B060B-7C5B-4FDB-BDEA-27A8190A9473}"/>
                </a:ext>
              </a:extLst>
            </p:cNvPr>
            <p:cNvSpPr/>
            <p:nvPr/>
          </p:nvSpPr>
          <p:spPr>
            <a:xfrm>
              <a:off x="3657600" y="2306320"/>
              <a:ext cx="2936240" cy="800988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b="1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rastructure development at existing port</a:t>
              </a:r>
            </a:p>
          </p:txBody>
        </p:sp>
      </p:grp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0CB3B80C-A589-4771-B78A-C59C7A67F264}"/>
              </a:ext>
            </a:extLst>
          </p:cNvPr>
          <p:cNvSpPr/>
          <p:nvPr/>
        </p:nvSpPr>
        <p:spPr>
          <a:xfrm rot="5400000">
            <a:off x="9611838" y="2029998"/>
            <a:ext cx="717900" cy="2980655"/>
          </a:xfrm>
          <a:prstGeom prst="homePlate">
            <a:avLst/>
          </a:prstGeom>
          <a:solidFill>
            <a:schemeClr val="tx2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6F268C90-D59E-4173-ABE5-A178A62DC2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97916"/>
            <a:ext cx="3860800" cy="365126"/>
          </a:xfrm>
        </p:spPr>
        <p:txBody>
          <a:bodyPr/>
          <a:lstStyle/>
          <a:p>
            <a:r>
              <a:rPr lang="en-GB" dirty="0"/>
              <a:t>Virtual Maritime India Summit 2021</a:t>
            </a:r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C1310662-2590-415F-B8C2-076715C22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0064F-7851-47A5-AF68-751737027AA0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278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56,1,Investment Opportunities in Karnataka"/>
  <p:tag name="ENGAGE" val="{&quot;SavedSwatch&quot;:&quot;-16748873|-8341960|-3468525|-2064878|-9539986|Markido&quot;,&quot;Id&quot;:&quot;603cdf3a444643385c5e7f07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800ecb5c-aac0-4ccd-a290-249c905c550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7b3e80ee-22bd-4b40-bfcf-e6d74259dbe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SLIDETYPE}"/>
  <p:tag name="SMARTWRITE" val="{SMARTSLIDETYPE}"/>
  <p:tag name="SMARTOBJECT" val="DividerBox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Instruction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heme/theme1.xml><?xml version="1.0" encoding="utf-8"?>
<a:theme xmlns:a="http://schemas.openxmlformats.org/drawingml/2006/main" name="Non-branded Theme">
  <a:themeElements>
    <a:clrScheme name="Non-Branded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000000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Non-Branded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n-branded Theme" id="{CF1F50EC-A457-45B7-95AA-421C0E2416E9}" vid="{0B7CBF24-3A20-4AF6-85C2-BDDE7AE7F52C}"/>
    </a:ext>
  </a:extLst>
</a:theme>
</file>

<file path=ppt/theme/theme2.xml><?xml version="1.0" encoding="utf-8"?>
<a:theme xmlns:a="http://schemas.openxmlformats.org/drawingml/2006/main" name="Basic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9</TotalTime>
  <Words>1017</Words>
  <Application>Microsoft Office PowerPoint</Application>
  <PresentationFormat>Widescreen</PresentationFormat>
  <Paragraphs>171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Georgia</vt:lpstr>
      <vt:lpstr>Times New Roman</vt:lpstr>
      <vt:lpstr>Wingdings</vt:lpstr>
      <vt:lpstr>Non-branded Theme</vt:lpstr>
      <vt:lpstr>Basic Theme</vt:lpstr>
      <vt:lpstr>think-cell Slide</vt:lpstr>
      <vt:lpstr>Marine Investment Opportunities in Karnataka</vt:lpstr>
      <vt:lpstr>Developed industrial hinterland and picturesque coastal landscape provides multitudes of  opportunities in maritime sector</vt:lpstr>
      <vt:lpstr>State has a very well developed industrial hinterland with power, steel, cement, petrochemicals, aerospace, automotive, etc. among major sectors</vt:lpstr>
      <vt:lpstr>Gross state domestic product (GSDP) growth rate of the State is 2nd highest among maritime states</vt:lpstr>
      <vt:lpstr>State has one major and 12 non-major ports</vt:lpstr>
      <vt:lpstr>Maritime board focuses on 5 areas for development of maritime sector in the State</vt:lpstr>
      <vt:lpstr>Maritime perspective plan provided outputs highlighting requirement of maritime sector development across 5 themes</vt:lpstr>
      <vt:lpstr>Proposed infrastructure development will boost economic growth and create direct and indirect job opportunities</vt:lpstr>
      <vt:lpstr>We invite private players to participate in the development of maritime infrastructure in the state of Karnatak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ssion for Karnataka</dc:title>
  <dc:creator>Amit Singh (IN)</dc:creator>
  <cp:lastModifiedBy>Suhas Jirgi</cp:lastModifiedBy>
  <cp:revision>77</cp:revision>
  <dcterms:created xsi:type="dcterms:W3CDTF">2021-02-24T15:50:13Z</dcterms:created>
  <dcterms:modified xsi:type="dcterms:W3CDTF">2021-03-01T14:15:47Z</dcterms:modified>
</cp:coreProperties>
</file>